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2.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heme/theme3.xml" ContentType="application/vnd.openxmlformats-officedocument.theme+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4.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5.xml" ContentType="application/vnd.openxmlformats-officedocument.them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6.xml" ContentType="application/vnd.openxmlformats-officedocument.theme+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7.xml" ContentType="application/vnd.openxmlformats-officedocument.them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heme/theme8.xml" ContentType="application/vnd.openxmlformats-officedocument.them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9.xml" ContentType="application/vnd.openxmlformats-officedocument.theme+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10.xml" ContentType="application/vnd.openxmlformats-officedocument.theme+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11.xml" ContentType="application/vnd.openxmlformats-officedocument.theme+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12.xml" ContentType="application/vnd.openxmlformats-officedocument.theme+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theme/theme13.xml" ContentType="application/vnd.openxmlformats-officedocument.theme+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theme/theme14.xml" ContentType="application/vnd.openxmlformats-officedocument.theme+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15.xml" ContentType="application/vnd.openxmlformats-officedocument.theme+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heme/theme16.xml" ContentType="application/vnd.openxmlformats-officedocument.theme+xml"/>
  <Override PartName="/ppt/theme/theme17.xml" ContentType="application/vnd.openxmlformats-officedocument.theme+xml"/>
  <Override PartName="/ppt/tags/tag118.xml" ContentType="application/vnd.openxmlformats-officedocument.presentationml.tags+xml"/>
  <Override PartName="/ppt/notesSlides/notesSlide1.xml" ContentType="application/vnd.openxmlformats-officedocument.presentationml.notesSlide+xml"/>
  <Override PartName="/ppt/tags/tag119.xml" ContentType="application/vnd.openxmlformats-officedocument.presentationml.tags+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tags/tag120.xml" ContentType="application/vnd.openxmlformats-officedocument.presentationml.tags+xml"/>
  <Override PartName="/ppt/tags/tag121.xml" ContentType="application/vnd.openxmlformats-officedocument.presentationml.tags+xml"/>
  <Override PartName="/ppt/notesSlides/notesSlide3.xml" ContentType="application/vnd.openxmlformats-officedocument.presentationml.notesSlide+xml"/>
  <Override PartName="/ppt/tags/tag122.xml" ContentType="application/vnd.openxmlformats-officedocument.presentationml.tags+xml"/>
  <Override PartName="/ppt/tags/tag123.xml" ContentType="application/vnd.openxmlformats-officedocument.presentationml.tags+xml"/>
  <Override PartName="/ppt/notesSlides/notesSlide4.xml" ContentType="application/vnd.openxmlformats-officedocument.presentationml.notesSlid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76" r:id="rId4"/>
    <p:sldMasterId id="2147483919" r:id="rId5"/>
    <p:sldMasterId id="2147483803" r:id="rId6"/>
    <p:sldMasterId id="2147483797" r:id="rId7"/>
    <p:sldMasterId id="2147483726" r:id="rId8"/>
    <p:sldMasterId id="2147483809" r:id="rId9"/>
    <p:sldMasterId id="2147483815" r:id="rId10"/>
    <p:sldMasterId id="2147483821" r:id="rId11"/>
    <p:sldMasterId id="2147483845" r:id="rId12"/>
    <p:sldMasterId id="2147483827" r:id="rId13"/>
    <p:sldMasterId id="2147483882" r:id="rId14"/>
    <p:sldMasterId id="2147483839" r:id="rId15"/>
    <p:sldMasterId id="2147483969" r:id="rId16"/>
    <p:sldMasterId id="2147483978" r:id="rId17"/>
    <p:sldMasterId id="2147483987" r:id="rId18"/>
  </p:sldMasterIdLst>
  <p:notesMasterIdLst>
    <p:notesMasterId r:id="rId54"/>
  </p:notesMasterIdLst>
  <p:handoutMasterIdLst>
    <p:handoutMasterId r:id="rId55"/>
  </p:handoutMasterIdLst>
  <p:sldIdLst>
    <p:sldId id="259" r:id="rId19"/>
    <p:sldId id="315" r:id="rId20"/>
    <p:sldId id="537" r:id="rId21"/>
    <p:sldId id="569" r:id="rId22"/>
    <p:sldId id="543" r:id="rId23"/>
    <p:sldId id="566" r:id="rId24"/>
    <p:sldId id="516" r:id="rId25"/>
    <p:sldId id="544" r:id="rId26"/>
    <p:sldId id="554" r:id="rId27"/>
    <p:sldId id="572" r:id="rId28"/>
    <p:sldId id="559" r:id="rId29"/>
    <p:sldId id="549" r:id="rId30"/>
    <p:sldId id="553" r:id="rId31"/>
    <p:sldId id="571" r:id="rId32"/>
    <p:sldId id="573" r:id="rId33"/>
    <p:sldId id="2191" r:id="rId34"/>
    <p:sldId id="2193" r:id="rId35"/>
    <p:sldId id="2195" r:id="rId36"/>
    <p:sldId id="2196" r:id="rId37"/>
    <p:sldId id="2198" r:id="rId38"/>
    <p:sldId id="2117" r:id="rId39"/>
    <p:sldId id="2126" r:id="rId40"/>
    <p:sldId id="2174" r:id="rId41"/>
    <p:sldId id="2175" r:id="rId42"/>
    <p:sldId id="2176" r:id="rId43"/>
    <p:sldId id="2199" r:id="rId44"/>
    <p:sldId id="2181" r:id="rId45"/>
    <p:sldId id="2182" r:id="rId46"/>
    <p:sldId id="2200" r:id="rId47"/>
    <p:sldId id="2188" r:id="rId48"/>
    <p:sldId id="2197" r:id="rId49"/>
    <p:sldId id="492" r:id="rId50"/>
    <p:sldId id="496" r:id="rId51"/>
    <p:sldId id="325" r:id="rId52"/>
    <p:sldId id="485" r:id="rId53"/>
  </p:sldIdLst>
  <p:sldSz cx="12192000" cy="6858000"/>
  <p:notesSz cx="6797675" cy="9926638"/>
  <p:custDataLst>
    <p:tags r:id="rId56"/>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ezione predefinita" id="{ACC2A570-D5A4-4E30-8259-C3DD3BD65422}">
          <p14:sldIdLst>
            <p14:sldId id="259"/>
            <p14:sldId id="315"/>
            <p14:sldId id="537"/>
            <p14:sldId id="569"/>
            <p14:sldId id="543"/>
            <p14:sldId id="566"/>
            <p14:sldId id="516"/>
            <p14:sldId id="544"/>
            <p14:sldId id="554"/>
            <p14:sldId id="572"/>
            <p14:sldId id="559"/>
            <p14:sldId id="549"/>
            <p14:sldId id="553"/>
            <p14:sldId id="571"/>
            <p14:sldId id="573"/>
            <p14:sldId id="2191"/>
            <p14:sldId id="2193"/>
            <p14:sldId id="2195"/>
            <p14:sldId id="2196"/>
            <p14:sldId id="2198"/>
            <p14:sldId id="2117"/>
            <p14:sldId id="2126"/>
            <p14:sldId id="2174"/>
            <p14:sldId id="2175"/>
            <p14:sldId id="2176"/>
            <p14:sldId id="2199"/>
            <p14:sldId id="2181"/>
            <p14:sldId id="2182"/>
            <p14:sldId id="2200"/>
            <p14:sldId id="2188"/>
            <p14:sldId id="2197"/>
            <p14:sldId id="492"/>
            <p14:sldId id="496"/>
            <p14:sldId id="325"/>
            <p14:sldId id="485"/>
          </p14:sldIdLst>
        </p14:section>
      </p14:sectionLst>
    </p:ext>
    <p:ext uri="{EFAFB233-063F-42B5-8137-9DF3F51BA10A}">
      <p15:sldGuideLst xmlns:p15="http://schemas.microsoft.com/office/powerpoint/2012/main">
        <p15:guide id="3" orient="horz" pos="663">
          <p15:clr>
            <a:srgbClr val="A4A3A4"/>
          </p15:clr>
        </p15:guide>
        <p15:guide id="4" orient="horz" pos="4065">
          <p15:clr>
            <a:srgbClr val="A4A3A4"/>
          </p15:clr>
        </p15:guide>
        <p15:guide id="5" pos="166">
          <p15:clr>
            <a:srgbClr val="A4A3A4"/>
          </p15:clr>
        </p15:guide>
        <p15:guide id="6" pos="7514">
          <p15:clr>
            <a:srgbClr val="A4A3A4"/>
          </p15:clr>
        </p15:guide>
        <p15:guide id="10" pos="3931">
          <p15:clr>
            <a:srgbClr val="A4A3A4"/>
          </p15:clr>
        </p15:guide>
        <p15:guide id="11" pos="7378">
          <p15:clr>
            <a:srgbClr val="A4A3A4"/>
          </p15:clr>
        </p15:guide>
        <p15:guide id="12" pos="3636" userDrawn="1">
          <p15:clr>
            <a:srgbClr val="A4A3A4"/>
          </p15:clr>
        </p15:guide>
        <p15:guide id="13" pos="2366">
          <p15:clr>
            <a:srgbClr val="A4A3A4"/>
          </p15:clr>
        </p15:guide>
        <p15:guide id="14" pos="2661" userDrawn="1">
          <p15:clr>
            <a:srgbClr val="A4A3A4"/>
          </p15:clr>
        </p15:guide>
        <p15:guide id="15" pos="2525">
          <p15:clr>
            <a:srgbClr val="A4A3A4"/>
          </p15:clr>
        </p15:guide>
        <p15:guide id="16" pos="5042" userDrawn="1">
          <p15:clr>
            <a:srgbClr val="A4A3A4"/>
          </p15:clr>
        </p15:guide>
        <p15:guide id="17" pos="4861">
          <p15:clr>
            <a:srgbClr val="A4A3A4"/>
          </p15:clr>
        </p15:guide>
        <p15:guide id="18" pos="5155" userDrawn="1">
          <p15:clr>
            <a:srgbClr val="A4A3A4"/>
          </p15:clr>
        </p15:guide>
        <p15:guide id="19" pos="3772">
          <p15:clr>
            <a:srgbClr val="A4A3A4"/>
          </p15:clr>
        </p15:guide>
        <p15:guide id="20" pos="5654">
          <p15:clr>
            <a:srgbClr val="A4A3A4"/>
          </p15:clr>
        </p15:guide>
        <p15:guide id="21" pos="5496">
          <p15:clr>
            <a:srgbClr val="A4A3A4"/>
          </p15:clr>
        </p15:guide>
        <p15:guide id="22" pos="5813">
          <p15:clr>
            <a:srgbClr val="A4A3A4"/>
          </p15:clr>
        </p15:guide>
        <p15:guide id="23" pos="1890">
          <p15:clr>
            <a:srgbClr val="A4A3A4"/>
          </p15:clr>
        </p15:guide>
        <p15:guide id="24" pos="1753" userDrawn="1">
          <p15:clr>
            <a:srgbClr val="A4A3A4"/>
          </p15:clr>
        </p15:guide>
        <p15:guide id="25" pos="2048">
          <p15:clr>
            <a:srgbClr val="A4A3A4"/>
          </p15:clr>
        </p15:guide>
        <p15:guide id="27" orient="horz" pos="482">
          <p15:clr>
            <a:srgbClr val="A4A3A4"/>
          </p15:clr>
        </p15:guide>
        <p15:guide id="28" orient="horz" pos="4315" userDrawn="1">
          <p15:clr>
            <a:srgbClr val="A4A3A4"/>
          </p15:clr>
        </p15:guide>
        <p15:guide id="29">
          <p15:clr>
            <a:srgbClr val="A4A3A4"/>
          </p15:clr>
        </p15:guide>
        <p15:guide id="30" orient="horz" pos="572">
          <p15:clr>
            <a:srgbClr val="A4A3A4"/>
          </p15:clr>
        </p15:guide>
        <p15:guide id="31" pos="642" userDrawn="1">
          <p15:clr>
            <a:srgbClr val="A4A3A4"/>
          </p15:clr>
        </p15:guide>
      </p15:sldGuideLst>
    </p:ext>
    <p:ext uri="{2D200454-40CA-4A62-9FC3-DE9A4176ACB9}">
      <p15:notesGuideLst xmlns:p15="http://schemas.microsoft.com/office/powerpoint/2012/main">
        <p15:guide id="1" orient="horz" pos="3126">
          <p15:clr>
            <a:srgbClr val="A4A3A4"/>
          </p15:clr>
        </p15:guide>
        <p15:guide id="2" pos="214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Microsoft Office User" initials="MOU" lastIdx="24" clrIdx="6"/>
  <p:cmAuthor id="1" name="ariana.reinecke" initials="a" lastIdx="43" clrIdx="0"/>
  <p:cmAuthor id="8" name="julia.maerz" initials="j" lastIdx="4" clrIdx="7"/>
  <p:cmAuthor id="2" name="Sabine.naumann" initials="S" lastIdx="33" clrIdx="1"/>
  <p:cmAuthor id="9" name="stefanie.hauck" initials="s" lastIdx="6" clrIdx="8"/>
  <p:cmAuthor id="3" name="Microsoft Office-Anwender" initials="Office" lastIdx="1" clrIdx="2"/>
  <p:cmAuthor id="10" name="Peter Backeberg" initials="PB" lastIdx="1" clrIdx="9"/>
  <p:cmAuthor id="4" name="Microsoft Office-Anwender" initials="Office [2]" lastIdx="1" clrIdx="3"/>
  <p:cmAuthor id="5" name="sabine.naumann" initials="s" lastIdx="22" clrIdx="4"/>
  <p:cmAuthor id="6" name="julia.otto" initials="j" lastIdx="25" clrIdx="5"/>
</p:cmAuthorLst>
</file>

<file path=ppt/presProps.xml><?xml version="1.0" encoding="utf-8"?>
<p:presentationPr xmlns:a="http://schemas.openxmlformats.org/drawingml/2006/main" xmlns:r="http://schemas.openxmlformats.org/officeDocument/2006/relationships" xmlns:p="http://schemas.openxmlformats.org/presentationml/2006/main">
  <p:prnPr clrMode="bw" scaleToFitPaper="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3A5B9"/>
    <a:srgbClr val="FFFFFF"/>
    <a:srgbClr val="77FFE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essuno stile, griglia tabella">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essuno stile, nessuna grigli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20533" autoAdjust="0"/>
    <p:restoredTop sz="93875" autoAdjust="0"/>
  </p:normalViewPr>
  <p:slideViewPr>
    <p:cSldViewPr snapToGrid="0" snapToObjects="1" showGuides="1">
      <p:cViewPr varScale="1">
        <p:scale>
          <a:sx n="80" d="100"/>
          <a:sy n="80" d="100"/>
        </p:scale>
        <p:origin x="950" y="58"/>
      </p:cViewPr>
      <p:guideLst>
        <p:guide orient="horz" pos="663"/>
        <p:guide orient="horz" pos="4065"/>
        <p:guide pos="166"/>
        <p:guide pos="7514"/>
        <p:guide pos="3931"/>
        <p:guide pos="7378"/>
        <p:guide pos="3636"/>
        <p:guide pos="2366"/>
        <p:guide pos="2661"/>
        <p:guide pos="2525"/>
        <p:guide pos="5042"/>
        <p:guide pos="4861"/>
        <p:guide pos="5155"/>
        <p:guide pos="3772"/>
        <p:guide pos="5654"/>
        <p:guide pos="5496"/>
        <p:guide pos="5813"/>
        <p:guide pos="1890"/>
        <p:guide pos="1753"/>
        <p:guide pos="2048"/>
        <p:guide orient="horz" pos="482"/>
        <p:guide orient="horz" pos="4315"/>
        <p:guide/>
        <p:guide orient="horz" pos="572"/>
        <p:guide pos="642"/>
      </p:guideLst>
    </p:cSldViewPr>
  </p:slideViewPr>
  <p:outlineViewPr>
    <p:cViewPr>
      <p:scale>
        <a:sx n="33" d="100"/>
        <a:sy n="33" d="100"/>
      </p:scale>
      <p:origin x="0" y="-3184"/>
    </p:cViewPr>
  </p:outlineViewPr>
  <p:notesTextViewPr>
    <p:cViewPr>
      <p:scale>
        <a:sx n="150" d="100"/>
        <a:sy n="150" d="100"/>
      </p:scale>
      <p:origin x="0" y="0"/>
    </p:cViewPr>
  </p:notesTextViewPr>
  <p:sorterViewPr>
    <p:cViewPr>
      <p:scale>
        <a:sx n="66" d="100"/>
        <a:sy n="66" d="100"/>
      </p:scale>
      <p:origin x="0" y="2970"/>
    </p:cViewPr>
  </p:sorterViewPr>
  <p:notesViewPr>
    <p:cSldViewPr snapToGrid="0" snapToObjects="1" showGuides="1">
      <p:cViewPr varScale="1">
        <p:scale>
          <a:sx n="79" d="100"/>
          <a:sy n="79" d="100"/>
        </p:scale>
        <p:origin x="-3936" y="-84"/>
      </p:cViewPr>
      <p:guideLst>
        <p:guide orient="horz" pos="3126"/>
        <p:guide pos="2141"/>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0.xml"/><Relationship Id="rId18" Type="http://schemas.openxmlformats.org/officeDocument/2006/relationships/slideMaster" Target="slideMasters/slideMaster15.xml"/><Relationship Id="rId26" Type="http://schemas.openxmlformats.org/officeDocument/2006/relationships/slide" Target="slides/slide8.xml"/><Relationship Id="rId39" Type="http://schemas.openxmlformats.org/officeDocument/2006/relationships/slide" Target="slides/slide21.xml"/><Relationship Id="rId21" Type="http://schemas.openxmlformats.org/officeDocument/2006/relationships/slide" Target="slides/slide3.xml"/><Relationship Id="rId34" Type="http://schemas.openxmlformats.org/officeDocument/2006/relationships/slide" Target="slides/slide16.xml"/><Relationship Id="rId42" Type="http://schemas.openxmlformats.org/officeDocument/2006/relationships/slide" Target="slides/slide24.xml"/><Relationship Id="rId47" Type="http://schemas.openxmlformats.org/officeDocument/2006/relationships/slide" Target="slides/slide29.xml"/><Relationship Id="rId50" Type="http://schemas.openxmlformats.org/officeDocument/2006/relationships/slide" Target="slides/slide32.xml"/><Relationship Id="rId55" Type="http://schemas.openxmlformats.org/officeDocument/2006/relationships/handoutMaster" Target="handoutMasters/handoutMaster1.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Master" Target="slideMasters/slideMaster13.xml"/><Relationship Id="rId20" Type="http://schemas.openxmlformats.org/officeDocument/2006/relationships/slide" Target="slides/slide2.xml"/><Relationship Id="rId29" Type="http://schemas.openxmlformats.org/officeDocument/2006/relationships/slide" Target="slides/slide11.xml"/><Relationship Id="rId41" Type="http://schemas.openxmlformats.org/officeDocument/2006/relationships/slide" Target="slides/slide23.xml"/><Relationship Id="rId54"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6.xml"/><Relationship Id="rId32" Type="http://schemas.openxmlformats.org/officeDocument/2006/relationships/slide" Target="slides/slide14.xml"/><Relationship Id="rId37" Type="http://schemas.openxmlformats.org/officeDocument/2006/relationships/slide" Target="slides/slide19.xml"/><Relationship Id="rId40" Type="http://schemas.openxmlformats.org/officeDocument/2006/relationships/slide" Target="slides/slide22.xml"/><Relationship Id="rId45" Type="http://schemas.openxmlformats.org/officeDocument/2006/relationships/slide" Target="slides/slide27.xml"/><Relationship Id="rId53" Type="http://schemas.openxmlformats.org/officeDocument/2006/relationships/slide" Target="slides/slide35.xml"/><Relationship Id="rId58"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Master" Target="slideMasters/slideMaster12.xml"/><Relationship Id="rId23" Type="http://schemas.openxmlformats.org/officeDocument/2006/relationships/slide" Target="slides/slide5.xml"/><Relationship Id="rId28" Type="http://schemas.openxmlformats.org/officeDocument/2006/relationships/slide" Target="slides/slide10.xml"/><Relationship Id="rId36" Type="http://schemas.openxmlformats.org/officeDocument/2006/relationships/slide" Target="slides/slide18.xml"/><Relationship Id="rId49" Type="http://schemas.openxmlformats.org/officeDocument/2006/relationships/slide" Target="slides/slide31.xml"/><Relationship Id="rId57" Type="http://schemas.openxmlformats.org/officeDocument/2006/relationships/commentAuthors" Target="commentAuthors.xml"/><Relationship Id="rId61" Type="http://schemas.openxmlformats.org/officeDocument/2006/relationships/tableStyles" Target="tableStyles.xml"/><Relationship Id="rId10" Type="http://schemas.openxmlformats.org/officeDocument/2006/relationships/slideMaster" Target="slideMasters/slideMaster7.xml"/><Relationship Id="rId19" Type="http://schemas.openxmlformats.org/officeDocument/2006/relationships/slide" Target="slides/slide1.xml"/><Relationship Id="rId31" Type="http://schemas.openxmlformats.org/officeDocument/2006/relationships/slide" Target="slides/slide13.xml"/><Relationship Id="rId44" Type="http://schemas.openxmlformats.org/officeDocument/2006/relationships/slide" Target="slides/slide26.xml"/><Relationship Id="rId52" Type="http://schemas.openxmlformats.org/officeDocument/2006/relationships/slide" Target="slides/slide34.xml"/><Relationship Id="rId6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Master" Target="slideMasters/slideMaster11.xml"/><Relationship Id="rId22" Type="http://schemas.openxmlformats.org/officeDocument/2006/relationships/slide" Target="slides/slide4.xml"/><Relationship Id="rId27" Type="http://schemas.openxmlformats.org/officeDocument/2006/relationships/slide" Target="slides/slide9.xml"/><Relationship Id="rId30" Type="http://schemas.openxmlformats.org/officeDocument/2006/relationships/slide" Target="slides/slide12.xml"/><Relationship Id="rId35" Type="http://schemas.openxmlformats.org/officeDocument/2006/relationships/slide" Target="slides/slide17.xml"/><Relationship Id="rId43" Type="http://schemas.openxmlformats.org/officeDocument/2006/relationships/slide" Target="slides/slide25.xml"/><Relationship Id="rId48" Type="http://schemas.openxmlformats.org/officeDocument/2006/relationships/slide" Target="slides/slide30.xml"/><Relationship Id="rId56" Type="http://schemas.openxmlformats.org/officeDocument/2006/relationships/tags" Target="tags/tag1.xml"/><Relationship Id="rId8" Type="http://schemas.openxmlformats.org/officeDocument/2006/relationships/slideMaster" Target="slideMasters/slideMaster5.xml"/><Relationship Id="rId51" Type="http://schemas.openxmlformats.org/officeDocument/2006/relationships/slide" Target="slides/slide33.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Master" Target="slideMasters/slideMaster14.xml"/><Relationship Id="rId25" Type="http://schemas.openxmlformats.org/officeDocument/2006/relationships/slide" Target="slides/slide7.xml"/><Relationship Id="rId33" Type="http://schemas.openxmlformats.org/officeDocument/2006/relationships/slide" Target="slides/slide15.xml"/><Relationship Id="rId38" Type="http://schemas.openxmlformats.org/officeDocument/2006/relationships/slide" Target="slides/slide20.xml"/><Relationship Id="rId46" Type="http://schemas.openxmlformats.org/officeDocument/2006/relationships/slide" Target="slides/slide28.xml"/><Relationship Id="rId59"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colorful2">
  <dgm:title val=""/>
  <dgm:desc val=""/>
  <dgm:catLst>
    <dgm:cat type="colorful" pri="10200"/>
  </dgm:catLst>
  <dgm:styleLbl name="node0">
    <dgm:fillClrLst meth="repeat">
      <a:schemeClr val="accent1"/>
    </dgm:fillClrLst>
    <dgm:linClrLst meth="repeat">
      <a:schemeClr val="lt1"/>
    </dgm:linClrLst>
    <dgm:effectClrLst/>
    <dgm:txLinClrLst/>
    <dgm:txFillClrLst/>
    <dgm:txEffectClrLst/>
  </dgm:styleLbl>
  <dgm:styleLbl name="node1">
    <dgm:fillClrLst>
      <a:schemeClr val="accent2"/>
      <a:schemeClr val="accent3"/>
    </dgm:fillClrLst>
    <dgm:linClrLst meth="repeat">
      <a:schemeClr val="lt1"/>
    </dgm:linClrLst>
    <dgm:effectClrLst/>
    <dgm:txLinClrLst/>
    <dgm:txFillClrLst/>
    <dgm:txEffectClrLst/>
  </dgm:styleLbl>
  <dgm:styleLbl name="alignNode1">
    <dgm:fillClrLst>
      <a:schemeClr val="accent2"/>
      <a:schemeClr val="accent3"/>
    </dgm:fillClrLst>
    <dgm:linClrLst>
      <a:schemeClr val="accent2"/>
      <a:schemeClr val="accent3"/>
    </dgm:linClrLst>
    <dgm:effectClrLst/>
    <dgm:txLinClrLst/>
    <dgm:txFillClrLst/>
    <dgm:txEffectClrLst/>
  </dgm:styleLbl>
  <dgm:styleLbl name="lnNode1">
    <dgm:fillClrLst>
      <a:schemeClr val="accent2"/>
      <a:schemeClr val="accent3"/>
    </dgm:fillClrLst>
    <dgm:linClrLst meth="repeat">
      <a:schemeClr val="lt1"/>
    </dgm:linClrLst>
    <dgm:effectClrLst/>
    <dgm:txLinClrLst/>
    <dgm:txFillClrLst/>
    <dgm:txEffectClrLst/>
  </dgm:styleLbl>
  <dgm:styleLbl name="vennNode1">
    <dgm:fillClrLst>
      <a:schemeClr val="accent2">
        <a:alpha val="50000"/>
      </a:schemeClr>
      <a:schemeClr val="accent3">
        <a:alpha val="50000"/>
      </a:schemeClr>
    </dgm:fillClrLst>
    <dgm:linClrLst meth="repeat">
      <a:schemeClr val="lt1"/>
    </dgm:linClrLst>
    <dgm:effectClrLst/>
    <dgm:txLinClrLst/>
    <dgm:txFillClrLst/>
    <dgm:txEffectClrLst/>
  </dgm:styleLbl>
  <dgm:styleLbl name="node2">
    <dgm:fillClrLst>
      <a:schemeClr val="accent3"/>
    </dgm:fillClrLst>
    <dgm:linClrLst meth="repeat">
      <a:schemeClr val="lt1"/>
    </dgm:linClrLst>
    <dgm:effectClrLst/>
    <dgm:txLinClrLst/>
    <dgm:txFillClrLst/>
    <dgm:txEffectClrLst/>
  </dgm:styleLbl>
  <dgm:styleLbl name="node3">
    <dgm:fillClrLst>
      <a:schemeClr val="accent4"/>
    </dgm:fillClrLst>
    <dgm:linClrLst meth="repeat">
      <a:schemeClr val="lt1"/>
    </dgm:linClrLst>
    <dgm:effectClrLst/>
    <dgm:txLinClrLst/>
    <dgm:txFillClrLst/>
    <dgm:txEffectClrLst/>
  </dgm:styleLbl>
  <dgm:styleLbl name="node4">
    <dgm:fillClrLst>
      <a:schemeClr val="accent5"/>
    </dgm:fillClrLst>
    <dgm:linClrLst meth="repeat">
      <a:schemeClr val="lt1"/>
    </dgm:linClrLst>
    <dgm:effectClrLst/>
    <dgm:txLinClrLst/>
    <dgm:txFillClrLst/>
    <dgm:txEffectClrLst/>
  </dgm:styleLbl>
  <dgm:styleLbl name="fgImgPlace1">
    <dgm:fillClrLst>
      <a:schemeClr val="accent2">
        <a:tint val="50000"/>
      </a:schemeClr>
      <a:schemeClr val="accent3">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2">
        <a:tint val="50000"/>
      </a:schemeClr>
      <a:schemeClr val="accent3">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2"/>
      <a:schemeClr val="accent3"/>
    </dgm:fillClrLst>
    <dgm:linClrLst meth="repeat">
      <a:schemeClr val="lt1"/>
    </dgm:linClrLst>
    <dgm:effectClrLst/>
    <dgm:txLinClrLst/>
    <dgm:txFillClrLst/>
    <dgm:txEffectClrLst/>
  </dgm:styleLbl>
  <dgm:styleLbl name="fgSibTrans2D1">
    <dgm:fillClrLst>
      <a:schemeClr val="accent2"/>
      <a:schemeClr val="accent3"/>
    </dgm:fillClrLst>
    <dgm:linClrLst meth="repeat">
      <a:schemeClr val="lt1"/>
    </dgm:linClrLst>
    <dgm:effectClrLst/>
    <dgm:txLinClrLst/>
    <dgm:txFillClrLst meth="repeat">
      <a:schemeClr val="lt1"/>
    </dgm:txFillClrLst>
    <dgm:txEffectClrLst/>
  </dgm:styleLbl>
  <dgm:styleLbl name="bgSibTrans2D1">
    <dgm:fillClrLst>
      <a:schemeClr val="accent2"/>
      <a:schemeClr val="accent3"/>
    </dgm:fillClrLst>
    <dgm:linClrLst meth="repeat">
      <a:schemeClr val="lt1"/>
    </dgm:linClrLst>
    <dgm:effectClrLst/>
    <dgm:txLinClrLst/>
    <dgm:txFillClrLst meth="repeat">
      <a:schemeClr val="lt1"/>
    </dgm:txFillClrLst>
    <dgm:txEffectClrLst/>
  </dgm:styleLbl>
  <dgm:styleLbl name="sibTrans1D1">
    <dgm:fillClrLst/>
    <dgm:linClrLst>
      <a:schemeClr val="accent2"/>
      <a:schemeClr val="accent3"/>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a:shade val="80000"/>
      </a:schemeClr>
    </dgm:linClrLst>
    <dgm:effectClrLst/>
    <dgm:txLinClrLst/>
    <dgm:txFillClrLst/>
    <dgm:txEffectClrLst/>
  </dgm:styleLbl>
  <dgm:styleLbl name="asst1">
    <dgm:fillClrLst meth="repeat">
      <a:schemeClr val="accent3"/>
    </dgm:fillClrLst>
    <dgm:linClrLst meth="repeat">
      <a:schemeClr val="lt1">
        <a:shade val="80000"/>
      </a:schemeClr>
    </dgm:linClrLst>
    <dgm:effectClrLst/>
    <dgm:txLinClrLst/>
    <dgm:txFillClrLst/>
    <dgm:txEffectClrLst/>
  </dgm:styleLbl>
  <dgm:styleLbl name="asst2">
    <dgm:fillClrLst>
      <a:schemeClr val="accent4"/>
    </dgm:fillClrLst>
    <dgm:linClrLst meth="repeat">
      <a:schemeClr val="lt1"/>
    </dgm:linClrLst>
    <dgm:effectClrLst/>
    <dgm:txLinClrLst/>
    <dgm:txFillClrLst/>
    <dgm:txEffectClrLst/>
  </dgm:styleLbl>
  <dgm:styleLbl name="asst3">
    <dgm:fillClrLst>
      <a:schemeClr val="accent5"/>
    </dgm:fillClrLst>
    <dgm:linClrLst meth="repeat">
      <a:schemeClr val="lt1"/>
    </dgm:linClrLst>
    <dgm:effectClrLst/>
    <dgm:txLinClrLst/>
    <dgm:txFillClrLst/>
    <dgm:txEffectClrLst/>
  </dgm:styleLbl>
  <dgm:styleLbl name="asst4">
    <dgm:fillClrLst>
      <a:schemeClr val="accent6"/>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2"/>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3"/>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4"/>
    </dgm:linClrLst>
    <dgm:effectClrLst/>
    <dgm:txLinClrLst/>
    <dgm:txFillClrLst meth="repeat">
      <a:schemeClr val="tx1"/>
    </dgm:txFillClrLst>
    <dgm:txEffectClrLst/>
  </dgm:styleLbl>
  <dgm:styleLbl name="parChTrans1D4">
    <dgm:fillClrLst meth="repeat">
      <a:schemeClr val="accent2">
        <a:tint val="50000"/>
      </a:schemeClr>
    </dgm:fillClrLst>
    <dgm:linClrLst meth="repeat">
      <a:schemeClr val="accent5"/>
    </dgm:linClrLst>
    <dgm:effectClrLst/>
    <dgm:txLinClrLst/>
    <dgm:txFillClrLst meth="repeat">
      <a:schemeClr val="tx1"/>
    </dgm:txFillClrLst>
    <dgm:txEffectClrLst/>
  </dgm:styleLbl>
  <dgm:styleLbl name="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conF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align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2"/>
      <a:schemeClr val="accent3"/>
    </dgm:linClrLst>
    <dgm:effectClrLst/>
    <dgm:txLinClrLst/>
    <dgm:txFillClrLst meth="repeat">
      <a:schemeClr val="dk1"/>
    </dgm:txFillClrLst>
    <dgm:txEffectClrLst/>
  </dgm:styleLbl>
  <dgm:styleLbl name="solidFgAcc1">
    <dgm:fillClrLst meth="repeat">
      <a:schemeClr val="lt1"/>
    </dgm:fillClrLst>
    <dgm:linClrLst>
      <a:schemeClr val="accent2"/>
      <a:schemeClr val="accent3"/>
    </dgm:linClrLst>
    <dgm:effectClrLst/>
    <dgm:txLinClrLst/>
    <dgm:txFillClrLst meth="repeat">
      <a:schemeClr val="dk1"/>
    </dgm:txFillClrLst>
    <dgm:txEffectClrLst/>
  </dgm:styleLbl>
  <dgm:styleLbl name="solidAlignAcc1">
    <dgm:fillClrLst meth="repeat">
      <a:schemeClr val="lt1"/>
    </dgm:fillClrLst>
    <dgm:linClrLst>
      <a:schemeClr val="accent2"/>
      <a:schemeClr val="accent3"/>
    </dgm:linClrLst>
    <dgm:effectClrLst/>
    <dgm:txLinClrLst/>
    <dgm:txFillClrLst meth="repeat">
      <a:schemeClr val="dk1"/>
    </dgm:txFillClrLst>
    <dgm:txEffectClrLst/>
  </dgm:styleLbl>
  <dgm:styleLbl name="solidBgAcc1">
    <dgm:fillClrLst meth="repeat">
      <a:schemeClr val="lt1"/>
    </dgm:fillClrLst>
    <dgm:linClrLst>
      <a:schemeClr val="accent2"/>
      <a:schemeClr val="accent3"/>
    </dgm:linClrLst>
    <dgm:effectClrLst/>
    <dgm:txLinClrLst/>
    <dgm:txFillClrLst meth="repeat">
      <a:schemeClr val="dk1"/>
    </dgm:txFillClrLst>
    <dgm:txEffectClrLst/>
  </dgm:styleLbl>
  <dgm:styleLbl name="f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align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bgAccFollowNode1">
    <dgm:fillClrLst>
      <a:schemeClr val="accent2">
        <a:tint val="40000"/>
        <a:alpha val="90000"/>
      </a:schemeClr>
      <a:schemeClr val="accent3">
        <a:tint val="40000"/>
        <a:alpha val="90000"/>
      </a:schemeClr>
    </dgm:fillClrLst>
    <dgm:linClrLst>
      <a:schemeClr val="accent2">
        <a:tint val="40000"/>
        <a:alpha val="90000"/>
      </a:schemeClr>
      <a:schemeClr val="accent3">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3"/>
    </dgm:linClrLst>
    <dgm:effectClrLst/>
    <dgm:txLinClrLst/>
    <dgm:txFillClrLst meth="repeat">
      <a:schemeClr val="dk1"/>
    </dgm:txFillClrLst>
    <dgm:txEffectClrLst/>
  </dgm:styleLbl>
  <dgm:styleLbl name="fgAcc3">
    <dgm:fillClrLst meth="repeat">
      <a:schemeClr val="lt1">
        <a:alpha val="90000"/>
      </a:schemeClr>
    </dgm:fillClrLst>
    <dgm:linClrLst>
      <a:schemeClr val="accent4"/>
    </dgm:linClrLst>
    <dgm:effectClrLst/>
    <dgm:txLinClrLst/>
    <dgm:txFillClrLst meth="repeat">
      <a:schemeClr val="dk1"/>
    </dgm:txFillClrLst>
    <dgm:txEffectClrLst/>
  </dgm:styleLbl>
  <dgm:styleLbl name="fgAcc4">
    <dgm:fillClrLst meth="repeat">
      <a:schemeClr val="lt1">
        <a:alpha val="90000"/>
      </a:schemeClr>
    </dgm:fillClrLst>
    <dgm:linClrLst>
      <a:schemeClr val="accent5"/>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2_1">
  <dgm:title val=""/>
  <dgm:desc val=""/>
  <dgm:catLst>
    <dgm:cat type="accent2" pri="11100"/>
  </dgm:catLst>
  <dgm:styleLbl name="node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lig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lnNode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vennNode1">
    <dgm:fillClrLst meth="repeat">
      <a:schemeClr val="lt1">
        <a:alpha val="50000"/>
      </a:schemeClr>
    </dgm:fillClrLst>
    <dgm:linClrLst meth="repeat">
      <a:schemeClr val="accent2">
        <a:shade val="80000"/>
      </a:schemeClr>
    </dgm:linClrLst>
    <dgm:effectClrLst/>
    <dgm:txLinClrLst/>
    <dgm:txFillClrLst/>
    <dgm:txEffectClrLst/>
  </dgm:styleLbl>
  <dgm:styleLbl name="node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node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f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align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bgImgPlace1">
    <dgm:fillClrLst meth="repeat">
      <a:schemeClr val="accent2">
        <a:tint val="40000"/>
      </a:schemeClr>
    </dgm:fillClrLst>
    <dgm:linClrLst meth="repeat">
      <a:schemeClr val="accent2">
        <a:shade val="80000"/>
      </a:schemeClr>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meth="repeat">
      <a:schemeClr val="dk1"/>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dgm:linClrLst>
    <dgm:effectClrLst/>
    <dgm:txLinClrLst/>
    <dgm:txFillClrLst meth="repeat">
      <a:schemeClr val="tx1"/>
    </dgm:txFillClrLst>
    <dgm:txEffectClrLst/>
  </dgm:styleLbl>
  <dgm:styleLbl name="asst0">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1">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2">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3">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asst4">
    <dgm:fillClrLst meth="repeat">
      <a:schemeClr val="lt1"/>
    </dgm:fillClrLst>
    <dgm:linClrLst meth="repeat">
      <a:schemeClr val="accent2">
        <a:shade val="80000"/>
      </a:schemeClr>
    </dgm:linClrLst>
    <dgm:effectClrLst/>
    <dgm:txLinClrLst/>
    <dgm:txFillClrLst meth="repeat">
      <a:schemeClr val="dk1"/>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dgm:txEffectClrLst/>
  </dgm:styleLbl>
  <dgm:styleLbl name="parChTrans2D2">
    <dgm:fillClrLst meth="repeat">
      <a:schemeClr val="accent2"/>
    </dgm:fillClrLst>
    <dgm:linClrLst meth="repeat">
      <a:schemeClr val="accent2"/>
    </dgm:linClrLst>
    <dgm:effectClrLst/>
    <dgm:txLinClrLst/>
    <dgm:txFillClrLst/>
    <dgm:txEffectClrLst/>
  </dgm:styleLbl>
  <dgm:styleLbl name="parChTrans2D3">
    <dgm:fillClrLst meth="repeat">
      <a:schemeClr val="accent2"/>
    </dgm:fillClrLst>
    <dgm:linClrLst meth="repeat">
      <a:schemeClr val="accent2"/>
    </dgm:linClrLst>
    <dgm:effectClrLst/>
    <dgm:txLinClrLst/>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conF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align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trAlignAcc1">
    <dgm:fillClrLst meth="repeat">
      <a:schemeClr val="accent2">
        <a:alpha val="40000"/>
        <a:tint val="40000"/>
      </a:schemeClr>
    </dgm:fillClrLst>
    <dgm:linClrLst meth="repeat">
      <a:schemeClr val="accent2"/>
    </dgm:linClrLst>
    <dgm:effectClrLst/>
    <dgm:txLinClrLst/>
    <dgm:txFillClrLst meth="repeat">
      <a:schemeClr val="dk1"/>
    </dgm:txFillClrLst>
    <dgm:txEffectClrLst/>
  </dgm:styleLbl>
  <dgm:styleLbl name="bgAcc1">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align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bgAccFollowNode1">
    <dgm:fillClrLst meth="repeat">
      <a:schemeClr val="lt1">
        <a:alpha val="90000"/>
        <a:tint val="40000"/>
      </a:schemeClr>
    </dgm:fillClrLst>
    <dgm:linClrLst meth="repeat">
      <a:schemeClr val="accent2">
        <a:alpha val="90000"/>
      </a:schemeClr>
    </dgm:linClrLst>
    <dgm:effectClrLst/>
    <dgm:txLinClrLst/>
    <dgm:txFillClrLst meth="repeat">
      <a:schemeClr val="dk1"/>
    </dgm:txFillClrLst>
    <dgm:txEffectClrLst/>
  </dgm:styleLbl>
  <dgm:styleLbl name="fgAcc0">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2">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3">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fgAcc4">
    <dgm:fillClrLst meth="repeat">
      <a:schemeClr val="accent2">
        <a:alpha val="90000"/>
        <a:tint val="4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9F3BC80-96CA-4222-9EAA-C465CA34B2C5}" type="doc">
      <dgm:prSet loTypeId="urn:microsoft.com/office/officeart/2005/8/layout/chevron2" loCatId="process" qsTypeId="urn:microsoft.com/office/officeart/2005/8/quickstyle/simple1" qsCatId="simple" csTypeId="urn:microsoft.com/office/officeart/2005/8/colors/colorful1" csCatId="colorful" phldr="1"/>
      <dgm:spPr/>
      <dgm:t>
        <a:bodyPr/>
        <a:lstStyle/>
        <a:p>
          <a:endParaRPr lang="it-IT"/>
        </a:p>
      </dgm:t>
    </dgm:pt>
    <dgm:pt modelId="{FE20A0B7-08B2-4AA2-A7B7-2B05265230F9}">
      <dgm:prSet/>
      <dgm:spPr/>
      <dgm:t>
        <a:bodyPr/>
        <a:lstStyle/>
        <a:p>
          <a:endParaRPr lang="it-IT" dirty="0"/>
        </a:p>
      </dgm:t>
    </dgm:pt>
    <dgm:pt modelId="{25B1C657-2598-4B47-B662-F732298B735A}" type="parTrans" cxnId="{C25D2E2C-698E-42DA-8327-2235A3F44534}">
      <dgm:prSet/>
      <dgm:spPr/>
      <dgm:t>
        <a:bodyPr/>
        <a:lstStyle/>
        <a:p>
          <a:endParaRPr lang="it-IT"/>
        </a:p>
      </dgm:t>
    </dgm:pt>
    <dgm:pt modelId="{BB7D09BD-0D8C-4C8A-9129-94BAE36E4F1B}" type="sibTrans" cxnId="{C25D2E2C-698E-42DA-8327-2235A3F44534}">
      <dgm:prSet/>
      <dgm:spPr/>
      <dgm:t>
        <a:bodyPr/>
        <a:lstStyle/>
        <a:p>
          <a:endParaRPr lang="it-IT"/>
        </a:p>
      </dgm:t>
    </dgm:pt>
    <dgm:pt modelId="{00B548DC-D493-4119-B7CE-BAB0C0B03456}">
      <dgm:prSet custT="1"/>
      <dgm:spPr/>
      <dgm:t>
        <a:bodyPr/>
        <a:lstStyle/>
        <a:p>
          <a:pPr>
            <a:buFont typeface="Arial" panose="020B0604020202020204" pitchFamily="34" charset="0"/>
            <a:buChar char="•"/>
          </a:pPr>
          <a:r>
            <a:rPr lang="it-IT" sz="1800" dirty="0"/>
            <a:t>Il </a:t>
          </a:r>
          <a:r>
            <a:rPr lang="it-IT" sz="1800" b="1" dirty="0"/>
            <a:t>Regolamento (UE) 2024/1781 </a:t>
          </a:r>
          <a:r>
            <a:rPr lang="it-IT" sz="1800" dirty="0"/>
            <a:t>(c.d. «</a:t>
          </a:r>
          <a:r>
            <a:rPr lang="it-IT" sz="1800" b="1" dirty="0"/>
            <a:t>Regolamento Ecodesign</a:t>
          </a:r>
          <a:r>
            <a:rPr lang="it-IT" sz="1800" dirty="0"/>
            <a:t>»</a:t>
          </a:r>
          <a:r>
            <a:rPr lang="en-US" sz="1800" dirty="0"/>
            <a:t> o </a:t>
          </a:r>
          <a:r>
            <a:rPr lang="it-IT" sz="1800" dirty="0"/>
            <a:t>«</a:t>
          </a:r>
          <a:r>
            <a:rPr lang="it-IT" sz="1800" b="1" dirty="0"/>
            <a:t>ESPR</a:t>
          </a:r>
          <a:r>
            <a:rPr lang="it-IT" sz="1800" dirty="0"/>
            <a:t>»), pubblicato sulla Gazzetta Ufficiale dell’UE il 28 giugno 2024, stabilisce il quadro per la definizione dei </a:t>
          </a:r>
          <a:r>
            <a:rPr lang="it-IT" sz="1800" b="1" dirty="0"/>
            <a:t>requisiti di progettazione ecocompatibile</a:t>
          </a:r>
          <a:r>
            <a:rPr lang="it-IT" sz="1800" dirty="0"/>
            <a:t> per prodotti sostenibili.</a:t>
          </a:r>
        </a:p>
      </dgm:t>
    </dgm:pt>
    <dgm:pt modelId="{7635138C-0FD5-4619-A8B3-B2D779AF237E}" type="parTrans" cxnId="{A21ECD68-0AE5-4569-A31C-DEEDF00F0D28}">
      <dgm:prSet/>
      <dgm:spPr/>
      <dgm:t>
        <a:bodyPr/>
        <a:lstStyle/>
        <a:p>
          <a:endParaRPr lang="it-IT"/>
        </a:p>
      </dgm:t>
    </dgm:pt>
    <dgm:pt modelId="{F4CDF4D5-2704-485B-86B9-9BA1B458828C}" type="sibTrans" cxnId="{A21ECD68-0AE5-4569-A31C-DEEDF00F0D28}">
      <dgm:prSet/>
      <dgm:spPr/>
      <dgm:t>
        <a:bodyPr/>
        <a:lstStyle/>
        <a:p>
          <a:endParaRPr lang="it-IT"/>
        </a:p>
      </dgm:t>
    </dgm:pt>
    <dgm:pt modelId="{A690FD44-B7EC-4FCF-8F26-67473BCCF5F9}">
      <dgm:prSet/>
      <dgm:spPr/>
      <dgm:t>
        <a:bodyPr/>
        <a:lstStyle/>
        <a:p>
          <a:endParaRPr lang="it-IT" dirty="0"/>
        </a:p>
      </dgm:t>
    </dgm:pt>
    <dgm:pt modelId="{4D64440D-ADBA-46FB-A551-B46CD82A0938}" type="parTrans" cxnId="{ECD2B2BA-F601-4C8A-9E0F-B7B2069A9531}">
      <dgm:prSet/>
      <dgm:spPr/>
      <dgm:t>
        <a:bodyPr/>
        <a:lstStyle/>
        <a:p>
          <a:endParaRPr lang="it-IT"/>
        </a:p>
      </dgm:t>
    </dgm:pt>
    <dgm:pt modelId="{E8312D85-541A-4E23-B0CC-77F9800334C9}" type="sibTrans" cxnId="{ECD2B2BA-F601-4C8A-9E0F-B7B2069A9531}">
      <dgm:prSet/>
      <dgm:spPr/>
      <dgm:t>
        <a:bodyPr/>
        <a:lstStyle/>
        <a:p>
          <a:endParaRPr lang="it-IT"/>
        </a:p>
      </dgm:t>
    </dgm:pt>
    <dgm:pt modelId="{DE6088C6-2771-468A-A16F-DE89C6F67BBC}">
      <dgm:prSet custT="1"/>
      <dgm:spPr/>
      <dgm:t>
        <a:bodyPr/>
        <a:lstStyle/>
        <a:p>
          <a:pPr marL="171450" lvl="1" indent="-171450" algn="l" defTabSz="844550">
            <a:lnSpc>
              <a:spcPct val="90000"/>
            </a:lnSpc>
            <a:spcBef>
              <a:spcPct val="0"/>
            </a:spcBef>
            <a:spcAft>
              <a:spcPct val="15000"/>
            </a:spcAft>
            <a:buFont typeface="Arial" panose="020B0604020202020204" pitchFamily="34" charset="0"/>
            <a:buChar char="•"/>
          </a:pPr>
          <a:r>
            <a:rPr lang="it-IT" sz="1800" kern="1200" dirty="0"/>
            <a:t>È un regolamento «</a:t>
          </a:r>
          <a:r>
            <a:rPr lang="it-IT" sz="1800" b="1" kern="1200" dirty="0"/>
            <a:t>quadro</a:t>
          </a:r>
          <a:r>
            <a:rPr lang="it-IT" sz="1800" b="0" kern="1200" dirty="0"/>
            <a:t>»</a:t>
          </a:r>
          <a:r>
            <a:rPr lang="it-IT" sz="1800" kern="1200" dirty="0"/>
            <a:t>, la cui attuazione è demandata a successiva regolamentazione, per:</a:t>
          </a:r>
          <a:endParaRPr lang="it-IT" sz="1800" b="0" i="0" kern="1200" baseline="0" dirty="0">
            <a:latin typeface="GT America"/>
            <a:ea typeface="+mn-ea"/>
            <a:cs typeface="+mn-cs"/>
          </a:endParaRPr>
        </a:p>
      </dgm:t>
    </dgm:pt>
    <dgm:pt modelId="{10FFF334-12FA-46DF-9DAA-16AC41248C53}" type="parTrans" cxnId="{1F72C751-C17D-43B7-94BB-DFA5E9B7DC52}">
      <dgm:prSet/>
      <dgm:spPr/>
      <dgm:t>
        <a:bodyPr/>
        <a:lstStyle/>
        <a:p>
          <a:endParaRPr lang="it-IT"/>
        </a:p>
      </dgm:t>
    </dgm:pt>
    <dgm:pt modelId="{088A9908-0A56-45E8-AA45-FD6FC0FA884F}" type="sibTrans" cxnId="{1F72C751-C17D-43B7-94BB-DFA5E9B7DC52}">
      <dgm:prSet/>
      <dgm:spPr/>
      <dgm:t>
        <a:bodyPr/>
        <a:lstStyle/>
        <a:p>
          <a:endParaRPr lang="it-IT"/>
        </a:p>
      </dgm:t>
    </dgm:pt>
    <dgm:pt modelId="{76B9F07D-2CD4-4215-9D24-E5AE4A5A2B59}">
      <dgm:prSet/>
      <dgm:spPr/>
      <dgm:t>
        <a:bodyPr/>
        <a:lstStyle/>
        <a:p>
          <a:endParaRPr lang="it-IT"/>
        </a:p>
      </dgm:t>
    </dgm:pt>
    <dgm:pt modelId="{C831654B-350F-4B55-AD52-E254667A0C72}" type="parTrans" cxnId="{3143E80B-A7E6-4899-B4F9-6F3437737989}">
      <dgm:prSet/>
      <dgm:spPr/>
      <dgm:t>
        <a:bodyPr/>
        <a:lstStyle/>
        <a:p>
          <a:endParaRPr lang="it-IT"/>
        </a:p>
      </dgm:t>
    </dgm:pt>
    <dgm:pt modelId="{FCD5D2EB-0AD5-4F70-8ABA-07B287EF0F70}" type="sibTrans" cxnId="{3143E80B-A7E6-4899-B4F9-6F3437737989}">
      <dgm:prSet/>
      <dgm:spPr/>
      <dgm:t>
        <a:bodyPr/>
        <a:lstStyle/>
        <a:p>
          <a:endParaRPr lang="it-IT"/>
        </a:p>
      </dgm:t>
    </dgm:pt>
    <dgm:pt modelId="{9A823E61-56C2-4735-87FE-9714BDB79EF0}">
      <dgm:prSet custT="1"/>
      <dgm:spPr/>
      <dgm:t>
        <a:bodyPr/>
        <a:lstStyle/>
        <a:p>
          <a:pPr marL="288000" lvl="1" indent="-171450" algn="l" defTabSz="844550">
            <a:lnSpc>
              <a:spcPct val="90000"/>
            </a:lnSpc>
            <a:spcBef>
              <a:spcPct val="0"/>
            </a:spcBef>
            <a:spcAft>
              <a:spcPct val="15000"/>
            </a:spcAft>
            <a:buFont typeface="Courier New" panose="02070309020205020404" pitchFamily="49" charset="0"/>
            <a:buChar char="-"/>
          </a:pPr>
          <a:r>
            <a:rPr lang="it-IT" sz="1800" dirty="0"/>
            <a:t>la definizione di requisiti di progettazione ecocompatibile;</a:t>
          </a:r>
          <a:endParaRPr lang="it-IT" sz="1800" b="0" i="0" kern="1200" baseline="0" dirty="0">
            <a:latin typeface="GT America"/>
            <a:ea typeface="+mn-ea"/>
            <a:cs typeface="+mn-cs"/>
          </a:endParaRPr>
        </a:p>
      </dgm:t>
    </dgm:pt>
    <dgm:pt modelId="{3361DA7D-0326-4CC0-9700-9049692B494D}" type="parTrans" cxnId="{00CD8908-53B6-454B-B6C0-603F14C795EB}">
      <dgm:prSet/>
      <dgm:spPr/>
      <dgm:t>
        <a:bodyPr/>
        <a:lstStyle/>
        <a:p>
          <a:endParaRPr lang="it-IT"/>
        </a:p>
      </dgm:t>
    </dgm:pt>
    <dgm:pt modelId="{B13E5C90-DB47-41F7-9E45-483147DB1A40}" type="sibTrans" cxnId="{00CD8908-53B6-454B-B6C0-603F14C795EB}">
      <dgm:prSet/>
      <dgm:spPr/>
      <dgm:t>
        <a:bodyPr/>
        <a:lstStyle/>
        <a:p>
          <a:endParaRPr lang="it-IT"/>
        </a:p>
      </dgm:t>
    </dgm:pt>
    <dgm:pt modelId="{68BA27E6-E0DB-40E6-9B2C-3F0E1D190104}">
      <dgm:prSet custT="1"/>
      <dgm:spPr/>
      <dgm:t>
        <a:bodyPr/>
        <a:lstStyle/>
        <a:p>
          <a:pPr marL="171450">
            <a:buFont typeface="Arial" panose="020B0604020202020204" pitchFamily="34" charset="0"/>
            <a:buChar char="•"/>
          </a:pPr>
          <a:r>
            <a:rPr lang="it-IT" sz="1800" dirty="0">
              <a:solidFill>
                <a:schemeClr val="tx1"/>
              </a:solidFill>
            </a:rPr>
            <a:t>In vigore dal </a:t>
          </a:r>
          <a:r>
            <a:rPr lang="it-IT" sz="1800" b="1" dirty="0">
              <a:solidFill>
                <a:schemeClr val="tx1"/>
              </a:solidFill>
            </a:rPr>
            <a:t>18 luglio 2024</a:t>
          </a:r>
          <a:endParaRPr lang="it-IT" sz="1800" dirty="0"/>
        </a:p>
      </dgm:t>
    </dgm:pt>
    <dgm:pt modelId="{C45E6624-85ED-4CC2-A5ED-FE65175AB183}" type="parTrans" cxnId="{0E2A6DBD-2F94-4725-AFAB-AB37A7061D9E}">
      <dgm:prSet/>
      <dgm:spPr/>
      <dgm:t>
        <a:bodyPr/>
        <a:lstStyle/>
        <a:p>
          <a:endParaRPr lang="it-IT"/>
        </a:p>
      </dgm:t>
    </dgm:pt>
    <dgm:pt modelId="{41A92FDB-293C-4A2F-9DF1-B0ED21BEE771}" type="sibTrans" cxnId="{0E2A6DBD-2F94-4725-AFAB-AB37A7061D9E}">
      <dgm:prSet/>
      <dgm:spPr/>
      <dgm:t>
        <a:bodyPr/>
        <a:lstStyle/>
        <a:p>
          <a:endParaRPr lang="it-IT"/>
        </a:p>
      </dgm:t>
    </dgm:pt>
    <dgm:pt modelId="{3E6E1E57-F431-4D64-9F16-2F75BD6BDBB0}">
      <dgm:prSet custT="1"/>
      <dgm:spPr/>
      <dgm:t>
        <a:bodyPr/>
        <a:lstStyle/>
        <a:p>
          <a:pPr marL="288000">
            <a:buFont typeface="Courier New" panose="02070309020205020404" pitchFamily="49" charset="0"/>
            <a:buChar char="-"/>
          </a:pPr>
          <a:r>
            <a:rPr lang="it-IT" sz="1800" b="1" u="none" dirty="0">
              <a:solidFill>
                <a:schemeClr val="tx1"/>
              </a:solidFill>
              <a:effectLst/>
              <a:ea typeface="Aptos" panose="020B0004020202020204" pitchFamily="34" charset="0"/>
              <a:cs typeface="Calibri" panose="020F0502020204030204" pitchFamily="34" charset="0"/>
            </a:rPr>
            <a:t>modifica</a:t>
          </a:r>
          <a:r>
            <a:rPr lang="it-IT" sz="1800" dirty="0">
              <a:solidFill>
                <a:schemeClr val="tx1"/>
              </a:solidFill>
              <a:effectLst/>
              <a:ea typeface="Aptos" panose="020B0004020202020204" pitchFamily="34" charset="0"/>
              <a:cs typeface="Calibri" panose="020F0502020204030204" pitchFamily="34" charset="0"/>
            </a:rPr>
            <a:t> la Direttiva (UE) 2020/1828 e il Regolamento (UE) 2023/1542;</a:t>
          </a:r>
          <a:endParaRPr lang="it-IT" sz="1800" dirty="0"/>
        </a:p>
      </dgm:t>
    </dgm:pt>
    <dgm:pt modelId="{E39142FF-EEDE-43A8-BDA0-D366235E3C41}" type="parTrans" cxnId="{0A8A1809-F262-4D1F-AA03-5F73FE5E2F1B}">
      <dgm:prSet/>
      <dgm:spPr/>
      <dgm:t>
        <a:bodyPr/>
        <a:lstStyle/>
        <a:p>
          <a:endParaRPr lang="it-IT"/>
        </a:p>
      </dgm:t>
    </dgm:pt>
    <dgm:pt modelId="{6D9BF938-D2B7-406B-8D38-ACA4140B274A}" type="sibTrans" cxnId="{0A8A1809-F262-4D1F-AA03-5F73FE5E2F1B}">
      <dgm:prSet/>
      <dgm:spPr/>
      <dgm:t>
        <a:bodyPr/>
        <a:lstStyle/>
        <a:p>
          <a:endParaRPr lang="it-IT"/>
        </a:p>
      </dgm:t>
    </dgm:pt>
    <dgm:pt modelId="{15BA628F-242F-418D-8C2A-9C51658B7926}">
      <dgm:prSet custT="1"/>
      <dgm:spPr/>
      <dgm:t>
        <a:bodyPr/>
        <a:lstStyle/>
        <a:p>
          <a:pPr marL="288000">
            <a:buFont typeface="Courier New" panose="02070309020205020404" pitchFamily="49" charset="0"/>
            <a:buChar char="-"/>
          </a:pPr>
          <a:r>
            <a:rPr lang="it-IT" sz="1800" b="1" u="none" dirty="0">
              <a:solidFill>
                <a:schemeClr val="tx1"/>
              </a:solidFill>
              <a:ea typeface="Aptos" panose="020B0004020202020204" pitchFamily="34" charset="0"/>
              <a:cs typeface="Calibri" panose="020F0502020204030204" pitchFamily="34" charset="0"/>
            </a:rPr>
            <a:t>abroga</a:t>
          </a:r>
          <a:r>
            <a:rPr lang="it-IT" sz="1800" dirty="0">
              <a:solidFill>
                <a:schemeClr val="tx1"/>
              </a:solidFill>
              <a:ea typeface="Aptos" panose="020B0004020202020204" pitchFamily="34" charset="0"/>
              <a:cs typeface="Calibri" panose="020F0502020204030204" pitchFamily="34" charset="0"/>
            </a:rPr>
            <a:t> </a:t>
          </a:r>
          <a:r>
            <a:rPr lang="it-IT" sz="1800" dirty="0">
              <a:solidFill>
                <a:schemeClr val="tx1"/>
              </a:solidFill>
              <a:effectLst/>
              <a:ea typeface="Aptos" panose="020B0004020202020204" pitchFamily="34" charset="0"/>
              <a:cs typeface="Calibri" panose="020F0502020204030204" pitchFamily="34" charset="0"/>
            </a:rPr>
            <a:t>la Direttiva 2009/125/CE (direttiva-quadro per l’elaborazione di specifiche per la progettazione ecocompatibile dei prodotti connessi all’energia), con alcune eccezioni.</a:t>
          </a:r>
          <a:endParaRPr lang="it-IT" sz="1800" dirty="0"/>
        </a:p>
      </dgm:t>
    </dgm:pt>
    <dgm:pt modelId="{8CFFBBAB-CF4D-45B7-8F43-695023A79557}" type="parTrans" cxnId="{E114206C-8FE6-4346-8579-4DA9762CC1A9}">
      <dgm:prSet/>
      <dgm:spPr/>
      <dgm:t>
        <a:bodyPr/>
        <a:lstStyle/>
        <a:p>
          <a:endParaRPr lang="it-IT"/>
        </a:p>
      </dgm:t>
    </dgm:pt>
    <dgm:pt modelId="{A66636E7-1AF9-4A89-99E7-1589431041CB}" type="sibTrans" cxnId="{E114206C-8FE6-4346-8579-4DA9762CC1A9}">
      <dgm:prSet/>
      <dgm:spPr/>
      <dgm:t>
        <a:bodyPr/>
        <a:lstStyle/>
        <a:p>
          <a:endParaRPr lang="it-IT"/>
        </a:p>
      </dgm:t>
    </dgm:pt>
    <dgm:pt modelId="{2AE5DB38-5894-40FC-9225-67E70C57C363}">
      <dgm:prSet custT="1"/>
      <dgm:spPr/>
      <dgm:t>
        <a:bodyPr/>
        <a:lstStyle/>
        <a:p>
          <a:pPr marL="288000" lvl="1" indent="-171450" algn="l" defTabSz="844550">
            <a:lnSpc>
              <a:spcPct val="90000"/>
            </a:lnSpc>
            <a:spcBef>
              <a:spcPct val="0"/>
            </a:spcBef>
            <a:spcAft>
              <a:spcPct val="15000"/>
            </a:spcAft>
            <a:buFont typeface="Courier New" panose="02070309020205020404" pitchFamily="49" charset="0"/>
            <a:buChar char="-"/>
          </a:pPr>
          <a:r>
            <a:rPr lang="it-IT" sz="1800" dirty="0"/>
            <a:t>un quadro per evitare la distruzione dei prodotti di consumo.</a:t>
          </a:r>
          <a:endParaRPr lang="it-IT" sz="1800" b="0" i="0" kern="1200" baseline="0" dirty="0">
            <a:latin typeface="GT America"/>
            <a:ea typeface="+mn-ea"/>
            <a:cs typeface="+mn-cs"/>
          </a:endParaRPr>
        </a:p>
      </dgm:t>
    </dgm:pt>
    <dgm:pt modelId="{8A42BAEA-0906-4D66-B553-98B1A28D73F7}" type="parTrans" cxnId="{6ABE905D-1FD7-40C4-958A-BEB34C872D98}">
      <dgm:prSet/>
      <dgm:spPr/>
      <dgm:t>
        <a:bodyPr/>
        <a:lstStyle/>
        <a:p>
          <a:endParaRPr lang="it-IT"/>
        </a:p>
      </dgm:t>
    </dgm:pt>
    <dgm:pt modelId="{C743A554-1B7F-4FFB-825A-7EF2979A9896}" type="sibTrans" cxnId="{6ABE905D-1FD7-40C4-958A-BEB34C872D98}">
      <dgm:prSet/>
      <dgm:spPr/>
      <dgm:t>
        <a:bodyPr/>
        <a:lstStyle/>
        <a:p>
          <a:endParaRPr lang="it-IT"/>
        </a:p>
      </dgm:t>
    </dgm:pt>
    <dgm:pt modelId="{1D55D145-E1B2-4D7D-A612-E8A7D452FB34}" type="pres">
      <dgm:prSet presAssocID="{D9F3BC80-96CA-4222-9EAA-C465CA34B2C5}" presName="linearFlow" presStyleCnt="0">
        <dgm:presLayoutVars>
          <dgm:dir/>
          <dgm:animLvl val="lvl"/>
          <dgm:resizeHandles val="exact"/>
        </dgm:presLayoutVars>
      </dgm:prSet>
      <dgm:spPr/>
    </dgm:pt>
    <dgm:pt modelId="{B1A799D3-8E5E-4464-BF20-674A8B99BB8C}" type="pres">
      <dgm:prSet presAssocID="{FE20A0B7-08B2-4AA2-A7B7-2B05265230F9}" presName="composite" presStyleCnt="0"/>
      <dgm:spPr/>
    </dgm:pt>
    <dgm:pt modelId="{B33C0535-746D-46DC-870D-BD9302E95C49}" type="pres">
      <dgm:prSet presAssocID="{FE20A0B7-08B2-4AA2-A7B7-2B05265230F9}" presName="parentText" presStyleLbl="alignNode1" presStyleIdx="0" presStyleCnt="3">
        <dgm:presLayoutVars>
          <dgm:chMax val="1"/>
          <dgm:bulletEnabled val="1"/>
        </dgm:presLayoutVars>
      </dgm:prSet>
      <dgm:spPr/>
    </dgm:pt>
    <dgm:pt modelId="{4A233984-7CEF-4B96-A5DF-F858E7F641D7}" type="pres">
      <dgm:prSet presAssocID="{FE20A0B7-08B2-4AA2-A7B7-2B05265230F9}" presName="descendantText" presStyleLbl="alignAcc1" presStyleIdx="0" presStyleCnt="3">
        <dgm:presLayoutVars>
          <dgm:bulletEnabled val="1"/>
        </dgm:presLayoutVars>
      </dgm:prSet>
      <dgm:spPr/>
    </dgm:pt>
    <dgm:pt modelId="{89AD4C25-F069-4D1B-B874-CADD553F88A3}" type="pres">
      <dgm:prSet presAssocID="{BB7D09BD-0D8C-4C8A-9129-94BAE36E4F1B}" presName="sp" presStyleCnt="0"/>
      <dgm:spPr/>
    </dgm:pt>
    <dgm:pt modelId="{E5F56768-5040-4656-9851-68CA115EAE16}" type="pres">
      <dgm:prSet presAssocID="{A690FD44-B7EC-4FCF-8F26-67473BCCF5F9}" presName="composite" presStyleCnt="0"/>
      <dgm:spPr/>
    </dgm:pt>
    <dgm:pt modelId="{0E98A8E8-D4F3-45EC-90D1-F7ABC1E4D045}" type="pres">
      <dgm:prSet presAssocID="{A690FD44-B7EC-4FCF-8F26-67473BCCF5F9}" presName="parentText" presStyleLbl="alignNode1" presStyleIdx="1" presStyleCnt="3">
        <dgm:presLayoutVars>
          <dgm:chMax val="1"/>
          <dgm:bulletEnabled val="1"/>
        </dgm:presLayoutVars>
      </dgm:prSet>
      <dgm:spPr/>
    </dgm:pt>
    <dgm:pt modelId="{B517EF5E-623B-46DA-A666-7643EFD21D39}" type="pres">
      <dgm:prSet presAssocID="{A690FD44-B7EC-4FCF-8F26-67473BCCF5F9}" presName="descendantText" presStyleLbl="alignAcc1" presStyleIdx="1" presStyleCnt="3">
        <dgm:presLayoutVars>
          <dgm:bulletEnabled val="1"/>
        </dgm:presLayoutVars>
      </dgm:prSet>
      <dgm:spPr/>
    </dgm:pt>
    <dgm:pt modelId="{AFA87303-4D33-4DE1-B935-469F4A458F7D}" type="pres">
      <dgm:prSet presAssocID="{E8312D85-541A-4E23-B0CC-77F9800334C9}" presName="sp" presStyleCnt="0"/>
      <dgm:spPr/>
    </dgm:pt>
    <dgm:pt modelId="{A870660B-7868-41EF-A0B2-3965C7A5E85B}" type="pres">
      <dgm:prSet presAssocID="{76B9F07D-2CD4-4215-9D24-E5AE4A5A2B59}" presName="composite" presStyleCnt="0"/>
      <dgm:spPr/>
    </dgm:pt>
    <dgm:pt modelId="{B840F3DE-D70E-404D-A874-57E5777C6AC5}" type="pres">
      <dgm:prSet presAssocID="{76B9F07D-2CD4-4215-9D24-E5AE4A5A2B59}" presName="parentText" presStyleLbl="alignNode1" presStyleIdx="2" presStyleCnt="3">
        <dgm:presLayoutVars>
          <dgm:chMax val="1"/>
          <dgm:bulletEnabled val="1"/>
        </dgm:presLayoutVars>
      </dgm:prSet>
      <dgm:spPr/>
    </dgm:pt>
    <dgm:pt modelId="{3C6465B0-BF7A-49AD-8F5A-70F52952E310}" type="pres">
      <dgm:prSet presAssocID="{76B9F07D-2CD4-4215-9D24-E5AE4A5A2B59}" presName="descendantText" presStyleLbl="alignAcc1" presStyleIdx="2" presStyleCnt="3">
        <dgm:presLayoutVars>
          <dgm:bulletEnabled val="1"/>
        </dgm:presLayoutVars>
      </dgm:prSet>
      <dgm:spPr/>
    </dgm:pt>
  </dgm:ptLst>
  <dgm:cxnLst>
    <dgm:cxn modelId="{00CD8908-53B6-454B-B6C0-603F14C795EB}" srcId="{A690FD44-B7EC-4FCF-8F26-67473BCCF5F9}" destId="{9A823E61-56C2-4735-87FE-9714BDB79EF0}" srcOrd="1" destOrd="0" parTransId="{3361DA7D-0326-4CC0-9700-9049692B494D}" sibTransId="{B13E5C90-DB47-41F7-9E45-483147DB1A40}"/>
    <dgm:cxn modelId="{0A8A1809-F262-4D1F-AA03-5F73FE5E2F1B}" srcId="{76B9F07D-2CD4-4215-9D24-E5AE4A5A2B59}" destId="{3E6E1E57-F431-4D64-9F16-2F75BD6BDBB0}" srcOrd="1" destOrd="0" parTransId="{E39142FF-EEDE-43A8-BDA0-D366235E3C41}" sibTransId="{6D9BF938-D2B7-406B-8D38-ACA4140B274A}"/>
    <dgm:cxn modelId="{3143E80B-A7E6-4899-B4F9-6F3437737989}" srcId="{D9F3BC80-96CA-4222-9EAA-C465CA34B2C5}" destId="{76B9F07D-2CD4-4215-9D24-E5AE4A5A2B59}" srcOrd="2" destOrd="0" parTransId="{C831654B-350F-4B55-AD52-E254667A0C72}" sibTransId="{FCD5D2EB-0AD5-4F70-8ABA-07B287EF0F70}"/>
    <dgm:cxn modelId="{C25D2E2C-698E-42DA-8327-2235A3F44534}" srcId="{D9F3BC80-96CA-4222-9EAA-C465CA34B2C5}" destId="{FE20A0B7-08B2-4AA2-A7B7-2B05265230F9}" srcOrd="0" destOrd="0" parTransId="{25B1C657-2598-4B47-B662-F732298B735A}" sibTransId="{BB7D09BD-0D8C-4C8A-9129-94BAE36E4F1B}"/>
    <dgm:cxn modelId="{6ABE905D-1FD7-40C4-958A-BEB34C872D98}" srcId="{A690FD44-B7EC-4FCF-8F26-67473BCCF5F9}" destId="{2AE5DB38-5894-40FC-9225-67E70C57C363}" srcOrd="2" destOrd="0" parTransId="{8A42BAEA-0906-4D66-B553-98B1A28D73F7}" sibTransId="{C743A554-1B7F-4FFB-825A-7EF2979A9896}"/>
    <dgm:cxn modelId="{E531B261-7412-4A20-910C-1AA712C56EA3}" type="presOf" srcId="{00B548DC-D493-4119-B7CE-BAB0C0B03456}" destId="{4A233984-7CEF-4B96-A5DF-F858E7F641D7}" srcOrd="0" destOrd="0" presId="urn:microsoft.com/office/officeart/2005/8/layout/chevron2"/>
    <dgm:cxn modelId="{A21ECD68-0AE5-4569-A31C-DEEDF00F0D28}" srcId="{FE20A0B7-08B2-4AA2-A7B7-2B05265230F9}" destId="{00B548DC-D493-4119-B7CE-BAB0C0B03456}" srcOrd="0" destOrd="0" parTransId="{7635138C-0FD5-4619-A8B3-B2D779AF237E}" sibTransId="{F4CDF4D5-2704-485B-86B9-9BA1B458828C}"/>
    <dgm:cxn modelId="{E114206C-8FE6-4346-8579-4DA9762CC1A9}" srcId="{76B9F07D-2CD4-4215-9D24-E5AE4A5A2B59}" destId="{15BA628F-242F-418D-8C2A-9C51658B7926}" srcOrd="2" destOrd="0" parTransId="{8CFFBBAB-CF4D-45B7-8F43-695023A79557}" sibTransId="{A66636E7-1AF9-4A89-99E7-1589431041CB}"/>
    <dgm:cxn modelId="{EE61A06F-EEB4-4993-94F4-C876412A9264}" type="presOf" srcId="{15BA628F-242F-418D-8C2A-9C51658B7926}" destId="{3C6465B0-BF7A-49AD-8F5A-70F52952E310}" srcOrd="0" destOrd="2" presId="urn:microsoft.com/office/officeart/2005/8/layout/chevron2"/>
    <dgm:cxn modelId="{A6CB4050-9E48-40A5-88C9-54B270426696}" type="presOf" srcId="{76B9F07D-2CD4-4215-9D24-E5AE4A5A2B59}" destId="{B840F3DE-D70E-404D-A874-57E5777C6AC5}" srcOrd="0" destOrd="0" presId="urn:microsoft.com/office/officeart/2005/8/layout/chevron2"/>
    <dgm:cxn modelId="{12A8C670-C4F8-402B-B275-CCCCE1A1D683}" type="presOf" srcId="{D9F3BC80-96CA-4222-9EAA-C465CA34B2C5}" destId="{1D55D145-E1B2-4D7D-A612-E8A7D452FB34}" srcOrd="0" destOrd="0" presId="urn:microsoft.com/office/officeart/2005/8/layout/chevron2"/>
    <dgm:cxn modelId="{1F72C751-C17D-43B7-94BB-DFA5E9B7DC52}" srcId="{A690FD44-B7EC-4FCF-8F26-67473BCCF5F9}" destId="{DE6088C6-2771-468A-A16F-DE89C6F67BBC}" srcOrd="0" destOrd="0" parTransId="{10FFF334-12FA-46DF-9DAA-16AC41248C53}" sibTransId="{088A9908-0A56-45E8-AA45-FD6FC0FA884F}"/>
    <dgm:cxn modelId="{BC2FFD78-7BE7-481C-895C-027AB9FA58BF}" type="presOf" srcId="{2AE5DB38-5894-40FC-9225-67E70C57C363}" destId="{B517EF5E-623B-46DA-A666-7643EFD21D39}" srcOrd="0" destOrd="2" presId="urn:microsoft.com/office/officeart/2005/8/layout/chevron2"/>
    <dgm:cxn modelId="{8D02CBA5-9E2C-40D7-A944-453BF32E7884}" type="presOf" srcId="{DE6088C6-2771-468A-A16F-DE89C6F67BBC}" destId="{B517EF5E-623B-46DA-A666-7643EFD21D39}" srcOrd="0" destOrd="0" presId="urn:microsoft.com/office/officeart/2005/8/layout/chevron2"/>
    <dgm:cxn modelId="{18020AAE-3B6C-4A0D-A1C2-7C704969CC77}" type="presOf" srcId="{68BA27E6-E0DB-40E6-9B2C-3F0E1D190104}" destId="{3C6465B0-BF7A-49AD-8F5A-70F52952E310}" srcOrd="0" destOrd="0" presId="urn:microsoft.com/office/officeart/2005/8/layout/chevron2"/>
    <dgm:cxn modelId="{3B199EAE-63B3-4B47-8FDC-BA5E9FBB1E5E}" type="presOf" srcId="{A690FD44-B7EC-4FCF-8F26-67473BCCF5F9}" destId="{0E98A8E8-D4F3-45EC-90D1-F7ABC1E4D045}" srcOrd="0" destOrd="0" presId="urn:microsoft.com/office/officeart/2005/8/layout/chevron2"/>
    <dgm:cxn modelId="{7C6981B2-0A4A-470B-B895-2F83708B269D}" type="presOf" srcId="{FE20A0B7-08B2-4AA2-A7B7-2B05265230F9}" destId="{B33C0535-746D-46DC-870D-BD9302E95C49}" srcOrd="0" destOrd="0" presId="urn:microsoft.com/office/officeart/2005/8/layout/chevron2"/>
    <dgm:cxn modelId="{ECD2B2BA-F601-4C8A-9E0F-B7B2069A9531}" srcId="{D9F3BC80-96CA-4222-9EAA-C465CA34B2C5}" destId="{A690FD44-B7EC-4FCF-8F26-67473BCCF5F9}" srcOrd="1" destOrd="0" parTransId="{4D64440D-ADBA-46FB-A551-B46CD82A0938}" sibTransId="{E8312D85-541A-4E23-B0CC-77F9800334C9}"/>
    <dgm:cxn modelId="{0E2A6DBD-2F94-4725-AFAB-AB37A7061D9E}" srcId="{76B9F07D-2CD4-4215-9D24-E5AE4A5A2B59}" destId="{68BA27E6-E0DB-40E6-9B2C-3F0E1D190104}" srcOrd="0" destOrd="0" parTransId="{C45E6624-85ED-4CC2-A5ED-FE65175AB183}" sibTransId="{41A92FDB-293C-4A2F-9DF1-B0ED21BEE771}"/>
    <dgm:cxn modelId="{D0F6ACC9-15E0-4B9A-8D54-C3FE246DD4AC}" type="presOf" srcId="{9A823E61-56C2-4735-87FE-9714BDB79EF0}" destId="{B517EF5E-623B-46DA-A666-7643EFD21D39}" srcOrd="0" destOrd="1" presId="urn:microsoft.com/office/officeart/2005/8/layout/chevron2"/>
    <dgm:cxn modelId="{E1B0EAD0-7E9F-42EB-A584-33D27C02C359}" type="presOf" srcId="{3E6E1E57-F431-4D64-9F16-2F75BD6BDBB0}" destId="{3C6465B0-BF7A-49AD-8F5A-70F52952E310}" srcOrd="0" destOrd="1" presId="urn:microsoft.com/office/officeart/2005/8/layout/chevron2"/>
    <dgm:cxn modelId="{D52C90DE-065B-42B7-8089-95268AB207B9}" type="presParOf" srcId="{1D55D145-E1B2-4D7D-A612-E8A7D452FB34}" destId="{B1A799D3-8E5E-4464-BF20-674A8B99BB8C}" srcOrd="0" destOrd="0" presId="urn:microsoft.com/office/officeart/2005/8/layout/chevron2"/>
    <dgm:cxn modelId="{F42294B7-9497-445C-93AE-CDF3AB2B5280}" type="presParOf" srcId="{B1A799D3-8E5E-4464-BF20-674A8B99BB8C}" destId="{B33C0535-746D-46DC-870D-BD9302E95C49}" srcOrd="0" destOrd="0" presId="urn:microsoft.com/office/officeart/2005/8/layout/chevron2"/>
    <dgm:cxn modelId="{D5914546-287B-4205-8402-7F160799F540}" type="presParOf" srcId="{B1A799D3-8E5E-4464-BF20-674A8B99BB8C}" destId="{4A233984-7CEF-4B96-A5DF-F858E7F641D7}" srcOrd="1" destOrd="0" presId="urn:microsoft.com/office/officeart/2005/8/layout/chevron2"/>
    <dgm:cxn modelId="{9435B141-BD81-43D4-A8D1-496D75481742}" type="presParOf" srcId="{1D55D145-E1B2-4D7D-A612-E8A7D452FB34}" destId="{89AD4C25-F069-4D1B-B874-CADD553F88A3}" srcOrd="1" destOrd="0" presId="urn:microsoft.com/office/officeart/2005/8/layout/chevron2"/>
    <dgm:cxn modelId="{9EAD2B5F-736E-4830-B0A8-C95B4F8E5F70}" type="presParOf" srcId="{1D55D145-E1B2-4D7D-A612-E8A7D452FB34}" destId="{E5F56768-5040-4656-9851-68CA115EAE16}" srcOrd="2" destOrd="0" presId="urn:microsoft.com/office/officeart/2005/8/layout/chevron2"/>
    <dgm:cxn modelId="{CC236E75-16A9-43BA-BEA5-285F11F3F819}" type="presParOf" srcId="{E5F56768-5040-4656-9851-68CA115EAE16}" destId="{0E98A8E8-D4F3-45EC-90D1-F7ABC1E4D045}" srcOrd="0" destOrd="0" presId="urn:microsoft.com/office/officeart/2005/8/layout/chevron2"/>
    <dgm:cxn modelId="{87EB953F-7C20-435E-8AE0-E5CBA7D9099B}" type="presParOf" srcId="{E5F56768-5040-4656-9851-68CA115EAE16}" destId="{B517EF5E-623B-46DA-A666-7643EFD21D39}" srcOrd="1" destOrd="0" presId="urn:microsoft.com/office/officeart/2005/8/layout/chevron2"/>
    <dgm:cxn modelId="{BCC4EAB9-16E4-4B64-9596-6E4721F8D920}" type="presParOf" srcId="{1D55D145-E1B2-4D7D-A612-E8A7D452FB34}" destId="{AFA87303-4D33-4DE1-B935-469F4A458F7D}" srcOrd="3" destOrd="0" presId="urn:microsoft.com/office/officeart/2005/8/layout/chevron2"/>
    <dgm:cxn modelId="{F8A6DFD1-BC0B-4B43-A12F-9BDCEB9D2C6D}" type="presParOf" srcId="{1D55D145-E1B2-4D7D-A612-E8A7D452FB34}" destId="{A870660B-7868-41EF-A0B2-3965C7A5E85B}" srcOrd="4" destOrd="0" presId="urn:microsoft.com/office/officeart/2005/8/layout/chevron2"/>
    <dgm:cxn modelId="{FE2F2482-B0B7-40DF-9BB0-2952BDA06634}" type="presParOf" srcId="{A870660B-7868-41EF-A0B2-3965C7A5E85B}" destId="{B840F3DE-D70E-404D-A874-57E5777C6AC5}" srcOrd="0" destOrd="0" presId="urn:microsoft.com/office/officeart/2005/8/layout/chevron2"/>
    <dgm:cxn modelId="{948A366B-E108-4333-A94F-7F59AF4C170F}" type="presParOf" srcId="{A870660B-7868-41EF-A0B2-3965C7A5E85B}" destId="{3C6465B0-BF7A-49AD-8F5A-70F52952E310}" srcOrd="1" destOrd="0" presId="urn:microsoft.com/office/officeart/2005/8/layout/chevron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CA119D1D-860F-42DB-98CB-1F2986D3D52E}" type="doc">
      <dgm:prSet loTypeId="urn:microsoft.com/office/officeart/2005/8/layout/cycle6" loCatId="cycle" qsTypeId="urn:microsoft.com/office/officeart/2005/8/quickstyle/simple1" qsCatId="simple" csTypeId="urn:microsoft.com/office/officeart/2005/8/colors/colorful2" csCatId="colorful" phldr="1"/>
      <dgm:spPr/>
      <dgm:t>
        <a:bodyPr/>
        <a:lstStyle/>
        <a:p>
          <a:endParaRPr lang="it-IT"/>
        </a:p>
      </dgm:t>
    </dgm:pt>
    <dgm:pt modelId="{A9EFDB75-3C20-45F4-AC2D-765BDE115D12}">
      <dgm:prSet phldrT="[Testo]"/>
      <dgm:spPr/>
      <dgm:t>
        <a:bodyPr/>
        <a:lstStyle/>
        <a:p>
          <a:r>
            <a:rPr lang="it-IT" dirty="0"/>
            <a:t>Sostenibilità</a:t>
          </a:r>
        </a:p>
      </dgm:t>
    </dgm:pt>
    <dgm:pt modelId="{7EDE5D32-AD94-4361-9501-6A6D9D208B9E}" type="parTrans" cxnId="{423BD73C-51F1-4E04-BA9C-2FD261D7E2AA}">
      <dgm:prSet/>
      <dgm:spPr/>
      <dgm:t>
        <a:bodyPr/>
        <a:lstStyle/>
        <a:p>
          <a:endParaRPr lang="it-IT"/>
        </a:p>
      </dgm:t>
    </dgm:pt>
    <dgm:pt modelId="{902240A6-89B1-4C99-8891-39FC4A47A208}" type="sibTrans" cxnId="{423BD73C-51F1-4E04-BA9C-2FD261D7E2AA}">
      <dgm:prSet/>
      <dgm:spPr/>
      <dgm:t>
        <a:bodyPr/>
        <a:lstStyle/>
        <a:p>
          <a:endParaRPr lang="it-IT"/>
        </a:p>
      </dgm:t>
    </dgm:pt>
    <dgm:pt modelId="{A7830C7A-9E33-4D54-98D0-1A05A1745481}">
      <dgm:prSet phldrT="[Testo]"/>
      <dgm:spPr/>
      <dgm:t>
        <a:bodyPr/>
        <a:lstStyle/>
        <a:p>
          <a:r>
            <a:rPr lang="it-IT" dirty="0"/>
            <a:t>Circolarità</a:t>
          </a:r>
        </a:p>
      </dgm:t>
    </dgm:pt>
    <dgm:pt modelId="{2B69D8D1-F749-4586-8553-E7594E5831DF}" type="parTrans" cxnId="{1A962438-1E03-4E36-A091-0E259916D894}">
      <dgm:prSet/>
      <dgm:spPr/>
      <dgm:t>
        <a:bodyPr/>
        <a:lstStyle/>
        <a:p>
          <a:endParaRPr lang="it-IT"/>
        </a:p>
      </dgm:t>
    </dgm:pt>
    <dgm:pt modelId="{09EDD836-F7D7-4539-94CB-85FFDAD6949C}" type="sibTrans" cxnId="{1A962438-1E03-4E36-A091-0E259916D894}">
      <dgm:prSet/>
      <dgm:spPr/>
      <dgm:t>
        <a:bodyPr/>
        <a:lstStyle/>
        <a:p>
          <a:endParaRPr lang="it-IT"/>
        </a:p>
      </dgm:t>
    </dgm:pt>
    <dgm:pt modelId="{BEC51E86-4DF0-4DCD-BA59-FC9E07AFF22E}">
      <dgm:prSet phldrT="[Testo]"/>
      <dgm:spPr/>
      <dgm:t>
        <a:bodyPr/>
        <a:lstStyle/>
        <a:p>
          <a:r>
            <a:rPr lang="it-IT" dirty="0"/>
            <a:t>Trasparenza</a:t>
          </a:r>
        </a:p>
      </dgm:t>
    </dgm:pt>
    <dgm:pt modelId="{9A3CEE7B-43D1-457E-84F9-E9BD7DBB2C6C}" type="parTrans" cxnId="{42D959A0-E375-4DDD-B32E-3F2AA76CEB24}">
      <dgm:prSet/>
      <dgm:spPr/>
      <dgm:t>
        <a:bodyPr/>
        <a:lstStyle/>
        <a:p>
          <a:endParaRPr lang="it-IT"/>
        </a:p>
      </dgm:t>
    </dgm:pt>
    <dgm:pt modelId="{B7B08FAE-02D8-4070-9837-93897F600B2C}" type="sibTrans" cxnId="{42D959A0-E375-4DDD-B32E-3F2AA76CEB24}">
      <dgm:prSet/>
      <dgm:spPr/>
      <dgm:t>
        <a:bodyPr/>
        <a:lstStyle/>
        <a:p>
          <a:endParaRPr lang="it-IT"/>
        </a:p>
      </dgm:t>
    </dgm:pt>
    <dgm:pt modelId="{0CCEF716-9603-4C0A-960A-7FE2BD2B410F}">
      <dgm:prSet phldrT="[Testo]"/>
      <dgm:spPr/>
      <dgm:t>
        <a:bodyPr/>
        <a:lstStyle/>
        <a:p>
          <a:r>
            <a:rPr lang="it-IT" dirty="0"/>
            <a:t>Tracciabilità</a:t>
          </a:r>
        </a:p>
      </dgm:t>
    </dgm:pt>
    <dgm:pt modelId="{323EE9B4-4AFC-49DA-9C60-3834781DCCC7}" type="parTrans" cxnId="{C2604821-F715-4E5D-B3C2-F5EADB3BF466}">
      <dgm:prSet/>
      <dgm:spPr/>
      <dgm:t>
        <a:bodyPr/>
        <a:lstStyle/>
        <a:p>
          <a:endParaRPr lang="it-IT"/>
        </a:p>
      </dgm:t>
    </dgm:pt>
    <dgm:pt modelId="{772BB3B8-B80A-491A-9A7C-33FB70C32E37}" type="sibTrans" cxnId="{C2604821-F715-4E5D-B3C2-F5EADB3BF466}">
      <dgm:prSet/>
      <dgm:spPr/>
      <dgm:t>
        <a:bodyPr/>
        <a:lstStyle/>
        <a:p>
          <a:endParaRPr lang="it-IT"/>
        </a:p>
      </dgm:t>
    </dgm:pt>
    <dgm:pt modelId="{34091427-89B8-47A5-8738-88786B76F2E4}">
      <dgm:prSet phldrT="[Testo]"/>
      <dgm:spPr/>
      <dgm:t>
        <a:bodyPr/>
        <a:lstStyle/>
        <a:p>
          <a:r>
            <a:rPr lang="it-IT" dirty="0"/>
            <a:t>Efficienza energetica</a:t>
          </a:r>
        </a:p>
      </dgm:t>
    </dgm:pt>
    <dgm:pt modelId="{C8F1874C-48AB-4692-9CBA-E5D0EAD42E1F}" type="parTrans" cxnId="{FD387500-B784-45F1-A383-56E85DD8C390}">
      <dgm:prSet/>
      <dgm:spPr/>
      <dgm:t>
        <a:bodyPr/>
        <a:lstStyle/>
        <a:p>
          <a:endParaRPr lang="it-IT"/>
        </a:p>
      </dgm:t>
    </dgm:pt>
    <dgm:pt modelId="{F7CDBA6B-1C0C-4173-8804-425502B514B0}" type="sibTrans" cxnId="{FD387500-B784-45F1-A383-56E85DD8C390}">
      <dgm:prSet/>
      <dgm:spPr/>
      <dgm:t>
        <a:bodyPr/>
        <a:lstStyle/>
        <a:p>
          <a:endParaRPr lang="it-IT"/>
        </a:p>
      </dgm:t>
    </dgm:pt>
    <dgm:pt modelId="{84246DC2-BDD0-4BA8-920E-456BFB5C1B0D}" type="pres">
      <dgm:prSet presAssocID="{CA119D1D-860F-42DB-98CB-1F2986D3D52E}" presName="cycle" presStyleCnt="0">
        <dgm:presLayoutVars>
          <dgm:dir/>
          <dgm:resizeHandles val="exact"/>
        </dgm:presLayoutVars>
      </dgm:prSet>
      <dgm:spPr/>
    </dgm:pt>
    <dgm:pt modelId="{D4F0CCE4-CD13-4E5E-B802-D935575B147D}" type="pres">
      <dgm:prSet presAssocID="{A9EFDB75-3C20-45F4-AC2D-765BDE115D12}" presName="node" presStyleLbl="node1" presStyleIdx="0" presStyleCnt="5">
        <dgm:presLayoutVars>
          <dgm:bulletEnabled val="1"/>
        </dgm:presLayoutVars>
      </dgm:prSet>
      <dgm:spPr/>
    </dgm:pt>
    <dgm:pt modelId="{ECB47AA9-5EFC-4899-9854-D5CF280DB3FB}" type="pres">
      <dgm:prSet presAssocID="{A9EFDB75-3C20-45F4-AC2D-765BDE115D12}" presName="spNode" presStyleCnt="0"/>
      <dgm:spPr/>
    </dgm:pt>
    <dgm:pt modelId="{6E6911D6-0DD9-4AA6-9E2F-16158D9B6D3E}" type="pres">
      <dgm:prSet presAssocID="{902240A6-89B1-4C99-8891-39FC4A47A208}" presName="sibTrans" presStyleLbl="sibTrans1D1" presStyleIdx="0" presStyleCnt="5"/>
      <dgm:spPr/>
    </dgm:pt>
    <dgm:pt modelId="{2F7A3F37-C852-4086-8D0D-AEBB770CC7B7}" type="pres">
      <dgm:prSet presAssocID="{A7830C7A-9E33-4D54-98D0-1A05A1745481}" presName="node" presStyleLbl="node1" presStyleIdx="1" presStyleCnt="5">
        <dgm:presLayoutVars>
          <dgm:bulletEnabled val="1"/>
        </dgm:presLayoutVars>
      </dgm:prSet>
      <dgm:spPr/>
    </dgm:pt>
    <dgm:pt modelId="{74E9D9D6-2EB5-47D8-BD60-A1B7FAA849E9}" type="pres">
      <dgm:prSet presAssocID="{A7830C7A-9E33-4D54-98D0-1A05A1745481}" presName="spNode" presStyleCnt="0"/>
      <dgm:spPr/>
    </dgm:pt>
    <dgm:pt modelId="{E5E942CE-0130-4639-85CA-B186035A932B}" type="pres">
      <dgm:prSet presAssocID="{09EDD836-F7D7-4539-94CB-85FFDAD6949C}" presName="sibTrans" presStyleLbl="sibTrans1D1" presStyleIdx="1" presStyleCnt="5"/>
      <dgm:spPr/>
    </dgm:pt>
    <dgm:pt modelId="{6E4155FA-E130-4F14-8BFB-6FD35AADB747}" type="pres">
      <dgm:prSet presAssocID="{BEC51E86-4DF0-4DCD-BA59-FC9E07AFF22E}" presName="node" presStyleLbl="node1" presStyleIdx="2" presStyleCnt="5">
        <dgm:presLayoutVars>
          <dgm:bulletEnabled val="1"/>
        </dgm:presLayoutVars>
      </dgm:prSet>
      <dgm:spPr/>
    </dgm:pt>
    <dgm:pt modelId="{B879E3DD-C47D-4A71-BA31-CC360559722D}" type="pres">
      <dgm:prSet presAssocID="{BEC51E86-4DF0-4DCD-BA59-FC9E07AFF22E}" presName="spNode" presStyleCnt="0"/>
      <dgm:spPr/>
    </dgm:pt>
    <dgm:pt modelId="{98D8B2A8-D6D3-49D1-BC14-AE83807F8AB8}" type="pres">
      <dgm:prSet presAssocID="{B7B08FAE-02D8-4070-9837-93897F600B2C}" presName="sibTrans" presStyleLbl="sibTrans1D1" presStyleIdx="2" presStyleCnt="5"/>
      <dgm:spPr/>
    </dgm:pt>
    <dgm:pt modelId="{F00631FB-0FED-43DB-AF5F-07682E57C92A}" type="pres">
      <dgm:prSet presAssocID="{0CCEF716-9603-4C0A-960A-7FE2BD2B410F}" presName="node" presStyleLbl="node1" presStyleIdx="3" presStyleCnt="5">
        <dgm:presLayoutVars>
          <dgm:bulletEnabled val="1"/>
        </dgm:presLayoutVars>
      </dgm:prSet>
      <dgm:spPr/>
    </dgm:pt>
    <dgm:pt modelId="{BCEA409C-4DB5-478C-A2A7-4D3419C86325}" type="pres">
      <dgm:prSet presAssocID="{0CCEF716-9603-4C0A-960A-7FE2BD2B410F}" presName="spNode" presStyleCnt="0"/>
      <dgm:spPr/>
    </dgm:pt>
    <dgm:pt modelId="{307E5E87-3D11-4CD9-9776-EA021439CE8A}" type="pres">
      <dgm:prSet presAssocID="{772BB3B8-B80A-491A-9A7C-33FB70C32E37}" presName="sibTrans" presStyleLbl="sibTrans1D1" presStyleIdx="3" presStyleCnt="5"/>
      <dgm:spPr/>
    </dgm:pt>
    <dgm:pt modelId="{9792674C-DCC0-45F8-821F-2477743BB147}" type="pres">
      <dgm:prSet presAssocID="{34091427-89B8-47A5-8738-88786B76F2E4}" presName="node" presStyleLbl="node1" presStyleIdx="4" presStyleCnt="5">
        <dgm:presLayoutVars>
          <dgm:bulletEnabled val="1"/>
        </dgm:presLayoutVars>
      </dgm:prSet>
      <dgm:spPr/>
    </dgm:pt>
    <dgm:pt modelId="{96AAB637-99C6-492E-95A4-9EFB0496BE92}" type="pres">
      <dgm:prSet presAssocID="{34091427-89B8-47A5-8738-88786B76F2E4}" presName="spNode" presStyleCnt="0"/>
      <dgm:spPr/>
    </dgm:pt>
    <dgm:pt modelId="{BFADC036-18CA-408D-9CB3-FCF707B38763}" type="pres">
      <dgm:prSet presAssocID="{F7CDBA6B-1C0C-4173-8804-425502B514B0}" presName="sibTrans" presStyleLbl="sibTrans1D1" presStyleIdx="4" presStyleCnt="5"/>
      <dgm:spPr/>
    </dgm:pt>
  </dgm:ptLst>
  <dgm:cxnLst>
    <dgm:cxn modelId="{FD387500-B784-45F1-A383-56E85DD8C390}" srcId="{CA119D1D-860F-42DB-98CB-1F2986D3D52E}" destId="{34091427-89B8-47A5-8738-88786B76F2E4}" srcOrd="4" destOrd="0" parTransId="{C8F1874C-48AB-4692-9CBA-E5D0EAD42E1F}" sibTransId="{F7CDBA6B-1C0C-4173-8804-425502B514B0}"/>
    <dgm:cxn modelId="{B3F1A300-D92C-443D-ACAA-23E700898C83}" type="presOf" srcId="{F7CDBA6B-1C0C-4173-8804-425502B514B0}" destId="{BFADC036-18CA-408D-9CB3-FCF707B38763}" srcOrd="0" destOrd="0" presId="urn:microsoft.com/office/officeart/2005/8/layout/cycle6"/>
    <dgm:cxn modelId="{AA4FCF03-520B-485D-B011-D2DFA2BD6748}" type="presOf" srcId="{902240A6-89B1-4C99-8891-39FC4A47A208}" destId="{6E6911D6-0DD9-4AA6-9E2F-16158D9B6D3E}" srcOrd="0" destOrd="0" presId="urn:microsoft.com/office/officeart/2005/8/layout/cycle6"/>
    <dgm:cxn modelId="{7B191413-A4E6-43F3-AC98-5E1869045759}" type="presOf" srcId="{0CCEF716-9603-4C0A-960A-7FE2BD2B410F}" destId="{F00631FB-0FED-43DB-AF5F-07682E57C92A}" srcOrd="0" destOrd="0" presId="urn:microsoft.com/office/officeart/2005/8/layout/cycle6"/>
    <dgm:cxn modelId="{C2604821-F715-4E5D-B3C2-F5EADB3BF466}" srcId="{CA119D1D-860F-42DB-98CB-1F2986D3D52E}" destId="{0CCEF716-9603-4C0A-960A-7FE2BD2B410F}" srcOrd="3" destOrd="0" parTransId="{323EE9B4-4AFC-49DA-9C60-3834781DCCC7}" sibTransId="{772BB3B8-B80A-491A-9A7C-33FB70C32E37}"/>
    <dgm:cxn modelId="{8BFF822C-4A32-4945-97CA-5D9D4F9338A2}" type="presOf" srcId="{A7830C7A-9E33-4D54-98D0-1A05A1745481}" destId="{2F7A3F37-C852-4086-8D0D-AEBB770CC7B7}" srcOrd="0" destOrd="0" presId="urn:microsoft.com/office/officeart/2005/8/layout/cycle6"/>
    <dgm:cxn modelId="{1A962438-1E03-4E36-A091-0E259916D894}" srcId="{CA119D1D-860F-42DB-98CB-1F2986D3D52E}" destId="{A7830C7A-9E33-4D54-98D0-1A05A1745481}" srcOrd="1" destOrd="0" parTransId="{2B69D8D1-F749-4586-8553-E7594E5831DF}" sibTransId="{09EDD836-F7D7-4539-94CB-85FFDAD6949C}"/>
    <dgm:cxn modelId="{423BD73C-51F1-4E04-BA9C-2FD261D7E2AA}" srcId="{CA119D1D-860F-42DB-98CB-1F2986D3D52E}" destId="{A9EFDB75-3C20-45F4-AC2D-765BDE115D12}" srcOrd="0" destOrd="0" parTransId="{7EDE5D32-AD94-4361-9501-6A6D9D208B9E}" sibTransId="{902240A6-89B1-4C99-8891-39FC4A47A208}"/>
    <dgm:cxn modelId="{84F00F67-A11B-4BC5-807F-9397AEC420B4}" type="presOf" srcId="{09EDD836-F7D7-4539-94CB-85FFDAD6949C}" destId="{E5E942CE-0130-4639-85CA-B186035A932B}" srcOrd="0" destOrd="0" presId="urn:microsoft.com/office/officeart/2005/8/layout/cycle6"/>
    <dgm:cxn modelId="{82866572-C6DB-4326-83CE-33799A027A69}" type="presOf" srcId="{34091427-89B8-47A5-8738-88786B76F2E4}" destId="{9792674C-DCC0-45F8-821F-2477743BB147}" srcOrd="0" destOrd="0" presId="urn:microsoft.com/office/officeart/2005/8/layout/cycle6"/>
    <dgm:cxn modelId="{EE7EBD91-C6F1-4D3E-B2F2-DCCC3DCF871A}" type="presOf" srcId="{A9EFDB75-3C20-45F4-AC2D-765BDE115D12}" destId="{D4F0CCE4-CD13-4E5E-B802-D935575B147D}" srcOrd="0" destOrd="0" presId="urn:microsoft.com/office/officeart/2005/8/layout/cycle6"/>
    <dgm:cxn modelId="{2CFFBE92-F5FD-44FD-AE0E-EFB964361587}" type="presOf" srcId="{B7B08FAE-02D8-4070-9837-93897F600B2C}" destId="{98D8B2A8-D6D3-49D1-BC14-AE83807F8AB8}" srcOrd="0" destOrd="0" presId="urn:microsoft.com/office/officeart/2005/8/layout/cycle6"/>
    <dgm:cxn modelId="{42D959A0-E375-4DDD-B32E-3F2AA76CEB24}" srcId="{CA119D1D-860F-42DB-98CB-1F2986D3D52E}" destId="{BEC51E86-4DF0-4DCD-BA59-FC9E07AFF22E}" srcOrd="2" destOrd="0" parTransId="{9A3CEE7B-43D1-457E-84F9-E9BD7DBB2C6C}" sibTransId="{B7B08FAE-02D8-4070-9837-93897F600B2C}"/>
    <dgm:cxn modelId="{20B75BC5-F5FA-4743-9A4D-1AE71041D6A3}" type="presOf" srcId="{772BB3B8-B80A-491A-9A7C-33FB70C32E37}" destId="{307E5E87-3D11-4CD9-9776-EA021439CE8A}" srcOrd="0" destOrd="0" presId="urn:microsoft.com/office/officeart/2005/8/layout/cycle6"/>
    <dgm:cxn modelId="{C7C71EE3-C1C9-4BC8-AD00-2F1AD02A8FC1}" type="presOf" srcId="{CA119D1D-860F-42DB-98CB-1F2986D3D52E}" destId="{84246DC2-BDD0-4BA8-920E-456BFB5C1B0D}" srcOrd="0" destOrd="0" presId="urn:microsoft.com/office/officeart/2005/8/layout/cycle6"/>
    <dgm:cxn modelId="{051278F9-5951-49C9-B636-19FAAA1B3010}" type="presOf" srcId="{BEC51E86-4DF0-4DCD-BA59-FC9E07AFF22E}" destId="{6E4155FA-E130-4F14-8BFB-6FD35AADB747}" srcOrd="0" destOrd="0" presId="urn:microsoft.com/office/officeart/2005/8/layout/cycle6"/>
    <dgm:cxn modelId="{71780FC1-753F-4BF8-8ED7-99B1A46EF668}" type="presParOf" srcId="{84246DC2-BDD0-4BA8-920E-456BFB5C1B0D}" destId="{D4F0CCE4-CD13-4E5E-B802-D935575B147D}" srcOrd="0" destOrd="0" presId="urn:microsoft.com/office/officeart/2005/8/layout/cycle6"/>
    <dgm:cxn modelId="{C38BF3B6-ED6B-452F-A115-188976CD6A31}" type="presParOf" srcId="{84246DC2-BDD0-4BA8-920E-456BFB5C1B0D}" destId="{ECB47AA9-5EFC-4899-9854-D5CF280DB3FB}" srcOrd="1" destOrd="0" presId="urn:microsoft.com/office/officeart/2005/8/layout/cycle6"/>
    <dgm:cxn modelId="{20FA60AB-4CAC-4571-8B39-96B7F97CD327}" type="presParOf" srcId="{84246DC2-BDD0-4BA8-920E-456BFB5C1B0D}" destId="{6E6911D6-0DD9-4AA6-9E2F-16158D9B6D3E}" srcOrd="2" destOrd="0" presId="urn:microsoft.com/office/officeart/2005/8/layout/cycle6"/>
    <dgm:cxn modelId="{E0728615-F629-4AE9-B735-F1D0A23E57E0}" type="presParOf" srcId="{84246DC2-BDD0-4BA8-920E-456BFB5C1B0D}" destId="{2F7A3F37-C852-4086-8D0D-AEBB770CC7B7}" srcOrd="3" destOrd="0" presId="urn:microsoft.com/office/officeart/2005/8/layout/cycle6"/>
    <dgm:cxn modelId="{66DA5E4D-16A4-4332-A755-19EB120D9182}" type="presParOf" srcId="{84246DC2-BDD0-4BA8-920E-456BFB5C1B0D}" destId="{74E9D9D6-2EB5-47D8-BD60-A1B7FAA849E9}" srcOrd="4" destOrd="0" presId="urn:microsoft.com/office/officeart/2005/8/layout/cycle6"/>
    <dgm:cxn modelId="{6BB86C9B-79E2-4190-BB19-15242D85D902}" type="presParOf" srcId="{84246DC2-BDD0-4BA8-920E-456BFB5C1B0D}" destId="{E5E942CE-0130-4639-85CA-B186035A932B}" srcOrd="5" destOrd="0" presId="urn:microsoft.com/office/officeart/2005/8/layout/cycle6"/>
    <dgm:cxn modelId="{6F3D5A18-D0D1-4F72-AF69-47B20462FF56}" type="presParOf" srcId="{84246DC2-BDD0-4BA8-920E-456BFB5C1B0D}" destId="{6E4155FA-E130-4F14-8BFB-6FD35AADB747}" srcOrd="6" destOrd="0" presId="urn:microsoft.com/office/officeart/2005/8/layout/cycle6"/>
    <dgm:cxn modelId="{1A2D7ED7-C0D1-42B8-B0C2-114C819B5783}" type="presParOf" srcId="{84246DC2-BDD0-4BA8-920E-456BFB5C1B0D}" destId="{B879E3DD-C47D-4A71-BA31-CC360559722D}" srcOrd="7" destOrd="0" presId="urn:microsoft.com/office/officeart/2005/8/layout/cycle6"/>
    <dgm:cxn modelId="{5288DA0E-EC3A-4342-9000-B5EA60486DE3}" type="presParOf" srcId="{84246DC2-BDD0-4BA8-920E-456BFB5C1B0D}" destId="{98D8B2A8-D6D3-49D1-BC14-AE83807F8AB8}" srcOrd="8" destOrd="0" presId="urn:microsoft.com/office/officeart/2005/8/layout/cycle6"/>
    <dgm:cxn modelId="{9B903FA5-1447-44A5-A0CC-AA431BBD1F4D}" type="presParOf" srcId="{84246DC2-BDD0-4BA8-920E-456BFB5C1B0D}" destId="{F00631FB-0FED-43DB-AF5F-07682E57C92A}" srcOrd="9" destOrd="0" presId="urn:microsoft.com/office/officeart/2005/8/layout/cycle6"/>
    <dgm:cxn modelId="{EF384A4F-5B53-44B5-B435-40D42EFB6988}" type="presParOf" srcId="{84246DC2-BDD0-4BA8-920E-456BFB5C1B0D}" destId="{BCEA409C-4DB5-478C-A2A7-4D3419C86325}" srcOrd="10" destOrd="0" presId="urn:microsoft.com/office/officeart/2005/8/layout/cycle6"/>
    <dgm:cxn modelId="{70726108-EF9F-44A1-952C-C55C86B226F7}" type="presParOf" srcId="{84246DC2-BDD0-4BA8-920E-456BFB5C1B0D}" destId="{307E5E87-3D11-4CD9-9776-EA021439CE8A}" srcOrd="11" destOrd="0" presId="urn:microsoft.com/office/officeart/2005/8/layout/cycle6"/>
    <dgm:cxn modelId="{C1CE2BB5-1107-4605-87CB-71A3AA13BDB1}" type="presParOf" srcId="{84246DC2-BDD0-4BA8-920E-456BFB5C1B0D}" destId="{9792674C-DCC0-45F8-821F-2477743BB147}" srcOrd="12" destOrd="0" presId="urn:microsoft.com/office/officeart/2005/8/layout/cycle6"/>
    <dgm:cxn modelId="{23416EC6-21C3-4E6A-9972-BEDB736CBFA3}" type="presParOf" srcId="{84246DC2-BDD0-4BA8-920E-456BFB5C1B0D}" destId="{96AAB637-99C6-492E-95A4-9EFB0496BE92}" srcOrd="13" destOrd="0" presId="urn:microsoft.com/office/officeart/2005/8/layout/cycle6"/>
    <dgm:cxn modelId="{E0D586C7-FAC7-4DEA-BF9A-0B04A93446DC}" type="presParOf" srcId="{84246DC2-BDD0-4BA8-920E-456BFB5C1B0D}" destId="{BFADC036-18CA-408D-9CB3-FCF707B38763}" srcOrd="14" destOrd="0" presId="urn:microsoft.com/office/officeart/2005/8/layout/cycle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7289584F-466A-4A63-B2B9-3D487F177E59}" type="doc">
      <dgm:prSet loTypeId="urn:microsoft.com/office/officeart/2005/8/layout/hProcess11" loCatId="process" qsTypeId="urn:microsoft.com/office/officeart/2005/8/quickstyle/simple1" qsCatId="simple" csTypeId="urn:microsoft.com/office/officeart/2005/8/colors/colorful1" csCatId="colorful" phldr="1"/>
      <dgm:spPr/>
      <dgm:t>
        <a:bodyPr/>
        <a:lstStyle/>
        <a:p>
          <a:endParaRPr lang="it-IT"/>
        </a:p>
      </dgm:t>
    </dgm:pt>
    <dgm:pt modelId="{53C0EEAE-3DB1-4E49-BE97-EA3C2E7093ED}">
      <dgm:prSet phldrT="[Testo]" custT="1"/>
      <dgm:spPr/>
      <dgm:t>
        <a:bodyPr/>
        <a:lstStyle/>
        <a:p>
          <a:r>
            <a:rPr lang="it-IT" sz="1600" dirty="0"/>
            <a:t>Adozione primo piano di lavoro</a:t>
          </a:r>
        </a:p>
        <a:p>
          <a:r>
            <a:rPr lang="it-IT" sz="1600" b="1" dirty="0"/>
            <a:t>19 aprile 2025</a:t>
          </a:r>
        </a:p>
      </dgm:t>
    </dgm:pt>
    <dgm:pt modelId="{DC7103FA-6851-40A6-BED3-D4F14F639F2D}" type="parTrans" cxnId="{769674E7-46D2-4952-B47B-A3CAD7624A8E}">
      <dgm:prSet/>
      <dgm:spPr/>
      <dgm:t>
        <a:bodyPr/>
        <a:lstStyle/>
        <a:p>
          <a:endParaRPr lang="it-IT"/>
        </a:p>
      </dgm:t>
    </dgm:pt>
    <dgm:pt modelId="{CD46CC52-A79A-45DF-A277-178F2CF68EE2}" type="sibTrans" cxnId="{769674E7-46D2-4952-B47B-A3CAD7624A8E}">
      <dgm:prSet/>
      <dgm:spPr/>
      <dgm:t>
        <a:bodyPr/>
        <a:lstStyle/>
        <a:p>
          <a:endParaRPr lang="it-IT"/>
        </a:p>
      </dgm:t>
    </dgm:pt>
    <dgm:pt modelId="{F70736B4-72BD-45F9-8E08-E591C0A1BF07}">
      <dgm:prSet phldrT="[Testo]" custT="1"/>
      <dgm:spPr/>
      <dgm:t>
        <a:bodyPr/>
        <a:lstStyle/>
        <a:p>
          <a:r>
            <a:rPr lang="it-IT" sz="1600" b="1" dirty="0"/>
            <a:t>19 luglio 2025</a:t>
          </a:r>
        </a:p>
        <a:p>
          <a:r>
            <a:rPr lang="it-IT" sz="1600" b="0" dirty="0"/>
            <a:t>Pubblicazione atti delegati</a:t>
          </a:r>
        </a:p>
      </dgm:t>
    </dgm:pt>
    <dgm:pt modelId="{9D3B640D-1243-4B0E-86F4-8482F9D66F28}" type="parTrans" cxnId="{57328730-D70D-4CE7-A857-D962086A8777}">
      <dgm:prSet/>
      <dgm:spPr/>
      <dgm:t>
        <a:bodyPr/>
        <a:lstStyle/>
        <a:p>
          <a:endParaRPr lang="it-IT"/>
        </a:p>
      </dgm:t>
    </dgm:pt>
    <dgm:pt modelId="{C9407C57-091A-40DF-9678-33BEE30A1428}" type="sibTrans" cxnId="{57328730-D70D-4CE7-A857-D962086A8777}">
      <dgm:prSet/>
      <dgm:spPr/>
      <dgm:t>
        <a:bodyPr/>
        <a:lstStyle/>
        <a:p>
          <a:endParaRPr lang="it-IT"/>
        </a:p>
      </dgm:t>
    </dgm:pt>
    <dgm:pt modelId="{CA113D81-1E08-4C1C-B6E6-DB69C7D00FBE}">
      <dgm:prSet phldrT="[Testo]" custT="1"/>
      <dgm:spPr/>
      <dgm:t>
        <a:bodyPr/>
        <a:lstStyle/>
        <a:p>
          <a:r>
            <a:rPr lang="it-IT" sz="1600" b="0" dirty="0"/>
            <a:t>Adozione delle prime misure ESPR </a:t>
          </a:r>
        </a:p>
        <a:p>
          <a:r>
            <a:rPr lang="it-IT" sz="1600" b="1" dirty="0"/>
            <a:t>2026</a:t>
          </a:r>
        </a:p>
      </dgm:t>
    </dgm:pt>
    <dgm:pt modelId="{25007268-6920-4D4A-9EEC-6EE17015D95B}" type="parTrans" cxnId="{A433D794-0C7D-48E0-9EF2-316355D41CD0}">
      <dgm:prSet/>
      <dgm:spPr/>
      <dgm:t>
        <a:bodyPr/>
        <a:lstStyle/>
        <a:p>
          <a:endParaRPr lang="it-IT"/>
        </a:p>
      </dgm:t>
    </dgm:pt>
    <dgm:pt modelId="{4A49A0D8-7213-48AA-9367-1447408307DF}" type="sibTrans" cxnId="{A433D794-0C7D-48E0-9EF2-316355D41CD0}">
      <dgm:prSet/>
      <dgm:spPr/>
      <dgm:t>
        <a:bodyPr/>
        <a:lstStyle/>
        <a:p>
          <a:endParaRPr lang="it-IT"/>
        </a:p>
      </dgm:t>
    </dgm:pt>
    <dgm:pt modelId="{7E708C0F-6382-4616-A225-5892F1D6D508}">
      <dgm:prSet phldrT="[Testo]" custT="1"/>
      <dgm:spPr/>
      <dgm:t>
        <a:bodyPr/>
        <a:lstStyle/>
        <a:p>
          <a:r>
            <a:rPr lang="it-IT" sz="1600" b="1" dirty="0"/>
            <a:t>19 luglio 2026</a:t>
          </a:r>
        </a:p>
        <a:p>
          <a:r>
            <a:rPr lang="it-IT" sz="1600" b="0" dirty="0"/>
            <a:t>Divieto di distruzione dell’invenduto di alcuni prodotti</a:t>
          </a:r>
        </a:p>
      </dgm:t>
    </dgm:pt>
    <dgm:pt modelId="{805F1E02-63C0-4C2B-9775-DB449B20B0CB}" type="parTrans" cxnId="{1B50C802-B49A-4181-B157-786728DF9E36}">
      <dgm:prSet/>
      <dgm:spPr/>
      <dgm:t>
        <a:bodyPr/>
        <a:lstStyle/>
        <a:p>
          <a:endParaRPr lang="it-IT"/>
        </a:p>
      </dgm:t>
    </dgm:pt>
    <dgm:pt modelId="{D9DBBEA4-7468-47E1-8092-0A2B88FA8013}" type="sibTrans" cxnId="{1B50C802-B49A-4181-B157-786728DF9E36}">
      <dgm:prSet/>
      <dgm:spPr/>
      <dgm:t>
        <a:bodyPr/>
        <a:lstStyle/>
        <a:p>
          <a:endParaRPr lang="it-IT"/>
        </a:p>
      </dgm:t>
    </dgm:pt>
    <dgm:pt modelId="{E3BE655D-4408-4423-977A-1B00A919DC3A}">
      <dgm:prSet phldrT="[Testo]" custT="1"/>
      <dgm:spPr/>
      <dgm:t>
        <a:bodyPr/>
        <a:lstStyle/>
        <a:p>
          <a:r>
            <a:rPr lang="it-IT" sz="1600" b="0" dirty="0"/>
            <a:t>Obbligo di divulgazione di informazioni e divieto di distruzione invenduto (</a:t>
          </a:r>
          <a:r>
            <a:rPr lang="it-IT" sz="1600" b="1" dirty="0"/>
            <a:t>medie imprese</a:t>
          </a:r>
          <a:r>
            <a:rPr lang="it-IT" sz="1600" b="0" dirty="0"/>
            <a:t>)</a:t>
          </a:r>
        </a:p>
        <a:p>
          <a:r>
            <a:rPr lang="it-IT" sz="1600" b="1" dirty="0"/>
            <a:t>19 luglio 2030</a:t>
          </a:r>
        </a:p>
      </dgm:t>
    </dgm:pt>
    <dgm:pt modelId="{9BF662DB-C981-4733-8125-CFF85AEAC6FF}" type="parTrans" cxnId="{FB926290-07E2-4FBC-BDB4-42DD478CE30A}">
      <dgm:prSet/>
      <dgm:spPr/>
      <dgm:t>
        <a:bodyPr/>
        <a:lstStyle/>
        <a:p>
          <a:endParaRPr lang="it-IT"/>
        </a:p>
      </dgm:t>
    </dgm:pt>
    <dgm:pt modelId="{0928B910-F9FE-43EA-9BA4-9DFD2874E466}" type="sibTrans" cxnId="{FB926290-07E2-4FBC-BDB4-42DD478CE30A}">
      <dgm:prSet/>
      <dgm:spPr/>
      <dgm:t>
        <a:bodyPr/>
        <a:lstStyle/>
        <a:p>
          <a:endParaRPr lang="it-IT"/>
        </a:p>
      </dgm:t>
    </dgm:pt>
    <dgm:pt modelId="{2766A4FD-CC93-4565-A057-3452920BE865}" type="pres">
      <dgm:prSet presAssocID="{7289584F-466A-4A63-B2B9-3D487F177E59}" presName="Name0" presStyleCnt="0">
        <dgm:presLayoutVars>
          <dgm:dir/>
          <dgm:resizeHandles val="exact"/>
        </dgm:presLayoutVars>
      </dgm:prSet>
      <dgm:spPr/>
    </dgm:pt>
    <dgm:pt modelId="{4E08466D-275B-4F55-BBCD-F4A5C398087E}" type="pres">
      <dgm:prSet presAssocID="{7289584F-466A-4A63-B2B9-3D487F177E59}" presName="arrow" presStyleLbl="bgShp" presStyleIdx="0" presStyleCnt="1"/>
      <dgm:spPr/>
    </dgm:pt>
    <dgm:pt modelId="{93616F28-F2C6-4BC6-AB73-A8FBD4566792}" type="pres">
      <dgm:prSet presAssocID="{7289584F-466A-4A63-B2B9-3D487F177E59}" presName="points" presStyleCnt="0"/>
      <dgm:spPr/>
    </dgm:pt>
    <dgm:pt modelId="{20765F00-6B47-48A4-8418-30C04E65BAD5}" type="pres">
      <dgm:prSet presAssocID="{53C0EEAE-3DB1-4E49-BE97-EA3C2E7093ED}" presName="compositeA" presStyleCnt="0"/>
      <dgm:spPr/>
    </dgm:pt>
    <dgm:pt modelId="{0FFF71B3-5031-464F-9941-1468F62155A4}" type="pres">
      <dgm:prSet presAssocID="{53C0EEAE-3DB1-4E49-BE97-EA3C2E7093ED}" presName="textA" presStyleLbl="revTx" presStyleIdx="0" presStyleCnt="5">
        <dgm:presLayoutVars>
          <dgm:bulletEnabled val="1"/>
        </dgm:presLayoutVars>
      </dgm:prSet>
      <dgm:spPr/>
    </dgm:pt>
    <dgm:pt modelId="{D7C0478C-6095-44D2-9981-CA6456DD23F7}" type="pres">
      <dgm:prSet presAssocID="{53C0EEAE-3DB1-4E49-BE97-EA3C2E7093ED}" presName="circleA" presStyleLbl="node1" presStyleIdx="0" presStyleCnt="5"/>
      <dgm:spPr/>
    </dgm:pt>
    <dgm:pt modelId="{FA027EC2-2896-4C62-8082-D0F1F95357AD}" type="pres">
      <dgm:prSet presAssocID="{53C0EEAE-3DB1-4E49-BE97-EA3C2E7093ED}" presName="spaceA" presStyleCnt="0"/>
      <dgm:spPr/>
    </dgm:pt>
    <dgm:pt modelId="{F2D56ECB-449B-4E44-A7CE-373F2481A77F}" type="pres">
      <dgm:prSet presAssocID="{CD46CC52-A79A-45DF-A277-178F2CF68EE2}" presName="space" presStyleCnt="0"/>
      <dgm:spPr/>
    </dgm:pt>
    <dgm:pt modelId="{865E3800-DCAF-45AC-A5DF-7991C0767855}" type="pres">
      <dgm:prSet presAssocID="{F70736B4-72BD-45F9-8E08-E591C0A1BF07}" presName="compositeB" presStyleCnt="0"/>
      <dgm:spPr/>
    </dgm:pt>
    <dgm:pt modelId="{5C2BFBEA-85D3-4D84-8D87-2B3EA20B03EC}" type="pres">
      <dgm:prSet presAssocID="{F70736B4-72BD-45F9-8E08-E591C0A1BF07}" presName="textB" presStyleLbl="revTx" presStyleIdx="1" presStyleCnt="5">
        <dgm:presLayoutVars>
          <dgm:bulletEnabled val="1"/>
        </dgm:presLayoutVars>
      </dgm:prSet>
      <dgm:spPr/>
    </dgm:pt>
    <dgm:pt modelId="{A154B187-DF13-41AD-A54E-32CF5286B188}" type="pres">
      <dgm:prSet presAssocID="{F70736B4-72BD-45F9-8E08-E591C0A1BF07}" presName="circleB" presStyleLbl="node1" presStyleIdx="1" presStyleCnt="5"/>
      <dgm:spPr/>
    </dgm:pt>
    <dgm:pt modelId="{AFB985E3-05EB-4CFC-A44A-40ED7B2DE0CC}" type="pres">
      <dgm:prSet presAssocID="{F70736B4-72BD-45F9-8E08-E591C0A1BF07}" presName="spaceB" presStyleCnt="0"/>
      <dgm:spPr/>
    </dgm:pt>
    <dgm:pt modelId="{A71A94A5-1A1C-4381-8F0C-6DEB1BB47A2F}" type="pres">
      <dgm:prSet presAssocID="{C9407C57-091A-40DF-9678-33BEE30A1428}" presName="space" presStyleCnt="0"/>
      <dgm:spPr/>
    </dgm:pt>
    <dgm:pt modelId="{EF502A84-3165-485E-A8DA-27861759A087}" type="pres">
      <dgm:prSet presAssocID="{CA113D81-1E08-4C1C-B6E6-DB69C7D00FBE}" presName="compositeA" presStyleCnt="0"/>
      <dgm:spPr/>
    </dgm:pt>
    <dgm:pt modelId="{8F360936-64D6-47D8-AF39-B8598A74ABE2}" type="pres">
      <dgm:prSet presAssocID="{CA113D81-1E08-4C1C-B6E6-DB69C7D00FBE}" presName="textA" presStyleLbl="revTx" presStyleIdx="2" presStyleCnt="5">
        <dgm:presLayoutVars>
          <dgm:bulletEnabled val="1"/>
        </dgm:presLayoutVars>
      </dgm:prSet>
      <dgm:spPr/>
    </dgm:pt>
    <dgm:pt modelId="{52ED5378-2EE5-45A5-9871-701E5F750671}" type="pres">
      <dgm:prSet presAssocID="{CA113D81-1E08-4C1C-B6E6-DB69C7D00FBE}" presName="circleA" presStyleLbl="node1" presStyleIdx="2" presStyleCnt="5"/>
      <dgm:spPr/>
    </dgm:pt>
    <dgm:pt modelId="{A8DCA9F3-A2BA-4ECE-ACCB-E6DB2F26838D}" type="pres">
      <dgm:prSet presAssocID="{CA113D81-1E08-4C1C-B6E6-DB69C7D00FBE}" presName="spaceA" presStyleCnt="0"/>
      <dgm:spPr/>
    </dgm:pt>
    <dgm:pt modelId="{40228A82-6904-40A0-8C99-3153F260C869}" type="pres">
      <dgm:prSet presAssocID="{4A49A0D8-7213-48AA-9367-1447408307DF}" presName="space" presStyleCnt="0"/>
      <dgm:spPr/>
    </dgm:pt>
    <dgm:pt modelId="{B48238D8-C66D-4CC1-9C86-B5C95C55E81C}" type="pres">
      <dgm:prSet presAssocID="{7E708C0F-6382-4616-A225-5892F1D6D508}" presName="compositeB" presStyleCnt="0"/>
      <dgm:spPr/>
    </dgm:pt>
    <dgm:pt modelId="{32ECE179-A049-4937-8ABB-507ADF777D14}" type="pres">
      <dgm:prSet presAssocID="{7E708C0F-6382-4616-A225-5892F1D6D508}" presName="textB" presStyleLbl="revTx" presStyleIdx="3" presStyleCnt="5">
        <dgm:presLayoutVars>
          <dgm:bulletEnabled val="1"/>
        </dgm:presLayoutVars>
      </dgm:prSet>
      <dgm:spPr/>
    </dgm:pt>
    <dgm:pt modelId="{A37D2C98-9EB8-4301-B318-09FC1622D088}" type="pres">
      <dgm:prSet presAssocID="{7E708C0F-6382-4616-A225-5892F1D6D508}" presName="circleB" presStyleLbl="node1" presStyleIdx="3" presStyleCnt="5"/>
      <dgm:spPr/>
    </dgm:pt>
    <dgm:pt modelId="{65F5BF7A-2016-43D6-9959-CBA27936E13B}" type="pres">
      <dgm:prSet presAssocID="{7E708C0F-6382-4616-A225-5892F1D6D508}" presName="spaceB" presStyleCnt="0"/>
      <dgm:spPr/>
    </dgm:pt>
    <dgm:pt modelId="{6AD3564F-2D0D-485E-B965-0D865E5DC705}" type="pres">
      <dgm:prSet presAssocID="{D9DBBEA4-7468-47E1-8092-0A2B88FA8013}" presName="space" presStyleCnt="0"/>
      <dgm:spPr/>
    </dgm:pt>
    <dgm:pt modelId="{841D82DA-3548-472D-A758-EA5CC170C9EA}" type="pres">
      <dgm:prSet presAssocID="{E3BE655D-4408-4423-977A-1B00A919DC3A}" presName="compositeA" presStyleCnt="0"/>
      <dgm:spPr/>
    </dgm:pt>
    <dgm:pt modelId="{ED1DE216-A916-43DD-BDDA-258C4DA7AF9E}" type="pres">
      <dgm:prSet presAssocID="{E3BE655D-4408-4423-977A-1B00A919DC3A}" presName="textA" presStyleLbl="revTx" presStyleIdx="4" presStyleCnt="5">
        <dgm:presLayoutVars>
          <dgm:bulletEnabled val="1"/>
        </dgm:presLayoutVars>
      </dgm:prSet>
      <dgm:spPr/>
    </dgm:pt>
    <dgm:pt modelId="{15CB3B00-D3D0-47B0-9011-36395CA6895C}" type="pres">
      <dgm:prSet presAssocID="{E3BE655D-4408-4423-977A-1B00A919DC3A}" presName="circleA" presStyleLbl="node1" presStyleIdx="4" presStyleCnt="5"/>
      <dgm:spPr/>
    </dgm:pt>
    <dgm:pt modelId="{3F808789-CEB0-4BF1-8F08-539479B9F41A}" type="pres">
      <dgm:prSet presAssocID="{E3BE655D-4408-4423-977A-1B00A919DC3A}" presName="spaceA" presStyleCnt="0"/>
      <dgm:spPr/>
    </dgm:pt>
  </dgm:ptLst>
  <dgm:cxnLst>
    <dgm:cxn modelId="{1B50C802-B49A-4181-B157-786728DF9E36}" srcId="{7289584F-466A-4A63-B2B9-3D487F177E59}" destId="{7E708C0F-6382-4616-A225-5892F1D6D508}" srcOrd="3" destOrd="0" parTransId="{805F1E02-63C0-4C2B-9775-DB449B20B0CB}" sibTransId="{D9DBBEA4-7468-47E1-8092-0A2B88FA8013}"/>
    <dgm:cxn modelId="{5A41F302-8EE6-40AD-8234-D1E08DF5257B}" type="presOf" srcId="{CA113D81-1E08-4C1C-B6E6-DB69C7D00FBE}" destId="{8F360936-64D6-47D8-AF39-B8598A74ABE2}" srcOrd="0" destOrd="0" presId="urn:microsoft.com/office/officeart/2005/8/layout/hProcess11"/>
    <dgm:cxn modelId="{CCFAB504-E1C7-47D2-8E6E-7BB329A5611D}" type="presOf" srcId="{7E708C0F-6382-4616-A225-5892F1D6D508}" destId="{32ECE179-A049-4937-8ABB-507ADF777D14}" srcOrd="0" destOrd="0" presId="urn:microsoft.com/office/officeart/2005/8/layout/hProcess11"/>
    <dgm:cxn modelId="{57328730-D70D-4CE7-A857-D962086A8777}" srcId="{7289584F-466A-4A63-B2B9-3D487F177E59}" destId="{F70736B4-72BD-45F9-8E08-E591C0A1BF07}" srcOrd="1" destOrd="0" parTransId="{9D3B640D-1243-4B0E-86F4-8482F9D66F28}" sibTransId="{C9407C57-091A-40DF-9678-33BEE30A1428}"/>
    <dgm:cxn modelId="{6BC46E8E-86F5-4AF7-A33A-77F9619E39F5}" type="presOf" srcId="{7289584F-466A-4A63-B2B9-3D487F177E59}" destId="{2766A4FD-CC93-4565-A057-3452920BE865}" srcOrd="0" destOrd="0" presId="urn:microsoft.com/office/officeart/2005/8/layout/hProcess11"/>
    <dgm:cxn modelId="{E12F438F-97E9-4BBA-87D0-C3B7C8AE5852}" type="presOf" srcId="{E3BE655D-4408-4423-977A-1B00A919DC3A}" destId="{ED1DE216-A916-43DD-BDDA-258C4DA7AF9E}" srcOrd="0" destOrd="0" presId="urn:microsoft.com/office/officeart/2005/8/layout/hProcess11"/>
    <dgm:cxn modelId="{FB926290-07E2-4FBC-BDB4-42DD478CE30A}" srcId="{7289584F-466A-4A63-B2B9-3D487F177E59}" destId="{E3BE655D-4408-4423-977A-1B00A919DC3A}" srcOrd="4" destOrd="0" parTransId="{9BF662DB-C981-4733-8125-CFF85AEAC6FF}" sibTransId="{0928B910-F9FE-43EA-9BA4-9DFD2874E466}"/>
    <dgm:cxn modelId="{A433D794-0C7D-48E0-9EF2-316355D41CD0}" srcId="{7289584F-466A-4A63-B2B9-3D487F177E59}" destId="{CA113D81-1E08-4C1C-B6E6-DB69C7D00FBE}" srcOrd="2" destOrd="0" parTransId="{25007268-6920-4D4A-9EEC-6EE17015D95B}" sibTransId="{4A49A0D8-7213-48AA-9367-1447408307DF}"/>
    <dgm:cxn modelId="{EFDBF7B5-5461-47E5-9E28-8D2BB788B639}" type="presOf" srcId="{53C0EEAE-3DB1-4E49-BE97-EA3C2E7093ED}" destId="{0FFF71B3-5031-464F-9941-1468F62155A4}" srcOrd="0" destOrd="0" presId="urn:microsoft.com/office/officeart/2005/8/layout/hProcess11"/>
    <dgm:cxn modelId="{F5257CD1-82C9-4D2A-850D-086993FEAA00}" type="presOf" srcId="{F70736B4-72BD-45F9-8E08-E591C0A1BF07}" destId="{5C2BFBEA-85D3-4D84-8D87-2B3EA20B03EC}" srcOrd="0" destOrd="0" presId="urn:microsoft.com/office/officeart/2005/8/layout/hProcess11"/>
    <dgm:cxn modelId="{769674E7-46D2-4952-B47B-A3CAD7624A8E}" srcId="{7289584F-466A-4A63-B2B9-3D487F177E59}" destId="{53C0EEAE-3DB1-4E49-BE97-EA3C2E7093ED}" srcOrd="0" destOrd="0" parTransId="{DC7103FA-6851-40A6-BED3-D4F14F639F2D}" sibTransId="{CD46CC52-A79A-45DF-A277-178F2CF68EE2}"/>
    <dgm:cxn modelId="{49B3C973-34A3-4577-A361-967BDAE81C2B}" type="presParOf" srcId="{2766A4FD-CC93-4565-A057-3452920BE865}" destId="{4E08466D-275B-4F55-BBCD-F4A5C398087E}" srcOrd="0" destOrd="0" presId="urn:microsoft.com/office/officeart/2005/8/layout/hProcess11"/>
    <dgm:cxn modelId="{13E17FA3-D51C-4E18-A72D-F7EFBEC20495}" type="presParOf" srcId="{2766A4FD-CC93-4565-A057-3452920BE865}" destId="{93616F28-F2C6-4BC6-AB73-A8FBD4566792}" srcOrd="1" destOrd="0" presId="urn:microsoft.com/office/officeart/2005/8/layout/hProcess11"/>
    <dgm:cxn modelId="{E4BCFF1A-522F-48CB-9EED-CEA5BCD3FBDC}" type="presParOf" srcId="{93616F28-F2C6-4BC6-AB73-A8FBD4566792}" destId="{20765F00-6B47-48A4-8418-30C04E65BAD5}" srcOrd="0" destOrd="0" presId="urn:microsoft.com/office/officeart/2005/8/layout/hProcess11"/>
    <dgm:cxn modelId="{16458200-B6DF-4EA3-9882-9808D54F3D5A}" type="presParOf" srcId="{20765F00-6B47-48A4-8418-30C04E65BAD5}" destId="{0FFF71B3-5031-464F-9941-1468F62155A4}" srcOrd="0" destOrd="0" presId="urn:microsoft.com/office/officeart/2005/8/layout/hProcess11"/>
    <dgm:cxn modelId="{FD7D34A4-FF12-4E93-AB7B-E0D4B42D8C81}" type="presParOf" srcId="{20765F00-6B47-48A4-8418-30C04E65BAD5}" destId="{D7C0478C-6095-44D2-9981-CA6456DD23F7}" srcOrd="1" destOrd="0" presId="urn:microsoft.com/office/officeart/2005/8/layout/hProcess11"/>
    <dgm:cxn modelId="{E98E8845-8BAC-47FD-9698-CF6589EE4793}" type="presParOf" srcId="{20765F00-6B47-48A4-8418-30C04E65BAD5}" destId="{FA027EC2-2896-4C62-8082-D0F1F95357AD}" srcOrd="2" destOrd="0" presId="urn:microsoft.com/office/officeart/2005/8/layout/hProcess11"/>
    <dgm:cxn modelId="{AF7A7224-4826-4736-BA38-0BD7842A4B34}" type="presParOf" srcId="{93616F28-F2C6-4BC6-AB73-A8FBD4566792}" destId="{F2D56ECB-449B-4E44-A7CE-373F2481A77F}" srcOrd="1" destOrd="0" presId="urn:microsoft.com/office/officeart/2005/8/layout/hProcess11"/>
    <dgm:cxn modelId="{5C515CA5-EABB-438B-92D8-2A98E0DF4BC4}" type="presParOf" srcId="{93616F28-F2C6-4BC6-AB73-A8FBD4566792}" destId="{865E3800-DCAF-45AC-A5DF-7991C0767855}" srcOrd="2" destOrd="0" presId="urn:microsoft.com/office/officeart/2005/8/layout/hProcess11"/>
    <dgm:cxn modelId="{3C56CA7E-618B-4926-8369-B483A74267C9}" type="presParOf" srcId="{865E3800-DCAF-45AC-A5DF-7991C0767855}" destId="{5C2BFBEA-85D3-4D84-8D87-2B3EA20B03EC}" srcOrd="0" destOrd="0" presId="urn:microsoft.com/office/officeart/2005/8/layout/hProcess11"/>
    <dgm:cxn modelId="{393D30BC-D86A-4A18-A7D5-BAAA9529DB0C}" type="presParOf" srcId="{865E3800-DCAF-45AC-A5DF-7991C0767855}" destId="{A154B187-DF13-41AD-A54E-32CF5286B188}" srcOrd="1" destOrd="0" presId="urn:microsoft.com/office/officeart/2005/8/layout/hProcess11"/>
    <dgm:cxn modelId="{326BCE83-1E18-42AA-8FEB-62C564705587}" type="presParOf" srcId="{865E3800-DCAF-45AC-A5DF-7991C0767855}" destId="{AFB985E3-05EB-4CFC-A44A-40ED7B2DE0CC}" srcOrd="2" destOrd="0" presId="urn:microsoft.com/office/officeart/2005/8/layout/hProcess11"/>
    <dgm:cxn modelId="{501936EE-C74D-4C18-A658-E47DA1834689}" type="presParOf" srcId="{93616F28-F2C6-4BC6-AB73-A8FBD4566792}" destId="{A71A94A5-1A1C-4381-8F0C-6DEB1BB47A2F}" srcOrd="3" destOrd="0" presId="urn:microsoft.com/office/officeart/2005/8/layout/hProcess11"/>
    <dgm:cxn modelId="{2D378824-25A9-47F7-B893-16EC8F270B2F}" type="presParOf" srcId="{93616F28-F2C6-4BC6-AB73-A8FBD4566792}" destId="{EF502A84-3165-485E-A8DA-27861759A087}" srcOrd="4" destOrd="0" presId="urn:microsoft.com/office/officeart/2005/8/layout/hProcess11"/>
    <dgm:cxn modelId="{4565DE7D-DF1A-4446-A7CB-CAB84ED8C178}" type="presParOf" srcId="{EF502A84-3165-485E-A8DA-27861759A087}" destId="{8F360936-64D6-47D8-AF39-B8598A74ABE2}" srcOrd="0" destOrd="0" presId="urn:microsoft.com/office/officeart/2005/8/layout/hProcess11"/>
    <dgm:cxn modelId="{2E824259-6599-49DD-ADAB-62A7EF646D71}" type="presParOf" srcId="{EF502A84-3165-485E-A8DA-27861759A087}" destId="{52ED5378-2EE5-45A5-9871-701E5F750671}" srcOrd="1" destOrd="0" presId="urn:microsoft.com/office/officeart/2005/8/layout/hProcess11"/>
    <dgm:cxn modelId="{54581F82-535F-4C70-9C44-F9599717CF55}" type="presParOf" srcId="{EF502A84-3165-485E-A8DA-27861759A087}" destId="{A8DCA9F3-A2BA-4ECE-ACCB-E6DB2F26838D}" srcOrd="2" destOrd="0" presId="urn:microsoft.com/office/officeart/2005/8/layout/hProcess11"/>
    <dgm:cxn modelId="{C198BE9F-FC9C-41C6-A770-93F839F79AD8}" type="presParOf" srcId="{93616F28-F2C6-4BC6-AB73-A8FBD4566792}" destId="{40228A82-6904-40A0-8C99-3153F260C869}" srcOrd="5" destOrd="0" presId="urn:microsoft.com/office/officeart/2005/8/layout/hProcess11"/>
    <dgm:cxn modelId="{C5172BB8-3682-4CB4-9569-2AB90C2932D8}" type="presParOf" srcId="{93616F28-F2C6-4BC6-AB73-A8FBD4566792}" destId="{B48238D8-C66D-4CC1-9C86-B5C95C55E81C}" srcOrd="6" destOrd="0" presId="urn:microsoft.com/office/officeart/2005/8/layout/hProcess11"/>
    <dgm:cxn modelId="{07AC177A-44B9-41BB-AAD6-A1B460FEC35B}" type="presParOf" srcId="{B48238D8-C66D-4CC1-9C86-B5C95C55E81C}" destId="{32ECE179-A049-4937-8ABB-507ADF777D14}" srcOrd="0" destOrd="0" presId="urn:microsoft.com/office/officeart/2005/8/layout/hProcess11"/>
    <dgm:cxn modelId="{9FC74504-B200-4602-9F9E-0B2C68A4F57C}" type="presParOf" srcId="{B48238D8-C66D-4CC1-9C86-B5C95C55E81C}" destId="{A37D2C98-9EB8-4301-B318-09FC1622D088}" srcOrd="1" destOrd="0" presId="urn:microsoft.com/office/officeart/2005/8/layout/hProcess11"/>
    <dgm:cxn modelId="{1D2A7D53-022B-4D10-B2F6-F6C32E064B67}" type="presParOf" srcId="{B48238D8-C66D-4CC1-9C86-B5C95C55E81C}" destId="{65F5BF7A-2016-43D6-9959-CBA27936E13B}" srcOrd="2" destOrd="0" presId="urn:microsoft.com/office/officeart/2005/8/layout/hProcess11"/>
    <dgm:cxn modelId="{06665B29-6387-4FFE-95D2-6ACBDC1F914C}" type="presParOf" srcId="{93616F28-F2C6-4BC6-AB73-A8FBD4566792}" destId="{6AD3564F-2D0D-485E-B965-0D865E5DC705}" srcOrd="7" destOrd="0" presId="urn:microsoft.com/office/officeart/2005/8/layout/hProcess11"/>
    <dgm:cxn modelId="{A86FAD4F-49A2-4E90-9620-7A4EC487EED9}" type="presParOf" srcId="{93616F28-F2C6-4BC6-AB73-A8FBD4566792}" destId="{841D82DA-3548-472D-A758-EA5CC170C9EA}" srcOrd="8" destOrd="0" presId="urn:microsoft.com/office/officeart/2005/8/layout/hProcess11"/>
    <dgm:cxn modelId="{09B06F65-8B02-43E6-84FC-1A4E97A10CB5}" type="presParOf" srcId="{841D82DA-3548-472D-A758-EA5CC170C9EA}" destId="{ED1DE216-A916-43DD-BDDA-258C4DA7AF9E}" srcOrd="0" destOrd="0" presId="urn:microsoft.com/office/officeart/2005/8/layout/hProcess11"/>
    <dgm:cxn modelId="{D1FBA874-5CCC-4EBF-821B-401CA63DC4F0}" type="presParOf" srcId="{841D82DA-3548-472D-A758-EA5CC170C9EA}" destId="{15CB3B00-D3D0-47B0-9011-36395CA6895C}" srcOrd="1" destOrd="0" presId="urn:microsoft.com/office/officeart/2005/8/layout/hProcess11"/>
    <dgm:cxn modelId="{C1FAC485-7966-46E3-A27D-AA515A84C387}" type="presParOf" srcId="{841D82DA-3548-472D-A758-EA5CC170C9EA}" destId="{3F808789-CEB0-4BF1-8F08-539479B9F41A}" srcOrd="2" destOrd="0" presId="urn:microsoft.com/office/officeart/2005/8/layout/hProcess1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BB1D528C-F4A0-4F7F-8A92-C0FA22450460}" type="doc">
      <dgm:prSet loTypeId="urn:microsoft.com/office/officeart/2008/layout/VerticalCurvedList" loCatId="list" qsTypeId="urn:microsoft.com/office/officeart/2005/8/quickstyle/simple2" qsCatId="simple" csTypeId="urn:microsoft.com/office/officeart/2005/8/colors/colorful1" csCatId="colorful" phldr="1"/>
      <dgm:spPr/>
      <dgm:t>
        <a:bodyPr/>
        <a:lstStyle/>
        <a:p>
          <a:endParaRPr lang="it-IT"/>
        </a:p>
      </dgm:t>
    </dgm:pt>
    <dgm:pt modelId="{DF482845-5140-46A0-8614-6C0246CD2821}">
      <dgm:prSet phldrT="[Testo]" custT="1"/>
      <dgm:spPr/>
      <dgm:t>
        <a:bodyPr/>
        <a:lstStyle/>
        <a:p>
          <a:pPr marL="0" marR="0" lvl="0" indent="0" algn="just" defTabSz="914400" eaLnBrk="1" fontAlgn="auto" latinLnBrk="0" hangingPunct="1">
            <a:lnSpc>
              <a:spcPct val="100000"/>
            </a:lnSpc>
            <a:spcBef>
              <a:spcPts val="0"/>
            </a:spcBef>
            <a:spcAft>
              <a:spcPts val="0"/>
            </a:spcAft>
            <a:buClrTx/>
            <a:buSzTx/>
            <a:buFontTx/>
            <a:buNone/>
            <a:tabLst/>
            <a:defRPr/>
          </a:pPr>
          <a:r>
            <a:rPr lang="it-IT" sz="2000" b="0" i="0" dirty="0"/>
            <a:t>Fissazione di </a:t>
          </a:r>
          <a:r>
            <a:rPr lang="it-IT" sz="2000" b="1" dirty="0"/>
            <a:t>requisiti di progettazione </a:t>
          </a:r>
          <a:r>
            <a:rPr lang="it-IT" sz="2000" b="1" dirty="0" err="1"/>
            <a:t>ecompatibile</a:t>
          </a:r>
          <a:r>
            <a:rPr lang="it-IT" sz="2000" dirty="0"/>
            <a:t> e </a:t>
          </a:r>
          <a:r>
            <a:rPr lang="it-IT" sz="2000" b="1" dirty="0"/>
            <a:t>di specifici obblighi di informazione</a:t>
          </a:r>
          <a:r>
            <a:rPr lang="it-IT" sz="2000" dirty="0"/>
            <a:t> </a:t>
          </a:r>
          <a:r>
            <a:rPr lang="it-IT" sz="2000" b="0" i="0" dirty="0"/>
            <a:t>  </a:t>
          </a:r>
          <a:endParaRPr lang="it-IT" sz="2000" dirty="0"/>
        </a:p>
      </dgm:t>
    </dgm:pt>
    <dgm:pt modelId="{011944FD-DEC0-4AFC-A7A7-0323CA6D1514}" type="parTrans" cxnId="{C772D15B-6B7F-4C7E-9DAE-A0CB2D98655E}">
      <dgm:prSet/>
      <dgm:spPr/>
      <dgm:t>
        <a:bodyPr/>
        <a:lstStyle/>
        <a:p>
          <a:endParaRPr lang="it-IT"/>
        </a:p>
      </dgm:t>
    </dgm:pt>
    <dgm:pt modelId="{163B4784-1597-4B77-AE50-2E949D93A3FB}" type="sibTrans" cxnId="{C772D15B-6B7F-4C7E-9DAE-A0CB2D98655E}">
      <dgm:prSet/>
      <dgm:spPr/>
      <dgm:t>
        <a:bodyPr/>
        <a:lstStyle/>
        <a:p>
          <a:endParaRPr lang="it-IT" sz="2000"/>
        </a:p>
      </dgm:t>
    </dgm:pt>
    <dgm:pt modelId="{3F9FF981-4BB9-491C-9FA1-E83C82EE3D83}">
      <dgm:prSet phldrT="[Testo]" custT="1"/>
      <dgm:spPr/>
      <dgm:t>
        <a:bodyPr/>
        <a:lstStyle/>
        <a:p>
          <a:pPr algn="just">
            <a:buFont typeface="Wingdings" panose="05000000000000000000" pitchFamily="2" charset="2"/>
            <a:buChar char="Ø"/>
          </a:pPr>
          <a:r>
            <a:rPr lang="it-IT" sz="2000" dirty="0"/>
            <a:t>Introduzione del </a:t>
          </a:r>
          <a:r>
            <a:rPr lang="it-IT" sz="2000" i="1" dirty="0"/>
            <a:t>Digital Product Passport</a:t>
          </a:r>
          <a:r>
            <a:rPr lang="it-IT" sz="2000" dirty="0"/>
            <a:t> (“</a:t>
          </a:r>
          <a:r>
            <a:rPr lang="it-IT" sz="2000" b="1" dirty="0"/>
            <a:t>DPP</a:t>
          </a:r>
          <a:r>
            <a:rPr lang="it-IT" sz="2000" dirty="0"/>
            <a:t>” o “</a:t>
          </a:r>
          <a:r>
            <a:rPr lang="it-IT" sz="2000" b="1" dirty="0"/>
            <a:t>Passaporto Digitale di Prodotto</a:t>
          </a:r>
          <a:r>
            <a:rPr lang="it-IT" sz="2000" dirty="0"/>
            <a:t>”)</a:t>
          </a:r>
          <a:endParaRPr lang="it-IT" sz="2000" b="0" u="none" dirty="0"/>
        </a:p>
      </dgm:t>
    </dgm:pt>
    <dgm:pt modelId="{C93D0067-6B64-4519-9396-EBDD83962EAB}" type="parTrans" cxnId="{123AB55A-3C3E-4CB1-886B-2169573A9083}">
      <dgm:prSet/>
      <dgm:spPr/>
      <dgm:t>
        <a:bodyPr/>
        <a:lstStyle/>
        <a:p>
          <a:endParaRPr lang="it-IT"/>
        </a:p>
      </dgm:t>
    </dgm:pt>
    <dgm:pt modelId="{37F76427-0043-472B-A673-AF040155E738}" type="sibTrans" cxnId="{123AB55A-3C3E-4CB1-886B-2169573A9083}">
      <dgm:prSet/>
      <dgm:spPr/>
      <dgm:t>
        <a:bodyPr/>
        <a:lstStyle/>
        <a:p>
          <a:endParaRPr lang="it-IT"/>
        </a:p>
      </dgm:t>
    </dgm:pt>
    <dgm:pt modelId="{400CDCED-51EC-4070-8DBA-C9290266C9D6}">
      <dgm:prSet custT="1"/>
      <dgm:spPr/>
      <dgm:t>
        <a:bodyPr/>
        <a:lstStyle/>
        <a:p>
          <a:pPr algn="just">
            <a:buFont typeface="Wingdings" panose="05000000000000000000" pitchFamily="2" charset="2"/>
            <a:buNone/>
          </a:pPr>
          <a:r>
            <a:rPr lang="it-IT" sz="2000" dirty="0"/>
            <a:t>Previsione del </a:t>
          </a:r>
          <a:r>
            <a:rPr lang="it-IT" sz="2000" b="1" dirty="0"/>
            <a:t>divieto di distruzione dei prodotti di consumo invenduti</a:t>
          </a:r>
          <a:endParaRPr lang="it-IT" sz="2000" b="0" u="none" dirty="0"/>
        </a:p>
      </dgm:t>
    </dgm:pt>
    <dgm:pt modelId="{EBF8C94A-C6C8-4325-81C4-89053886D4DD}" type="parTrans" cxnId="{BB66723E-3CFA-4903-9372-1955C760E9FD}">
      <dgm:prSet/>
      <dgm:spPr/>
      <dgm:t>
        <a:bodyPr/>
        <a:lstStyle/>
        <a:p>
          <a:endParaRPr lang="it-IT"/>
        </a:p>
      </dgm:t>
    </dgm:pt>
    <dgm:pt modelId="{8AB416E6-4389-4550-90F4-6932330984F5}" type="sibTrans" cxnId="{BB66723E-3CFA-4903-9372-1955C760E9FD}">
      <dgm:prSet/>
      <dgm:spPr/>
      <dgm:t>
        <a:bodyPr/>
        <a:lstStyle/>
        <a:p>
          <a:endParaRPr lang="it-IT"/>
        </a:p>
      </dgm:t>
    </dgm:pt>
    <dgm:pt modelId="{1CA0F993-565E-456B-9B36-AE37BCF2BCDC}">
      <dgm:prSet custT="1"/>
      <dgm:spPr/>
      <dgm:t>
        <a:bodyPr/>
        <a:lstStyle/>
        <a:p>
          <a:r>
            <a:rPr lang="it-IT" sz="2000" dirty="0"/>
            <a:t>Definizione </a:t>
          </a:r>
          <a:r>
            <a:rPr lang="it-IT" sz="2000" b="0" dirty="0"/>
            <a:t>di requisiti obbligatori per gli </a:t>
          </a:r>
          <a:r>
            <a:rPr lang="it-IT" sz="2000" b="1" dirty="0"/>
            <a:t>appalti pubblici verdi</a:t>
          </a:r>
          <a:endParaRPr lang="it-IT" sz="2000" b="0" i="0" u="none" dirty="0"/>
        </a:p>
      </dgm:t>
    </dgm:pt>
    <dgm:pt modelId="{6025C22F-A8A9-42A1-B54B-A344B63FA483}" type="parTrans" cxnId="{2292CCAA-C821-4E04-9FB0-6872F2664DAE}">
      <dgm:prSet/>
      <dgm:spPr/>
      <dgm:t>
        <a:bodyPr/>
        <a:lstStyle/>
        <a:p>
          <a:endParaRPr lang="it-IT"/>
        </a:p>
      </dgm:t>
    </dgm:pt>
    <dgm:pt modelId="{43A63FA9-4337-4431-92D6-5E1D8C7C0C5C}" type="sibTrans" cxnId="{2292CCAA-C821-4E04-9FB0-6872F2664DAE}">
      <dgm:prSet/>
      <dgm:spPr/>
      <dgm:t>
        <a:bodyPr/>
        <a:lstStyle/>
        <a:p>
          <a:endParaRPr lang="it-IT"/>
        </a:p>
      </dgm:t>
    </dgm:pt>
    <dgm:pt modelId="{A1754432-64F1-418A-A65A-B993A2006B11}">
      <dgm:prSet custT="1"/>
      <dgm:spPr/>
      <dgm:t>
        <a:bodyPr/>
        <a:lstStyle/>
        <a:p>
          <a:r>
            <a:rPr lang="it-IT" sz="2000"/>
            <a:t>Rafforzamento dei </a:t>
          </a:r>
          <a:r>
            <a:rPr lang="it-IT" sz="2000" b="1"/>
            <a:t>controlli doganali</a:t>
          </a:r>
          <a:r>
            <a:rPr lang="it-IT" sz="2000"/>
            <a:t> e delle</a:t>
          </a:r>
          <a:r>
            <a:rPr lang="it-IT" sz="2000" b="1"/>
            <a:t> attività di vigilanza del mercato</a:t>
          </a:r>
          <a:r>
            <a:rPr lang="it-IT" sz="2000"/>
            <a:t> </a:t>
          </a:r>
          <a:endParaRPr lang="it-IT" sz="2000" dirty="0"/>
        </a:p>
      </dgm:t>
    </dgm:pt>
    <dgm:pt modelId="{48B09311-C51A-45A1-9C19-1DDEADEC0E94}" type="parTrans" cxnId="{354BE1EF-4BCF-42A8-A9F9-7A0076A21080}">
      <dgm:prSet/>
      <dgm:spPr/>
      <dgm:t>
        <a:bodyPr/>
        <a:lstStyle/>
        <a:p>
          <a:endParaRPr lang="it-IT"/>
        </a:p>
      </dgm:t>
    </dgm:pt>
    <dgm:pt modelId="{D16823DA-7B49-48F3-ACD1-C10A3C14E733}" type="sibTrans" cxnId="{354BE1EF-4BCF-42A8-A9F9-7A0076A21080}">
      <dgm:prSet/>
      <dgm:spPr/>
      <dgm:t>
        <a:bodyPr/>
        <a:lstStyle/>
        <a:p>
          <a:endParaRPr lang="it-IT"/>
        </a:p>
      </dgm:t>
    </dgm:pt>
    <dgm:pt modelId="{EEECD358-9D6F-4273-BA2A-5DECB0D8AF3B}" type="pres">
      <dgm:prSet presAssocID="{BB1D528C-F4A0-4F7F-8A92-C0FA22450460}" presName="Name0" presStyleCnt="0">
        <dgm:presLayoutVars>
          <dgm:chMax val="7"/>
          <dgm:chPref val="7"/>
          <dgm:dir/>
        </dgm:presLayoutVars>
      </dgm:prSet>
      <dgm:spPr/>
    </dgm:pt>
    <dgm:pt modelId="{6DF2E71F-0A31-4953-AF28-EA22B15DD9C9}" type="pres">
      <dgm:prSet presAssocID="{BB1D528C-F4A0-4F7F-8A92-C0FA22450460}" presName="Name1" presStyleCnt="0"/>
      <dgm:spPr/>
    </dgm:pt>
    <dgm:pt modelId="{EEACE68C-C56C-4339-B08C-B155B4A04657}" type="pres">
      <dgm:prSet presAssocID="{BB1D528C-F4A0-4F7F-8A92-C0FA22450460}" presName="cycle" presStyleCnt="0"/>
      <dgm:spPr/>
    </dgm:pt>
    <dgm:pt modelId="{A7C07E29-FF26-417B-87FF-55CACAD6B4A3}" type="pres">
      <dgm:prSet presAssocID="{BB1D528C-F4A0-4F7F-8A92-C0FA22450460}" presName="srcNode" presStyleLbl="node1" presStyleIdx="0" presStyleCnt="5"/>
      <dgm:spPr/>
    </dgm:pt>
    <dgm:pt modelId="{DF4EF94A-1A85-4F65-B057-1E208A7D6DDB}" type="pres">
      <dgm:prSet presAssocID="{BB1D528C-F4A0-4F7F-8A92-C0FA22450460}" presName="conn" presStyleLbl="parChTrans1D2" presStyleIdx="0" presStyleCnt="1"/>
      <dgm:spPr/>
    </dgm:pt>
    <dgm:pt modelId="{5F7652C3-16EC-455B-960F-E8BBDD8C431F}" type="pres">
      <dgm:prSet presAssocID="{BB1D528C-F4A0-4F7F-8A92-C0FA22450460}" presName="extraNode" presStyleLbl="node1" presStyleIdx="0" presStyleCnt="5"/>
      <dgm:spPr/>
    </dgm:pt>
    <dgm:pt modelId="{FBB53977-5D84-4A49-B78A-92939915C517}" type="pres">
      <dgm:prSet presAssocID="{BB1D528C-F4A0-4F7F-8A92-C0FA22450460}" presName="dstNode" presStyleLbl="node1" presStyleIdx="0" presStyleCnt="5"/>
      <dgm:spPr/>
    </dgm:pt>
    <dgm:pt modelId="{08BCCEED-63CB-4F09-B8AB-E34C59AF96CD}" type="pres">
      <dgm:prSet presAssocID="{DF482845-5140-46A0-8614-6C0246CD2821}" presName="text_1" presStyleLbl="node1" presStyleIdx="0" presStyleCnt="5">
        <dgm:presLayoutVars>
          <dgm:bulletEnabled val="1"/>
        </dgm:presLayoutVars>
      </dgm:prSet>
      <dgm:spPr/>
    </dgm:pt>
    <dgm:pt modelId="{E4D885DB-C4E7-457A-99CF-775E2754B221}" type="pres">
      <dgm:prSet presAssocID="{DF482845-5140-46A0-8614-6C0246CD2821}" presName="accent_1" presStyleCnt="0"/>
      <dgm:spPr/>
    </dgm:pt>
    <dgm:pt modelId="{BDAA5196-DED4-49AB-B06F-94D00DBC0667}" type="pres">
      <dgm:prSet presAssocID="{DF482845-5140-46A0-8614-6C0246CD2821}" presName="accentRepeatNode" presStyleLbl="solidFgAcc1" presStyleIdx="0" presStyleCnt="5"/>
      <dgm:spPr/>
    </dgm:pt>
    <dgm:pt modelId="{D9FC3384-31B6-49E7-930D-D7CA2AF66306}" type="pres">
      <dgm:prSet presAssocID="{3F9FF981-4BB9-491C-9FA1-E83C82EE3D83}" presName="text_2" presStyleLbl="node1" presStyleIdx="1" presStyleCnt="5">
        <dgm:presLayoutVars>
          <dgm:bulletEnabled val="1"/>
        </dgm:presLayoutVars>
      </dgm:prSet>
      <dgm:spPr/>
    </dgm:pt>
    <dgm:pt modelId="{1EF2D94B-BB74-4931-85F5-8CB9CC604279}" type="pres">
      <dgm:prSet presAssocID="{3F9FF981-4BB9-491C-9FA1-E83C82EE3D83}" presName="accent_2" presStyleCnt="0"/>
      <dgm:spPr/>
    </dgm:pt>
    <dgm:pt modelId="{A0337DFF-FA35-4F56-A9AC-DC7D7329A853}" type="pres">
      <dgm:prSet presAssocID="{3F9FF981-4BB9-491C-9FA1-E83C82EE3D83}" presName="accentRepeatNode" presStyleLbl="solidFgAcc1" presStyleIdx="1" presStyleCnt="5"/>
      <dgm:spPr/>
    </dgm:pt>
    <dgm:pt modelId="{72381A88-409D-4D0B-973F-6185388B9031}" type="pres">
      <dgm:prSet presAssocID="{400CDCED-51EC-4070-8DBA-C9290266C9D6}" presName="text_3" presStyleLbl="node1" presStyleIdx="2" presStyleCnt="5">
        <dgm:presLayoutVars>
          <dgm:bulletEnabled val="1"/>
        </dgm:presLayoutVars>
      </dgm:prSet>
      <dgm:spPr/>
    </dgm:pt>
    <dgm:pt modelId="{DE488F70-FF58-43BD-AE88-037E417C1200}" type="pres">
      <dgm:prSet presAssocID="{400CDCED-51EC-4070-8DBA-C9290266C9D6}" presName="accent_3" presStyleCnt="0"/>
      <dgm:spPr/>
    </dgm:pt>
    <dgm:pt modelId="{30A11212-D6F2-434C-944D-16EB3FCDD5C4}" type="pres">
      <dgm:prSet presAssocID="{400CDCED-51EC-4070-8DBA-C9290266C9D6}" presName="accentRepeatNode" presStyleLbl="solidFgAcc1" presStyleIdx="2" presStyleCnt="5"/>
      <dgm:spPr/>
    </dgm:pt>
    <dgm:pt modelId="{E67AA3E3-8D45-444F-85E6-463B7E2635D1}" type="pres">
      <dgm:prSet presAssocID="{1CA0F993-565E-456B-9B36-AE37BCF2BCDC}" presName="text_4" presStyleLbl="node1" presStyleIdx="3" presStyleCnt="5">
        <dgm:presLayoutVars>
          <dgm:bulletEnabled val="1"/>
        </dgm:presLayoutVars>
      </dgm:prSet>
      <dgm:spPr/>
    </dgm:pt>
    <dgm:pt modelId="{B8A55C0F-2AC1-4A5C-87D6-C1EF8A54F1A6}" type="pres">
      <dgm:prSet presAssocID="{1CA0F993-565E-456B-9B36-AE37BCF2BCDC}" presName="accent_4" presStyleCnt="0"/>
      <dgm:spPr/>
    </dgm:pt>
    <dgm:pt modelId="{A3DB9CCF-E11B-4FE0-AA93-4F551C92641B}" type="pres">
      <dgm:prSet presAssocID="{1CA0F993-565E-456B-9B36-AE37BCF2BCDC}" presName="accentRepeatNode" presStyleLbl="solidFgAcc1" presStyleIdx="3" presStyleCnt="5"/>
      <dgm:spPr/>
    </dgm:pt>
    <dgm:pt modelId="{04F77531-0B83-444F-A8D9-6D2CED43D2C0}" type="pres">
      <dgm:prSet presAssocID="{A1754432-64F1-418A-A65A-B993A2006B11}" presName="text_5" presStyleLbl="node1" presStyleIdx="4" presStyleCnt="5">
        <dgm:presLayoutVars>
          <dgm:bulletEnabled val="1"/>
        </dgm:presLayoutVars>
      </dgm:prSet>
      <dgm:spPr/>
    </dgm:pt>
    <dgm:pt modelId="{1602DE30-AB8D-4446-A67D-C65792516FEF}" type="pres">
      <dgm:prSet presAssocID="{A1754432-64F1-418A-A65A-B993A2006B11}" presName="accent_5" presStyleCnt="0"/>
      <dgm:spPr/>
    </dgm:pt>
    <dgm:pt modelId="{64DBB0BA-865B-475A-BB02-AD22E740BAB0}" type="pres">
      <dgm:prSet presAssocID="{A1754432-64F1-418A-A65A-B993A2006B11}" presName="accentRepeatNode" presStyleLbl="solidFgAcc1" presStyleIdx="4" presStyleCnt="5"/>
      <dgm:spPr/>
    </dgm:pt>
  </dgm:ptLst>
  <dgm:cxnLst>
    <dgm:cxn modelId="{1EC2FB24-77E0-43AE-A7D9-3503E5BD35E6}" type="presOf" srcId="{1CA0F993-565E-456B-9B36-AE37BCF2BCDC}" destId="{E67AA3E3-8D45-444F-85E6-463B7E2635D1}" srcOrd="0" destOrd="0" presId="urn:microsoft.com/office/officeart/2008/layout/VerticalCurvedList"/>
    <dgm:cxn modelId="{BB66723E-3CFA-4903-9372-1955C760E9FD}" srcId="{BB1D528C-F4A0-4F7F-8A92-C0FA22450460}" destId="{400CDCED-51EC-4070-8DBA-C9290266C9D6}" srcOrd="2" destOrd="0" parTransId="{EBF8C94A-C6C8-4325-81C4-89053886D4DD}" sibTransId="{8AB416E6-4389-4550-90F4-6932330984F5}"/>
    <dgm:cxn modelId="{C772D15B-6B7F-4C7E-9DAE-A0CB2D98655E}" srcId="{BB1D528C-F4A0-4F7F-8A92-C0FA22450460}" destId="{DF482845-5140-46A0-8614-6C0246CD2821}" srcOrd="0" destOrd="0" parTransId="{011944FD-DEC0-4AFC-A7A7-0323CA6D1514}" sibTransId="{163B4784-1597-4B77-AE50-2E949D93A3FB}"/>
    <dgm:cxn modelId="{A61F185F-A9A3-46F0-BB45-EC500A2EF239}" type="presOf" srcId="{DF482845-5140-46A0-8614-6C0246CD2821}" destId="{08BCCEED-63CB-4F09-B8AB-E34C59AF96CD}" srcOrd="0" destOrd="0" presId="urn:microsoft.com/office/officeart/2008/layout/VerticalCurvedList"/>
    <dgm:cxn modelId="{9D914B6A-BB67-4EBB-B188-114043B4EFF8}" type="presOf" srcId="{BB1D528C-F4A0-4F7F-8A92-C0FA22450460}" destId="{EEECD358-9D6F-4273-BA2A-5DECB0D8AF3B}" srcOrd="0" destOrd="0" presId="urn:microsoft.com/office/officeart/2008/layout/VerticalCurvedList"/>
    <dgm:cxn modelId="{123AB55A-3C3E-4CB1-886B-2169573A9083}" srcId="{BB1D528C-F4A0-4F7F-8A92-C0FA22450460}" destId="{3F9FF981-4BB9-491C-9FA1-E83C82EE3D83}" srcOrd="1" destOrd="0" parTransId="{C93D0067-6B64-4519-9396-EBDD83962EAB}" sibTransId="{37F76427-0043-472B-A673-AF040155E738}"/>
    <dgm:cxn modelId="{A0759091-461A-4F19-82D1-51F044CDD9B2}" type="presOf" srcId="{3F9FF981-4BB9-491C-9FA1-E83C82EE3D83}" destId="{D9FC3384-31B6-49E7-930D-D7CA2AF66306}" srcOrd="0" destOrd="0" presId="urn:microsoft.com/office/officeart/2008/layout/VerticalCurvedList"/>
    <dgm:cxn modelId="{2292CCAA-C821-4E04-9FB0-6872F2664DAE}" srcId="{BB1D528C-F4A0-4F7F-8A92-C0FA22450460}" destId="{1CA0F993-565E-456B-9B36-AE37BCF2BCDC}" srcOrd="3" destOrd="0" parTransId="{6025C22F-A8A9-42A1-B54B-A344B63FA483}" sibTransId="{43A63FA9-4337-4431-92D6-5E1D8C7C0C5C}"/>
    <dgm:cxn modelId="{A320ADB3-3727-4192-B4A6-CF3ACA766261}" type="presOf" srcId="{400CDCED-51EC-4070-8DBA-C9290266C9D6}" destId="{72381A88-409D-4D0B-973F-6185388B9031}" srcOrd="0" destOrd="0" presId="urn:microsoft.com/office/officeart/2008/layout/VerticalCurvedList"/>
    <dgm:cxn modelId="{DCE9B9C6-E05B-45B6-BF3E-2A0EFC699CE3}" type="presOf" srcId="{A1754432-64F1-418A-A65A-B993A2006B11}" destId="{04F77531-0B83-444F-A8D9-6D2CED43D2C0}" srcOrd="0" destOrd="0" presId="urn:microsoft.com/office/officeart/2008/layout/VerticalCurvedList"/>
    <dgm:cxn modelId="{1B6831D4-14DC-4D2F-B593-A7016B103F37}" type="presOf" srcId="{163B4784-1597-4B77-AE50-2E949D93A3FB}" destId="{DF4EF94A-1A85-4F65-B057-1E208A7D6DDB}" srcOrd="0" destOrd="0" presId="urn:microsoft.com/office/officeart/2008/layout/VerticalCurvedList"/>
    <dgm:cxn modelId="{354BE1EF-4BCF-42A8-A9F9-7A0076A21080}" srcId="{BB1D528C-F4A0-4F7F-8A92-C0FA22450460}" destId="{A1754432-64F1-418A-A65A-B993A2006B11}" srcOrd="4" destOrd="0" parTransId="{48B09311-C51A-45A1-9C19-1DDEADEC0E94}" sibTransId="{D16823DA-7B49-48F3-ACD1-C10A3C14E733}"/>
    <dgm:cxn modelId="{2F557B92-1C37-420D-9927-C2B452F1A7E7}" type="presParOf" srcId="{EEECD358-9D6F-4273-BA2A-5DECB0D8AF3B}" destId="{6DF2E71F-0A31-4953-AF28-EA22B15DD9C9}" srcOrd="0" destOrd="0" presId="urn:microsoft.com/office/officeart/2008/layout/VerticalCurvedList"/>
    <dgm:cxn modelId="{1D0CED24-6C9D-43AC-BA26-D7B84178B0B7}" type="presParOf" srcId="{6DF2E71F-0A31-4953-AF28-EA22B15DD9C9}" destId="{EEACE68C-C56C-4339-B08C-B155B4A04657}" srcOrd="0" destOrd="0" presId="urn:microsoft.com/office/officeart/2008/layout/VerticalCurvedList"/>
    <dgm:cxn modelId="{55B848FF-D43F-41C2-9811-877EDA2EDF7F}" type="presParOf" srcId="{EEACE68C-C56C-4339-B08C-B155B4A04657}" destId="{A7C07E29-FF26-417B-87FF-55CACAD6B4A3}" srcOrd="0" destOrd="0" presId="urn:microsoft.com/office/officeart/2008/layout/VerticalCurvedList"/>
    <dgm:cxn modelId="{563C2F69-5E27-47AA-A20E-9A106ABC38D1}" type="presParOf" srcId="{EEACE68C-C56C-4339-B08C-B155B4A04657}" destId="{DF4EF94A-1A85-4F65-B057-1E208A7D6DDB}" srcOrd="1" destOrd="0" presId="urn:microsoft.com/office/officeart/2008/layout/VerticalCurvedList"/>
    <dgm:cxn modelId="{1CDEA520-EB8F-4789-8862-183BA9D6E86B}" type="presParOf" srcId="{EEACE68C-C56C-4339-B08C-B155B4A04657}" destId="{5F7652C3-16EC-455B-960F-E8BBDD8C431F}" srcOrd="2" destOrd="0" presId="urn:microsoft.com/office/officeart/2008/layout/VerticalCurvedList"/>
    <dgm:cxn modelId="{477B8F8A-6008-49E8-9BFC-05D2587C90CE}" type="presParOf" srcId="{EEACE68C-C56C-4339-B08C-B155B4A04657}" destId="{FBB53977-5D84-4A49-B78A-92939915C517}" srcOrd="3" destOrd="0" presId="urn:microsoft.com/office/officeart/2008/layout/VerticalCurvedList"/>
    <dgm:cxn modelId="{ADAAB385-DC06-431F-BF2F-8D615FB42A02}" type="presParOf" srcId="{6DF2E71F-0A31-4953-AF28-EA22B15DD9C9}" destId="{08BCCEED-63CB-4F09-B8AB-E34C59AF96CD}" srcOrd="1" destOrd="0" presId="urn:microsoft.com/office/officeart/2008/layout/VerticalCurvedList"/>
    <dgm:cxn modelId="{957C6794-F810-4C10-938B-F8AE0A378182}" type="presParOf" srcId="{6DF2E71F-0A31-4953-AF28-EA22B15DD9C9}" destId="{E4D885DB-C4E7-457A-99CF-775E2754B221}" srcOrd="2" destOrd="0" presId="urn:microsoft.com/office/officeart/2008/layout/VerticalCurvedList"/>
    <dgm:cxn modelId="{A14A6105-E368-41AB-92DE-A53A4DE8A1EC}" type="presParOf" srcId="{E4D885DB-C4E7-457A-99CF-775E2754B221}" destId="{BDAA5196-DED4-49AB-B06F-94D00DBC0667}" srcOrd="0" destOrd="0" presId="urn:microsoft.com/office/officeart/2008/layout/VerticalCurvedList"/>
    <dgm:cxn modelId="{0A5B5767-9C63-47D6-8F5E-280DE32CDFB3}" type="presParOf" srcId="{6DF2E71F-0A31-4953-AF28-EA22B15DD9C9}" destId="{D9FC3384-31B6-49E7-930D-D7CA2AF66306}" srcOrd="3" destOrd="0" presId="urn:microsoft.com/office/officeart/2008/layout/VerticalCurvedList"/>
    <dgm:cxn modelId="{D5422B3C-3573-401D-B2B0-D22FD5E4F79C}" type="presParOf" srcId="{6DF2E71F-0A31-4953-AF28-EA22B15DD9C9}" destId="{1EF2D94B-BB74-4931-85F5-8CB9CC604279}" srcOrd="4" destOrd="0" presId="urn:microsoft.com/office/officeart/2008/layout/VerticalCurvedList"/>
    <dgm:cxn modelId="{C6EC899B-D4DD-419B-9A9E-C285A5CE78B9}" type="presParOf" srcId="{1EF2D94B-BB74-4931-85F5-8CB9CC604279}" destId="{A0337DFF-FA35-4F56-A9AC-DC7D7329A853}" srcOrd="0" destOrd="0" presId="urn:microsoft.com/office/officeart/2008/layout/VerticalCurvedList"/>
    <dgm:cxn modelId="{08525C69-5DDB-4CE4-B86A-8374B83801B3}" type="presParOf" srcId="{6DF2E71F-0A31-4953-AF28-EA22B15DD9C9}" destId="{72381A88-409D-4D0B-973F-6185388B9031}" srcOrd="5" destOrd="0" presId="urn:microsoft.com/office/officeart/2008/layout/VerticalCurvedList"/>
    <dgm:cxn modelId="{D8FEA7E9-9FD9-4D66-92B7-859C86953AF0}" type="presParOf" srcId="{6DF2E71F-0A31-4953-AF28-EA22B15DD9C9}" destId="{DE488F70-FF58-43BD-AE88-037E417C1200}" srcOrd="6" destOrd="0" presId="urn:microsoft.com/office/officeart/2008/layout/VerticalCurvedList"/>
    <dgm:cxn modelId="{7190674C-C0DA-4B8E-B549-2EDDA2952ADD}" type="presParOf" srcId="{DE488F70-FF58-43BD-AE88-037E417C1200}" destId="{30A11212-D6F2-434C-944D-16EB3FCDD5C4}" srcOrd="0" destOrd="0" presId="urn:microsoft.com/office/officeart/2008/layout/VerticalCurvedList"/>
    <dgm:cxn modelId="{36F1FFC0-04C7-4FD7-82C1-DE615EFBF43F}" type="presParOf" srcId="{6DF2E71F-0A31-4953-AF28-EA22B15DD9C9}" destId="{E67AA3E3-8D45-444F-85E6-463B7E2635D1}" srcOrd="7" destOrd="0" presId="urn:microsoft.com/office/officeart/2008/layout/VerticalCurvedList"/>
    <dgm:cxn modelId="{47AEC409-0B35-4ADC-87C6-26183E1231CD}" type="presParOf" srcId="{6DF2E71F-0A31-4953-AF28-EA22B15DD9C9}" destId="{B8A55C0F-2AC1-4A5C-87D6-C1EF8A54F1A6}" srcOrd="8" destOrd="0" presId="urn:microsoft.com/office/officeart/2008/layout/VerticalCurvedList"/>
    <dgm:cxn modelId="{E949F2E3-C681-471E-ACCB-C08CE16A898D}" type="presParOf" srcId="{B8A55C0F-2AC1-4A5C-87D6-C1EF8A54F1A6}" destId="{A3DB9CCF-E11B-4FE0-AA93-4F551C92641B}" srcOrd="0" destOrd="0" presId="urn:microsoft.com/office/officeart/2008/layout/VerticalCurvedList"/>
    <dgm:cxn modelId="{F66BF890-49F7-4E56-89C3-489A6A9B4263}" type="presParOf" srcId="{6DF2E71F-0A31-4953-AF28-EA22B15DD9C9}" destId="{04F77531-0B83-444F-A8D9-6D2CED43D2C0}" srcOrd="9" destOrd="0" presId="urn:microsoft.com/office/officeart/2008/layout/VerticalCurvedList"/>
    <dgm:cxn modelId="{78C7B216-0374-420A-B5D9-548F1193BB31}" type="presParOf" srcId="{6DF2E71F-0A31-4953-AF28-EA22B15DD9C9}" destId="{1602DE30-AB8D-4446-A67D-C65792516FEF}" srcOrd="10" destOrd="0" presId="urn:microsoft.com/office/officeart/2008/layout/VerticalCurvedList"/>
    <dgm:cxn modelId="{55C58DC4-59C4-496E-8790-DF27D895F8E1}" type="presParOf" srcId="{1602DE30-AB8D-4446-A67D-C65792516FEF}" destId="{64DBB0BA-865B-475A-BB02-AD22E740BAB0}" srcOrd="0"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84ECC1DE-9F1E-49C6-BA2D-4B054663F487}" type="doc">
      <dgm:prSet loTypeId="urn:microsoft.com/office/officeart/2008/layout/VerticalCurvedList" loCatId="list" qsTypeId="urn:microsoft.com/office/officeart/2005/8/quickstyle/simple1" qsCatId="simple" csTypeId="urn:microsoft.com/office/officeart/2005/8/colors/colorful2" csCatId="colorful" phldr="1"/>
      <dgm:spPr/>
      <dgm:t>
        <a:bodyPr/>
        <a:lstStyle/>
        <a:p>
          <a:endParaRPr lang="it-IT"/>
        </a:p>
      </dgm:t>
    </dgm:pt>
    <dgm:pt modelId="{185A82F4-213C-4A12-8C35-8325E2CB9F8F}" type="pres">
      <dgm:prSet presAssocID="{84ECC1DE-9F1E-49C6-BA2D-4B054663F487}" presName="Name0" presStyleCnt="0">
        <dgm:presLayoutVars>
          <dgm:chMax val="7"/>
          <dgm:chPref val="7"/>
          <dgm:dir/>
        </dgm:presLayoutVars>
      </dgm:prSet>
      <dgm:spPr/>
    </dgm:pt>
    <dgm:pt modelId="{9379F9A7-DDF3-4DA0-8128-893A3B5A0768}" type="pres">
      <dgm:prSet presAssocID="{84ECC1DE-9F1E-49C6-BA2D-4B054663F487}" presName="Name1" presStyleCnt="0"/>
      <dgm:spPr/>
    </dgm:pt>
    <dgm:pt modelId="{BBB56564-25AE-4D70-ADEE-3CA26123AAB1}" type="pres">
      <dgm:prSet presAssocID="{84ECC1DE-9F1E-49C6-BA2D-4B054663F487}" presName="cycle" presStyleCnt="0"/>
      <dgm:spPr/>
    </dgm:pt>
    <dgm:pt modelId="{A489638E-CE1B-4F18-8E56-E0C874161A1B}" type="pres">
      <dgm:prSet presAssocID="{84ECC1DE-9F1E-49C6-BA2D-4B054663F487}" presName="srcNode" presStyleLbl="node1" presStyleIdx="0" presStyleCnt="0"/>
      <dgm:spPr/>
    </dgm:pt>
    <dgm:pt modelId="{096AA974-8666-4654-8793-D79472FC0063}" type="pres">
      <dgm:prSet presAssocID="{84ECC1DE-9F1E-49C6-BA2D-4B054663F487}" presName="conn" presStyleLbl="parChTrans1D2" presStyleIdx="0" presStyleCnt="1"/>
      <dgm:spPr/>
    </dgm:pt>
    <dgm:pt modelId="{9A11B760-943B-47B2-9824-909179FB28C4}" type="pres">
      <dgm:prSet presAssocID="{84ECC1DE-9F1E-49C6-BA2D-4B054663F487}" presName="extraNode" presStyleLbl="node1" presStyleIdx="0" presStyleCnt="0"/>
      <dgm:spPr/>
    </dgm:pt>
    <dgm:pt modelId="{31BA389D-FBB6-4617-8950-E4190B22D665}" type="pres">
      <dgm:prSet presAssocID="{84ECC1DE-9F1E-49C6-BA2D-4B054663F487}" presName="dstNode" presStyleLbl="node1" presStyleIdx="0" presStyleCnt="0"/>
      <dgm:spPr/>
    </dgm:pt>
  </dgm:ptLst>
  <dgm:cxnLst>
    <dgm:cxn modelId="{D3532597-AAE2-4223-A7F5-A466FB1E28D0}" type="presOf" srcId="{84ECC1DE-9F1E-49C6-BA2D-4B054663F487}" destId="{185A82F4-213C-4A12-8C35-8325E2CB9F8F}" srcOrd="0" destOrd="0" presId="urn:microsoft.com/office/officeart/2008/layout/VerticalCurvedList"/>
    <dgm:cxn modelId="{A93E7F9E-D0BE-433C-8D76-ED42F787DABE}" type="presParOf" srcId="{185A82F4-213C-4A12-8C35-8325E2CB9F8F}" destId="{9379F9A7-DDF3-4DA0-8128-893A3B5A0768}" srcOrd="0" destOrd="0" presId="urn:microsoft.com/office/officeart/2008/layout/VerticalCurvedList"/>
    <dgm:cxn modelId="{B96AB7EF-79A0-44EB-A891-1C3C81F131AF}" type="presParOf" srcId="{9379F9A7-DDF3-4DA0-8128-893A3B5A0768}" destId="{BBB56564-25AE-4D70-ADEE-3CA26123AAB1}" srcOrd="0" destOrd="0" presId="urn:microsoft.com/office/officeart/2008/layout/VerticalCurvedList"/>
    <dgm:cxn modelId="{97EE67FA-C61B-4AB0-8B0F-F4C4B0BF8E6A}" type="presParOf" srcId="{BBB56564-25AE-4D70-ADEE-3CA26123AAB1}" destId="{A489638E-CE1B-4F18-8E56-E0C874161A1B}" srcOrd="0" destOrd="0" presId="urn:microsoft.com/office/officeart/2008/layout/VerticalCurvedList"/>
    <dgm:cxn modelId="{4BDFFAA0-41D0-4211-BBCB-6B29738F2EE4}" type="presParOf" srcId="{BBB56564-25AE-4D70-ADEE-3CA26123AAB1}" destId="{096AA974-8666-4654-8793-D79472FC0063}" srcOrd="1" destOrd="0" presId="urn:microsoft.com/office/officeart/2008/layout/VerticalCurvedList"/>
    <dgm:cxn modelId="{6227DB4F-933E-4E5D-A7FB-5A36A2137B3C}" type="presParOf" srcId="{BBB56564-25AE-4D70-ADEE-3CA26123AAB1}" destId="{9A11B760-943B-47B2-9824-909179FB28C4}" srcOrd="2" destOrd="0" presId="urn:microsoft.com/office/officeart/2008/layout/VerticalCurvedList"/>
    <dgm:cxn modelId="{C40487DB-8259-4A9A-B4A8-80936A4350AB}" type="presParOf" srcId="{BBB56564-25AE-4D70-ADEE-3CA26123AAB1}" destId="{31BA389D-FBB6-4617-8950-E4190B22D665}" srcOrd="3" destOrd="0" presId="urn:microsoft.com/office/officeart/2008/layout/VerticalCurved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0E34F90D-0C28-40B2-9082-3F0B75BFE996}" type="doc">
      <dgm:prSet loTypeId="urn:microsoft.com/office/officeart/2005/8/layout/hierarchy2" loCatId="hierarchy" qsTypeId="urn:microsoft.com/office/officeart/2005/8/quickstyle/simple1" qsCatId="simple" csTypeId="urn:microsoft.com/office/officeart/2005/8/colors/accent2_1" csCatId="accent2" phldr="1"/>
      <dgm:spPr/>
      <dgm:t>
        <a:bodyPr/>
        <a:lstStyle/>
        <a:p>
          <a:endParaRPr lang="it-IT"/>
        </a:p>
      </dgm:t>
    </dgm:pt>
    <dgm:pt modelId="{42AD16A6-5EF4-4A60-8C92-7EA3672A19CD}">
      <dgm:prSet phldrT="[Testo]" custT="1"/>
      <dgm:spPr/>
      <dgm:t>
        <a:bodyPr/>
        <a:lstStyle/>
        <a:p>
          <a:r>
            <a:rPr lang="it-IT" sz="2000" dirty="0"/>
            <a:t>Requisiti di progettazione ecocompatibile </a:t>
          </a:r>
        </a:p>
      </dgm:t>
    </dgm:pt>
    <dgm:pt modelId="{70362A35-00E9-4B43-A2E6-C3DFCB0BCCBC}" type="parTrans" cxnId="{934C2575-B7C9-4624-A823-A78AEB9C2202}">
      <dgm:prSet/>
      <dgm:spPr/>
      <dgm:t>
        <a:bodyPr/>
        <a:lstStyle/>
        <a:p>
          <a:endParaRPr lang="it-IT"/>
        </a:p>
      </dgm:t>
    </dgm:pt>
    <dgm:pt modelId="{EE245A4D-ED4D-4F9B-8608-AC1AAC23AE28}" type="sibTrans" cxnId="{934C2575-B7C9-4624-A823-A78AEB9C2202}">
      <dgm:prSet/>
      <dgm:spPr/>
      <dgm:t>
        <a:bodyPr/>
        <a:lstStyle/>
        <a:p>
          <a:endParaRPr lang="it-IT"/>
        </a:p>
      </dgm:t>
    </dgm:pt>
    <dgm:pt modelId="{66062F88-784D-4612-8BDB-ED68677BFD11}">
      <dgm:prSet phldrT="[Testo]" custT="1"/>
      <dgm:spPr/>
      <dgm:t>
        <a:bodyPr/>
        <a:lstStyle/>
        <a:p>
          <a:r>
            <a:rPr lang="it-IT" sz="2000" b="1" dirty="0"/>
            <a:t>Obblighi di informazione</a:t>
          </a:r>
        </a:p>
        <a:p>
          <a:r>
            <a:rPr lang="it-IT" sz="2000" dirty="0"/>
            <a:t>(art. 7) </a:t>
          </a:r>
        </a:p>
      </dgm:t>
    </dgm:pt>
    <dgm:pt modelId="{130AB9B7-6E27-45FF-A913-369F1EC06DD9}" type="parTrans" cxnId="{AD16434A-9BD8-4F54-8D9A-17AB31304FA0}">
      <dgm:prSet/>
      <dgm:spPr/>
      <dgm:t>
        <a:bodyPr/>
        <a:lstStyle/>
        <a:p>
          <a:endParaRPr lang="it-IT"/>
        </a:p>
      </dgm:t>
    </dgm:pt>
    <dgm:pt modelId="{28D43849-1A52-46CE-AA00-8D881F9ED094}" type="sibTrans" cxnId="{AD16434A-9BD8-4F54-8D9A-17AB31304FA0}">
      <dgm:prSet/>
      <dgm:spPr/>
      <dgm:t>
        <a:bodyPr/>
        <a:lstStyle/>
        <a:p>
          <a:endParaRPr lang="it-IT"/>
        </a:p>
      </dgm:t>
    </dgm:pt>
    <dgm:pt modelId="{839AE8DA-067A-4B86-AA83-824216E8DEBC}">
      <dgm:prSet phldrT="[Testo]" custT="1"/>
      <dgm:spPr/>
      <dgm:t>
        <a:bodyPr/>
        <a:lstStyle/>
        <a:p>
          <a:pPr algn="ctr">
            <a:buNone/>
          </a:pPr>
          <a:r>
            <a:rPr lang="it-IT" sz="1500" dirty="0"/>
            <a:t>Includono </a:t>
          </a:r>
          <a:r>
            <a:rPr lang="it-IT" sz="1500" u="sng" dirty="0"/>
            <a:t>almeno</a:t>
          </a:r>
          <a:r>
            <a:rPr lang="it-IT" sz="1500" dirty="0"/>
            <a:t>:</a:t>
          </a:r>
        </a:p>
        <a:p>
          <a:pPr algn="ctr">
            <a:buNone/>
          </a:pPr>
          <a:r>
            <a:rPr lang="it-IT" sz="1500" dirty="0"/>
            <a:t>- requisiti relativi al </a:t>
          </a:r>
          <a:r>
            <a:rPr lang="it-IT" sz="1500" b="1" dirty="0"/>
            <a:t>DPP;</a:t>
          </a:r>
        </a:p>
        <a:p>
          <a:pPr algn="ctr">
            <a:buNone/>
          </a:pPr>
          <a:r>
            <a:rPr lang="it-IT" sz="1500" dirty="0"/>
            <a:t>- requisiti relativi alle </a:t>
          </a:r>
          <a:r>
            <a:rPr lang="it-IT" sz="1500" b="1" dirty="0"/>
            <a:t>sostanze che destano preoccupazione</a:t>
          </a:r>
        </a:p>
      </dgm:t>
    </dgm:pt>
    <dgm:pt modelId="{6099F778-5681-44D1-B068-1A74FB849F17}" type="parTrans" cxnId="{128A1086-CA87-4FB2-A42B-C07631ED7083}">
      <dgm:prSet/>
      <dgm:spPr/>
      <dgm:t>
        <a:bodyPr/>
        <a:lstStyle/>
        <a:p>
          <a:endParaRPr lang="it-IT"/>
        </a:p>
      </dgm:t>
    </dgm:pt>
    <dgm:pt modelId="{149D39F2-9CBF-4AC6-8961-BEB4B355A062}" type="sibTrans" cxnId="{128A1086-CA87-4FB2-A42B-C07631ED7083}">
      <dgm:prSet/>
      <dgm:spPr/>
      <dgm:t>
        <a:bodyPr/>
        <a:lstStyle/>
        <a:p>
          <a:endParaRPr lang="it-IT"/>
        </a:p>
      </dgm:t>
    </dgm:pt>
    <dgm:pt modelId="{0381434C-7466-4085-8221-3491CE25B8F2}">
      <dgm:prSet phldrT="[Testo]"/>
      <dgm:spPr/>
      <dgm:t>
        <a:bodyPr/>
        <a:lstStyle/>
        <a:p>
          <a:r>
            <a:rPr lang="it-IT" dirty="0"/>
            <a:t>A seconda dei casi, esigono che i prodotti siano accompagnati dalle </a:t>
          </a:r>
          <a:r>
            <a:rPr lang="it-IT" b="1" dirty="0"/>
            <a:t>informazioni espressamente previste ai sensi dell’art. 7</a:t>
          </a:r>
          <a:r>
            <a:rPr lang="it-IT" dirty="0"/>
            <a:t>. </a:t>
          </a:r>
        </a:p>
      </dgm:t>
    </dgm:pt>
    <dgm:pt modelId="{C1B85DC8-9B46-4BD2-80E7-B13C58C63BB6}" type="parTrans" cxnId="{968D2123-CFFE-4A8A-98BC-BCE586EA05A7}">
      <dgm:prSet/>
      <dgm:spPr/>
      <dgm:t>
        <a:bodyPr/>
        <a:lstStyle/>
        <a:p>
          <a:endParaRPr lang="it-IT"/>
        </a:p>
      </dgm:t>
    </dgm:pt>
    <dgm:pt modelId="{E3404891-8F60-426E-901D-FA32FE77D09E}" type="sibTrans" cxnId="{968D2123-CFFE-4A8A-98BC-BCE586EA05A7}">
      <dgm:prSet/>
      <dgm:spPr/>
      <dgm:t>
        <a:bodyPr/>
        <a:lstStyle/>
        <a:p>
          <a:endParaRPr lang="it-IT"/>
        </a:p>
      </dgm:t>
    </dgm:pt>
    <dgm:pt modelId="{C1B4C687-D6AF-4817-97F5-80E23CE00AE2}">
      <dgm:prSet phldrT="[Testo]" custT="1"/>
      <dgm:spPr/>
      <dgm:t>
        <a:bodyPr/>
        <a:lstStyle/>
        <a:p>
          <a:r>
            <a:rPr lang="it-IT" sz="2000" b="1" dirty="0"/>
            <a:t>Requisiti di prestazione</a:t>
          </a:r>
        </a:p>
        <a:p>
          <a:r>
            <a:rPr lang="it-IT" sz="2000" dirty="0"/>
            <a:t>(art. 6)</a:t>
          </a:r>
        </a:p>
      </dgm:t>
    </dgm:pt>
    <dgm:pt modelId="{142F7004-8D76-49F6-9844-06B275E213C3}" type="parTrans" cxnId="{AE917840-70EB-4F79-AD7A-025BE54E49D2}">
      <dgm:prSet/>
      <dgm:spPr/>
      <dgm:t>
        <a:bodyPr/>
        <a:lstStyle/>
        <a:p>
          <a:endParaRPr lang="it-IT"/>
        </a:p>
      </dgm:t>
    </dgm:pt>
    <dgm:pt modelId="{CA900DF6-F0D3-43F8-A313-379EE25CC50B}" type="sibTrans" cxnId="{AE917840-70EB-4F79-AD7A-025BE54E49D2}">
      <dgm:prSet/>
      <dgm:spPr/>
      <dgm:t>
        <a:bodyPr/>
        <a:lstStyle/>
        <a:p>
          <a:endParaRPr lang="it-IT"/>
        </a:p>
      </dgm:t>
    </dgm:pt>
    <dgm:pt modelId="{8B35BC25-7148-49CF-A5DA-2F95F2886E2B}">
      <dgm:prSet phldrT="[Testo]"/>
      <dgm:spPr/>
      <dgm:t>
        <a:bodyPr/>
        <a:lstStyle/>
        <a:p>
          <a:r>
            <a:rPr lang="it-IT" dirty="0"/>
            <a:t>Definiti dalla Commissione europea in conformità alla procedura di cui all’Allegato II del Regolamento ESPR</a:t>
          </a:r>
        </a:p>
      </dgm:t>
    </dgm:pt>
    <dgm:pt modelId="{58CC3F9F-F77B-45E5-8B39-F06A7154CAC4}" type="parTrans" cxnId="{1E82B7B4-FF3D-4620-A558-FFCB4B21DADF}">
      <dgm:prSet/>
      <dgm:spPr/>
      <dgm:t>
        <a:bodyPr/>
        <a:lstStyle/>
        <a:p>
          <a:endParaRPr lang="it-IT"/>
        </a:p>
      </dgm:t>
    </dgm:pt>
    <dgm:pt modelId="{C951F979-C483-48FB-80A8-4A8A4164B100}" type="sibTrans" cxnId="{1E82B7B4-FF3D-4620-A558-FFCB4B21DADF}">
      <dgm:prSet/>
      <dgm:spPr/>
      <dgm:t>
        <a:bodyPr/>
        <a:lstStyle/>
        <a:p>
          <a:endParaRPr lang="it-IT"/>
        </a:p>
      </dgm:t>
    </dgm:pt>
    <dgm:pt modelId="{BB8B0FE5-BF77-49ED-8518-CDEB3E7AA7CC}">
      <dgm:prSet custT="1"/>
      <dgm:spPr/>
      <dgm:t>
        <a:bodyPr/>
        <a:lstStyle/>
        <a:p>
          <a:pPr algn="ctr">
            <a:buFont typeface="+mj-lt"/>
            <a:buNone/>
          </a:pPr>
          <a:r>
            <a:rPr lang="it-IT" sz="1500" b="1" dirty="0"/>
            <a:t>Chiari,</a:t>
          </a:r>
          <a:r>
            <a:rPr lang="it-IT" sz="1500" dirty="0"/>
            <a:t> </a:t>
          </a:r>
          <a:r>
            <a:rPr lang="it-IT" sz="1500" b="1" dirty="0"/>
            <a:t>facilmente comprensibili </a:t>
          </a:r>
          <a:r>
            <a:rPr lang="it-IT" sz="1500" dirty="0"/>
            <a:t>e </a:t>
          </a:r>
          <a:r>
            <a:rPr lang="it-IT" sz="1500" b="1" dirty="0"/>
            <a:t>adatti a caratteristiche dei </a:t>
          </a:r>
          <a:r>
            <a:rPr lang="it-IT" sz="1500" dirty="0"/>
            <a:t>gruppi di </a:t>
          </a:r>
          <a:r>
            <a:rPr lang="it-IT" sz="1500" b="1" dirty="0"/>
            <a:t>prodotti </a:t>
          </a:r>
          <a:r>
            <a:rPr lang="it-IT" sz="1500" dirty="0"/>
            <a:t>interessati e dei destinatari delle informazioni </a:t>
          </a:r>
        </a:p>
      </dgm:t>
    </dgm:pt>
    <dgm:pt modelId="{2AB58F52-CD7F-4198-9598-3CF78779B06C}" type="parTrans" cxnId="{5B70111B-7D77-4871-AFAF-D419C86FD235}">
      <dgm:prSet/>
      <dgm:spPr/>
      <dgm:t>
        <a:bodyPr/>
        <a:lstStyle/>
        <a:p>
          <a:endParaRPr lang="it-IT"/>
        </a:p>
      </dgm:t>
    </dgm:pt>
    <dgm:pt modelId="{5A001E68-C4DD-4F77-BEF8-703A895D9FEC}" type="sibTrans" cxnId="{5B70111B-7D77-4871-AFAF-D419C86FD235}">
      <dgm:prSet/>
      <dgm:spPr/>
      <dgm:t>
        <a:bodyPr/>
        <a:lstStyle/>
        <a:p>
          <a:endParaRPr lang="it-IT"/>
        </a:p>
      </dgm:t>
    </dgm:pt>
    <dgm:pt modelId="{1C112764-4A1C-41DF-BF4F-330FC4F24AED}" type="pres">
      <dgm:prSet presAssocID="{0E34F90D-0C28-40B2-9082-3F0B75BFE996}" presName="diagram" presStyleCnt="0">
        <dgm:presLayoutVars>
          <dgm:chPref val="1"/>
          <dgm:dir/>
          <dgm:animOne val="branch"/>
          <dgm:animLvl val="lvl"/>
          <dgm:resizeHandles val="exact"/>
        </dgm:presLayoutVars>
      </dgm:prSet>
      <dgm:spPr/>
    </dgm:pt>
    <dgm:pt modelId="{C6DF3F58-D42D-412F-8741-8E5012D4BD4A}" type="pres">
      <dgm:prSet presAssocID="{42AD16A6-5EF4-4A60-8C92-7EA3672A19CD}" presName="root1" presStyleCnt="0"/>
      <dgm:spPr/>
    </dgm:pt>
    <dgm:pt modelId="{F8A6C9C4-9C29-4B67-9529-C90FCF9DB35A}" type="pres">
      <dgm:prSet presAssocID="{42AD16A6-5EF4-4A60-8C92-7EA3672A19CD}" presName="LevelOneTextNode" presStyleLbl="node0" presStyleIdx="0" presStyleCnt="1">
        <dgm:presLayoutVars>
          <dgm:chPref val="3"/>
        </dgm:presLayoutVars>
      </dgm:prSet>
      <dgm:spPr/>
    </dgm:pt>
    <dgm:pt modelId="{B28F2ABB-DD70-4A55-B366-CF098BFAB2C2}" type="pres">
      <dgm:prSet presAssocID="{42AD16A6-5EF4-4A60-8C92-7EA3672A19CD}" presName="level2hierChild" presStyleCnt="0"/>
      <dgm:spPr/>
    </dgm:pt>
    <dgm:pt modelId="{FFAEC338-4A7B-4CA2-A79A-2B1D213A8020}" type="pres">
      <dgm:prSet presAssocID="{130AB9B7-6E27-45FF-A913-369F1EC06DD9}" presName="conn2-1" presStyleLbl="parChTrans1D2" presStyleIdx="0" presStyleCnt="2"/>
      <dgm:spPr/>
    </dgm:pt>
    <dgm:pt modelId="{27128FFA-724E-49F5-B2D4-3118CA26F06E}" type="pres">
      <dgm:prSet presAssocID="{130AB9B7-6E27-45FF-A913-369F1EC06DD9}" presName="connTx" presStyleLbl="parChTrans1D2" presStyleIdx="0" presStyleCnt="2"/>
      <dgm:spPr/>
    </dgm:pt>
    <dgm:pt modelId="{71EB6848-5818-406B-B1D1-DC2FF40DACA7}" type="pres">
      <dgm:prSet presAssocID="{66062F88-784D-4612-8BDB-ED68677BFD11}" presName="root2" presStyleCnt="0"/>
      <dgm:spPr/>
    </dgm:pt>
    <dgm:pt modelId="{139EF514-B3B3-4BEE-9DB6-95035D999611}" type="pres">
      <dgm:prSet presAssocID="{66062F88-784D-4612-8BDB-ED68677BFD11}" presName="LevelTwoTextNode" presStyleLbl="node2" presStyleIdx="0" presStyleCnt="2">
        <dgm:presLayoutVars>
          <dgm:chPref val="3"/>
        </dgm:presLayoutVars>
      </dgm:prSet>
      <dgm:spPr/>
    </dgm:pt>
    <dgm:pt modelId="{C9B76389-4704-44B0-89FC-F7BF90AE917E}" type="pres">
      <dgm:prSet presAssocID="{66062F88-784D-4612-8BDB-ED68677BFD11}" presName="level3hierChild" presStyleCnt="0"/>
      <dgm:spPr/>
    </dgm:pt>
    <dgm:pt modelId="{6007802B-4E4D-44F3-9808-B47427005C5B}" type="pres">
      <dgm:prSet presAssocID="{6099F778-5681-44D1-B068-1A74FB849F17}" presName="conn2-1" presStyleLbl="parChTrans1D3" presStyleIdx="0" presStyleCnt="4"/>
      <dgm:spPr/>
    </dgm:pt>
    <dgm:pt modelId="{1B0C130D-C0CC-448A-B78A-45FC0EC6B0AA}" type="pres">
      <dgm:prSet presAssocID="{6099F778-5681-44D1-B068-1A74FB849F17}" presName="connTx" presStyleLbl="parChTrans1D3" presStyleIdx="0" presStyleCnt="4"/>
      <dgm:spPr/>
    </dgm:pt>
    <dgm:pt modelId="{794EDAC8-76DD-4794-8BAB-8BFB48DD6EE7}" type="pres">
      <dgm:prSet presAssocID="{839AE8DA-067A-4B86-AA83-824216E8DEBC}" presName="root2" presStyleCnt="0"/>
      <dgm:spPr/>
    </dgm:pt>
    <dgm:pt modelId="{B2B3BAB9-6A68-4299-AA8E-3DBEF28985A1}" type="pres">
      <dgm:prSet presAssocID="{839AE8DA-067A-4B86-AA83-824216E8DEBC}" presName="LevelTwoTextNode" presStyleLbl="node3" presStyleIdx="0" presStyleCnt="4">
        <dgm:presLayoutVars>
          <dgm:chPref val="3"/>
        </dgm:presLayoutVars>
      </dgm:prSet>
      <dgm:spPr/>
    </dgm:pt>
    <dgm:pt modelId="{2836431C-EB09-4ECA-9CBC-A95F504BB624}" type="pres">
      <dgm:prSet presAssocID="{839AE8DA-067A-4B86-AA83-824216E8DEBC}" presName="level3hierChild" presStyleCnt="0"/>
      <dgm:spPr/>
    </dgm:pt>
    <dgm:pt modelId="{B86DBE53-9914-4259-BAF3-E9D4153C60ED}" type="pres">
      <dgm:prSet presAssocID="{C1B85DC8-9B46-4BD2-80E7-B13C58C63BB6}" presName="conn2-1" presStyleLbl="parChTrans1D3" presStyleIdx="1" presStyleCnt="4"/>
      <dgm:spPr/>
    </dgm:pt>
    <dgm:pt modelId="{F95651D0-BB16-42BA-A35C-D3F340E4278C}" type="pres">
      <dgm:prSet presAssocID="{C1B85DC8-9B46-4BD2-80E7-B13C58C63BB6}" presName="connTx" presStyleLbl="parChTrans1D3" presStyleIdx="1" presStyleCnt="4"/>
      <dgm:spPr/>
    </dgm:pt>
    <dgm:pt modelId="{DFCEFC0B-FFBA-46AE-A877-50CDFE44938E}" type="pres">
      <dgm:prSet presAssocID="{0381434C-7466-4085-8221-3491CE25B8F2}" presName="root2" presStyleCnt="0"/>
      <dgm:spPr/>
    </dgm:pt>
    <dgm:pt modelId="{29B46DD0-DFB3-4F45-BD78-7373F0AD5137}" type="pres">
      <dgm:prSet presAssocID="{0381434C-7466-4085-8221-3491CE25B8F2}" presName="LevelTwoTextNode" presStyleLbl="node3" presStyleIdx="1" presStyleCnt="4">
        <dgm:presLayoutVars>
          <dgm:chPref val="3"/>
        </dgm:presLayoutVars>
      </dgm:prSet>
      <dgm:spPr/>
    </dgm:pt>
    <dgm:pt modelId="{5946F169-3BCE-4B4A-9623-BE34370CF14C}" type="pres">
      <dgm:prSet presAssocID="{0381434C-7466-4085-8221-3491CE25B8F2}" presName="level3hierChild" presStyleCnt="0"/>
      <dgm:spPr/>
    </dgm:pt>
    <dgm:pt modelId="{86B46A15-C1E9-4793-94CF-7187BBF69BB5}" type="pres">
      <dgm:prSet presAssocID="{2AB58F52-CD7F-4198-9598-3CF78779B06C}" presName="conn2-1" presStyleLbl="parChTrans1D3" presStyleIdx="2" presStyleCnt="4"/>
      <dgm:spPr/>
    </dgm:pt>
    <dgm:pt modelId="{AC34EF8A-3A78-4113-9F49-61F6830AE300}" type="pres">
      <dgm:prSet presAssocID="{2AB58F52-CD7F-4198-9598-3CF78779B06C}" presName="connTx" presStyleLbl="parChTrans1D3" presStyleIdx="2" presStyleCnt="4"/>
      <dgm:spPr/>
    </dgm:pt>
    <dgm:pt modelId="{2BDDB4B7-E10C-4C3F-A8E9-A124DA81B3FB}" type="pres">
      <dgm:prSet presAssocID="{BB8B0FE5-BF77-49ED-8518-CDEB3E7AA7CC}" presName="root2" presStyleCnt="0"/>
      <dgm:spPr/>
    </dgm:pt>
    <dgm:pt modelId="{7A3C28B1-55D4-4941-9776-67A0E3FE704A}" type="pres">
      <dgm:prSet presAssocID="{BB8B0FE5-BF77-49ED-8518-CDEB3E7AA7CC}" presName="LevelTwoTextNode" presStyleLbl="node3" presStyleIdx="2" presStyleCnt="4">
        <dgm:presLayoutVars>
          <dgm:chPref val="3"/>
        </dgm:presLayoutVars>
      </dgm:prSet>
      <dgm:spPr/>
    </dgm:pt>
    <dgm:pt modelId="{D1A1101C-10CA-4874-B33A-8FA6ACDCF492}" type="pres">
      <dgm:prSet presAssocID="{BB8B0FE5-BF77-49ED-8518-CDEB3E7AA7CC}" presName="level3hierChild" presStyleCnt="0"/>
      <dgm:spPr/>
    </dgm:pt>
    <dgm:pt modelId="{48E29300-01C4-4E56-949C-E91D52DD1A7F}" type="pres">
      <dgm:prSet presAssocID="{142F7004-8D76-49F6-9844-06B275E213C3}" presName="conn2-1" presStyleLbl="parChTrans1D2" presStyleIdx="1" presStyleCnt="2"/>
      <dgm:spPr/>
    </dgm:pt>
    <dgm:pt modelId="{68A1EDDD-CAC1-405D-AB57-933C2DED0794}" type="pres">
      <dgm:prSet presAssocID="{142F7004-8D76-49F6-9844-06B275E213C3}" presName="connTx" presStyleLbl="parChTrans1D2" presStyleIdx="1" presStyleCnt="2"/>
      <dgm:spPr/>
    </dgm:pt>
    <dgm:pt modelId="{FB7009DF-25F6-48E8-86DF-8C299A579D16}" type="pres">
      <dgm:prSet presAssocID="{C1B4C687-D6AF-4817-97F5-80E23CE00AE2}" presName="root2" presStyleCnt="0"/>
      <dgm:spPr/>
    </dgm:pt>
    <dgm:pt modelId="{81912D60-31CF-4DE6-A5DE-3BA7B67B3516}" type="pres">
      <dgm:prSet presAssocID="{C1B4C687-D6AF-4817-97F5-80E23CE00AE2}" presName="LevelTwoTextNode" presStyleLbl="node2" presStyleIdx="1" presStyleCnt="2">
        <dgm:presLayoutVars>
          <dgm:chPref val="3"/>
        </dgm:presLayoutVars>
      </dgm:prSet>
      <dgm:spPr/>
    </dgm:pt>
    <dgm:pt modelId="{CB3A619A-F22C-4F33-ACD3-DA5918F00A57}" type="pres">
      <dgm:prSet presAssocID="{C1B4C687-D6AF-4817-97F5-80E23CE00AE2}" presName="level3hierChild" presStyleCnt="0"/>
      <dgm:spPr/>
    </dgm:pt>
    <dgm:pt modelId="{3A0AFD48-FDF8-4726-BA10-1C073D1EE8D9}" type="pres">
      <dgm:prSet presAssocID="{58CC3F9F-F77B-45E5-8B39-F06A7154CAC4}" presName="conn2-1" presStyleLbl="parChTrans1D3" presStyleIdx="3" presStyleCnt="4"/>
      <dgm:spPr/>
    </dgm:pt>
    <dgm:pt modelId="{481A0702-ADB0-49B4-B10D-D586529F8073}" type="pres">
      <dgm:prSet presAssocID="{58CC3F9F-F77B-45E5-8B39-F06A7154CAC4}" presName="connTx" presStyleLbl="parChTrans1D3" presStyleIdx="3" presStyleCnt="4"/>
      <dgm:spPr/>
    </dgm:pt>
    <dgm:pt modelId="{CB4D02CB-79F2-4E29-8395-290F7D81D834}" type="pres">
      <dgm:prSet presAssocID="{8B35BC25-7148-49CF-A5DA-2F95F2886E2B}" presName="root2" presStyleCnt="0"/>
      <dgm:spPr/>
    </dgm:pt>
    <dgm:pt modelId="{00A52E36-258F-4D27-8739-5B1587791203}" type="pres">
      <dgm:prSet presAssocID="{8B35BC25-7148-49CF-A5DA-2F95F2886E2B}" presName="LevelTwoTextNode" presStyleLbl="node3" presStyleIdx="3" presStyleCnt="4">
        <dgm:presLayoutVars>
          <dgm:chPref val="3"/>
        </dgm:presLayoutVars>
      </dgm:prSet>
      <dgm:spPr/>
    </dgm:pt>
    <dgm:pt modelId="{716FEE49-AD62-43F6-B57D-48E43E408837}" type="pres">
      <dgm:prSet presAssocID="{8B35BC25-7148-49CF-A5DA-2F95F2886E2B}" presName="level3hierChild" presStyleCnt="0"/>
      <dgm:spPr/>
    </dgm:pt>
  </dgm:ptLst>
  <dgm:cxnLst>
    <dgm:cxn modelId="{37043A03-8363-4D37-B156-B078602D266F}" type="presOf" srcId="{66062F88-784D-4612-8BDB-ED68677BFD11}" destId="{139EF514-B3B3-4BEE-9DB6-95035D999611}" srcOrd="0" destOrd="0" presId="urn:microsoft.com/office/officeart/2005/8/layout/hierarchy2"/>
    <dgm:cxn modelId="{5B70111B-7D77-4871-AFAF-D419C86FD235}" srcId="{66062F88-784D-4612-8BDB-ED68677BFD11}" destId="{BB8B0FE5-BF77-49ED-8518-CDEB3E7AA7CC}" srcOrd="2" destOrd="0" parTransId="{2AB58F52-CD7F-4198-9598-3CF78779B06C}" sibTransId="{5A001E68-C4DD-4F77-BEF8-703A895D9FEC}"/>
    <dgm:cxn modelId="{4027301D-8B78-4A19-930A-7CC065EC2335}" type="presOf" srcId="{142F7004-8D76-49F6-9844-06B275E213C3}" destId="{68A1EDDD-CAC1-405D-AB57-933C2DED0794}" srcOrd="1" destOrd="0" presId="urn:microsoft.com/office/officeart/2005/8/layout/hierarchy2"/>
    <dgm:cxn modelId="{210ED71D-8EB9-421D-9EAA-CF344300C4D6}" type="presOf" srcId="{6099F778-5681-44D1-B068-1A74FB849F17}" destId="{1B0C130D-C0CC-448A-B78A-45FC0EC6B0AA}" srcOrd="1" destOrd="0" presId="urn:microsoft.com/office/officeart/2005/8/layout/hierarchy2"/>
    <dgm:cxn modelId="{968D2123-CFFE-4A8A-98BC-BCE586EA05A7}" srcId="{66062F88-784D-4612-8BDB-ED68677BFD11}" destId="{0381434C-7466-4085-8221-3491CE25B8F2}" srcOrd="1" destOrd="0" parTransId="{C1B85DC8-9B46-4BD2-80E7-B13C58C63BB6}" sibTransId="{E3404891-8F60-426E-901D-FA32FE77D09E}"/>
    <dgm:cxn modelId="{12316035-F23C-4DE5-9CFD-4B00ED0883AB}" type="presOf" srcId="{839AE8DA-067A-4B86-AA83-824216E8DEBC}" destId="{B2B3BAB9-6A68-4299-AA8E-3DBEF28985A1}" srcOrd="0" destOrd="0" presId="urn:microsoft.com/office/officeart/2005/8/layout/hierarchy2"/>
    <dgm:cxn modelId="{AE917840-70EB-4F79-AD7A-025BE54E49D2}" srcId="{42AD16A6-5EF4-4A60-8C92-7EA3672A19CD}" destId="{C1B4C687-D6AF-4817-97F5-80E23CE00AE2}" srcOrd="1" destOrd="0" parTransId="{142F7004-8D76-49F6-9844-06B275E213C3}" sibTransId="{CA900DF6-F0D3-43F8-A313-379EE25CC50B}"/>
    <dgm:cxn modelId="{2349C644-6A7A-46DC-A75C-1463954BB4A9}" type="presOf" srcId="{BB8B0FE5-BF77-49ED-8518-CDEB3E7AA7CC}" destId="{7A3C28B1-55D4-4941-9776-67A0E3FE704A}" srcOrd="0" destOrd="0" presId="urn:microsoft.com/office/officeart/2005/8/layout/hierarchy2"/>
    <dgm:cxn modelId="{AD16434A-9BD8-4F54-8D9A-17AB31304FA0}" srcId="{42AD16A6-5EF4-4A60-8C92-7EA3672A19CD}" destId="{66062F88-784D-4612-8BDB-ED68677BFD11}" srcOrd="0" destOrd="0" parTransId="{130AB9B7-6E27-45FF-A913-369F1EC06DD9}" sibTransId="{28D43849-1A52-46CE-AA00-8D881F9ED094}"/>
    <dgm:cxn modelId="{D3475B6F-F4A1-4A09-A442-4BB654DEFC3F}" type="presOf" srcId="{0381434C-7466-4085-8221-3491CE25B8F2}" destId="{29B46DD0-DFB3-4F45-BD78-7373F0AD5137}" srcOrd="0" destOrd="0" presId="urn:microsoft.com/office/officeart/2005/8/layout/hierarchy2"/>
    <dgm:cxn modelId="{6BA47051-7C7A-484F-9472-7A5CC6D5ABF5}" type="presOf" srcId="{130AB9B7-6E27-45FF-A913-369F1EC06DD9}" destId="{FFAEC338-4A7B-4CA2-A79A-2B1D213A8020}" srcOrd="0" destOrd="0" presId="urn:microsoft.com/office/officeart/2005/8/layout/hierarchy2"/>
    <dgm:cxn modelId="{934C2575-B7C9-4624-A823-A78AEB9C2202}" srcId="{0E34F90D-0C28-40B2-9082-3F0B75BFE996}" destId="{42AD16A6-5EF4-4A60-8C92-7EA3672A19CD}" srcOrd="0" destOrd="0" parTransId="{70362A35-00E9-4B43-A2E6-C3DFCB0BCCBC}" sibTransId="{EE245A4D-ED4D-4F9B-8608-AC1AAC23AE28}"/>
    <dgm:cxn modelId="{AF8A537D-A164-4C6C-B5A0-6BA7049CF155}" type="presOf" srcId="{2AB58F52-CD7F-4198-9598-3CF78779B06C}" destId="{86B46A15-C1E9-4793-94CF-7187BBF69BB5}" srcOrd="0" destOrd="0" presId="urn:microsoft.com/office/officeart/2005/8/layout/hierarchy2"/>
    <dgm:cxn modelId="{99575E85-145E-4B9D-8E00-526A8C33A4D4}" type="presOf" srcId="{C1B85DC8-9B46-4BD2-80E7-B13C58C63BB6}" destId="{B86DBE53-9914-4259-BAF3-E9D4153C60ED}" srcOrd="0" destOrd="0" presId="urn:microsoft.com/office/officeart/2005/8/layout/hierarchy2"/>
    <dgm:cxn modelId="{128A1086-CA87-4FB2-A42B-C07631ED7083}" srcId="{66062F88-784D-4612-8BDB-ED68677BFD11}" destId="{839AE8DA-067A-4B86-AA83-824216E8DEBC}" srcOrd="0" destOrd="0" parTransId="{6099F778-5681-44D1-B068-1A74FB849F17}" sibTransId="{149D39F2-9CBF-4AC6-8961-BEB4B355A062}"/>
    <dgm:cxn modelId="{6FC084A9-10DC-4744-9D6A-CB7894E07034}" type="presOf" srcId="{58CC3F9F-F77B-45E5-8B39-F06A7154CAC4}" destId="{481A0702-ADB0-49B4-B10D-D586529F8073}" srcOrd="1" destOrd="0" presId="urn:microsoft.com/office/officeart/2005/8/layout/hierarchy2"/>
    <dgm:cxn modelId="{1E82B7B4-FF3D-4620-A558-FFCB4B21DADF}" srcId="{C1B4C687-D6AF-4817-97F5-80E23CE00AE2}" destId="{8B35BC25-7148-49CF-A5DA-2F95F2886E2B}" srcOrd="0" destOrd="0" parTransId="{58CC3F9F-F77B-45E5-8B39-F06A7154CAC4}" sibTransId="{C951F979-C483-48FB-80A8-4A8A4164B100}"/>
    <dgm:cxn modelId="{5F0360C1-83A2-45CC-9216-C67D265103A8}" type="presOf" srcId="{2AB58F52-CD7F-4198-9598-3CF78779B06C}" destId="{AC34EF8A-3A78-4113-9F49-61F6830AE300}" srcOrd="1" destOrd="0" presId="urn:microsoft.com/office/officeart/2005/8/layout/hierarchy2"/>
    <dgm:cxn modelId="{7C3062C7-E069-48BA-BEE9-EF2A0EAF50A2}" type="presOf" srcId="{142F7004-8D76-49F6-9844-06B275E213C3}" destId="{48E29300-01C4-4E56-949C-E91D52DD1A7F}" srcOrd="0" destOrd="0" presId="urn:microsoft.com/office/officeart/2005/8/layout/hierarchy2"/>
    <dgm:cxn modelId="{6EE0CECE-33EE-4E4D-9517-8454E6CBF10A}" type="presOf" srcId="{C1B85DC8-9B46-4BD2-80E7-B13C58C63BB6}" destId="{F95651D0-BB16-42BA-A35C-D3F340E4278C}" srcOrd="1" destOrd="0" presId="urn:microsoft.com/office/officeart/2005/8/layout/hierarchy2"/>
    <dgm:cxn modelId="{97B9BDCF-593C-4DFE-893B-D9954C33974C}" type="presOf" srcId="{58CC3F9F-F77B-45E5-8B39-F06A7154CAC4}" destId="{3A0AFD48-FDF8-4726-BA10-1C073D1EE8D9}" srcOrd="0" destOrd="0" presId="urn:microsoft.com/office/officeart/2005/8/layout/hierarchy2"/>
    <dgm:cxn modelId="{BE07DFD6-C27C-4AB0-869C-1F51B0145BDC}" type="presOf" srcId="{C1B4C687-D6AF-4817-97F5-80E23CE00AE2}" destId="{81912D60-31CF-4DE6-A5DE-3BA7B67B3516}" srcOrd="0" destOrd="0" presId="urn:microsoft.com/office/officeart/2005/8/layout/hierarchy2"/>
    <dgm:cxn modelId="{DA26C3D7-4B18-48F7-A83E-EAC192BE6B5D}" type="presOf" srcId="{8B35BC25-7148-49CF-A5DA-2F95F2886E2B}" destId="{00A52E36-258F-4D27-8739-5B1587791203}" srcOrd="0" destOrd="0" presId="urn:microsoft.com/office/officeart/2005/8/layout/hierarchy2"/>
    <dgm:cxn modelId="{FF22C1E0-C54F-4249-8B04-6531D95AA193}" type="presOf" srcId="{130AB9B7-6E27-45FF-A913-369F1EC06DD9}" destId="{27128FFA-724E-49F5-B2D4-3118CA26F06E}" srcOrd="1" destOrd="0" presId="urn:microsoft.com/office/officeart/2005/8/layout/hierarchy2"/>
    <dgm:cxn modelId="{37961CF0-A2DF-4EF1-BEFC-7866E6406D43}" type="presOf" srcId="{42AD16A6-5EF4-4A60-8C92-7EA3672A19CD}" destId="{F8A6C9C4-9C29-4B67-9529-C90FCF9DB35A}" srcOrd="0" destOrd="0" presId="urn:microsoft.com/office/officeart/2005/8/layout/hierarchy2"/>
    <dgm:cxn modelId="{ABDF87F9-0995-4512-AEA8-4BB4445B61C5}" type="presOf" srcId="{0E34F90D-0C28-40B2-9082-3F0B75BFE996}" destId="{1C112764-4A1C-41DF-BF4F-330FC4F24AED}" srcOrd="0" destOrd="0" presId="urn:microsoft.com/office/officeart/2005/8/layout/hierarchy2"/>
    <dgm:cxn modelId="{37D837FD-F3EA-46AE-93F4-8D5098928A8B}" type="presOf" srcId="{6099F778-5681-44D1-B068-1A74FB849F17}" destId="{6007802B-4E4D-44F3-9808-B47427005C5B}" srcOrd="0" destOrd="0" presId="urn:microsoft.com/office/officeart/2005/8/layout/hierarchy2"/>
    <dgm:cxn modelId="{4C335A23-4BCB-4923-989E-2DD568A8EF7B}" type="presParOf" srcId="{1C112764-4A1C-41DF-BF4F-330FC4F24AED}" destId="{C6DF3F58-D42D-412F-8741-8E5012D4BD4A}" srcOrd="0" destOrd="0" presId="urn:microsoft.com/office/officeart/2005/8/layout/hierarchy2"/>
    <dgm:cxn modelId="{0DF92EAE-E317-4886-B893-27447738DD7D}" type="presParOf" srcId="{C6DF3F58-D42D-412F-8741-8E5012D4BD4A}" destId="{F8A6C9C4-9C29-4B67-9529-C90FCF9DB35A}" srcOrd="0" destOrd="0" presId="urn:microsoft.com/office/officeart/2005/8/layout/hierarchy2"/>
    <dgm:cxn modelId="{9FC71BAB-CFAA-476D-A71C-B4DCCCA8B1BF}" type="presParOf" srcId="{C6DF3F58-D42D-412F-8741-8E5012D4BD4A}" destId="{B28F2ABB-DD70-4A55-B366-CF098BFAB2C2}" srcOrd="1" destOrd="0" presId="urn:microsoft.com/office/officeart/2005/8/layout/hierarchy2"/>
    <dgm:cxn modelId="{DB4E7E69-AB88-4C3A-97DE-67AB3DF6C869}" type="presParOf" srcId="{B28F2ABB-DD70-4A55-B366-CF098BFAB2C2}" destId="{FFAEC338-4A7B-4CA2-A79A-2B1D213A8020}" srcOrd="0" destOrd="0" presId="urn:microsoft.com/office/officeart/2005/8/layout/hierarchy2"/>
    <dgm:cxn modelId="{6CD4987B-AA7E-4C7D-9823-7FD5A1C18C95}" type="presParOf" srcId="{FFAEC338-4A7B-4CA2-A79A-2B1D213A8020}" destId="{27128FFA-724E-49F5-B2D4-3118CA26F06E}" srcOrd="0" destOrd="0" presId="urn:microsoft.com/office/officeart/2005/8/layout/hierarchy2"/>
    <dgm:cxn modelId="{CBF20F9E-386A-4AE1-A070-A3C1E42553C8}" type="presParOf" srcId="{B28F2ABB-DD70-4A55-B366-CF098BFAB2C2}" destId="{71EB6848-5818-406B-B1D1-DC2FF40DACA7}" srcOrd="1" destOrd="0" presId="urn:microsoft.com/office/officeart/2005/8/layout/hierarchy2"/>
    <dgm:cxn modelId="{F7EBF0C9-2B67-45AD-AA09-3F9FF8E0BC63}" type="presParOf" srcId="{71EB6848-5818-406B-B1D1-DC2FF40DACA7}" destId="{139EF514-B3B3-4BEE-9DB6-95035D999611}" srcOrd="0" destOrd="0" presId="urn:microsoft.com/office/officeart/2005/8/layout/hierarchy2"/>
    <dgm:cxn modelId="{A28DACD5-DDDD-4AA1-98D8-29BFFFB8870F}" type="presParOf" srcId="{71EB6848-5818-406B-B1D1-DC2FF40DACA7}" destId="{C9B76389-4704-44B0-89FC-F7BF90AE917E}" srcOrd="1" destOrd="0" presId="urn:microsoft.com/office/officeart/2005/8/layout/hierarchy2"/>
    <dgm:cxn modelId="{089455F1-B428-47F9-9022-86A80D9887E4}" type="presParOf" srcId="{C9B76389-4704-44B0-89FC-F7BF90AE917E}" destId="{6007802B-4E4D-44F3-9808-B47427005C5B}" srcOrd="0" destOrd="0" presId="urn:microsoft.com/office/officeart/2005/8/layout/hierarchy2"/>
    <dgm:cxn modelId="{A00A745F-9B05-425C-9C14-95183F21BBB2}" type="presParOf" srcId="{6007802B-4E4D-44F3-9808-B47427005C5B}" destId="{1B0C130D-C0CC-448A-B78A-45FC0EC6B0AA}" srcOrd="0" destOrd="0" presId="urn:microsoft.com/office/officeart/2005/8/layout/hierarchy2"/>
    <dgm:cxn modelId="{734743BD-AB20-4EC3-A561-90000E604ECE}" type="presParOf" srcId="{C9B76389-4704-44B0-89FC-F7BF90AE917E}" destId="{794EDAC8-76DD-4794-8BAB-8BFB48DD6EE7}" srcOrd="1" destOrd="0" presId="urn:microsoft.com/office/officeart/2005/8/layout/hierarchy2"/>
    <dgm:cxn modelId="{237F583F-77AC-4746-8D6F-E70FCFFF9948}" type="presParOf" srcId="{794EDAC8-76DD-4794-8BAB-8BFB48DD6EE7}" destId="{B2B3BAB9-6A68-4299-AA8E-3DBEF28985A1}" srcOrd="0" destOrd="0" presId="urn:microsoft.com/office/officeart/2005/8/layout/hierarchy2"/>
    <dgm:cxn modelId="{E0A98F0D-F2B1-42FC-BB9C-6431B0683C1B}" type="presParOf" srcId="{794EDAC8-76DD-4794-8BAB-8BFB48DD6EE7}" destId="{2836431C-EB09-4ECA-9CBC-A95F504BB624}" srcOrd="1" destOrd="0" presId="urn:microsoft.com/office/officeart/2005/8/layout/hierarchy2"/>
    <dgm:cxn modelId="{95E2F4E5-0E8E-41D8-994C-AFF3C5B57963}" type="presParOf" srcId="{C9B76389-4704-44B0-89FC-F7BF90AE917E}" destId="{B86DBE53-9914-4259-BAF3-E9D4153C60ED}" srcOrd="2" destOrd="0" presId="urn:microsoft.com/office/officeart/2005/8/layout/hierarchy2"/>
    <dgm:cxn modelId="{8BD95C86-0878-4674-9734-925AF3D95729}" type="presParOf" srcId="{B86DBE53-9914-4259-BAF3-E9D4153C60ED}" destId="{F95651D0-BB16-42BA-A35C-D3F340E4278C}" srcOrd="0" destOrd="0" presId="urn:microsoft.com/office/officeart/2005/8/layout/hierarchy2"/>
    <dgm:cxn modelId="{9F9AE0E1-24C1-4055-A8DA-B13EA45D1338}" type="presParOf" srcId="{C9B76389-4704-44B0-89FC-F7BF90AE917E}" destId="{DFCEFC0B-FFBA-46AE-A877-50CDFE44938E}" srcOrd="3" destOrd="0" presId="urn:microsoft.com/office/officeart/2005/8/layout/hierarchy2"/>
    <dgm:cxn modelId="{2A101476-E381-4993-B275-ECE3E1D7E4D4}" type="presParOf" srcId="{DFCEFC0B-FFBA-46AE-A877-50CDFE44938E}" destId="{29B46DD0-DFB3-4F45-BD78-7373F0AD5137}" srcOrd="0" destOrd="0" presId="urn:microsoft.com/office/officeart/2005/8/layout/hierarchy2"/>
    <dgm:cxn modelId="{224F3C7C-A131-4610-A3E2-A3C1291BF3A7}" type="presParOf" srcId="{DFCEFC0B-FFBA-46AE-A877-50CDFE44938E}" destId="{5946F169-3BCE-4B4A-9623-BE34370CF14C}" srcOrd="1" destOrd="0" presId="urn:microsoft.com/office/officeart/2005/8/layout/hierarchy2"/>
    <dgm:cxn modelId="{D7B19678-87BB-4F5D-A1AF-3B7AB20A1DF2}" type="presParOf" srcId="{C9B76389-4704-44B0-89FC-F7BF90AE917E}" destId="{86B46A15-C1E9-4793-94CF-7187BBF69BB5}" srcOrd="4" destOrd="0" presId="urn:microsoft.com/office/officeart/2005/8/layout/hierarchy2"/>
    <dgm:cxn modelId="{EB7E88B1-5B6F-48B0-89F0-B0E93CA934F7}" type="presParOf" srcId="{86B46A15-C1E9-4793-94CF-7187BBF69BB5}" destId="{AC34EF8A-3A78-4113-9F49-61F6830AE300}" srcOrd="0" destOrd="0" presId="urn:microsoft.com/office/officeart/2005/8/layout/hierarchy2"/>
    <dgm:cxn modelId="{F52DB83F-5C2C-4FAF-938D-FF17C197EE4E}" type="presParOf" srcId="{C9B76389-4704-44B0-89FC-F7BF90AE917E}" destId="{2BDDB4B7-E10C-4C3F-A8E9-A124DA81B3FB}" srcOrd="5" destOrd="0" presId="urn:microsoft.com/office/officeart/2005/8/layout/hierarchy2"/>
    <dgm:cxn modelId="{B9DCD98C-EF06-439D-9851-65E668CDC491}" type="presParOf" srcId="{2BDDB4B7-E10C-4C3F-A8E9-A124DA81B3FB}" destId="{7A3C28B1-55D4-4941-9776-67A0E3FE704A}" srcOrd="0" destOrd="0" presId="urn:microsoft.com/office/officeart/2005/8/layout/hierarchy2"/>
    <dgm:cxn modelId="{AC9E3C16-28E1-4A5E-A20B-169D229D8F03}" type="presParOf" srcId="{2BDDB4B7-E10C-4C3F-A8E9-A124DA81B3FB}" destId="{D1A1101C-10CA-4874-B33A-8FA6ACDCF492}" srcOrd="1" destOrd="0" presId="urn:microsoft.com/office/officeart/2005/8/layout/hierarchy2"/>
    <dgm:cxn modelId="{6658A55C-41F3-4324-8113-D9A152610579}" type="presParOf" srcId="{B28F2ABB-DD70-4A55-B366-CF098BFAB2C2}" destId="{48E29300-01C4-4E56-949C-E91D52DD1A7F}" srcOrd="2" destOrd="0" presId="urn:microsoft.com/office/officeart/2005/8/layout/hierarchy2"/>
    <dgm:cxn modelId="{FB8A3607-3230-466A-8054-231E824A86B7}" type="presParOf" srcId="{48E29300-01C4-4E56-949C-E91D52DD1A7F}" destId="{68A1EDDD-CAC1-405D-AB57-933C2DED0794}" srcOrd="0" destOrd="0" presId="urn:microsoft.com/office/officeart/2005/8/layout/hierarchy2"/>
    <dgm:cxn modelId="{006CB1C3-BBC2-463C-9894-FC0ED5A1E30F}" type="presParOf" srcId="{B28F2ABB-DD70-4A55-B366-CF098BFAB2C2}" destId="{FB7009DF-25F6-48E8-86DF-8C299A579D16}" srcOrd="3" destOrd="0" presId="urn:microsoft.com/office/officeart/2005/8/layout/hierarchy2"/>
    <dgm:cxn modelId="{B7B47B6F-3A63-448A-B95A-DA8C3BFA52F9}" type="presParOf" srcId="{FB7009DF-25F6-48E8-86DF-8C299A579D16}" destId="{81912D60-31CF-4DE6-A5DE-3BA7B67B3516}" srcOrd="0" destOrd="0" presId="urn:microsoft.com/office/officeart/2005/8/layout/hierarchy2"/>
    <dgm:cxn modelId="{7A0D6778-9F13-4011-B45D-C5A13A5E80A0}" type="presParOf" srcId="{FB7009DF-25F6-48E8-86DF-8C299A579D16}" destId="{CB3A619A-F22C-4F33-ACD3-DA5918F00A57}" srcOrd="1" destOrd="0" presId="urn:microsoft.com/office/officeart/2005/8/layout/hierarchy2"/>
    <dgm:cxn modelId="{A2A6F577-C2E3-4743-A6B8-00EA06F822F7}" type="presParOf" srcId="{CB3A619A-F22C-4F33-ACD3-DA5918F00A57}" destId="{3A0AFD48-FDF8-4726-BA10-1C073D1EE8D9}" srcOrd="0" destOrd="0" presId="urn:microsoft.com/office/officeart/2005/8/layout/hierarchy2"/>
    <dgm:cxn modelId="{2BFC8677-A5A8-4059-BF20-C9F00572E96C}" type="presParOf" srcId="{3A0AFD48-FDF8-4726-BA10-1C073D1EE8D9}" destId="{481A0702-ADB0-49B4-B10D-D586529F8073}" srcOrd="0" destOrd="0" presId="urn:microsoft.com/office/officeart/2005/8/layout/hierarchy2"/>
    <dgm:cxn modelId="{385F102D-7B0E-4999-A41C-17E9DCB09B68}" type="presParOf" srcId="{CB3A619A-F22C-4F33-ACD3-DA5918F00A57}" destId="{CB4D02CB-79F2-4E29-8395-290F7D81D834}" srcOrd="1" destOrd="0" presId="urn:microsoft.com/office/officeart/2005/8/layout/hierarchy2"/>
    <dgm:cxn modelId="{46520D9A-8F98-48BE-BEBC-ABDD7F62303E}" type="presParOf" srcId="{CB4D02CB-79F2-4E29-8395-290F7D81D834}" destId="{00A52E36-258F-4D27-8739-5B1587791203}" srcOrd="0" destOrd="0" presId="urn:microsoft.com/office/officeart/2005/8/layout/hierarchy2"/>
    <dgm:cxn modelId="{8E67C419-D126-48F5-A784-B3EF954601D1}" type="presParOf" srcId="{CB4D02CB-79F2-4E29-8395-290F7D81D834}" destId="{716FEE49-AD62-43F6-B57D-48E43E408837}" srcOrd="1" destOrd="0" presId="urn:microsoft.com/office/officeart/2005/8/layout/hierarchy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4D5D39BB-6AC8-4DF8-B0F7-DE37D377BAAE}" type="doc">
      <dgm:prSet loTypeId="urn:microsoft.com/office/officeart/2005/8/layout/hList6" loCatId="list" qsTypeId="urn:microsoft.com/office/officeart/2005/8/quickstyle/simple1" qsCatId="simple" csTypeId="urn:microsoft.com/office/officeart/2005/8/colors/colorful2" csCatId="colorful" phldr="1"/>
      <dgm:spPr/>
      <dgm:t>
        <a:bodyPr/>
        <a:lstStyle/>
        <a:p>
          <a:endParaRPr lang="it-IT"/>
        </a:p>
      </dgm:t>
    </dgm:pt>
    <dgm:pt modelId="{4C415BE1-762C-4E14-90B8-D42E93044CC9}">
      <dgm:prSet phldrT="[Testo]" custT="1"/>
      <dgm:spPr/>
      <dgm:t>
        <a:bodyPr/>
        <a:lstStyle/>
        <a:p>
          <a:r>
            <a:rPr lang="it-IT" sz="1800" b="1" dirty="0"/>
            <a:t>Fabbricanti</a:t>
          </a:r>
        </a:p>
      </dgm:t>
    </dgm:pt>
    <dgm:pt modelId="{1C406565-BC80-4EF8-954B-1691FE85016E}" type="parTrans" cxnId="{2D21D350-FCBC-427A-A320-A04E371B3C08}">
      <dgm:prSet/>
      <dgm:spPr/>
      <dgm:t>
        <a:bodyPr/>
        <a:lstStyle/>
        <a:p>
          <a:endParaRPr lang="it-IT" sz="1400"/>
        </a:p>
      </dgm:t>
    </dgm:pt>
    <dgm:pt modelId="{FE18F50C-397F-4EE0-808E-2DA088B9985B}" type="sibTrans" cxnId="{2D21D350-FCBC-427A-A320-A04E371B3C08}">
      <dgm:prSet/>
      <dgm:spPr/>
      <dgm:t>
        <a:bodyPr/>
        <a:lstStyle/>
        <a:p>
          <a:endParaRPr lang="it-IT" sz="1400"/>
        </a:p>
      </dgm:t>
    </dgm:pt>
    <dgm:pt modelId="{1813DA57-D36D-4047-BCB3-326A46CBB5AC}">
      <dgm:prSet phldrT="[Testo]" custT="1"/>
      <dgm:spPr/>
      <dgm:t>
        <a:bodyPr/>
        <a:lstStyle/>
        <a:p>
          <a:pPr marL="0" lvl="0" indent="0" algn="ctr" defTabSz="622300">
            <a:lnSpc>
              <a:spcPct val="90000"/>
            </a:lnSpc>
            <a:spcBef>
              <a:spcPct val="0"/>
            </a:spcBef>
            <a:spcAft>
              <a:spcPct val="35000"/>
            </a:spcAft>
            <a:buNone/>
          </a:pPr>
          <a:r>
            <a:rPr lang="it-IT" sz="1800" b="1" kern="1200" dirty="0">
              <a:latin typeface="GT America"/>
              <a:ea typeface="+mn-ea"/>
              <a:cs typeface="+mn-cs"/>
            </a:rPr>
            <a:t>Mandatari</a:t>
          </a:r>
        </a:p>
      </dgm:t>
    </dgm:pt>
    <dgm:pt modelId="{C0763967-4CC5-43BF-A7D0-B198B118CBD4}" type="parTrans" cxnId="{75F8D209-AE3B-4C4D-9CD0-EC2431848A28}">
      <dgm:prSet/>
      <dgm:spPr/>
      <dgm:t>
        <a:bodyPr/>
        <a:lstStyle/>
        <a:p>
          <a:endParaRPr lang="it-IT" sz="1400"/>
        </a:p>
      </dgm:t>
    </dgm:pt>
    <dgm:pt modelId="{434186B0-50C8-49D1-AD21-356E0C0ACADF}" type="sibTrans" cxnId="{75F8D209-AE3B-4C4D-9CD0-EC2431848A28}">
      <dgm:prSet/>
      <dgm:spPr/>
      <dgm:t>
        <a:bodyPr/>
        <a:lstStyle/>
        <a:p>
          <a:endParaRPr lang="it-IT" sz="1400"/>
        </a:p>
      </dgm:t>
    </dgm:pt>
    <dgm:pt modelId="{CFA8F3E9-E843-4F11-B2A8-CFC95BA724AE}">
      <dgm:prSet custT="1"/>
      <dgm:spPr/>
      <dgm:t>
        <a:bodyPr/>
        <a:lstStyle/>
        <a:p>
          <a:r>
            <a:rPr lang="it-IT" sz="1800" b="1" dirty="0"/>
            <a:t>Importatori</a:t>
          </a:r>
        </a:p>
      </dgm:t>
    </dgm:pt>
    <dgm:pt modelId="{922A3B48-17D5-4999-A380-7F3BE8E66AC7}" type="parTrans" cxnId="{30569D01-4A45-4018-B3B0-EFBC43F8A5EA}">
      <dgm:prSet/>
      <dgm:spPr/>
      <dgm:t>
        <a:bodyPr/>
        <a:lstStyle/>
        <a:p>
          <a:endParaRPr lang="it-IT" sz="1400"/>
        </a:p>
      </dgm:t>
    </dgm:pt>
    <dgm:pt modelId="{39EE8029-DB94-4271-8107-4481F66226C1}" type="sibTrans" cxnId="{30569D01-4A45-4018-B3B0-EFBC43F8A5EA}">
      <dgm:prSet/>
      <dgm:spPr/>
      <dgm:t>
        <a:bodyPr/>
        <a:lstStyle/>
        <a:p>
          <a:endParaRPr lang="it-IT" sz="1400"/>
        </a:p>
      </dgm:t>
    </dgm:pt>
    <dgm:pt modelId="{518BE4EC-F445-40BD-AF21-E304731C56F1}">
      <dgm:prSet custT="1"/>
      <dgm:spPr/>
      <dgm:t>
        <a:bodyPr/>
        <a:lstStyle/>
        <a:p>
          <a:r>
            <a:rPr lang="it-IT" sz="1800" b="1" dirty="0"/>
            <a:t>Distributori </a:t>
          </a:r>
        </a:p>
      </dgm:t>
    </dgm:pt>
    <dgm:pt modelId="{B546D2BB-0ED9-496E-8E64-98CBB13A2DE2}" type="parTrans" cxnId="{92B200B0-6E8D-4AEF-9ED7-AF74FCDC840F}">
      <dgm:prSet/>
      <dgm:spPr/>
      <dgm:t>
        <a:bodyPr/>
        <a:lstStyle/>
        <a:p>
          <a:endParaRPr lang="it-IT" sz="1400"/>
        </a:p>
      </dgm:t>
    </dgm:pt>
    <dgm:pt modelId="{F71B9ED9-A9C7-4A0C-AB49-AC26D66D6E39}" type="sibTrans" cxnId="{92B200B0-6E8D-4AEF-9ED7-AF74FCDC840F}">
      <dgm:prSet/>
      <dgm:spPr/>
      <dgm:t>
        <a:bodyPr/>
        <a:lstStyle/>
        <a:p>
          <a:endParaRPr lang="it-IT" sz="1400"/>
        </a:p>
      </dgm:t>
    </dgm:pt>
    <dgm:pt modelId="{FBECCD2D-45B4-45EA-B047-ADC6A39E03B3}">
      <dgm:prSet custT="1"/>
      <dgm:spPr/>
      <dgm:t>
        <a:bodyPr/>
        <a:lstStyle/>
        <a:p>
          <a:r>
            <a:rPr lang="it-IT" sz="1800" b="1" dirty="0"/>
            <a:t>Rivenditori</a:t>
          </a:r>
        </a:p>
      </dgm:t>
    </dgm:pt>
    <dgm:pt modelId="{334F058B-4BCA-4C03-ABB4-8C3D72A3A93D}" type="parTrans" cxnId="{4F06A8ED-EFF1-42CC-92B9-98316C3A253E}">
      <dgm:prSet/>
      <dgm:spPr/>
      <dgm:t>
        <a:bodyPr/>
        <a:lstStyle/>
        <a:p>
          <a:endParaRPr lang="it-IT" sz="1400"/>
        </a:p>
      </dgm:t>
    </dgm:pt>
    <dgm:pt modelId="{63218A1E-822D-49B2-B0AB-54BEEABFA1AE}" type="sibTrans" cxnId="{4F06A8ED-EFF1-42CC-92B9-98316C3A253E}">
      <dgm:prSet/>
      <dgm:spPr/>
      <dgm:t>
        <a:bodyPr/>
        <a:lstStyle/>
        <a:p>
          <a:endParaRPr lang="it-IT" sz="1400"/>
        </a:p>
      </dgm:t>
    </dgm:pt>
    <dgm:pt modelId="{1F6B5424-0D39-4632-BF34-39277DEF3CD1}">
      <dgm:prSet custT="1"/>
      <dgm:spPr/>
      <dgm:t>
        <a:bodyPr/>
        <a:lstStyle/>
        <a:p>
          <a:r>
            <a:rPr lang="it-IT" sz="1800" b="1" dirty="0"/>
            <a:t>Fornitori</a:t>
          </a:r>
          <a:r>
            <a:rPr lang="it-IT" sz="1800" b="1" baseline="0" dirty="0"/>
            <a:t> di servizi di logistica</a:t>
          </a:r>
          <a:endParaRPr lang="it-IT" sz="1800" b="1" dirty="0"/>
        </a:p>
      </dgm:t>
    </dgm:pt>
    <dgm:pt modelId="{0AD98DAB-ECA9-4456-9FC5-9E2DF949678B}" type="parTrans" cxnId="{A78BA678-B2BF-40C3-8ED7-465C61F862AB}">
      <dgm:prSet/>
      <dgm:spPr/>
      <dgm:t>
        <a:bodyPr/>
        <a:lstStyle/>
        <a:p>
          <a:endParaRPr lang="it-IT" sz="1400"/>
        </a:p>
      </dgm:t>
    </dgm:pt>
    <dgm:pt modelId="{A93F79B8-FF6A-469A-B82A-FAF2953947DB}" type="sibTrans" cxnId="{A78BA678-B2BF-40C3-8ED7-465C61F862AB}">
      <dgm:prSet/>
      <dgm:spPr/>
      <dgm:t>
        <a:bodyPr/>
        <a:lstStyle/>
        <a:p>
          <a:endParaRPr lang="it-IT" sz="1400"/>
        </a:p>
      </dgm:t>
    </dgm:pt>
    <dgm:pt modelId="{EC6F3179-7FFA-4EAF-93AC-2505B8275D31}" type="pres">
      <dgm:prSet presAssocID="{4D5D39BB-6AC8-4DF8-B0F7-DE37D377BAAE}" presName="Name0" presStyleCnt="0">
        <dgm:presLayoutVars>
          <dgm:dir/>
          <dgm:resizeHandles val="exact"/>
        </dgm:presLayoutVars>
      </dgm:prSet>
      <dgm:spPr/>
    </dgm:pt>
    <dgm:pt modelId="{E4FD1272-8137-4C29-ACE2-0C22E1865735}" type="pres">
      <dgm:prSet presAssocID="{4C415BE1-762C-4E14-90B8-D42E93044CC9}" presName="node" presStyleLbl="node1" presStyleIdx="0" presStyleCnt="6">
        <dgm:presLayoutVars>
          <dgm:bulletEnabled val="1"/>
        </dgm:presLayoutVars>
      </dgm:prSet>
      <dgm:spPr/>
    </dgm:pt>
    <dgm:pt modelId="{690F8E31-9D41-4D21-A196-40D123F1849B}" type="pres">
      <dgm:prSet presAssocID="{FE18F50C-397F-4EE0-808E-2DA088B9985B}" presName="sibTrans" presStyleCnt="0"/>
      <dgm:spPr/>
    </dgm:pt>
    <dgm:pt modelId="{9B7DEB7F-D012-4A24-9934-BA321CF6C0BA}" type="pres">
      <dgm:prSet presAssocID="{1813DA57-D36D-4047-BCB3-326A46CBB5AC}" presName="node" presStyleLbl="node1" presStyleIdx="1" presStyleCnt="6">
        <dgm:presLayoutVars>
          <dgm:bulletEnabled val="1"/>
        </dgm:presLayoutVars>
      </dgm:prSet>
      <dgm:spPr/>
    </dgm:pt>
    <dgm:pt modelId="{24D38DDB-A8B2-4978-A5E7-BFDCEB2B8B17}" type="pres">
      <dgm:prSet presAssocID="{434186B0-50C8-49D1-AD21-356E0C0ACADF}" presName="sibTrans" presStyleCnt="0"/>
      <dgm:spPr/>
    </dgm:pt>
    <dgm:pt modelId="{FDBEA83B-E1B1-4F14-A5BF-426170D5EE7B}" type="pres">
      <dgm:prSet presAssocID="{CFA8F3E9-E843-4F11-B2A8-CFC95BA724AE}" presName="node" presStyleLbl="node1" presStyleIdx="2" presStyleCnt="6">
        <dgm:presLayoutVars>
          <dgm:bulletEnabled val="1"/>
        </dgm:presLayoutVars>
      </dgm:prSet>
      <dgm:spPr/>
    </dgm:pt>
    <dgm:pt modelId="{77E214E1-A73E-4BD0-890F-48F855E0A956}" type="pres">
      <dgm:prSet presAssocID="{39EE8029-DB94-4271-8107-4481F66226C1}" presName="sibTrans" presStyleCnt="0"/>
      <dgm:spPr/>
    </dgm:pt>
    <dgm:pt modelId="{6E9056F0-85F2-446C-AAC6-B92AFAE87549}" type="pres">
      <dgm:prSet presAssocID="{518BE4EC-F445-40BD-AF21-E304731C56F1}" presName="node" presStyleLbl="node1" presStyleIdx="3" presStyleCnt="6">
        <dgm:presLayoutVars>
          <dgm:bulletEnabled val="1"/>
        </dgm:presLayoutVars>
      </dgm:prSet>
      <dgm:spPr/>
    </dgm:pt>
    <dgm:pt modelId="{119179D5-21E6-45FE-BE03-A95C1DB3623B}" type="pres">
      <dgm:prSet presAssocID="{F71B9ED9-A9C7-4A0C-AB49-AC26D66D6E39}" presName="sibTrans" presStyleCnt="0"/>
      <dgm:spPr/>
    </dgm:pt>
    <dgm:pt modelId="{D62568BA-02FE-4937-92AD-A8DCE3E88D9C}" type="pres">
      <dgm:prSet presAssocID="{FBECCD2D-45B4-45EA-B047-ADC6A39E03B3}" presName="node" presStyleLbl="node1" presStyleIdx="4" presStyleCnt="6">
        <dgm:presLayoutVars>
          <dgm:bulletEnabled val="1"/>
        </dgm:presLayoutVars>
      </dgm:prSet>
      <dgm:spPr/>
    </dgm:pt>
    <dgm:pt modelId="{A3B8005D-D956-4AAF-B156-14933F53BCB8}" type="pres">
      <dgm:prSet presAssocID="{63218A1E-822D-49B2-B0AB-54BEEABFA1AE}" presName="sibTrans" presStyleCnt="0"/>
      <dgm:spPr/>
    </dgm:pt>
    <dgm:pt modelId="{D4057F3B-18C4-4959-8395-D2C344EE21A6}" type="pres">
      <dgm:prSet presAssocID="{1F6B5424-0D39-4632-BF34-39277DEF3CD1}" presName="node" presStyleLbl="node1" presStyleIdx="5" presStyleCnt="6">
        <dgm:presLayoutVars>
          <dgm:bulletEnabled val="1"/>
        </dgm:presLayoutVars>
      </dgm:prSet>
      <dgm:spPr/>
    </dgm:pt>
  </dgm:ptLst>
  <dgm:cxnLst>
    <dgm:cxn modelId="{30569D01-4A45-4018-B3B0-EFBC43F8A5EA}" srcId="{4D5D39BB-6AC8-4DF8-B0F7-DE37D377BAAE}" destId="{CFA8F3E9-E843-4F11-B2A8-CFC95BA724AE}" srcOrd="2" destOrd="0" parTransId="{922A3B48-17D5-4999-A380-7F3BE8E66AC7}" sibTransId="{39EE8029-DB94-4271-8107-4481F66226C1}"/>
    <dgm:cxn modelId="{75F8D209-AE3B-4C4D-9CD0-EC2431848A28}" srcId="{4D5D39BB-6AC8-4DF8-B0F7-DE37D377BAAE}" destId="{1813DA57-D36D-4047-BCB3-326A46CBB5AC}" srcOrd="1" destOrd="0" parTransId="{C0763967-4CC5-43BF-A7D0-B198B118CBD4}" sibTransId="{434186B0-50C8-49D1-AD21-356E0C0ACADF}"/>
    <dgm:cxn modelId="{CF485D2D-5F51-4960-9D47-0885A4943036}" type="presOf" srcId="{1813DA57-D36D-4047-BCB3-326A46CBB5AC}" destId="{9B7DEB7F-D012-4A24-9934-BA321CF6C0BA}" srcOrd="0" destOrd="0" presId="urn:microsoft.com/office/officeart/2005/8/layout/hList6"/>
    <dgm:cxn modelId="{B7A1A15F-A8D4-4078-BEA7-90A938CB4A60}" type="presOf" srcId="{4C415BE1-762C-4E14-90B8-D42E93044CC9}" destId="{E4FD1272-8137-4C29-ACE2-0C22E1865735}" srcOrd="0" destOrd="0" presId="urn:microsoft.com/office/officeart/2005/8/layout/hList6"/>
    <dgm:cxn modelId="{2B0A2A61-BD7E-42AB-BCE4-CC31637CD1B0}" type="presOf" srcId="{1F6B5424-0D39-4632-BF34-39277DEF3CD1}" destId="{D4057F3B-18C4-4959-8395-D2C344EE21A6}" srcOrd="0" destOrd="0" presId="urn:microsoft.com/office/officeart/2005/8/layout/hList6"/>
    <dgm:cxn modelId="{9C6C3841-14F2-4761-AC1B-CA9A237C408E}" type="presOf" srcId="{4D5D39BB-6AC8-4DF8-B0F7-DE37D377BAAE}" destId="{EC6F3179-7FFA-4EAF-93AC-2505B8275D31}" srcOrd="0" destOrd="0" presId="urn:microsoft.com/office/officeart/2005/8/layout/hList6"/>
    <dgm:cxn modelId="{75B3516E-2071-4AB5-BCAD-2DFD1122DC73}" type="presOf" srcId="{CFA8F3E9-E843-4F11-B2A8-CFC95BA724AE}" destId="{FDBEA83B-E1B1-4F14-A5BF-426170D5EE7B}" srcOrd="0" destOrd="0" presId="urn:microsoft.com/office/officeart/2005/8/layout/hList6"/>
    <dgm:cxn modelId="{2D21D350-FCBC-427A-A320-A04E371B3C08}" srcId="{4D5D39BB-6AC8-4DF8-B0F7-DE37D377BAAE}" destId="{4C415BE1-762C-4E14-90B8-D42E93044CC9}" srcOrd="0" destOrd="0" parTransId="{1C406565-BC80-4EF8-954B-1691FE85016E}" sibTransId="{FE18F50C-397F-4EE0-808E-2DA088B9985B}"/>
    <dgm:cxn modelId="{A78BA678-B2BF-40C3-8ED7-465C61F862AB}" srcId="{4D5D39BB-6AC8-4DF8-B0F7-DE37D377BAAE}" destId="{1F6B5424-0D39-4632-BF34-39277DEF3CD1}" srcOrd="5" destOrd="0" parTransId="{0AD98DAB-ECA9-4456-9FC5-9E2DF949678B}" sibTransId="{A93F79B8-FF6A-469A-B82A-FAF2953947DB}"/>
    <dgm:cxn modelId="{92B200B0-6E8D-4AEF-9ED7-AF74FCDC840F}" srcId="{4D5D39BB-6AC8-4DF8-B0F7-DE37D377BAAE}" destId="{518BE4EC-F445-40BD-AF21-E304731C56F1}" srcOrd="3" destOrd="0" parTransId="{B546D2BB-0ED9-496E-8E64-98CBB13A2DE2}" sibTransId="{F71B9ED9-A9C7-4A0C-AB49-AC26D66D6E39}"/>
    <dgm:cxn modelId="{CA8FB5E0-80D7-43F6-9568-412D4CBD222C}" type="presOf" srcId="{FBECCD2D-45B4-45EA-B047-ADC6A39E03B3}" destId="{D62568BA-02FE-4937-92AD-A8DCE3E88D9C}" srcOrd="0" destOrd="0" presId="urn:microsoft.com/office/officeart/2005/8/layout/hList6"/>
    <dgm:cxn modelId="{73FA82E5-4479-44A8-B5EE-C95FF6FCB460}" type="presOf" srcId="{518BE4EC-F445-40BD-AF21-E304731C56F1}" destId="{6E9056F0-85F2-446C-AAC6-B92AFAE87549}" srcOrd="0" destOrd="0" presId="urn:microsoft.com/office/officeart/2005/8/layout/hList6"/>
    <dgm:cxn modelId="{4F06A8ED-EFF1-42CC-92B9-98316C3A253E}" srcId="{4D5D39BB-6AC8-4DF8-B0F7-DE37D377BAAE}" destId="{FBECCD2D-45B4-45EA-B047-ADC6A39E03B3}" srcOrd="4" destOrd="0" parTransId="{334F058B-4BCA-4C03-ABB4-8C3D72A3A93D}" sibTransId="{63218A1E-822D-49B2-B0AB-54BEEABFA1AE}"/>
    <dgm:cxn modelId="{A042C748-2BC2-4E04-ACA7-CDD227E5CC90}" type="presParOf" srcId="{EC6F3179-7FFA-4EAF-93AC-2505B8275D31}" destId="{E4FD1272-8137-4C29-ACE2-0C22E1865735}" srcOrd="0" destOrd="0" presId="urn:microsoft.com/office/officeart/2005/8/layout/hList6"/>
    <dgm:cxn modelId="{911C62BF-336E-4342-BFA3-F0C997F87051}" type="presParOf" srcId="{EC6F3179-7FFA-4EAF-93AC-2505B8275D31}" destId="{690F8E31-9D41-4D21-A196-40D123F1849B}" srcOrd="1" destOrd="0" presId="urn:microsoft.com/office/officeart/2005/8/layout/hList6"/>
    <dgm:cxn modelId="{E1A89623-050D-41A5-81FA-0EC99ADB8627}" type="presParOf" srcId="{EC6F3179-7FFA-4EAF-93AC-2505B8275D31}" destId="{9B7DEB7F-D012-4A24-9934-BA321CF6C0BA}" srcOrd="2" destOrd="0" presId="urn:microsoft.com/office/officeart/2005/8/layout/hList6"/>
    <dgm:cxn modelId="{EAA60F36-D49E-4DCA-AA0D-C259B4908824}" type="presParOf" srcId="{EC6F3179-7FFA-4EAF-93AC-2505B8275D31}" destId="{24D38DDB-A8B2-4978-A5E7-BFDCEB2B8B17}" srcOrd="3" destOrd="0" presId="urn:microsoft.com/office/officeart/2005/8/layout/hList6"/>
    <dgm:cxn modelId="{4BD5D24A-349B-4A06-BB1B-608D99A8D3E4}" type="presParOf" srcId="{EC6F3179-7FFA-4EAF-93AC-2505B8275D31}" destId="{FDBEA83B-E1B1-4F14-A5BF-426170D5EE7B}" srcOrd="4" destOrd="0" presId="urn:microsoft.com/office/officeart/2005/8/layout/hList6"/>
    <dgm:cxn modelId="{FA4F2BFC-B07D-4221-98E4-2521561CB031}" type="presParOf" srcId="{EC6F3179-7FFA-4EAF-93AC-2505B8275D31}" destId="{77E214E1-A73E-4BD0-890F-48F855E0A956}" srcOrd="5" destOrd="0" presId="urn:microsoft.com/office/officeart/2005/8/layout/hList6"/>
    <dgm:cxn modelId="{6FF5CA82-85F4-4CDF-AC1C-1F01467ED449}" type="presParOf" srcId="{EC6F3179-7FFA-4EAF-93AC-2505B8275D31}" destId="{6E9056F0-85F2-446C-AAC6-B92AFAE87549}" srcOrd="6" destOrd="0" presId="urn:microsoft.com/office/officeart/2005/8/layout/hList6"/>
    <dgm:cxn modelId="{1C2A1BF8-BC72-4370-BE91-C4715415C4A6}" type="presParOf" srcId="{EC6F3179-7FFA-4EAF-93AC-2505B8275D31}" destId="{119179D5-21E6-45FE-BE03-A95C1DB3623B}" srcOrd="7" destOrd="0" presId="urn:microsoft.com/office/officeart/2005/8/layout/hList6"/>
    <dgm:cxn modelId="{1284BE12-1773-4B1A-AF32-5FE2EE011277}" type="presParOf" srcId="{EC6F3179-7FFA-4EAF-93AC-2505B8275D31}" destId="{D62568BA-02FE-4937-92AD-A8DCE3E88D9C}" srcOrd="8" destOrd="0" presId="urn:microsoft.com/office/officeart/2005/8/layout/hList6"/>
    <dgm:cxn modelId="{8C6F49E0-1ACF-4B5C-A0AB-A408C80335E3}" type="presParOf" srcId="{EC6F3179-7FFA-4EAF-93AC-2505B8275D31}" destId="{A3B8005D-D956-4AAF-B156-14933F53BCB8}" srcOrd="9" destOrd="0" presId="urn:microsoft.com/office/officeart/2005/8/layout/hList6"/>
    <dgm:cxn modelId="{F625B1A7-C00A-49A8-8F65-364266D37E1E}" type="presParOf" srcId="{EC6F3179-7FFA-4EAF-93AC-2505B8275D31}" destId="{D4057F3B-18C4-4959-8395-D2C344EE21A6}" srcOrd="10" destOrd="0" presId="urn:microsoft.com/office/officeart/2005/8/layout/hList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41A4081C-3D58-46F8-AA39-0AFDEAA20872}" type="doc">
      <dgm:prSet loTypeId="urn:microsoft.com/office/officeart/2005/8/layout/hProcess9" loCatId="process" qsTypeId="urn:microsoft.com/office/officeart/2005/8/quickstyle/simple1" qsCatId="simple" csTypeId="urn:microsoft.com/office/officeart/2005/8/colors/colorful1" csCatId="colorful" phldr="1"/>
      <dgm:spPr/>
    </dgm:pt>
    <dgm:pt modelId="{82CC2097-3589-4829-90EB-671DF3A2636B}">
      <dgm:prSet phldrT="[Testo]"/>
      <dgm:spPr/>
      <dgm:t>
        <a:bodyPr/>
        <a:lstStyle/>
        <a:p>
          <a:pPr marL="0" marR="0" lvl="0" indent="0" algn="l" defTabSz="914400" eaLnBrk="1" fontAlgn="auto" latinLnBrk="0" hangingPunct="1">
            <a:lnSpc>
              <a:spcPct val="100000"/>
            </a:lnSpc>
            <a:spcBef>
              <a:spcPts val="0"/>
            </a:spcBef>
            <a:spcAft>
              <a:spcPts val="0"/>
            </a:spcAft>
            <a:buClrTx/>
            <a:buSzTx/>
            <a:buFontTx/>
            <a:buNone/>
            <a:tabLst/>
            <a:defRPr/>
          </a:pPr>
          <a:r>
            <a:rPr lang="it-IT" sz="1800" dirty="0">
              <a:solidFill>
                <a:schemeClr val="bg1"/>
              </a:solidFill>
              <a:latin typeface="+mn-lt"/>
              <a:sym typeface="GT America" panose="00000500000000000000" pitchFamily="2" charset="0"/>
            </a:rPr>
            <a:t>Irrogazione delle </a:t>
          </a:r>
          <a:r>
            <a:rPr lang="it-IT" sz="1800" b="1" dirty="0">
              <a:solidFill>
                <a:schemeClr val="bg1"/>
              </a:solidFill>
              <a:latin typeface="+mn-lt"/>
              <a:sym typeface="GT America" panose="00000500000000000000" pitchFamily="2" charset="0"/>
            </a:rPr>
            <a:t>sanzioni </a:t>
          </a:r>
          <a:r>
            <a:rPr lang="it-IT" sz="1800" dirty="0">
              <a:solidFill>
                <a:schemeClr val="bg1"/>
              </a:solidFill>
              <a:latin typeface="+mn-lt"/>
              <a:sym typeface="GT America" panose="00000500000000000000" pitchFamily="2" charset="0"/>
            </a:rPr>
            <a:t>stabilite dagli Stati membri </a:t>
          </a:r>
          <a:endParaRPr lang="it-IT" dirty="0">
            <a:latin typeface="+mn-lt"/>
          </a:endParaRPr>
        </a:p>
      </dgm:t>
    </dgm:pt>
    <dgm:pt modelId="{713F0515-EB3F-405D-AA33-E7EE419C157B}" type="parTrans" cxnId="{27DD7E7B-4E27-4C7E-A075-226D7D7E140B}">
      <dgm:prSet/>
      <dgm:spPr/>
      <dgm:t>
        <a:bodyPr/>
        <a:lstStyle/>
        <a:p>
          <a:endParaRPr lang="it-IT"/>
        </a:p>
      </dgm:t>
    </dgm:pt>
    <dgm:pt modelId="{6D38D764-1E42-496D-95F8-BAF3322CD4B3}" type="sibTrans" cxnId="{27DD7E7B-4E27-4C7E-A075-226D7D7E140B}">
      <dgm:prSet/>
      <dgm:spPr/>
      <dgm:t>
        <a:bodyPr/>
        <a:lstStyle/>
        <a:p>
          <a:endParaRPr lang="it-IT"/>
        </a:p>
      </dgm:t>
    </dgm:pt>
    <dgm:pt modelId="{6AFA724C-F03B-4ACE-8428-1FD0E9B096EF}">
      <dgm:prSet phldrT="[Testo]"/>
      <dgm:spPr/>
      <dgm:t>
        <a:bodyPr/>
        <a:lstStyle/>
        <a:p>
          <a:pPr marL="0" marR="0" lvl="0" indent="0" algn="l" defTabSz="914400" eaLnBrk="1" fontAlgn="auto" latinLnBrk="0" hangingPunct="1">
            <a:lnSpc>
              <a:spcPct val="100000"/>
            </a:lnSpc>
            <a:spcBef>
              <a:spcPts val="0"/>
            </a:spcBef>
            <a:spcAft>
              <a:spcPts val="0"/>
            </a:spcAft>
            <a:buClrTx/>
            <a:buSzTx/>
            <a:buFontTx/>
            <a:buNone/>
            <a:tabLst/>
            <a:defRPr/>
          </a:pPr>
          <a:r>
            <a:rPr lang="it-IT" sz="1800" b="0" dirty="0"/>
            <a:t>che tengano conto degli </a:t>
          </a:r>
          <a:r>
            <a:rPr lang="it-IT" sz="1800" b="1" dirty="0"/>
            <a:t>elementi </a:t>
          </a:r>
          <a:r>
            <a:rPr lang="it-IT" sz="1800" b="0" dirty="0"/>
            <a:t>di cui all’art. 74 del Regolamento</a:t>
          </a:r>
          <a:endParaRPr lang="it-IT" dirty="0"/>
        </a:p>
      </dgm:t>
    </dgm:pt>
    <dgm:pt modelId="{DEA34052-A494-46C4-BE8E-DDBE39FCA2B1}" type="parTrans" cxnId="{61D9A593-2880-47C1-B716-B8840700C5C8}">
      <dgm:prSet/>
      <dgm:spPr/>
      <dgm:t>
        <a:bodyPr/>
        <a:lstStyle/>
        <a:p>
          <a:endParaRPr lang="it-IT"/>
        </a:p>
      </dgm:t>
    </dgm:pt>
    <dgm:pt modelId="{473AF101-3109-40D8-8EDF-9DCFB5CBFA27}" type="sibTrans" cxnId="{61D9A593-2880-47C1-B716-B8840700C5C8}">
      <dgm:prSet/>
      <dgm:spPr/>
      <dgm:t>
        <a:bodyPr/>
        <a:lstStyle/>
        <a:p>
          <a:endParaRPr lang="it-IT"/>
        </a:p>
      </dgm:t>
    </dgm:pt>
    <dgm:pt modelId="{D03D1FBA-2798-4E1D-80A8-59C0BDD5EA58}">
      <dgm:prSet phldrT="[Testo]" custT="1"/>
      <dgm:spPr/>
      <dgm:t>
        <a:bodyPr/>
        <a:lstStyle/>
        <a:p>
          <a:pPr marL="0" marR="0" lvl="0" indent="0" algn="l" defTabSz="914400" eaLnBrk="1" fontAlgn="auto" latinLnBrk="0" hangingPunct="1">
            <a:lnSpc>
              <a:spcPct val="100000"/>
            </a:lnSpc>
            <a:spcBef>
              <a:spcPct val="0"/>
            </a:spcBef>
            <a:spcAft>
              <a:spcPts val="0"/>
            </a:spcAft>
            <a:buClrTx/>
            <a:buSzTx/>
            <a:buFontTx/>
            <a:buNone/>
            <a:tabLst/>
            <a:defRPr/>
          </a:pPr>
          <a:r>
            <a:rPr lang="it-IT" sz="1800" b="1" kern="1200" dirty="0">
              <a:solidFill>
                <a:prstClr val="white"/>
              </a:solidFill>
              <a:latin typeface="GT America"/>
              <a:ea typeface="+mn-ea"/>
              <a:cs typeface="+mn-cs"/>
            </a:rPr>
            <a:t>senza pregiudizio </a:t>
          </a:r>
          <a:r>
            <a:rPr lang="it-IT" sz="1800" b="0" kern="1200" dirty="0">
              <a:solidFill>
                <a:prstClr val="white"/>
              </a:solidFill>
              <a:latin typeface="GT America"/>
              <a:ea typeface="+mn-ea"/>
              <a:cs typeface="+mn-cs"/>
            </a:rPr>
            <a:t>per l’applicazione degli altri mezzi di ricorso già a disposizione dei consumatori  </a:t>
          </a:r>
        </a:p>
      </dgm:t>
    </dgm:pt>
    <dgm:pt modelId="{51C1B48A-81C5-4B80-B4DC-F585A7BF9727}" type="parTrans" cxnId="{8CE9896D-FAC2-438F-9A99-EBF5E044739A}">
      <dgm:prSet/>
      <dgm:spPr/>
      <dgm:t>
        <a:bodyPr/>
        <a:lstStyle/>
        <a:p>
          <a:endParaRPr lang="it-IT"/>
        </a:p>
      </dgm:t>
    </dgm:pt>
    <dgm:pt modelId="{B64E600E-EFA3-4C57-BDA1-68A6CCC56A33}" type="sibTrans" cxnId="{8CE9896D-FAC2-438F-9A99-EBF5E044739A}">
      <dgm:prSet/>
      <dgm:spPr/>
      <dgm:t>
        <a:bodyPr/>
        <a:lstStyle/>
        <a:p>
          <a:endParaRPr lang="it-IT"/>
        </a:p>
      </dgm:t>
    </dgm:pt>
    <dgm:pt modelId="{422BDAC5-F94B-4E3E-B95E-4E7C4EB4062C}" type="pres">
      <dgm:prSet presAssocID="{41A4081C-3D58-46F8-AA39-0AFDEAA20872}" presName="CompostProcess" presStyleCnt="0">
        <dgm:presLayoutVars>
          <dgm:dir/>
          <dgm:resizeHandles val="exact"/>
        </dgm:presLayoutVars>
      </dgm:prSet>
      <dgm:spPr/>
    </dgm:pt>
    <dgm:pt modelId="{35DB73FC-9C7C-4302-91F8-1CC4FCB4E714}" type="pres">
      <dgm:prSet presAssocID="{41A4081C-3D58-46F8-AA39-0AFDEAA20872}" presName="arrow" presStyleLbl="bgShp" presStyleIdx="0" presStyleCnt="1"/>
      <dgm:spPr/>
    </dgm:pt>
    <dgm:pt modelId="{890654F1-5775-4088-9BC6-EA25C4A16680}" type="pres">
      <dgm:prSet presAssocID="{41A4081C-3D58-46F8-AA39-0AFDEAA20872}" presName="linearProcess" presStyleCnt="0"/>
      <dgm:spPr/>
    </dgm:pt>
    <dgm:pt modelId="{F1094EC8-0F6C-49DD-8E3B-D40405A13981}" type="pres">
      <dgm:prSet presAssocID="{82CC2097-3589-4829-90EB-671DF3A2636B}" presName="textNode" presStyleLbl="node1" presStyleIdx="0" presStyleCnt="3">
        <dgm:presLayoutVars>
          <dgm:bulletEnabled val="1"/>
        </dgm:presLayoutVars>
      </dgm:prSet>
      <dgm:spPr/>
    </dgm:pt>
    <dgm:pt modelId="{3D9E464F-D9FB-4A0C-AB52-564AE37DD9B9}" type="pres">
      <dgm:prSet presAssocID="{6D38D764-1E42-496D-95F8-BAF3322CD4B3}" presName="sibTrans" presStyleCnt="0"/>
      <dgm:spPr/>
    </dgm:pt>
    <dgm:pt modelId="{6D7E3397-477D-44D0-B287-8C8A4D691353}" type="pres">
      <dgm:prSet presAssocID="{6AFA724C-F03B-4ACE-8428-1FD0E9B096EF}" presName="textNode" presStyleLbl="node1" presStyleIdx="1" presStyleCnt="3">
        <dgm:presLayoutVars>
          <dgm:bulletEnabled val="1"/>
        </dgm:presLayoutVars>
      </dgm:prSet>
      <dgm:spPr/>
    </dgm:pt>
    <dgm:pt modelId="{0C2D98BD-FEA8-4AEA-A432-EDAD18831174}" type="pres">
      <dgm:prSet presAssocID="{473AF101-3109-40D8-8EDF-9DCFB5CBFA27}" presName="sibTrans" presStyleCnt="0"/>
      <dgm:spPr/>
    </dgm:pt>
    <dgm:pt modelId="{7BE722CE-1B65-48A9-B8FB-9EFE9B100191}" type="pres">
      <dgm:prSet presAssocID="{D03D1FBA-2798-4E1D-80A8-59C0BDD5EA58}" presName="textNode" presStyleLbl="node1" presStyleIdx="2" presStyleCnt="3">
        <dgm:presLayoutVars>
          <dgm:bulletEnabled val="1"/>
        </dgm:presLayoutVars>
      </dgm:prSet>
      <dgm:spPr/>
    </dgm:pt>
  </dgm:ptLst>
  <dgm:cxnLst>
    <dgm:cxn modelId="{DDDB9E0E-BAD0-4706-829D-BEDFF6A8286F}" type="presOf" srcId="{82CC2097-3589-4829-90EB-671DF3A2636B}" destId="{F1094EC8-0F6C-49DD-8E3B-D40405A13981}" srcOrd="0" destOrd="0" presId="urn:microsoft.com/office/officeart/2005/8/layout/hProcess9"/>
    <dgm:cxn modelId="{9757EB2B-118E-499D-AF5C-0FEC3499F18E}" type="presOf" srcId="{D03D1FBA-2798-4E1D-80A8-59C0BDD5EA58}" destId="{7BE722CE-1B65-48A9-B8FB-9EFE9B100191}" srcOrd="0" destOrd="0" presId="urn:microsoft.com/office/officeart/2005/8/layout/hProcess9"/>
    <dgm:cxn modelId="{8CE9896D-FAC2-438F-9A99-EBF5E044739A}" srcId="{41A4081C-3D58-46F8-AA39-0AFDEAA20872}" destId="{D03D1FBA-2798-4E1D-80A8-59C0BDD5EA58}" srcOrd="2" destOrd="0" parTransId="{51C1B48A-81C5-4B80-B4DC-F585A7BF9727}" sibTransId="{B64E600E-EFA3-4C57-BDA1-68A6CCC56A33}"/>
    <dgm:cxn modelId="{27DD7E7B-4E27-4C7E-A075-226D7D7E140B}" srcId="{41A4081C-3D58-46F8-AA39-0AFDEAA20872}" destId="{82CC2097-3589-4829-90EB-671DF3A2636B}" srcOrd="0" destOrd="0" parTransId="{713F0515-EB3F-405D-AA33-E7EE419C157B}" sibTransId="{6D38D764-1E42-496D-95F8-BAF3322CD4B3}"/>
    <dgm:cxn modelId="{61D9A593-2880-47C1-B716-B8840700C5C8}" srcId="{41A4081C-3D58-46F8-AA39-0AFDEAA20872}" destId="{6AFA724C-F03B-4ACE-8428-1FD0E9B096EF}" srcOrd="1" destOrd="0" parTransId="{DEA34052-A494-46C4-BE8E-DDBE39FCA2B1}" sibTransId="{473AF101-3109-40D8-8EDF-9DCFB5CBFA27}"/>
    <dgm:cxn modelId="{BC9946D1-0EB4-4397-B26B-B4E2349B5A2A}" type="presOf" srcId="{6AFA724C-F03B-4ACE-8428-1FD0E9B096EF}" destId="{6D7E3397-477D-44D0-B287-8C8A4D691353}" srcOrd="0" destOrd="0" presId="urn:microsoft.com/office/officeart/2005/8/layout/hProcess9"/>
    <dgm:cxn modelId="{82EA5CE2-A86C-494B-A3F0-E3B8E1F02B2C}" type="presOf" srcId="{41A4081C-3D58-46F8-AA39-0AFDEAA20872}" destId="{422BDAC5-F94B-4E3E-B95E-4E7C4EB4062C}" srcOrd="0" destOrd="0" presId="urn:microsoft.com/office/officeart/2005/8/layout/hProcess9"/>
    <dgm:cxn modelId="{A2F75CCC-263E-4CB7-A8C8-3613C1AA1998}" type="presParOf" srcId="{422BDAC5-F94B-4E3E-B95E-4E7C4EB4062C}" destId="{35DB73FC-9C7C-4302-91F8-1CC4FCB4E714}" srcOrd="0" destOrd="0" presId="urn:microsoft.com/office/officeart/2005/8/layout/hProcess9"/>
    <dgm:cxn modelId="{36FA1CF6-18EA-429F-949B-F8BE806A0A47}" type="presParOf" srcId="{422BDAC5-F94B-4E3E-B95E-4E7C4EB4062C}" destId="{890654F1-5775-4088-9BC6-EA25C4A16680}" srcOrd="1" destOrd="0" presId="urn:microsoft.com/office/officeart/2005/8/layout/hProcess9"/>
    <dgm:cxn modelId="{BBE56259-F2FE-41F9-A7FC-2E6A0AFEA37D}" type="presParOf" srcId="{890654F1-5775-4088-9BC6-EA25C4A16680}" destId="{F1094EC8-0F6C-49DD-8E3B-D40405A13981}" srcOrd="0" destOrd="0" presId="urn:microsoft.com/office/officeart/2005/8/layout/hProcess9"/>
    <dgm:cxn modelId="{C55D5054-1B09-45DD-BFD1-905B9213701D}" type="presParOf" srcId="{890654F1-5775-4088-9BC6-EA25C4A16680}" destId="{3D9E464F-D9FB-4A0C-AB52-564AE37DD9B9}" srcOrd="1" destOrd="0" presId="urn:microsoft.com/office/officeart/2005/8/layout/hProcess9"/>
    <dgm:cxn modelId="{BAA515A9-FB6C-455D-BE4F-B412772AD005}" type="presParOf" srcId="{890654F1-5775-4088-9BC6-EA25C4A16680}" destId="{6D7E3397-477D-44D0-B287-8C8A4D691353}" srcOrd="2" destOrd="0" presId="urn:microsoft.com/office/officeart/2005/8/layout/hProcess9"/>
    <dgm:cxn modelId="{D1AB1776-1139-4C56-9583-697270146BFC}" type="presParOf" srcId="{890654F1-5775-4088-9BC6-EA25C4A16680}" destId="{0C2D98BD-FEA8-4AEA-A432-EDAD18831174}" srcOrd="3" destOrd="0" presId="urn:microsoft.com/office/officeart/2005/8/layout/hProcess9"/>
    <dgm:cxn modelId="{53A23704-07AE-4326-9EE1-1EF1AD6F9FDE}" type="presParOf" srcId="{890654F1-5775-4088-9BC6-EA25C4A16680}" destId="{7BE722CE-1B65-48A9-B8FB-9EFE9B100191}" srcOrd="4" destOrd="0" presId="urn:microsoft.com/office/officeart/2005/8/layout/hProcess9"/>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AF2788E8-879E-433D-BCA1-C491F13A6DE2}" type="doc">
      <dgm:prSet loTypeId="urn:microsoft.com/office/officeart/2005/8/layout/list1" loCatId="list" qsTypeId="urn:microsoft.com/office/officeart/2005/8/quickstyle/simple1" qsCatId="simple" csTypeId="urn:microsoft.com/office/officeart/2005/8/colors/accent2_1" csCatId="accent2" phldr="1"/>
      <dgm:spPr/>
      <dgm:t>
        <a:bodyPr/>
        <a:lstStyle/>
        <a:p>
          <a:endParaRPr lang="it-IT"/>
        </a:p>
      </dgm:t>
    </dgm:pt>
    <dgm:pt modelId="{6DD9A5EE-E0D9-44E0-9533-84D0B95711AD}">
      <dgm:prSet phldrT="[Testo]" custT="1"/>
      <dgm:spPr/>
      <dgm:t>
        <a:bodyPr/>
        <a:lstStyle/>
        <a:p>
          <a:r>
            <a:rPr lang="it-IT" sz="1600" b="1" dirty="0" err="1"/>
            <a:t>Assessment</a:t>
          </a:r>
          <a:r>
            <a:rPr lang="it-IT" sz="1600" b="1" dirty="0"/>
            <a:t> iniziale </a:t>
          </a:r>
        </a:p>
      </dgm:t>
    </dgm:pt>
    <dgm:pt modelId="{48596193-6A6E-4B37-82F0-F15AC18439BD}" type="parTrans" cxnId="{FF4B402A-EA00-4B80-834E-6338521BBBA7}">
      <dgm:prSet/>
      <dgm:spPr/>
      <dgm:t>
        <a:bodyPr/>
        <a:lstStyle/>
        <a:p>
          <a:endParaRPr lang="it-IT"/>
        </a:p>
      </dgm:t>
    </dgm:pt>
    <dgm:pt modelId="{22C08A17-2C95-4556-9D78-7849E7AA9C0C}" type="sibTrans" cxnId="{FF4B402A-EA00-4B80-834E-6338521BBBA7}">
      <dgm:prSet/>
      <dgm:spPr/>
      <dgm:t>
        <a:bodyPr/>
        <a:lstStyle/>
        <a:p>
          <a:endParaRPr lang="it-IT" dirty="0"/>
        </a:p>
      </dgm:t>
    </dgm:pt>
    <dgm:pt modelId="{B4C560F1-C403-458F-B020-B15AA7DFF5C7}">
      <dgm:prSet phldrT="[Testo]" custT="1"/>
      <dgm:spPr/>
      <dgm:t>
        <a:bodyPr/>
        <a:lstStyle/>
        <a:p>
          <a:r>
            <a:rPr lang="it-IT" sz="1600" dirty="0"/>
            <a:t>Valutazione della conformità ai requisiti normativi per tipologia di prodotto</a:t>
          </a:r>
        </a:p>
      </dgm:t>
    </dgm:pt>
    <dgm:pt modelId="{31A4F93F-8303-4AE0-A761-10682C9C156A}" type="parTrans" cxnId="{2C0386A1-A8F2-4B2D-90C9-AC134F9F8BA2}">
      <dgm:prSet/>
      <dgm:spPr/>
      <dgm:t>
        <a:bodyPr/>
        <a:lstStyle/>
        <a:p>
          <a:endParaRPr lang="it-IT"/>
        </a:p>
      </dgm:t>
    </dgm:pt>
    <dgm:pt modelId="{67130F62-C5A9-4287-85F1-989399BCC532}" type="sibTrans" cxnId="{2C0386A1-A8F2-4B2D-90C9-AC134F9F8BA2}">
      <dgm:prSet/>
      <dgm:spPr/>
      <dgm:t>
        <a:bodyPr/>
        <a:lstStyle/>
        <a:p>
          <a:endParaRPr lang="it-IT"/>
        </a:p>
      </dgm:t>
    </dgm:pt>
    <dgm:pt modelId="{604CE30E-C6B8-4DD8-B4DD-6B64115BBCD0}">
      <dgm:prSet phldrT="[Testo]" custT="1"/>
      <dgm:spPr/>
      <dgm:t>
        <a:bodyPr/>
        <a:lstStyle/>
        <a:p>
          <a:r>
            <a:rPr lang="it-IT" sz="1600" b="1" dirty="0"/>
            <a:t>Raccolta dati</a:t>
          </a:r>
          <a:endParaRPr lang="it-IT" sz="1600" b="1" i="0" dirty="0"/>
        </a:p>
      </dgm:t>
    </dgm:pt>
    <dgm:pt modelId="{7B95A82E-B418-498D-AA25-4193700259BE}" type="parTrans" cxnId="{E45CD1E5-312C-4B21-AB69-0B13538F58F4}">
      <dgm:prSet/>
      <dgm:spPr/>
      <dgm:t>
        <a:bodyPr/>
        <a:lstStyle/>
        <a:p>
          <a:endParaRPr lang="it-IT"/>
        </a:p>
      </dgm:t>
    </dgm:pt>
    <dgm:pt modelId="{8F080A5F-E72E-46D3-A473-EA6E7595A4F9}" type="sibTrans" cxnId="{E45CD1E5-312C-4B21-AB69-0B13538F58F4}">
      <dgm:prSet/>
      <dgm:spPr/>
      <dgm:t>
        <a:bodyPr/>
        <a:lstStyle/>
        <a:p>
          <a:endParaRPr lang="it-IT"/>
        </a:p>
      </dgm:t>
    </dgm:pt>
    <dgm:pt modelId="{E21EA742-875C-47A5-B805-D6C05BAC916F}">
      <dgm:prSet phldrT="[Testo]" custT="1"/>
      <dgm:spPr/>
      <dgm:t>
        <a:bodyPr/>
        <a:lstStyle/>
        <a:p>
          <a:r>
            <a:rPr lang="it-IT" sz="1600" dirty="0"/>
            <a:t>Raccolta delle informazioni su materiali, processi e impatti ambientali</a:t>
          </a:r>
        </a:p>
      </dgm:t>
    </dgm:pt>
    <dgm:pt modelId="{A9831066-0880-45CC-9E43-7794F4808915}" type="parTrans" cxnId="{E8217E18-5522-4475-9EDE-7754D273C47F}">
      <dgm:prSet/>
      <dgm:spPr/>
      <dgm:t>
        <a:bodyPr/>
        <a:lstStyle/>
        <a:p>
          <a:endParaRPr lang="it-IT"/>
        </a:p>
      </dgm:t>
    </dgm:pt>
    <dgm:pt modelId="{FD77C841-D76E-4ED2-867E-D5F20566DEDE}" type="sibTrans" cxnId="{E8217E18-5522-4475-9EDE-7754D273C47F}">
      <dgm:prSet/>
      <dgm:spPr/>
      <dgm:t>
        <a:bodyPr/>
        <a:lstStyle/>
        <a:p>
          <a:endParaRPr lang="it-IT"/>
        </a:p>
      </dgm:t>
    </dgm:pt>
    <dgm:pt modelId="{858BF1BE-CFB3-41D2-A470-C100C3D87DBB}">
      <dgm:prSet phldrT="[Testo]" custT="1"/>
      <dgm:spPr/>
      <dgm:t>
        <a:bodyPr/>
        <a:lstStyle/>
        <a:p>
          <a:r>
            <a:rPr lang="it-IT" sz="1600" b="1" i="1" dirty="0"/>
            <a:t> </a:t>
          </a:r>
          <a:r>
            <a:rPr lang="it-IT" sz="1600" b="1" i="0" dirty="0"/>
            <a:t>Data Management</a:t>
          </a:r>
        </a:p>
      </dgm:t>
    </dgm:pt>
    <dgm:pt modelId="{0E32844A-430C-43A8-947C-A135BA5D3D9F}" type="parTrans" cxnId="{440CAA6B-7490-474E-96A5-BFBE6E6007AB}">
      <dgm:prSet/>
      <dgm:spPr/>
      <dgm:t>
        <a:bodyPr/>
        <a:lstStyle/>
        <a:p>
          <a:endParaRPr lang="it-IT"/>
        </a:p>
      </dgm:t>
    </dgm:pt>
    <dgm:pt modelId="{FC49C699-C87A-449D-A89B-68676C4112C9}" type="sibTrans" cxnId="{440CAA6B-7490-474E-96A5-BFBE6E6007AB}">
      <dgm:prSet/>
      <dgm:spPr/>
      <dgm:t>
        <a:bodyPr/>
        <a:lstStyle/>
        <a:p>
          <a:endParaRPr lang="it-IT"/>
        </a:p>
      </dgm:t>
    </dgm:pt>
    <dgm:pt modelId="{1959D062-F842-4BA0-A5EB-C026D7B83476}">
      <dgm:prSet custT="1"/>
      <dgm:spPr/>
      <dgm:t>
        <a:bodyPr/>
        <a:lstStyle/>
        <a:p>
          <a:r>
            <a:rPr lang="it-IT" sz="1600" b="1" dirty="0"/>
            <a:t>Formazione</a:t>
          </a:r>
        </a:p>
      </dgm:t>
    </dgm:pt>
    <dgm:pt modelId="{3D10BBEF-4501-4735-9425-AE5578528A8E}" type="parTrans" cxnId="{438BFBAC-4C69-4AA5-9461-E3AB229A5D68}">
      <dgm:prSet/>
      <dgm:spPr/>
      <dgm:t>
        <a:bodyPr/>
        <a:lstStyle/>
        <a:p>
          <a:endParaRPr lang="it-IT"/>
        </a:p>
      </dgm:t>
    </dgm:pt>
    <dgm:pt modelId="{12FBDB2B-0035-417B-98CB-2738B800E3D9}" type="sibTrans" cxnId="{438BFBAC-4C69-4AA5-9461-E3AB229A5D68}">
      <dgm:prSet/>
      <dgm:spPr/>
      <dgm:t>
        <a:bodyPr/>
        <a:lstStyle/>
        <a:p>
          <a:endParaRPr lang="it-IT"/>
        </a:p>
      </dgm:t>
    </dgm:pt>
    <dgm:pt modelId="{7A5B7B93-F236-4C8B-AA78-03785DC34BC8}">
      <dgm:prSet custT="1"/>
      <dgm:spPr/>
      <dgm:t>
        <a:bodyPr/>
        <a:lstStyle/>
        <a:p>
          <a:r>
            <a:rPr lang="it-IT" sz="1600" b="1" dirty="0"/>
            <a:t>Sostenibilità</a:t>
          </a:r>
          <a:endParaRPr lang="it-IT" sz="1600" dirty="0"/>
        </a:p>
      </dgm:t>
    </dgm:pt>
    <dgm:pt modelId="{DCC440FD-BC25-4F32-AC34-102F20F5B643}" type="parTrans" cxnId="{C02240A8-91E8-4B6F-A7C7-EEE825E14CA8}">
      <dgm:prSet/>
      <dgm:spPr/>
      <dgm:t>
        <a:bodyPr/>
        <a:lstStyle/>
        <a:p>
          <a:endParaRPr lang="it-IT"/>
        </a:p>
      </dgm:t>
    </dgm:pt>
    <dgm:pt modelId="{5E6F9563-6B03-4198-B412-9FDE8AF87398}" type="sibTrans" cxnId="{C02240A8-91E8-4B6F-A7C7-EEE825E14CA8}">
      <dgm:prSet/>
      <dgm:spPr/>
      <dgm:t>
        <a:bodyPr/>
        <a:lstStyle/>
        <a:p>
          <a:endParaRPr lang="it-IT"/>
        </a:p>
      </dgm:t>
    </dgm:pt>
    <dgm:pt modelId="{3BA87B1C-43E5-4F9E-A31C-4E9D9E9D7EA4}">
      <dgm:prSet custT="1"/>
      <dgm:spPr/>
      <dgm:t>
        <a:bodyPr/>
        <a:lstStyle/>
        <a:p>
          <a:r>
            <a:rPr lang="it-IT" sz="1600" b="1" dirty="0" err="1"/>
            <a:t>Remediation</a:t>
          </a:r>
          <a:r>
            <a:rPr lang="it-IT" sz="1600" b="1" dirty="0"/>
            <a:t> </a:t>
          </a:r>
        </a:p>
      </dgm:t>
    </dgm:pt>
    <dgm:pt modelId="{C765D1A4-C812-44C9-AB05-D46C82C988BA}" type="parTrans" cxnId="{7A9147D7-4CED-4911-8DDD-B32FDF6C1D4F}">
      <dgm:prSet/>
      <dgm:spPr/>
      <dgm:t>
        <a:bodyPr/>
        <a:lstStyle/>
        <a:p>
          <a:endParaRPr lang="it-IT"/>
        </a:p>
      </dgm:t>
    </dgm:pt>
    <dgm:pt modelId="{313E8F05-1C08-4675-9F36-B77DBCF6F219}" type="sibTrans" cxnId="{7A9147D7-4CED-4911-8DDD-B32FDF6C1D4F}">
      <dgm:prSet/>
      <dgm:spPr/>
      <dgm:t>
        <a:bodyPr/>
        <a:lstStyle/>
        <a:p>
          <a:endParaRPr lang="it-IT"/>
        </a:p>
      </dgm:t>
    </dgm:pt>
    <dgm:pt modelId="{7F1DBF7E-C11E-48E9-BD70-06AC64A9DBDD}">
      <dgm:prSet custT="1"/>
      <dgm:spPr/>
      <dgm:t>
        <a:bodyPr/>
        <a:lstStyle/>
        <a:p>
          <a:r>
            <a:rPr lang="it-IT" sz="1600" dirty="0"/>
            <a:t>Implementazione di misure di controllo, monitoraggio e aggiornamento</a:t>
          </a:r>
        </a:p>
      </dgm:t>
    </dgm:pt>
    <dgm:pt modelId="{4BBE7404-0F71-44F9-81E2-959D704EF0F8}" type="parTrans" cxnId="{EA3A7FD8-089A-4CD4-A779-B8837254D892}">
      <dgm:prSet/>
      <dgm:spPr/>
      <dgm:t>
        <a:bodyPr/>
        <a:lstStyle/>
        <a:p>
          <a:endParaRPr lang="it-IT"/>
        </a:p>
      </dgm:t>
    </dgm:pt>
    <dgm:pt modelId="{8EB915D5-D59C-48B7-BC0E-A3AB47D91B12}" type="sibTrans" cxnId="{EA3A7FD8-089A-4CD4-A779-B8837254D892}">
      <dgm:prSet/>
      <dgm:spPr/>
      <dgm:t>
        <a:bodyPr/>
        <a:lstStyle/>
        <a:p>
          <a:endParaRPr lang="it-IT"/>
        </a:p>
      </dgm:t>
    </dgm:pt>
    <dgm:pt modelId="{B42DCB72-46E1-4243-AB44-B07EDA18BDA0}">
      <dgm:prSet custT="1"/>
      <dgm:spPr/>
      <dgm:t>
        <a:bodyPr/>
        <a:lstStyle/>
        <a:p>
          <a:r>
            <a:rPr lang="it-IT" sz="1600" dirty="0"/>
            <a:t>Adozione di un sistema (strumenti e procedure) di raccolta e archiviazione dei dati (</a:t>
          </a:r>
          <a:r>
            <a:rPr lang="it-IT" sz="1600" i="1" dirty="0"/>
            <a:t>e.g., </a:t>
          </a:r>
          <a:r>
            <a:rPr lang="it-IT" sz="1600" i="0" dirty="0"/>
            <a:t>software di gestione dei dati di prodotto)</a:t>
          </a:r>
          <a:endParaRPr lang="it-IT" sz="1600" dirty="0"/>
        </a:p>
      </dgm:t>
    </dgm:pt>
    <dgm:pt modelId="{3684F0B5-6B24-411A-B563-42111A220523}" type="parTrans" cxnId="{52B428B6-4963-4749-8875-F3DA9B089165}">
      <dgm:prSet/>
      <dgm:spPr/>
      <dgm:t>
        <a:bodyPr/>
        <a:lstStyle/>
        <a:p>
          <a:endParaRPr lang="it-IT"/>
        </a:p>
      </dgm:t>
    </dgm:pt>
    <dgm:pt modelId="{604385DB-021C-4861-9A0A-9D6241BC43B1}" type="sibTrans" cxnId="{52B428B6-4963-4749-8875-F3DA9B089165}">
      <dgm:prSet/>
      <dgm:spPr/>
      <dgm:t>
        <a:bodyPr/>
        <a:lstStyle/>
        <a:p>
          <a:endParaRPr lang="it-IT"/>
        </a:p>
      </dgm:t>
    </dgm:pt>
    <dgm:pt modelId="{C33477CA-8AE3-4EE2-BA08-15AD3B2C05B2}">
      <dgm:prSet custT="1"/>
      <dgm:spPr/>
      <dgm:t>
        <a:bodyPr/>
        <a:lstStyle/>
        <a:p>
          <a:r>
            <a:rPr lang="it-IT" sz="1600" dirty="0"/>
            <a:t>Integrazione dei principi di sostenibilità nei processi in base al ruolo nella filiera</a:t>
          </a:r>
        </a:p>
      </dgm:t>
    </dgm:pt>
    <dgm:pt modelId="{7A0FB8A5-5424-4D2E-A6D8-56E1BA737FAF}" type="parTrans" cxnId="{0812BB60-D0F0-43C3-9791-996D90BC691C}">
      <dgm:prSet/>
      <dgm:spPr/>
      <dgm:t>
        <a:bodyPr/>
        <a:lstStyle/>
        <a:p>
          <a:endParaRPr lang="it-IT"/>
        </a:p>
      </dgm:t>
    </dgm:pt>
    <dgm:pt modelId="{AF845948-2624-4CFD-B806-4B39E4560AD3}" type="sibTrans" cxnId="{0812BB60-D0F0-43C3-9791-996D90BC691C}">
      <dgm:prSet/>
      <dgm:spPr/>
      <dgm:t>
        <a:bodyPr/>
        <a:lstStyle/>
        <a:p>
          <a:endParaRPr lang="it-IT"/>
        </a:p>
      </dgm:t>
    </dgm:pt>
    <dgm:pt modelId="{2B3B75FC-E055-419C-8714-B9746A62A7D1}">
      <dgm:prSet custT="1"/>
      <dgm:spPr/>
      <dgm:t>
        <a:bodyPr/>
        <a:lstStyle/>
        <a:p>
          <a:r>
            <a:rPr lang="it-IT" sz="1600" dirty="0"/>
            <a:t>Sviluppo di iniziative formative per il personale dipendente su DPP e pratiche di sostenibilità </a:t>
          </a:r>
        </a:p>
      </dgm:t>
    </dgm:pt>
    <dgm:pt modelId="{FEC3041E-E581-4345-BB99-741B15AE301D}" type="parTrans" cxnId="{802EA90B-E049-4DF1-B17D-88BFC2781B5B}">
      <dgm:prSet/>
      <dgm:spPr/>
      <dgm:t>
        <a:bodyPr/>
        <a:lstStyle/>
        <a:p>
          <a:endParaRPr lang="it-IT"/>
        </a:p>
      </dgm:t>
    </dgm:pt>
    <dgm:pt modelId="{D50EEA41-FE6E-4028-871C-2D34D756B776}" type="sibTrans" cxnId="{802EA90B-E049-4DF1-B17D-88BFC2781B5B}">
      <dgm:prSet/>
      <dgm:spPr/>
      <dgm:t>
        <a:bodyPr/>
        <a:lstStyle/>
        <a:p>
          <a:endParaRPr lang="it-IT"/>
        </a:p>
      </dgm:t>
    </dgm:pt>
    <dgm:pt modelId="{704BBC95-5D16-4AFB-82E3-995739432681}" type="pres">
      <dgm:prSet presAssocID="{AF2788E8-879E-433D-BCA1-C491F13A6DE2}" presName="linear" presStyleCnt="0">
        <dgm:presLayoutVars>
          <dgm:dir/>
          <dgm:animLvl val="lvl"/>
          <dgm:resizeHandles val="exact"/>
        </dgm:presLayoutVars>
      </dgm:prSet>
      <dgm:spPr/>
    </dgm:pt>
    <dgm:pt modelId="{370D1268-2BC7-42C2-B5D0-D16ECF724D80}" type="pres">
      <dgm:prSet presAssocID="{6DD9A5EE-E0D9-44E0-9533-84D0B95711AD}" presName="parentLin" presStyleCnt="0"/>
      <dgm:spPr/>
    </dgm:pt>
    <dgm:pt modelId="{8F967F32-8579-4FFC-9C9A-5F2D5483EAC0}" type="pres">
      <dgm:prSet presAssocID="{6DD9A5EE-E0D9-44E0-9533-84D0B95711AD}" presName="parentLeftMargin" presStyleLbl="node1" presStyleIdx="0" presStyleCnt="6"/>
      <dgm:spPr/>
    </dgm:pt>
    <dgm:pt modelId="{43A4329B-ED46-4701-AEC5-926318CE7029}" type="pres">
      <dgm:prSet presAssocID="{6DD9A5EE-E0D9-44E0-9533-84D0B95711AD}" presName="parentText" presStyleLbl="node1" presStyleIdx="0" presStyleCnt="6">
        <dgm:presLayoutVars>
          <dgm:chMax val="0"/>
          <dgm:bulletEnabled val="1"/>
        </dgm:presLayoutVars>
      </dgm:prSet>
      <dgm:spPr/>
    </dgm:pt>
    <dgm:pt modelId="{A6EE7A5D-FA31-4C09-BD24-44EEB5EF12EA}" type="pres">
      <dgm:prSet presAssocID="{6DD9A5EE-E0D9-44E0-9533-84D0B95711AD}" presName="negativeSpace" presStyleCnt="0"/>
      <dgm:spPr/>
    </dgm:pt>
    <dgm:pt modelId="{4B46E1C9-BEB9-41D8-95AC-9F8F834BD2A6}" type="pres">
      <dgm:prSet presAssocID="{6DD9A5EE-E0D9-44E0-9533-84D0B95711AD}" presName="childText" presStyleLbl="conFgAcc1" presStyleIdx="0" presStyleCnt="6">
        <dgm:presLayoutVars>
          <dgm:bulletEnabled val="1"/>
        </dgm:presLayoutVars>
      </dgm:prSet>
      <dgm:spPr/>
    </dgm:pt>
    <dgm:pt modelId="{C8C3B86D-7CC4-40FC-B0C7-C4BBD5D84D42}" type="pres">
      <dgm:prSet presAssocID="{22C08A17-2C95-4556-9D78-7849E7AA9C0C}" presName="spaceBetweenRectangles" presStyleCnt="0"/>
      <dgm:spPr/>
    </dgm:pt>
    <dgm:pt modelId="{7827D8A1-2246-409B-B763-F192DBFAC555}" type="pres">
      <dgm:prSet presAssocID="{604CE30E-C6B8-4DD8-B4DD-6B64115BBCD0}" presName="parentLin" presStyleCnt="0"/>
      <dgm:spPr/>
    </dgm:pt>
    <dgm:pt modelId="{11A6CB40-B7B1-4909-B31F-07B441EF2D95}" type="pres">
      <dgm:prSet presAssocID="{604CE30E-C6B8-4DD8-B4DD-6B64115BBCD0}" presName="parentLeftMargin" presStyleLbl="node1" presStyleIdx="0" presStyleCnt="6"/>
      <dgm:spPr/>
    </dgm:pt>
    <dgm:pt modelId="{D8D52BB0-B0C4-4AD8-92B6-2DD44420DBA9}" type="pres">
      <dgm:prSet presAssocID="{604CE30E-C6B8-4DD8-B4DD-6B64115BBCD0}" presName="parentText" presStyleLbl="node1" presStyleIdx="1" presStyleCnt="6">
        <dgm:presLayoutVars>
          <dgm:chMax val="0"/>
          <dgm:bulletEnabled val="1"/>
        </dgm:presLayoutVars>
      </dgm:prSet>
      <dgm:spPr/>
    </dgm:pt>
    <dgm:pt modelId="{1360AD05-0280-445A-A854-55D4884829C8}" type="pres">
      <dgm:prSet presAssocID="{604CE30E-C6B8-4DD8-B4DD-6B64115BBCD0}" presName="negativeSpace" presStyleCnt="0"/>
      <dgm:spPr/>
    </dgm:pt>
    <dgm:pt modelId="{E71FEA66-279B-4A80-891C-A32A3D9E2040}" type="pres">
      <dgm:prSet presAssocID="{604CE30E-C6B8-4DD8-B4DD-6B64115BBCD0}" presName="childText" presStyleLbl="conFgAcc1" presStyleIdx="1" presStyleCnt="6">
        <dgm:presLayoutVars>
          <dgm:bulletEnabled val="1"/>
        </dgm:presLayoutVars>
      </dgm:prSet>
      <dgm:spPr/>
    </dgm:pt>
    <dgm:pt modelId="{3AB9D3AB-13CD-481F-A13F-E3CD17849392}" type="pres">
      <dgm:prSet presAssocID="{8F080A5F-E72E-46D3-A473-EA6E7595A4F9}" presName="spaceBetweenRectangles" presStyleCnt="0"/>
      <dgm:spPr/>
    </dgm:pt>
    <dgm:pt modelId="{9B42A0AA-2573-4388-8EAF-71748F6ED61B}" type="pres">
      <dgm:prSet presAssocID="{858BF1BE-CFB3-41D2-A470-C100C3D87DBB}" presName="parentLin" presStyleCnt="0"/>
      <dgm:spPr/>
    </dgm:pt>
    <dgm:pt modelId="{5C8511E3-433C-41FC-95E4-87485AB3F550}" type="pres">
      <dgm:prSet presAssocID="{858BF1BE-CFB3-41D2-A470-C100C3D87DBB}" presName="parentLeftMargin" presStyleLbl="node1" presStyleIdx="1" presStyleCnt="6"/>
      <dgm:spPr/>
    </dgm:pt>
    <dgm:pt modelId="{33B9FA90-5E7A-43E3-A303-578495F49076}" type="pres">
      <dgm:prSet presAssocID="{858BF1BE-CFB3-41D2-A470-C100C3D87DBB}" presName="parentText" presStyleLbl="node1" presStyleIdx="2" presStyleCnt="6">
        <dgm:presLayoutVars>
          <dgm:chMax val="0"/>
          <dgm:bulletEnabled val="1"/>
        </dgm:presLayoutVars>
      </dgm:prSet>
      <dgm:spPr/>
    </dgm:pt>
    <dgm:pt modelId="{FDDDC5A2-58D9-4AC7-889D-6CE0147D0B10}" type="pres">
      <dgm:prSet presAssocID="{858BF1BE-CFB3-41D2-A470-C100C3D87DBB}" presName="negativeSpace" presStyleCnt="0"/>
      <dgm:spPr/>
    </dgm:pt>
    <dgm:pt modelId="{8B7442F0-87C9-4ED0-B380-CF49F91C1E47}" type="pres">
      <dgm:prSet presAssocID="{858BF1BE-CFB3-41D2-A470-C100C3D87DBB}" presName="childText" presStyleLbl="conFgAcc1" presStyleIdx="2" presStyleCnt="6">
        <dgm:presLayoutVars>
          <dgm:bulletEnabled val="1"/>
        </dgm:presLayoutVars>
      </dgm:prSet>
      <dgm:spPr/>
    </dgm:pt>
    <dgm:pt modelId="{F244EDA9-8886-4F53-BB8B-563907B23822}" type="pres">
      <dgm:prSet presAssocID="{FC49C699-C87A-449D-A89B-68676C4112C9}" presName="spaceBetweenRectangles" presStyleCnt="0"/>
      <dgm:spPr/>
    </dgm:pt>
    <dgm:pt modelId="{574E62A3-BF87-411B-9F70-B40018C543D2}" type="pres">
      <dgm:prSet presAssocID="{7A5B7B93-F236-4C8B-AA78-03785DC34BC8}" presName="parentLin" presStyleCnt="0"/>
      <dgm:spPr/>
    </dgm:pt>
    <dgm:pt modelId="{E1773CE0-30D8-43AC-8F50-DAD09E6EF52A}" type="pres">
      <dgm:prSet presAssocID="{7A5B7B93-F236-4C8B-AA78-03785DC34BC8}" presName="parentLeftMargin" presStyleLbl="node1" presStyleIdx="2" presStyleCnt="6"/>
      <dgm:spPr/>
    </dgm:pt>
    <dgm:pt modelId="{53917319-B66E-4047-9674-A776B21EB1A1}" type="pres">
      <dgm:prSet presAssocID="{7A5B7B93-F236-4C8B-AA78-03785DC34BC8}" presName="parentText" presStyleLbl="node1" presStyleIdx="3" presStyleCnt="6">
        <dgm:presLayoutVars>
          <dgm:chMax val="0"/>
          <dgm:bulletEnabled val="1"/>
        </dgm:presLayoutVars>
      </dgm:prSet>
      <dgm:spPr/>
    </dgm:pt>
    <dgm:pt modelId="{1BDD8905-CEE4-426C-AF39-09C452868A29}" type="pres">
      <dgm:prSet presAssocID="{7A5B7B93-F236-4C8B-AA78-03785DC34BC8}" presName="negativeSpace" presStyleCnt="0"/>
      <dgm:spPr/>
    </dgm:pt>
    <dgm:pt modelId="{8343B99E-D03C-470B-9F2E-CACC8126C9BA}" type="pres">
      <dgm:prSet presAssocID="{7A5B7B93-F236-4C8B-AA78-03785DC34BC8}" presName="childText" presStyleLbl="conFgAcc1" presStyleIdx="3" presStyleCnt="6">
        <dgm:presLayoutVars>
          <dgm:bulletEnabled val="1"/>
        </dgm:presLayoutVars>
      </dgm:prSet>
      <dgm:spPr/>
    </dgm:pt>
    <dgm:pt modelId="{619C1F60-230A-4A0B-AB8A-49B6391D9242}" type="pres">
      <dgm:prSet presAssocID="{5E6F9563-6B03-4198-B412-9FDE8AF87398}" presName="spaceBetweenRectangles" presStyleCnt="0"/>
      <dgm:spPr/>
    </dgm:pt>
    <dgm:pt modelId="{BBCB01B6-90F2-4591-BCED-0D691E5A459F}" type="pres">
      <dgm:prSet presAssocID="{1959D062-F842-4BA0-A5EB-C026D7B83476}" presName="parentLin" presStyleCnt="0"/>
      <dgm:spPr/>
    </dgm:pt>
    <dgm:pt modelId="{6E156215-CF42-47CB-9824-7FFB978BF10F}" type="pres">
      <dgm:prSet presAssocID="{1959D062-F842-4BA0-A5EB-C026D7B83476}" presName="parentLeftMargin" presStyleLbl="node1" presStyleIdx="3" presStyleCnt="6"/>
      <dgm:spPr/>
    </dgm:pt>
    <dgm:pt modelId="{9F2838D1-C0AF-4FEE-A4C8-ADCBBFC1A218}" type="pres">
      <dgm:prSet presAssocID="{1959D062-F842-4BA0-A5EB-C026D7B83476}" presName="parentText" presStyleLbl="node1" presStyleIdx="4" presStyleCnt="6">
        <dgm:presLayoutVars>
          <dgm:chMax val="0"/>
          <dgm:bulletEnabled val="1"/>
        </dgm:presLayoutVars>
      </dgm:prSet>
      <dgm:spPr/>
    </dgm:pt>
    <dgm:pt modelId="{50D8447F-43B2-4F2A-B9EB-056DA6779F18}" type="pres">
      <dgm:prSet presAssocID="{1959D062-F842-4BA0-A5EB-C026D7B83476}" presName="negativeSpace" presStyleCnt="0"/>
      <dgm:spPr/>
    </dgm:pt>
    <dgm:pt modelId="{D69E75F4-604D-45C7-995B-BC0D7B8E41A5}" type="pres">
      <dgm:prSet presAssocID="{1959D062-F842-4BA0-A5EB-C026D7B83476}" presName="childText" presStyleLbl="conFgAcc1" presStyleIdx="4" presStyleCnt="6">
        <dgm:presLayoutVars>
          <dgm:bulletEnabled val="1"/>
        </dgm:presLayoutVars>
      </dgm:prSet>
      <dgm:spPr/>
    </dgm:pt>
    <dgm:pt modelId="{4FC6011E-6ABA-417C-A3DB-E5A1278E76E4}" type="pres">
      <dgm:prSet presAssocID="{12FBDB2B-0035-417B-98CB-2738B800E3D9}" presName="spaceBetweenRectangles" presStyleCnt="0"/>
      <dgm:spPr/>
    </dgm:pt>
    <dgm:pt modelId="{E8013674-9DCC-48AC-9FB2-C678A6878FE6}" type="pres">
      <dgm:prSet presAssocID="{3BA87B1C-43E5-4F9E-A31C-4E9D9E9D7EA4}" presName="parentLin" presStyleCnt="0"/>
      <dgm:spPr/>
    </dgm:pt>
    <dgm:pt modelId="{E96C6909-0198-43F0-A989-066CE3293971}" type="pres">
      <dgm:prSet presAssocID="{3BA87B1C-43E5-4F9E-A31C-4E9D9E9D7EA4}" presName="parentLeftMargin" presStyleLbl="node1" presStyleIdx="4" presStyleCnt="6"/>
      <dgm:spPr/>
    </dgm:pt>
    <dgm:pt modelId="{973844B3-941A-4ECE-9885-D3D932036E78}" type="pres">
      <dgm:prSet presAssocID="{3BA87B1C-43E5-4F9E-A31C-4E9D9E9D7EA4}" presName="parentText" presStyleLbl="node1" presStyleIdx="5" presStyleCnt="6">
        <dgm:presLayoutVars>
          <dgm:chMax val="0"/>
          <dgm:bulletEnabled val="1"/>
        </dgm:presLayoutVars>
      </dgm:prSet>
      <dgm:spPr/>
    </dgm:pt>
    <dgm:pt modelId="{1AE2016A-D9D8-4A06-A8C8-BDB3C977A48A}" type="pres">
      <dgm:prSet presAssocID="{3BA87B1C-43E5-4F9E-A31C-4E9D9E9D7EA4}" presName="negativeSpace" presStyleCnt="0"/>
      <dgm:spPr/>
    </dgm:pt>
    <dgm:pt modelId="{6AC859D7-B016-4A79-81D3-1B8A006F3852}" type="pres">
      <dgm:prSet presAssocID="{3BA87B1C-43E5-4F9E-A31C-4E9D9E9D7EA4}" presName="childText" presStyleLbl="conFgAcc1" presStyleIdx="5" presStyleCnt="6">
        <dgm:presLayoutVars>
          <dgm:bulletEnabled val="1"/>
        </dgm:presLayoutVars>
      </dgm:prSet>
      <dgm:spPr/>
    </dgm:pt>
  </dgm:ptLst>
  <dgm:cxnLst>
    <dgm:cxn modelId="{71B9B103-BB24-4B24-8F46-F3F2223D03B6}" type="presOf" srcId="{3BA87B1C-43E5-4F9E-A31C-4E9D9E9D7EA4}" destId="{E96C6909-0198-43F0-A989-066CE3293971}" srcOrd="0" destOrd="0" presId="urn:microsoft.com/office/officeart/2005/8/layout/list1"/>
    <dgm:cxn modelId="{802EA90B-E049-4DF1-B17D-88BFC2781B5B}" srcId="{1959D062-F842-4BA0-A5EB-C026D7B83476}" destId="{2B3B75FC-E055-419C-8714-B9746A62A7D1}" srcOrd="0" destOrd="0" parTransId="{FEC3041E-E581-4345-BB99-741B15AE301D}" sibTransId="{D50EEA41-FE6E-4028-871C-2D34D756B776}"/>
    <dgm:cxn modelId="{4EB45410-F52B-492C-B3A2-0CA496E81E11}" type="presOf" srcId="{858BF1BE-CFB3-41D2-A470-C100C3D87DBB}" destId="{5C8511E3-433C-41FC-95E4-87485AB3F550}" srcOrd="0" destOrd="0" presId="urn:microsoft.com/office/officeart/2005/8/layout/list1"/>
    <dgm:cxn modelId="{39B6C916-C023-420A-A189-CA4E193DA627}" type="presOf" srcId="{604CE30E-C6B8-4DD8-B4DD-6B64115BBCD0}" destId="{D8D52BB0-B0C4-4AD8-92B6-2DD44420DBA9}" srcOrd="1" destOrd="0" presId="urn:microsoft.com/office/officeart/2005/8/layout/list1"/>
    <dgm:cxn modelId="{E8217E18-5522-4475-9EDE-7754D273C47F}" srcId="{604CE30E-C6B8-4DD8-B4DD-6B64115BBCD0}" destId="{E21EA742-875C-47A5-B805-D6C05BAC916F}" srcOrd="0" destOrd="0" parTransId="{A9831066-0880-45CC-9E43-7794F4808915}" sibTransId="{FD77C841-D76E-4ED2-867E-D5F20566DEDE}"/>
    <dgm:cxn modelId="{D4104B1D-BD65-4438-B288-9A18470A44F0}" type="presOf" srcId="{7A5B7B93-F236-4C8B-AA78-03785DC34BC8}" destId="{E1773CE0-30D8-43AC-8F50-DAD09E6EF52A}" srcOrd="0" destOrd="0" presId="urn:microsoft.com/office/officeart/2005/8/layout/list1"/>
    <dgm:cxn modelId="{C6EE8A26-C6A7-48C0-959B-56CDB1D0677B}" type="presOf" srcId="{E21EA742-875C-47A5-B805-D6C05BAC916F}" destId="{E71FEA66-279B-4A80-891C-A32A3D9E2040}" srcOrd="0" destOrd="0" presId="urn:microsoft.com/office/officeart/2005/8/layout/list1"/>
    <dgm:cxn modelId="{FF4B402A-EA00-4B80-834E-6338521BBBA7}" srcId="{AF2788E8-879E-433D-BCA1-C491F13A6DE2}" destId="{6DD9A5EE-E0D9-44E0-9533-84D0B95711AD}" srcOrd="0" destOrd="0" parTransId="{48596193-6A6E-4B37-82F0-F15AC18439BD}" sibTransId="{22C08A17-2C95-4556-9D78-7849E7AA9C0C}"/>
    <dgm:cxn modelId="{7100E62A-795B-45A3-8D26-ABFAD2C84090}" type="presOf" srcId="{AF2788E8-879E-433D-BCA1-C491F13A6DE2}" destId="{704BBC95-5D16-4AFB-82E3-995739432681}" srcOrd="0" destOrd="0" presId="urn:microsoft.com/office/officeart/2005/8/layout/list1"/>
    <dgm:cxn modelId="{9A874331-67F4-44C1-A247-68FEDDC43E18}" type="presOf" srcId="{1959D062-F842-4BA0-A5EB-C026D7B83476}" destId="{6E156215-CF42-47CB-9824-7FFB978BF10F}" srcOrd="0" destOrd="0" presId="urn:microsoft.com/office/officeart/2005/8/layout/list1"/>
    <dgm:cxn modelId="{0812BB60-D0F0-43C3-9791-996D90BC691C}" srcId="{7A5B7B93-F236-4C8B-AA78-03785DC34BC8}" destId="{C33477CA-8AE3-4EE2-BA08-15AD3B2C05B2}" srcOrd="0" destOrd="0" parTransId="{7A0FB8A5-5424-4D2E-A6D8-56E1BA737FAF}" sibTransId="{AF845948-2624-4CFD-B806-4B39E4560AD3}"/>
    <dgm:cxn modelId="{531CC565-EF81-4116-9A93-B0524EB337B9}" type="presOf" srcId="{C33477CA-8AE3-4EE2-BA08-15AD3B2C05B2}" destId="{8343B99E-D03C-470B-9F2E-CACC8126C9BA}" srcOrd="0" destOrd="0" presId="urn:microsoft.com/office/officeart/2005/8/layout/list1"/>
    <dgm:cxn modelId="{11CCB34A-7875-4AE7-B249-1484814674CA}" type="presOf" srcId="{1959D062-F842-4BA0-A5EB-C026D7B83476}" destId="{9F2838D1-C0AF-4FEE-A4C8-ADCBBFC1A218}" srcOrd="1" destOrd="0" presId="urn:microsoft.com/office/officeart/2005/8/layout/list1"/>
    <dgm:cxn modelId="{440CAA6B-7490-474E-96A5-BFBE6E6007AB}" srcId="{AF2788E8-879E-433D-BCA1-C491F13A6DE2}" destId="{858BF1BE-CFB3-41D2-A470-C100C3D87DBB}" srcOrd="2" destOrd="0" parTransId="{0E32844A-430C-43A8-947C-A135BA5D3D9F}" sibTransId="{FC49C699-C87A-449D-A89B-68676C4112C9}"/>
    <dgm:cxn modelId="{29838854-2CBA-4658-84C3-8F1F69B1772D}" type="presOf" srcId="{3BA87B1C-43E5-4F9E-A31C-4E9D9E9D7EA4}" destId="{973844B3-941A-4ECE-9885-D3D932036E78}" srcOrd="1" destOrd="0" presId="urn:microsoft.com/office/officeart/2005/8/layout/list1"/>
    <dgm:cxn modelId="{97C82079-78C9-4BAC-846D-04850052B942}" type="presOf" srcId="{B4C560F1-C403-458F-B020-B15AA7DFF5C7}" destId="{4B46E1C9-BEB9-41D8-95AC-9F8F834BD2A6}" srcOrd="0" destOrd="0" presId="urn:microsoft.com/office/officeart/2005/8/layout/list1"/>
    <dgm:cxn modelId="{EF016994-85BE-4E1C-8EE9-96A1676A3208}" type="presOf" srcId="{2B3B75FC-E055-419C-8714-B9746A62A7D1}" destId="{D69E75F4-604D-45C7-995B-BC0D7B8E41A5}" srcOrd="0" destOrd="0" presId="urn:microsoft.com/office/officeart/2005/8/layout/list1"/>
    <dgm:cxn modelId="{DCFEF794-5039-4203-B4DA-F077CC1BFF28}" type="presOf" srcId="{604CE30E-C6B8-4DD8-B4DD-6B64115BBCD0}" destId="{11A6CB40-B7B1-4909-B31F-07B441EF2D95}" srcOrd="0" destOrd="0" presId="urn:microsoft.com/office/officeart/2005/8/layout/list1"/>
    <dgm:cxn modelId="{3F0F7E99-C739-4690-A638-6BBB394BB77E}" type="presOf" srcId="{858BF1BE-CFB3-41D2-A470-C100C3D87DBB}" destId="{33B9FA90-5E7A-43E3-A303-578495F49076}" srcOrd="1" destOrd="0" presId="urn:microsoft.com/office/officeart/2005/8/layout/list1"/>
    <dgm:cxn modelId="{2C0386A1-A8F2-4B2D-90C9-AC134F9F8BA2}" srcId="{6DD9A5EE-E0D9-44E0-9533-84D0B95711AD}" destId="{B4C560F1-C403-458F-B020-B15AA7DFF5C7}" srcOrd="0" destOrd="0" parTransId="{31A4F93F-8303-4AE0-A761-10682C9C156A}" sibTransId="{67130F62-C5A9-4287-85F1-989399BCC532}"/>
    <dgm:cxn modelId="{4F702BA6-855C-4DC0-8720-B274E80B2468}" type="presOf" srcId="{6DD9A5EE-E0D9-44E0-9533-84D0B95711AD}" destId="{8F967F32-8579-4FFC-9C9A-5F2D5483EAC0}" srcOrd="0" destOrd="0" presId="urn:microsoft.com/office/officeart/2005/8/layout/list1"/>
    <dgm:cxn modelId="{C02240A8-91E8-4B6F-A7C7-EEE825E14CA8}" srcId="{AF2788E8-879E-433D-BCA1-C491F13A6DE2}" destId="{7A5B7B93-F236-4C8B-AA78-03785DC34BC8}" srcOrd="3" destOrd="0" parTransId="{DCC440FD-BC25-4F32-AC34-102F20F5B643}" sibTransId="{5E6F9563-6B03-4198-B412-9FDE8AF87398}"/>
    <dgm:cxn modelId="{438BFBAC-4C69-4AA5-9461-E3AB229A5D68}" srcId="{AF2788E8-879E-433D-BCA1-C491F13A6DE2}" destId="{1959D062-F842-4BA0-A5EB-C026D7B83476}" srcOrd="4" destOrd="0" parTransId="{3D10BBEF-4501-4735-9425-AE5578528A8E}" sibTransId="{12FBDB2B-0035-417B-98CB-2738B800E3D9}"/>
    <dgm:cxn modelId="{0A3627AE-D3F2-461E-B87A-46659D9C0347}" type="presOf" srcId="{7A5B7B93-F236-4C8B-AA78-03785DC34BC8}" destId="{53917319-B66E-4047-9674-A776B21EB1A1}" srcOrd="1" destOrd="0" presId="urn:microsoft.com/office/officeart/2005/8/layout/list1"/>
    <dgm:cxn modelId="{52B428B6-4963-4749-8875-F3DA9B089165}" srcId="{858BF1BE-CFB3-41D2-A470-C100C3D87DBB}" destId="{B42DCB72-46E1-4243-AB44-B07EDA18BDA0}" srcOrd="0" destOrd="0" parTransId="{3684F0B5-6B24-411A-B563-42111A220523}" sibTransId="{604385DB-021C-4861-9A0A-9D6241BC43B1}"/>
    <dgm:cxn modelId="{17F369CE-719B-43F6-83D1-A634633566F6}" type="presOf" srcId="{B42DCB72-46E1-4243-AB44-B07EDA18BDA0}" destId="{8B7442F0-87C9-4ED0-B380-CF49F91C1E47}" srcOrd="0" destOrd="0" presId="urn:microsoft.com/office/officeart/2005/8/layout/list1"/>
    <dgm:cxn modelId="{7A9147D7-4CED-4911-8DDD-B32FDF6C1D4F}" srcId="{AF2788E8-879E-433D-BCA1-C491F13A6DE2}" destId="{3BA87B1C-43E5-4F9E-A31C-4E9D9E9D7EA4}" srcOrd="5" destOrd="0" parTransId="{C765D1A4-C812-44C9-AB05-D46C82C988BA}" sibTransId="{313E8F05-1C08-4675-9F36-B77DBCF6F219}"/>
    <dgm:cxn modelId="{EA3A7FD8-089A-4CD4-A779-B8837254D892}" srcId="{3BA87B1C-43E5-4F9E-A31C-4E9D9E9D7EA4}" destId="{7F1DBF7E-C11E-48E9-BD70-06AC64A9DBDD}" srcOrd="0" destOrd="0" parTransId="{4BBE7404-0F71-44F9-81E2-959D704EF0F8}" sibTransId="{8EB915D5-D59C-48B7-BC0E-A3AB47D91B12}"/>
    <dgm:cxn modelId="{607C4EDE-6E3C-4B32-B3EF-4D2E2C2DDBE1}" type="presOf" srcId="{7F1DBF7E-C11E-48E9-BD70-06AC64A9DBDD}" destId="{6AC859D7-B016-4A79-81D3-1B8A006F3852}" srcOrd="0" destOrd="0" presId="urn:microsoft.com/office/officeart/2005/8/layout/list1"/>
    <dgm:cxn modelId="{E45CD1E5-312C-4B21-AB69-0B13538F58F4}" srcId="{AF2788E8-879E-433D-BCA1-C491F13A6DE2}" destId="{604CE30E-C6B8-4DD8-B4DD-6B64115BBCD0}" srcOrd="1" destOrd="0" parTransId="{7B95A82E-B418-498D-AA25-4193700259BE}" sibTransId="{8F080A5F-E72E-46D3-A473-EA6E7595A4F9}"/>
    <dgm:cxn modelId="{B976D0F2-90CE-449A-884F-A7A636BCF199}" type="presOf" srcId="{6DD9A5EE-E0D9-44E0-9533-84D0B95711AD}" destId="{43A4329B-ED46-4701-AEC5-926318CE7029}" srcOrd="1" destOrd="0" presId="urn:microsoft.com/office/officeart/2005/8/layout/list1"/>
    <dgm:cxn modelId="{229DD719-B5E4-4E0F-8ACD-9EBBEA39FA80}" type="presParOf" srcId="{704BBC95-5D16-4AFB-82E3-995739432681}" destId="{370D1268-2BC7-42C2-B5D0-D16ECF724D80}" srcOrd="0" destOrd="0" presId="urn:microsoft.com/office/officeart/2005/8/layout/list1"/>
    <dgm:cxn modelId="{6C51E26C-4831-41B5-BD2A-AF5A361CD687}" type="presParOf" srcId="{370D1268-2BC7-42C2-B5D0-D16ECF724D80}" destId="{8F967F32-8579-4FFC-9C9A-5F2D5483EAC0}" srcOrd="0" destOrd="0" presId="urn:microsoft.com/office/officeart/2005/8/layout/list1"/>
    <dgm:cxn modelId="{129A064E-812A-4D06-AA5E-C7119C885127}" type="presParOf" srcId="{370D1268-2BC7-42C2-B5D0-D16ECF724D80}" destId="{43A4329B-ED46-4701-AEC5-926318CE7029}" srcOrd="1" destOrd="0" presId="urn:microsoft.com/office/officeart/2005/8/layout/list1"/>
    <dgm:cxn modelId="{F97E3184-7718-4333-ACBD-B4F2F4A9AE82}" type="presParOf" srcId="{704BBC95-5D16-4AFB-82E3-995739432681}" destId="{A6EE7A5D-FA31-4C09-BD24-44EEB5EF12EA}" srcOrd="1" destOrd="0" presId="urn:microsoft.com/office/officeart/2005/8/layout/list1"/>
    <dgm:cxn modelId="{AA995D77-D986-4CBE-8875-12373B347BDF}" type="presParOf" srcId="{704BBC95-5D16-4AFB-82E3-995739432681}" destId="{4B46E1C9-BEB9-41D8-95AC-9F8F834BD2A6}" srcOrd="2" destOrd="0" presId="urn:microsoft.com/office/officeart/2005/8/layout/list1"/>
    <dgm:cxn modelId="{1F880C01-CDF9-4FB6-AADD-0134444E45C5}" type="presParOf" srcId="{704BBC95-5D16-4AFB-82E3-995739432681}" destId="{C8C3B86D-7CC4-40FC-B0C7-C4BBD5D84D42}" srcOrd="3" destOrd="0" presId="urn:microsoft.com/office/officeart/2005/8/layout/list1"/>
    <dgm:cxn modelId="{8044174A-FEB2-47F2-9F71-3583E76FABD0}" type="presParOf" srcId="{704BBC95-5D16-4AFB-82E3-995739432681}" destId="{7827D8A1-2246-409B-B763-F192DBFAC555}" srcOrd="4" destOrd="0" presId="urn:microsoft.com/office/officeart/2005/8/layout/list1"/>
    <dgm:cxn modelId="{11545692-C9CF-41E2-9AAD-31FF8F599704}" type="presParOf" srcId="{7827D8A1-2246-409B-B763-F192DBFAC555}" destId="{11A6CB40-B7B1-4909-B31F-07B441EF2D95}" srcOrd="0" destOrd="0" presId="urn:microsoft.com/office/officeart/2005/8/layout/list1"/>
    <dgm:cxn modelId="{F13B0530-27BD-465D-BBA0-AA069E66262E}" type="presParOf" srcId="{7827D8A1-2246-409B-B763-F192DBFAC555}" destId="{D8D52BB0-B0C4-4AD8-92B6-2DD44420DBA9}" srcOrd="1" destOrd="0" presId="urn:microsoft.com/office/officeart/2005/8/layout/list1"/>
    <dgm:cxn modelId="{95F1647C-6FCA-4174-8747-DABA679DEDDB}" type="presParOf" srcId="{704BBC95-5D16-4AFB-82E3-995739432681}" destId="{1360AD05-0280-445A-A854-55D4884829C8}" srcOrd="5" destOrd="0" presId="urn:microsoft.com/office/officeart/2005/8/layout/list1"/>
    <dgm:cxn modelId="{A6AD7C34-ED08-49CB-BE34-4B27B35F0BCB}" type="presParOf" srcId="{704BBC95-5D16-4AFB-82E3-995739432681}" destId="{E71FEA66-279B-4A80-891C-A32A3D9E2040}" srcOrd="6" destOrd="0" presId="urn:microsoft.com/office/officeart/2005/8/layout/list1"/>
    <dgm:cxn modelId="{522C7180-3E05-4B33-AF76-110390484637}" type="presParOf" srcId="{704BBC95-5D16-4AFB-82E3-995739432681}" destId="{3AB9D3AB-13CD-481F-A13F-E3CD17849392}" srcOrd="7" destOrd="0" presId="urn:microsoft.com/office/officeart/2005/8/layout/list1"/>
    <dgm:cxn modelId="{0307363F-700B-4376-8F25-A388DA6545F7}" type="presParOf" srcId="{704BBC95-5D16-4AFB-82E3-995739432681}" destId="{9B42A0AA-2573-4388-8EAF-71748F6ED61B}" srcOrd="8" destOrd="0" presId="urn:microsoft.com/office/officeart/2005/8/layout/list1"/>
    <dgm:cxn modelId="{962272F4-47C7-4695-8FA3-D7CA740DBF58}" type="presParOf" srcId="{9B42A0AA-2573-4388-8EAF-71748F6ED61B}" destId="{5C8511E3-433C-41FC-95E4-87485AB3F550}" srcOrd="0" destOrd="0" presId="urn:microsoft.com/office/officeart/2005/8/layout/list1"/>
    <dgm:cxn modelId="{6BD507F9-F061-42E8-B632-0DA9C6660448}" type="presParOf" srcId="{9B42A0AA-2573-4388-8EAF-71748F6ED61B}" destId="{33B9FA90-5E7A-43E3-A303-578495F49076}" srcOrd="1" destOrd="0" presId="urn:microsoft.com/office/officeart/2005/8/layout/list1"/>
    <dgm:cxn modelId="{13639526-4877-42F0-A600-91DF8E7FD8C6}" type="presParOf" srcId="{704BBC95-5D16-4AFB-82E3-995739432681}" destId="{FDDDC5A2-58D9-4AC7-889D-6CE0147D0B10}" srcOrd="9" destOrd="0" presId="urn:microsoft.com/office/officeart/2005/8/layout/list1"/>
    <dgm:cxn modelId="{C019D026-F4F7-49EE-AF71-83D23992D199}" type="presParOf" srcId="{704BBC95-5D16-4AFB-82E3-995739432681}" destId="{8B7442F0-87C9-4ED0-B380-CF49F91C1E47}" srcOrd="10" destOrd="0" presId="urn:microsoft.com/office/officeart/2005/8/layout/list1"/>
    <dgm:cxn modelId="{CA8217A2-F28E-4E98-99EB-16C6B89287B4}" type="presParOf" srcId="{704BBC95-5D16-4AFB-82E3-995739432681}" destId="{F244EDA9-8886-4F53-BB8B-563907B23822}" srcOrd="11" destOrd="0" presId="urn:microsoft.com/office/officeart/2005/8/layout/list1"/>
    <dgm:cxn modelId="{B8F5FBA3-C416-40EA-9D67-BA504C92F7C9}" type="presParOf" srcId="{704BBC95-5D16-4AFB-82E3-995739432681}" destId="{574E62A3-BF87-411B-9F70-B40018C543D2}" srcOrd="12" destOrd="0" presId="urn:microsoft.com/office/officeart/2005/8/layout/list1"/>
    <dgm:cxn modelId="{3C4FA57E-21A5-4051-8F88-B46C64EC1BEE}" type="presParOf" srcId="{574E62A3-BF87-411B-9F70-B40018C543D2}" destId="{E1773CE0-30D8-43AC-8F50-DAD09E6EF52A}" srcOrd="0" destOrd="0" presId="urn:microsoft.com/office/officeart/2005/8/layout/list1"/>
    <dgm:cxn modelId="{54378238-0780-4B7D-8687-00C80D56368B}" type="presParOf" srcId="{574E62A3-BF87-411B-9F70-B40018C543D2}" destId="{53917319-B66E-4047-9674-A776B21EB1A1}" srcOrd="1" destOrd="0" presId="urn:microsoft.com/office/officeart/2005/8/layout/list1"/>
    <dgm:cxn modelId="{B1B6D847-C7C5-4281-99FE-F31989ADF8E8}" type="presParOf" srcId="{704BBC95-5D16-4AFB-82E3-995739432681}" destId="{1BDD8905-CEE4-426C-AF39-09C452868A29}" srcOrd="13" destOrd="0" presId="urn:microsoft.com/office/officeart/2005/8/layout/list1"/>
    <dgm:cxn modelId="{452D2B54-5A60-4C06-A931-C7990DE0B360}" type="presParOf" srcId="{704BBC95-5D16-4AFB-82E3-995739432681}" destId="{8343B99E-D03C-470B-9F2E-CACC8126C9BA}" srcOrd="14" destOrd="0" presId="urn:microsoft.com/office/officeart/2005/8/layout/list1"/>
    <dgm:cxn modelId="{208CE67E-6C02-4788-A18F-D24AB2649748}" type="presParOf" srcId="{704BBC95-5D16-4AFB-82E3-995739432681}" destId="{619C1F60-230A-4A0B-AB8A-49B6391D9242}" srcOrd="15" destOrd="0" presId="urn:microsoft.com/office/officeart/2005/8/layout/list1"/>
    <dgm:cxn modelId="{A2945624-327B-4DBC-9A2E-D3E0C4F8B580}" type="presParOf" srcId="{704BBC95-5D16-4AFB-82E3-995739432681}" destId="{BBCB01B6-90F2-4591-BCED-0D691E5A459F}" srcOrd="16" destOrd="0" presId="urn:microsoft.com/office/officeart/2005/8/layout/list1"/>
    <dgm:cxn modelId="{E4E46631-DC23-4355-84B5-52A47E6803B6}" type="presParOf" srcId="{BBCB01B6-90F2-4591-BCED-0D691E5A459F}" destId="{6E156215-CF42-47CB-9824-7FFB978BF10F}" srcOrd="0" destOrd="0" presId="urn:microsoft.com/office/officeart/2005/8/layout/list1"/>
    <dgm:cxn modelId="{E5028502-F17B-4619-98E0-C67B382F8540}" type="presParOf" srcId="{BBCB01B6-90F2-4591-BCED-0D691E5A459F}" destId="{9F2838D1-C0AF-4FEE-A4C8-ADCBBFC1A218}" srcOrd="1" destOrd="0" presId="urn:microsoft.com/office/officeart/2005/8/layout/list1"/>
    <dgm:cxn modelId="{F2E8D3C8-A9B0-40CA-A888-FBFDBD3FBBED}" type="presParOf" srcId="{704BBC95-5D16-4AFB-82E3-995739432681}" destId="{50D8447F-43B2-4F2A-B9EB-056DA6779F18}" srcOrd="17" destOrd="0" presId="urn:microsoft.com/office/officeart/2005/8/layout/list1"/>
    <dgm:cxn modelId="{418DE7F2-7DE4-408F-AFBD-B3D8E0150167}" type="presParOf" srcId="{704BBC95-5D16-4AFB-82E3-995739432681}" destId="{D69E75F4-604D-45C7-995B-BC0D7B8E41A5}" srcOrd="18" destOrd="0" presId="urn:microsoft.com/office/officeart/2005/8/layout/list1"/>
    <dgm:cxn modelId="{7C3B78AD-88F1-4ED2-A8E2-9FA2EECA336E}" type="presParOf" srcId="{704BBC95-5D16-4AFB-82E3-995739432681}" destId="{4FC6011E-6ABA-417C-A3DB-E5A1278E76E4}" srcOrd="19" destOrd="0" presId="urn:microsoft.com/office/officeart/2005/8/layout/list1"/>
    <dgm:cxn modelId="{A6FF5B21-E84F-44EB-B46D-009CE2452823}" type="presParOf" srcId="{704BBC95-5D16-4AFB-82E3-995739432681}" destId="{E8013674-9DCC-48AC-9FB2-C678A6878FE6}" srcOrd="20" destOrd="0" presId="urn:microsoft.com/office/officeart/2005/8/layout/list1"/>
    <dgm:cxn modelId="{444C105C-7253-4CD8-9659-EBDCD7552EDD}" type="presParOf" srcId="{E8013674-9DCC-48AC-9FB2-C678A6878FE6}" destId="{E96C6909-0198-43F0-A989-066CE3293971}" srcOrd="0" destOrd="0" presId="urn:microsoft.com/office/officeart/2005/8/layout/list1"/>
    <dgm:cxn modelId="{405C4C28-3CF0-43DF-93B2-EEA755750A06}" type="presParOf" srcId="{E8013674-9DCC-48AC-9FB2-C678A6878FE6}" destId="{973844B3-941A-4ECE-9885-D3D932036E78}" srcOrd="1" destOrd="0" presId="urn:microsoft.com/office/officeart/2005/8/layout/list1"/>
    <dgm:cxn modelId="{77B43C86-74BB-4F3D-81D8-D465DBA66F37}" type="presParOf" srcId="{704BBC95-5D16-4AFB-82E3-995739432681}" destId="{1AE2016A-D9D8-4A06-A8C8-BDB3C977A48A}" srcOrd="21" destOrd="0" presId="urn:microsoft.com/office/officeart/2005/8/layout/list1"/>
    <dgm:cxn modelId="{45175F1A-59EE-46DB-BF5E-B395848C0E13}" type="presParOf" srcId="{704BBC95-5D16-4AFB-82E3-995739432681}" destId="{6AC859D7-B016-4A79-81D3-1B8A006F3852}" srcOrd="22"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33C0535-746D-46DC-870D-BD9302E95C49}">
      <dsp:nvSpPr>
        <dsp:cNvPr id="0" name=""/>
        <dsp:cNvSpPr/>
      </dsp:nvSpPr>
      <dsp:spPr>
        <a:xfrm rot="5400000">
          <a:off x="-287851" y="291168"/>
          <a:ext cx="1919006" cy="1343304"/>
        </a:xfrm>
        <a:prstGeom prst="chevron">
          <a:avLst/>
        </a:prstGeom>
        <a:solidFill>
          <a:schemeClr val="accent2">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1689100">
            <a:lnSpc>
              <a:spcPct val="90000"/>
            </a:lnSpc>
            <a:spcBef>
              <a:spcPct val="0"/>
            </a:spcBef>
            <a:spcAft>
              <a:spcPct val="35000"/>
            </a:spcAft>
            <a:buNone/>
          </a:pPr>
          <a:endParaRPr lang="it-IT" sz="3800" kern="1200" dirty="0"/>
        </a:p>
      </dsp:txBody>
      <dsp:txXfrm rot="-5400000">
        <a:off x="0" y="674969"/>
        <a:ext cx="1343304" cy="575702"/>
      </dsp:txXfrm>
    </dsp:sp>
    <dsp:sp modelId="{4A233984-7CEF-4B96-A5DF-F858E7F641D7}">
      <dsp:nvSpPr>
        <dsp:cNvPr id="0" name=""/>
        <dsp:cNvSpPr/>
      </dsp:nvSpPr>
      <dsp:spPr>
        <a:xfrm rot="5400000">
          <a:off x="5390077" y="-4043455"/>
          <a:ext cx="1247354" cy="9340900"/>
        </a:xfrm>
        <a:prstGeom prst="round2SameRect">
          <a:avLst/>
        </a:prstGeom>
        <a:solidFill>
          <a:schemeClr val="lt1">
            <a:alpha val="9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Font typeface="Arial" panose="020B0604020202020204" pitchFamily="34" charset="0"/>
            <a:buChar char="•"/>
          </a:pPr>
          <a:r>
            <a:rPr lang="it-IT" sz="1800" kern="1200" dirty="0"/>
            <a:t>Il </a:t>
          </a:r>
          <a:r>
            <a:rPr lang="it-IT" sz="1800" b="1" kern="1200" dirty="0"/>
            <a:t>Regolamento (UE) 2024/1781 </a:t>
          </a:r>
          <a:r>
            <a:rPr lang="it-IT" sz="1800" kern="1200" dirty="0"/>
            <a:t>(c.d. «</a:t>
          </a:r>
          <a:r>
            <a:rPr lang="it-IT" sz="1800" b="1" kern="1200" dirty="0"/>
            <a:t>Regolamento Ecodesign</a:t>
          </a:r>
          <a:r>
            <a:rPr lang="it-IT" sz="1800" kern="1200" dirty="0"/>
            <a:t>»</a:t>
          </a:r>
          <a:r>
            <a:rPr lang="en-US" sz="1800" kern="1200" dirty="0"/>
            <a:t> o </a:t>
          </a:r>
          <a:r>
            <a:rPr lang="it-IT" sz="1800" kern="1200" dirty="0"/>
            <a:t>«</a:t>
          </a:r>
          <a:r>
            <a:rPr lang="it-IT" sz="1800" b="1" kern="1200" dirty="0"/>
            <a:t>ESPR</a:t>
          </a:r>
          <a:r>
            <a:rPr lang="it-IT" sz="1800" kern="1200" dirty="0"/>
            <a:t>»), pubblicato sulla Gazzetta Ufficiale dell’UE il 28 giugno 2024, stabilisce il quadro per la definizione dei </a:t>
          </a:r>
          <a:r>
            <a:rPr lang="it-IT" sz="1800" b="1" kern="1200" dirty="0"/>
            <a:t>requisiti di progettazione ecocompatibile</a:t>
          </a:r>
          <a:r>
            <a:rPr lang="it-IT" sz="1800" kern="1200" dirty="0"/>
            <a:t> per prodotti sostenibili.</a:t>
          </a:r>
        </a:p>
      </dsp:txBody>
      <dsp:txXfrm rot="-5400000">
        <a:off x="1343305" y="64208"/>
        <a:ext cx="9280009" cy="1125572"/>
      </dsp:txXfrm>
    </dsp:sp>
    <dsp:sp modelId="{0E98A8E8-D4F3-45EC-90D1-F7ABC1E4D045}">
      <dsp:nvSpPr>
        <dsp:cNvPr id="0" name=""/>
        <dsp:cNvSpPr/>
      </dsp:nvSpPr>
      <dsp:spPr>
        <a:xfrm rot="5400000">
          <a:off x="-287851" y="2019160"/>
          <a:ext cx="1919006" cy="1343304"/>
        </a:xfrm>
        <a:prstGeom prst="chevron">
          <a:avLst/>
        </a:prstGeom>
        <a:solidFill>
          <a:schemeClr val="accent3">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1689100">
            <a:lnSpc>
              <a:spcPct val="90000"/>
            </a:lnSpc>
            <a:spcBef>
              <a:spcPct val="0"/>
            </a:spcBef>
            <a:spcAft>
              <a:spcPct val="35000"/>
            </a:spcAft>
            <a:buNone/>
          </a:pPr>
          <a:endParaRPr lang="it-IT" sz="3800" kern="1200" dirty="0"/>
        </a:p>
      </dsp:txBody>
      <dsp:txXfrm rot="-5400000">
        <a:off x="0" y="2402961"/>
        <a:ext cx="1343304" cy="575702"/>
      </dsp:txXfrm>
    </dsp:sp>
    <dsp:sp modelId="{B517EF5E-623B-46DA-A666-7643EFD21D39}">
      <dsp:nvSpPr>
        <dsp:cNvPr id="0" name=""/>
        <dsp:cNvSpPr/>
      </dsp:nvSpPr>
      <dsp:spPr>
        <a:xfrm rot="5400000">
          <a:off x="5390077" y="-2315463"/>
          <a:ext cx="1247354" cy="9340900"/>
        </a:xfrm>
        <a:prstGeom prst="round2SameRect">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44550">
            <a:lnSpc>
              <a:spcPct val="90000"/>
            </a:lnSpc>
            <a:spcBef>
              <a:spcPct val="0"/>
            </a:spcBef>
            <a:spcAft>
              <a:spcPct val="15000"/>
            </a:spcAft>
            <a:buFont typeface="Arial" panose="020B0604020202020204" pitchFamily="34" charset="0"/>
            <a:buChar char="•"/>
          </a:pPr>
          <a:r>
            <a:rPr lang="it-IT" sz="1800" kern="1200" dirty="0"/>
            <a:t>È un regolamento «</a:t>
          </a:r>
          <a:r>
            <a:rPr lang="it-IT" sz="1800" b="1" kern="1200" dirty="0"/>
            <a:t>quadro</a:t>
          </a:r>
          <a:r>
            <a:rPr lang="it-IT" sz="1800" b="0" kern="1200" dirty="0"/>
            <a:t>»</a:t>
          </a:r>
          <a:r>
            <a:rPr lang="it-IT" sz="1800" kern="1200" dirty="0"/>
            <a:t>, la cui attuazione è demandata a successiva regolamentazione, per:</a:t>
          </a:r>
          <a:endParaRPr lang="it-IT" sz="1800" b="0" i="0" kern="1200" baseline="0" dirty="0">
            <a:latin typeface="GT America"/>
            <a:ea typeface="+mn-ea"/>
            <a:cs typeface="+mn-cs"/>
          </a:endParaRPr>
        </a:p>
        <a:p>
          <a:pPr marL="288000" lvl="1" indent="-171450" algn="l" defTabSz="844550">
            <a:lnSpc>
              <a:spcPct val="90000"/>
            </a:lnSpc>
            <a:spcBef>
              <a:spcPct val="0"/>
            </a:spcBef>
            <a:spcAft>
              <a:spcPct val="15000"/>
            </a:spcAft>
            <a:buFont typeface="Courier New" panose="02070309020205020404" pitchFamily="49" charset="0"/>
            <a:buChar char="-"/>
          </a:pPr>
          <a:r>
            <a:rPr lang="it-IT" sz="1800" dirty="0"/>
            <a:t>la definizione di requisiti di progettazione ecocompatibile;</a:t>
          </a:r>
          <a:endParaRPr lang="it-IT" sz="1800" b="0" i="0" kern="1200" baseline="0" dirty="0">
            <a:latin typeface="GT America"/>
            <a:ea typeface="+mn-ea"/>
            <a:cs typeface="+mn-cs"/>
          </a:endParaRPr>
        </a:p>
        <a:p>
          <a:pPr marL="288000" lvl="1" indent="-171450" algn="l" defTabSz="844550">
            <a:lnSpc>
              <a:spcPct val="90000"/>
            </a:lnSpc>
            <a:spcBef>
              <a:spcPct val="0"/>
            </a:spcBef>
            <a:spcAft>
              <a:spcPct val="15000"/>
            </a:spcAft>
            <a:buFont typeface="Courier New" panose="02070309020205020404" pitchFamily="49" charset="0"/>
            <a:buChar char="-"/>
          </a:pPr>
          <a:r>
            <a:rPr lang="it-IT" sz="1800" dirty="0"/>
            <a:t>un quadro per evitare la distruzione dei prodotti di consumo.</a:t>
          </a:r>
          <a:endParaRPr lang="it-IT" sz="1800" b="0" i="0" kern="1200" baseline="0" dirty="0">
            <a:latin typeface="GT America"/>
            <a:ea typeface="+mn-ea"/>
            <a:cs typeface="+mn-cs"/>
          </a:endParaRPr>
        </a:p>
      </dsp:txBody>
      <dsp:txXfrm rot="-5400000">
        <a:off x="1343305" y="1792200"/>
        <a:ext cx="9280009" cy="1125572"/>
      </dsp:txXfrm>
    </dsp:sp>
    <dsp:sp modelId="{B840F3DE-D70E-404D-A874-57E5777C6AC5}">
      <dsp:nvSpPr>
        <dsp:cNvPr id="0" name=""/>
        <dsp:cNvSpPr/>
      </dsp:nvSpPr>
      <dsp:spPr>
        <a:xfrm rot="5400000">
          <a:off x="-287851" y="3747151"/>
          <a:ext cx="1919006" cy="1343304"/>
        </a:xfrm>
        <a:prstGeom prst="chevron">
          <a:avLst/>
        </a:prstGeom>
        <a:solidFill>
          <a:schemeClr val="accent4">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4130" tIns="24130" rIns="24130" bIns="24130" numCol="1" spcCol="1270" anchor="ctr" anchorCtr="0">
          <a:noAutofit/>
        </a:bodyPr>
        <a:lstStyle/>
        <a:p>
          <a:pPr marL="0" lvl="0" indent="0" algn="ctr" defTabSz="1689100">
            <a:lnSpc>
              <a:spcPct val="90000"/>
            </a:lnSpc>
            <a:spcBef>
              <a:spcPct val="0"/>
            </a:spcBef>
            <a:spcAft>
              <a:spcPct val="35000"/>
            </a:spcAft>
            <a:buNone/>
          </a:pPr>
          <a:endParaRPr lang="it-IT" sz="3800" kern="1200"/>
        </a:p>
      </dsp:txBody>
      <dsp:txXfrm rot="-5400000">
        <a:off x="0" y="4130952"/>
        <a:ext cx="1343304" cy="575702"/>
      </dsp:txXfrm>
    </dsp:sp>
    <dsp:sp modelId="{3C6465B0-BF7A-49AD-8F5A-70F52952E310}">
      <dsp:nvSpPr>
        <dsp:cNvPr id="0" name=""/>
        <dsp:cNvSpPr/>
      </dsp:nvSpPr>
      <dsp:spPr>
        <a:xfrm rot="5400000">
          <a:off x="5390077" y="-587472"/>
          <a:ext cx="1247354" cy="9340900"/>
        </a:xfrm>
        <a:prstGeom prst="round2SameRect">
          <a:avLst/>
        </a:prstGeom>
        <a:solidFill>
          <a:schemeClr val="lt1">
            <a:alpha val="90000"/>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128016" tIns="11430" rIns="11430" bIns="11430" numCol="1" spcCol="1270" anchor="ctr" anchorCtr="0">
          <a:noAutofit/>
        </a:bodyPr>
        <a:lstStyle/>
        <a:p>
          <a:pPr marL="171450" lvl="1" indent="-171450" algn="l" defTabSz="800100">
            <a:lnSpc>
              <a:spcPct val="90000"/>
            </a:lnSpc>
            <a:spcBef>
              <a:spcPct val="0"/>
            </a:spcBef>
            <a:spcAft>
              <a:spcPct val="15000"/>
            </a:spcAft>
            <a:buFont typeface="Arial" panose="020B0604020202020204" pitchFamily="34" charset="0"/>
            <a:buChar char="•"/>
          </a:pPr>
          <a:r>
            <a:rPr lang="it-IT" sz="1800" kern="1200" dirty="0">
              <a:solidFill>
                <a:schemeClr val="tx1"/>
              </a:solidFill>
            </a:rPr>
            <a:t>In vigore dal </a:t>
          </a:r>
          <a:r>
            <a:rPr lang="it-IT" sz="1800" b="1" kern="1200" dirty="0">
              <a:solidFill>
                <a:schemeClr val="tx1"/>
              </a:solidFill>
            </a:rPr>
            <a:t>18 luglio 2024</a:t>
          </a:r>
          <a:endParaRPr lang="it-IT" sz="1800" kern="1200" dirty="0"/>
        </a:p>
        <a:p>
          <a:pPr marL="288000" lvl="1" indent="-171450" algn="l" defTabSz="800100">
            <a:lnSpc>
              <a:spcPct val="90000"/>
            </a:lnSpc>
            <a:spcBef>
              <a:spcPct val="0"/>
            </a:spcBef>
            <a:spcAft>
              <a:spcPct val="15000"/>
            </a:spcAft>
            <a:buFont typeface="Courier New" panose="02070309020205020404" pitchFamily="49" charset="0"/>
            <a:buChar char="-"/>
          </a:pPr>
          <a:r>
            <a:rPr lang="it-IT" sz="1800" b="1" u="none" kern="1200" dirty="0">
              <a:solidFill>
                <a:schemeClr val="tx1"/>
              </a:solidFill>
              <a:effectLst/>
              <a:ea typeface="Aptos" panose="020B0004020202020204" pitchFamily="34" charset="0"/>
              <a:cs typeface="Calibri" panose="020F0502020204030204" pitchFamily="34" charset="0"/>
            </a:rPr>
            <a:t>modifica</a:t>
          </a:r>
          <a:r>
            <a:rPr lang="it-IT" sz="1800" kern="1200" dirty="0">
              <a:solidFill>
                <a:schemeClr val="tx1"/>
              </a:solidFill>
              <a:effectLst/>
              <a:ea typeface="Aptos" panose="020B0004020202020204" pitchFamily="34" charset="0"/>
              <a:cs typeface="Calibri" panose="020F0502020204030204" pitchFamily="34" charset="0"/>
            </a:rPr>
            <a:t> la Direttiva (UE) 2020/1828 e il Regolamento (UE) 2023/1542;</a:t>
          </a:r>
          <a:endParaRPr lang="it-IT" sz="1800" kern="1200" dirty="0"/>
        </a:p>
        <a:p>
          <a:pPr marL="288000" lvl="1" indent="-171450" algn="l" defTabSz="800100">
            <a:lnSpc>
              <a:spcPct val="90000"/>
            </a:lnSpc>
            <a:spcBef>
              <a:spcPct val="0"/>
            </a:spcBef>
            <a:spcAft>
              <a:spcPct val="15000"/>
            </a:spcAft>
            <a:buFont typeface="Courier New" panose="02070309020205020404" pitchFamily="49" charset="0"/>
            <a:buChar char="-"/>
          </a:pPr>
          <a:r>
            <a:rPr lang="it-IT" sz="1800" b="1" u="none" kern="1200" dirty="0">
              <a:solidFill>
                <a:schemeClr val="tx1"/>
              </a:solidFill>
              <a:ea typeface="Aptos" panose="020B0004020202020204" pitchFamily="34" charset="0"/>
              <a:cs typeface="Calibri" panose="020F0502020204030204" pitchFamily="34" charset="0"/>
            </a:rPr>
            <a:t>abroga</a:t>
          </a:r>
          <a:r>
            <a:rPr lang="it-IT" sz="1800" kern="1200" dirty="0">
              <a:solidFill>
                <a:schemeClr val="tx1"/>
              </a:solidFill>
              <a:ea typeface="Aptos" panose="020B0004020202020204" pitchFamily="34" charset="0"/>
              <a:cs typeface="Calibri" panose="020F0502020204030204" pitchFamily="34" charset="0"/>
            </a:rPr>
            <a:t> </a:t>
          </a:r>
          <a:r>
            <a:rPr lang="it-IT" sz="1800" kern="1200" dirty="0">
              <a:solidFill>
                <a:schemeClr val="tx1"/>
              </a:solidFill>
              <a:effectLst/>
              <a:ea typeface="Aptos" panose="020B0004020202020204" pitchFamily="34" charset="0"/>
              <a:cs typeface="Calibri" panose="020F0502020204030204" pitchFamily="34" charset="0"/>
            </a:rPr>
            <a:t>la Direttiva 2009/125/CE (direttiva-quadro per l’elaborazione di specifiche per la progettazione ecocompatibile dei prodotti connessi all’energia), con alcune eccezioni.</a:t>
          </a:r>
          <a:endParaRPr lang="it-IT" sz="1800" kern="1200" dirty="0"/>
        </a:p>
      </dsp:txBody>
      <dsp:txXfrm rot="-5400000">
        <a:off x="1343305" y="3520191"/>
        <a:ext cx="9280009" cy="112557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4F0CCE4-CD13-4E5E-B802-D935575B147D}">
      <dsp:nvSpPr>
        <dsp:cNvPr id="0" name=""/>
        <dsp:cNvSpPr/>
      </dsp:nvSpPr>
      <dsp:spPr>
        <a:xfrm>
          <a:off x="4659861" y="696"/>
          <a:ext cx="1751502" cy="1138476"/>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it-IT" sz="2000" kern="1200" dirty="0"/>
            <a:t>Sostenibilità</a:t>
          </a:r>
        </a:p>
      </dsp:txBody>
      <dsp:txXfrm>
        <a:off x="4715437" y="56272"/>
        <a:ext cx="1640350" cy="1027324"/>
      </dsp:txXfrm>
    </dsp:sp>
    <dsp:sp modelId="{6E6911D6-0DD9-4AA6-9E2F-16158D9B6D3E}">
      <dsp:nvSpPr>
        <dsp:cNvPr id="0" name=""/>
        <dsp:cNvSpPr/>
      </dsp:nvSpPr>
      <dsp:spPr>
        <a:xfrm>
          <a:off x="3258637" y="569934"/>
          <a:ext cx="4553949" cy="4553949"/>
        </a:xfrm>
        <a:custGeom>
          <a:avLst/>
          <a:gdLst/>
          <a:ahLst/>
          <a:cxnLst/>
          <a:rect l="0" t="0" r="0" b="0"/>
          <a:pathLst>
            <a:path>
              <a:moveTo>
                <a:pt x="3164788" y="180215"/>
              </a:moveTo>
              <a:arcTo wR="2276974" hR="2276974" stAng="17576931" swAng="1964055"/>
            </a:path>
          </a:pathLst>
        </a:custGeom>
        <a:noFill/>
        <a:ln w="6350" cap="flat" cmpd="sng" algn="ctr">
          <a:solidFill>
            <a:schemeClr val="accent2">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2F7A3F37-C852-4086-8D0D-AEBB770CC7B7}">
      <dsp:nvSpPr>
        <dsp:cNvPr id="0" name=""/>
        <dsp:cNvSpPr/>
      </dsp:nvSpPr>
      <dsp:spPr>
        <a:xfrm>
          <a:off x="6825393" y="1574047"/>
          <a:ext cx="1751502" cy="1138476"/>
        </a:xfrm>
        <a:prstGeom prst="roundRect">
          <a:avLst/>
        </a:prstGeom>
        <a:solidFill>
          <a:schemeClr val="accent2">
            <a:hueOff val="-716018"/>
            <a:satOff val="13924"/>
            <a:lumOff val="-509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it-IT" sz="2000" kern="1200" dirty="0"/>
            <a:t>Circolarità</a:t>
          </a:r>
        </a:p>
      </dsp:txBody>
      <dsp:txXfrm>
        <a:off x="6880969" y="1629623"/>
        <a:ext cx="1640350" cy="1027324"/>
      </dsp:txXfrm>
    </dsp:sp>
    <dsp:sp modelId="{E5E942CE-0130-4639-85CA-B186035A932B}">
      <dsp:nvSpPr>
        <dsp:cNvPr id="0" name=""/>
        <dsp:cNvSpPr/>
      </dsp:nvSpPr>
      <dsp:spPr>
        <a:xfrm>
          <a:off x="3258637" y="569934"/>
          <a:ext cx="4553949" cy="4553949"/>
        </a:xfrm>
        <a:custGeom>
          <a:avLst/>
          <a:gdLst/>
          <a:ahLst/>
          <a:cxnLst/>
          <a:rect l="0" t="0" r="0" b="0"/>
          <a:pathLst>
            <a:path>
              <a:moveTo>
                <a:pt x="4550794" y="2157156"/>
              </a:moveTo>
              <a:arcTo wR="2276974" hR="2276974" stAng="21419016" swAng="2198237"/>
            </a:path>
          </a:pathLst>
        </a:custGeom>
        <a:noFill/>
        <a:ln w="6350" cap="flat" cmpd="sng" algn="ctr">
          <a:solidFill>
            <a:schemeClr val="accent2">
              <a:hueOff val="-716018"/>
              <a:satOff val="13924"/>
              <a:lumOff val="-5098"/>
              <a:alphaOff val="0"/>
            </a:schemeClr>
          </a:solidFill>
          <a:prstDash val="solid"/>
          <a:miter lim="800000"/>
        </a:ln>
        <a:effectLst/>
      </dsp:spPr>
      <dsp:style>
        <a:lnRef idx="1">
          <a:scrgbClr r="0" g="0" b="0"/>
        </a:lnRef>
        <a:fillRef idx="0">
          <a:scrgbClr r="0" g="0" b="0"/>
        </a:fillRef>
        <a:effectRef idx="0">
          <a:scrgbClr r="0" g="0" b="0"/>
        </a:effectRef>
        <a:fontRef idx="minor"/>
      </dsp:style>
    </dsp:sp>
    <dsp:sp modelId="{6E4155FA-E130-4F14-8BFB-6FD35AADB747}">
      <dsp:nvSpPr>
        <dsp:cNvPr id="0" name=""/>
        <dsp:cNvSpPr/>
      </dsp:nvSpPr>
      <dsp:spPr>
        <a:xfrm>
          <a:off x="5998233" y="4119782"/>
          <a:ext cx="1751502" cy="1138476"/>
        </a:xfrm>
        <a:prstGeom prst="roundRect">
          <a:avLst/>
        </a:prstGeom>
        <a:solidFill>
          <a:schemeClr val="accent2">
            <a:hueOff val="-1432036"/>
            <a:satOff val="27849"/>
            <a:lumOff val="-1019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it-IT" sz="2000" kern="1200" dirty="0"/>
            <a:t>Trasparenza</a:t>
          </a:r>
        </a:p>
      </dsp:txBody>
      <dsp:txXfrm>
        <a:off x="6053809" y="4175358"/>
        <a:ext cx="1640350" cy="1027324"/>
      </dsp:txXfrm>
    </dsp:sp>
    <dsp:sp modelId="{98D8B2A8-D6D3-49D1-BC14-AE83807F8AB8}">
      <dsp:nvSpPr>
        <dsp:cNvPr id="0" name=""/>
        <dsp:cNvSpPr/>
      </dsp:nvSpPr>
      <dsp:spPr>
        <a:xfrm>
          <a:off x="3258637" y="569934"/>
          <a:ext cx="4553949" cy="4553949"/>
        </a:xfrm>
        <a:custGeom>
          <a:avLst/>
          <a:gdLst/>
          <a:ahLst/>
          <a:cxnLst/>
          <a:rect l="0" t="0" r="0" b="0"/>
          <a:pathLst>
            <a:path>
              <a:moveTo>
                <a:pt x="2730532" y="4508319"/>
              </a:moveTo>
              <a:arcTo wR="2276974" hR="2276974" stAng="4710613" swAng="1378774"/>
            </a:path>
          </a:pathLst>
        </a:custGeom>
        <a:noFill/>
        <a:ln w="6350" cap="flat" cmpd="sng" algn="ctr">
          <a:solidFill>
            <a:schemeClr val="accent2">
              <a:hueOff val="-1432036"/>
              <a:satOff val="27849"/>
              <a:lumOff val="-10197"/>
              <a:alphaOff val="0"/>
            </a:schemeClr>
          </a:solidFill>
          <a:prstDash val="solid"/>
          <a:miter lim="800000"/>
        </a:ln>
        <a:effectLst/>
      </dsp:spPr>
      <dsp:style>
        <a:lnRef idx="1">
          <a:scrgbClr r="0" g="0" b="0"/>
        </a:lnRef>
        <a:fillRef idx="0">
          <a:scrgbClr r="0" g="0" b="0"/>
        </a:fillRef>
        <a:effectRef idx="0">
          <a:scrgbClr r="0" g="0" b="0"/>
        </a:effectRef>
        <a:fontRef idx="minor"/>
      </dsp:style>
    </dsp:sp>
    <dsp:sp modelId="{F00631FB-0FED-43DB-AF5F-07682E57C92A}">
      <dsp:nvSpPr>
        <dsp:cNvPr id="0" name=""/>
        <dsp:cNvSpPr/>
      </dsp:nvSpPr>
      <dsp:spPr>
        <a:xfrm>
          <a:off x="3321489" y="4119782"/>
          <a:ext cx="1751502" cy="1138476"/>
        </a:xfrm>
        <a:prstGeom prst="roundRect">
          <a:avLst/>
        </a:prstGeom>
        <a:solidFill>
          <a:schemeClr val="accent2">
            <a:hueOff val="-2148054"/>
            <a:satOff val="41773"/>
            <a:lumOff val="-15295"/>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it-IT" sz="2000" kern="1200" dirty="0"/>
            <a:t>Tracciabilità</a:t>
          </a:r>
        </a:p>
      </dsp:txBody>
      <dsp:txXfrm>
        <a:off x="3377065" y="4175358"/>
        <a:ext cx="1640350" cy="1027324"/>
      </dsp:txXfrm>
    </dsp:sp>
    <dsp:sp modelId="{307E5E87-3D11-4CD9-9776-EA021439CE8A}">
      <dsp:nvSpPr>
        <dsp:cNvPr id="0" name=""/>
        <dsp:cNvSpPr/>
      </dsp:nvSpPr>
      <dsp:spPr>
        <a:xfrm>
          <a:off x="3258637" y="569934"/>
          <a:ext cx="4553949" cy="4553949"/>
        </a:xfrm>
        <a:custGeom>
          <a:avLst/>
          <a:gdLst/>
          <a:ahLst/>
          <a:cxnLst/>
          <a:rect l="0" t="0" r="0" b="0"/>
          <a:pathLst>
            <a:path>
              <a:moveTo>
                <a:pt x="380893" y="3537724"/>
              </a:moveTo>
              <a:arcTo wR="2276974" hR="2276974" stAng="8782747" swAng="2198237"/>
            </a:path>
          </a:pathLst>
        </a:custGeom>
        <a:noFill/>
        <a:ln w="6350" cap="flat" cmpd="sng" algn="ctr">
          <a:solidFill>
            <a:schemeClr val="accent2">
              <a:hueOff val="-2148054"/>
              <a:satOff val="41773"/>
              <a:lumOff val="-15295"/>
              <a:alphaOff val="0"/>
            </a:schemeClr>
          </a:solidFill>
          <a:prstDash val="solid"/>
          <a:miter lim="800000"/>
        </a:ln>
        <a:effectLst/>
      </dsp:spPr>
      <dsp:style>
        <a:lnRef idx="1">
          <a:scrgbClr r="0" g="0" b="0"/>
        </a:lnRef>
        <a:fillRef idx="0">
          <a:scrgbClr r="0" g="0" b="0"/>
        </a:fillRef>
        <a:effectRef idx="0">
          <a:scrgbClr r="0" g="0" b="0"/>
        </a:effectRef>
        <a:fontRef idx="minor"/>
      </dsp:style>
    </dsp:sp>
    <dsp:sp modelId="{9792674C-DCC0-45F8-821F-2477743BB147}">
      <dsp:nvSpPr>
        <dsp:cNvPr id="0" name=""/>
        <dsp:cNvSpPr/>
      </dsp:nvSpPr>
      <dsp:spPr>
        <a:xfrm>
          <a:off x="2494329" y="1574047"/>
          <a:ext cx="1751502" cy="1138476"/>
        </a:xfrm>
        <a:prstGeom prst="roundRect">
          <a:avLst/>
        </a:prstGeom>
        <a:solidFill>
          <a:schemeClr val="accent2">
            <a:hueOff val="-2864072"/>
            <a:satOff val="55697"/>
            <a:lumOff val="-2039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it-IT" sz="2000" kern="1200" dirty="0"/>
            <a:t>Efficienza energetica</a:t>
          </a:r>
        </a:p>
      </dsp:txBody>
      <dsp:txXfrm>
        <a:off x="2549905" y="1629623"/>
        <a:ext cx="1640350" cy="1027324"/>
      </dsp:txXfrm>
    </dsp:sp>
    <dsp:sp modelId="{BFADC036-18CA-408D-9CB3-FCF707B38763}">
      <dsp:nvSpPr>
        <dsp:cNvPr id="0" name=""/>
        <dsp:cNvSpPr/>
      </dsp:nvSpPr>
      <dsp:spPr>
        <a:xfrm>
          <a:off x="3258637" y="569934"/>
          <a:ext cx="4553949" cy="4553949"/>
        </a:xfrm>
        <a:custGeom>
          <a:avLst/>
          <a:gdLst/>
          <a:ahLst/>
          <a:cxnLst/>
          <a:rect l="0" t="0" r="0" b="0"/>
          <a:pathLst>
            <a:path>
              <a:moveTo>
                <a:pt x="396348" y="993285"/>
              </a:moveTo>
              <a:arcTo wR="2276974" hR="2276974" stAng="12859014" swAng="1964055"/>
            </a:path>
          </a:pathLst>
        </a:custGeom>
        <a:noFill/>
        <a:ln w="6350" cap="flat" cmpd="sng" algn="ctr">
          <a:solidFill>
            <a:schemeClr val="accent2">
              <a:hueOff val="-2864072"/>
              <a:satOff val="55697"/>
              <a:lumOff val="-20393"/>
              <a:alphaOff val="0"/>
            </a:schemeClr>
          </a:solidFill>
          <a:prstDash val="solid"/>
          <a:miter lim="800000"/>
        </a:ln>
        <a:effectLst/>
      </dsp:spPr>
      <dsp:style>
        <a:lnRef idx="1">
          <a:scrgbClr r="0" g="0" b="0"/>
        </a:lnRef>
        <a:fillRef idx="0">
          <a:scrgbClr r="0" g="0" b="0"/>
        </a:fillRef>
        <a:effectRef idx="0">
          <a:scrgbClr r="0" g="0" b="0"/>
        </a:effectRef>
        <a:fontRef idx="minor"/>
      </dsp:style>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E08466D-275B-4F55-BBCD-F4A5C398087E}">
      <dsp:nvSpPr>
        <dsp:cNvPr id="0" name=""/>
        <dsp:cNvSpPr/>
      </dsp:nvSpPr>
      <dsp:spPr>
        <a:xfrm>
          <a:off x="0" y="1590039"/>
          <a:ext cx="10534650" cy="2120053"/>
        </a:xfrm>
        <a:prstGeom prst="notched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0FFF71B3-5031-464F-9941-1468F62155A4}">
      <dsp:nvSpPr>
        <dsp:cNvPr id="0" name=""/>
        <dsp:cNvSpPr/>
      </dsp:nvSpPr>
      <dsp:spPr>
        <a:xfrm>
          <a:off x="4166" y="0"/>
          <a:ext cx="1821702" cy="21200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b" anchorCtr="0">
          <a:noAutofit/>
        </a:bodyPr>
        <a:lstStyle/>
        <a:p>
          <a:pPr marL="0" lvl="0" indent="0" algn="ctr" defTabSz="711200">
            <a:lnSpc>
              <a:spcPct val="90000"/>
            </a:lnSpc>
            <a:spcBef>
              <a:spcPct val="0"/>
            </a:spcBef>
            <a:spcAft>
              <a:spcPct val="35000"/>
            </a:spcAft>
            <a:buNone/>
          </a:pPr>
          <a:r>
            <a:rPr lang="it-IT" sz="1600" kern="1200" dirty="0"/>
            <a:t>Adozione primo piano di lavoro</a:t>
          </a:r>
        </a:p>
        <a:p>
          <a:pPr marL="0" lvl="0" indent="0" algn="ctr" defTabSz="711200">
            <a:lnSpc>
              <a:spcPct val="90000"/>
            </a:lnSpc>
            <a:spcBef>
              <a:spcPct val="0"/>
            </a:spcBef>
            <a:spcAft>
              <a:spcPct val="35000"/>
            </a:spcAft>
            <a:buNone/>
          </a:pPr>
          <a:r>
            <a:rPr lang="it-IT" sz="1600" b="1" kern="1200" dirty="0"/>
            <a:t>19 aprile 2025</a:t>
          </a:r>
        </a:p>
      </dsp:txBody>
      <dsp:txXfrm>
        <a:off x="4166" y="0"/>
        <a:ext cx="1821702" cy="2120053"/>
      </dsp:txXfrm>
    </dsp:sp>
    <dsp:sp modelId="{D7C0478C-6095-44D2-9981-CA6456DD23F7}">
      <dsp:nvSpPr>
        <dsp:cNvPr id="0" name=""/>
        <dsp:cNvSpPr/>
      </dsp:nvSpPr>
      <dsp:spPr>
        <a:xfrm>
          <a:off x="650011" y="2385059"/>
          <a:ext cx="530013" cy="530013"/>
        </a:xfrm>
        <a:prstGeom prst="ellipse">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5C2BFBEA-85D3-4D84-8D87-2B3EA20B03EC}">
      <dsp:nvSpPr>
        <dsp:cNvPr id="0" name=""/>
        <dsp:cNvSpPr/>
      </dsp:nvSpPr>
      <dsp:spPr>
        <a:xfrm>
          <a:off x="1916953" y="3180079"/>
          <a:ext cx="1821702" cy="21200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t" anchorCtr="0">
          <a:noAutofit/>
        </a:bodyPr>
        <a:lstStyle/>
        <a:p>
          <a:pPr marL="0" lvl="0" indent="0" algn="ctr" defTabSz="711200">
            <a:lnSpc>
              <a:spcPct val="90000"/>
            </a:lnSpc>
            <a:spcBef>
              <a:spcPct val="0"/>
            </a:spcBef>
            <a:spcAft>
              <a:spcPct val="35000"/>
            </a:spcAft>
            <a:buNone/>
          </a:pPr>
          <a:r>
            <a:rPr lang="it-IT" sz="1600" b="1" kern="1200" dirty="0"/>
            <a:t>19 luglio 2025</a:t>
          </a:r>
        </a:p>
        <a:p>
          <a:pPr marL="0" lvl="0" indent="0" algn="ctr" defTabSz="711200">
            <a:lnSpc>
              <a:spcPct val="90000"/>
            </a:lnSpc>
            <a:spcBef>
              <a:spcPct val="0"/>
            </a:spcBef>
            <a:spcAft>
              <a:spcPct val="35000"/>
            </a:spcAft>
            <a:buNone/>
          </a:pPr>
          <a:r>
            <a:rPr lang="it-IT" sz="1600" b="0" kern="1200" dirty="0"/>
            <a:t>Pubblicazione atti delegati</a:t>
          </a:r>
        </a:p>
      </dsp:txBody>
      <dsp:txXfrm>
        <a:off x="1916953" y="3180079"/>
        <a:ext cx="1821702" cy="2120053"/>
      </dsp:txXfrm>
    </dsp:sp>
    <dsp:sp modelId="{A154B187-DF13-41AD-A54E-32CF5286B188}">
      <dsp:nvSpPr>
        <dsp:cNvPr id="0" name=""/>
        <dsp:cNvSpPr/>
      </dsp:nvSpPr>
      <dsp:spPr>
        <a:xfrm>
          <a:off x="2562798" y="2385059"/>
          <a:ext cx="530013" cy="530013"/>
        </a:xfrm>
        <a:prstGeom prst="ellipse">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8F360936-64D6-47D8-AF39-B8598A74ABE2}">
      <dsp:nvSpPr>
        <dsp:cNvPr id="0" name=""/>
        <dsp:cNvSpPr/>
      </dsp:nvSpPr>
      <dsp:spPr>
        <a:xfrm>
          <a:off x="3829741" y="0"/>
          <a:ext cx="1821702" cy="21200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b" anchorCtr="0">
          <a:noAutofit/>
        </a:bodyPr>
        <a:lstStyle/>
        <a:p>
          <a:pPr marL="0" lvl="0" indent="0" algn="ctr" defTabSz="711200">
            <a:lnSpc>
              <a:spcPct val="90000"/>
            </a:lnSpc>
            <a:spcBef>
              <a:spcPct val="0"/>
            </a:spcBef>
            <a:spcAft>
              <a:spcPct val="35000"/>
            </a:spcAft>
            <a:buNone/>
          </a:pPr>
          <a:r>
            <a:rPr lang="it-IT" sz="1600" b="0" kern="1200" dirty="0"/>
            <a:t>Adozione delle prime misure ESPR </a:t>
          </a:r>
        </a:p>
        <a:p>
          <a:pPr marL="0" lvl="0" indent="0" algn="ctr" defTabSz="711200">
            <a:lnSpc>
              <a:spcPct val="90000"/>
            </a:lnSpc>
            <a:spcBef>
              <a:spcPct val="0"/>
            </a:spcBef>
            <a:spcAft>
              <a:spcPct val="35000"/>
            </a:spcAft>
            <a:buNone/>
          </a:pPr>
          <a:r>
            <a:rPr lang="it-IT" sz="1600" b="1" kern="1200" dirty="0"/>
            <a:t>2026</a:t>
          </a:r>
        </a:p>
      </dsp:txBody>
      <dsp:txXfrm>
        <a:off x="3829741" y="0"/>
        <a:ext cx="1821702" cy="2120053"/>
      </dsp:txXfrm>
    </dsp:sp>
    <dsp:sp modelId="{52ED5378-2EE5-45A5-9871-701E5F750671}">
      <dsp:nvSpPr>
        <dsp:cNvPr id="0" name=""/>
        <dsp:cNvSpPr/>
      </dsp:nvSpPr>
      <dsp:spPr>
        <a:xfrm>
          <a:off x="4475585" y="2385059"/>
          <a:ext cx="530013" cy="530013"/>
        </a:xfrm>
        <a:prstGeom prst="ellipse">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32ECE179-A049-4937-8ABB-507ADF777D14}">
      <dsp:nvSpPr>
        <dsp:cNvPr id="0" name=""/>
        <dsp:cNvSpPr/>
      </dsp:nvSpPr>
      <dsp:spPr>
        <a:xfrm>
          <a:off x="5742528" y="3180079"/>
          <a:ext cx="1821702" cy="21200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t" anchorCtr="0">
          <a:noAutofit/>
        </a:bodyPr>
        <a:lstStyle/>
        <a:p>
          <a:pPr marL="0" lvl="0" indent="0" algn="ctr" defTabSz="711200">
            <a:lnSpc>
              <a:spcPct val="90000"/>
            </a:lnSpc>
            <a:spcBef>
              <a:spcPct val="0"/>
            </a:spcBef>
            <a:spcAft>
              <a:spcPct val="35000"/>
            </a:spcAft>
            <a:buNone/>
          </a:pPr>
          <a:r>
            <a:rPr lang="it-IT" sz="1600" b="1" kern="1200" dirty="0"/>
            <a:t>19 luglio 2026</a:t>
          </a:r>
        </a:p>
        <a:p>
          <a:pPr marL="0" lvl="0" indent="0" algn="ctr" defTabSz="711200">
            <a:lnSpc>
              <a:spcPct val="90000"/>
            </a:lnSpc>
            <a:spcBef>
              <a:spcPct val="0"/>
            </a:spcBef>
            <a:spcAft>
              <a:spcPct val="35000"/>
            </a:spcAft>
            <a:buNone/>
          </a:pPr>
          <a:r>
            <a:rPr lang="it-IT" sz="1600" b="0" kern="1200" dirty="0"/>
            <a:t>Divieto di distruzione dell’invenduto di alcuni prodotti</a:t>
          </a:r>
        </a:p>
      </dsp:txBody>
      <dsp:txXfrm>
        <a:off x="5742528" y="3180079"/>
        <a:ext cx="1821702" cy="2120053"/>
      </dsp:txXfrm>
    </dsp:sp>
    <dsp:sp modelId="{A37D2C98-9EB8-4301-B318-09FC1622D088}">
      <dsp:nvSpPr>
        <dsp:cNvPr id="0" name=""/>
        <dsp:cNvSpPr/>
      </dsp:nvSpPr>
      <dsp:spPr>
        <a:xfrm>
          <a:off x="6388373" y="2385059"/>
          <a:ext cx="530013" cy="530013"/>
        </a:xfrm>
        <a:prstGeom prst="ellipse">
          <a:avLst/>
        </a:prstGeom>
        <a:solidFill>
          <a:schemeClr val="accent5">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 modelId="{ED1DE216-A916-43DD-BDDA-258C4DA7AF9E}">
      <dsp:nvSpPr>
        <dsp:cNvPr id="0" name=""/>
        <dsp:cNvSpPr/>
      </dsp:nvSpPr>
      <dsp:spPr>
        <a:xfrm>
          <a:off x="7655316" y="0"/>
          <a:ext cx="1821702" cy="212005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13792" tIns="113792" rIns="113792" bIns="113792" numCol="1" spcCol="1270" anchor="b" anchorCtr="0">
          <a:noAutofit/>
        </a:bodyPr>
        <a:lstStyle/>
        <a:p>
          <a:pPr marL="0" lvl="0" indent="0" algn="ctr" defTabSz="711200">
            <a:lnSpc>
              <a:spcPct val="90000"/>
            </a:lnSpc>
            <a:spcBef>
              <a:spcPct val="0"/>
            </a:spcBef>
            <a:spcAft>
              <a:spcPct val="35000"/>
            </a:spcAft>
            <a:buNone/>
          </a:pPr>
          <a:r>
            <a:rPr lang="it-IT" sz="1600" b="0" kern="1200" dirty="0"/>
            <a:t>Obbligo di divulgazione di informazioni e divieto di distruzione invenduto (</a:t>
          </a:r>
          <a:r>
            <a:rPr lang="it-IT" sz="1600" b="1" kern="1200" dirty="0"/>
            <a:t>medie imprese</a:t>
          </a:r>
          <a:r>
            <a:rPr lang="it-IT" sz="1600" b="0" kern="1200" dirty="0"/>
            <a:t>)</a:t>
          </a:r>
        </a:p>
        <a:p>
          <a:pPr marL="0" lvl="0" indent="0" algn="ctr" defTabSz="711200">
            <a:lnSpc>
              <a:spcPct val="90000"/>
            </a:lnSpc>
            <a:spcBef>
              <a:spcPct val="0"/>
            </a:spcBef>
            <a:spcAft>
              <a:spcPct val="35000"/>
            </a:spcAft>
            <a:buNone/>
          </a:pPr>
          <a:r>
            <a:rPr lang="it-IT" sz="1600" b="1" kern="1200" dirty="0"/>
            <a:t>19 luglio 2030</a:t>
          </a:r>
        </a:p>
      </dsp:txBody>
      <dsp:txXfrm>
        <a:off x="7655316" y="0"/>
        <a:ext cx="1821702" cy="2120053"/>
      </dsp:txXfrm>
    </dsp:sp>
    <dsp:sp modelId="{15CB3B00-D3D0-47B0-9011-36395CA6895C}">
      <dsp:nvSpPr>
        <dsp:cNvPr id="0" name=""/>
        <dsp:cNvSpPr/>
      </dsp:nvSpPr>
      <dsp:spPr>
        <a:xfrm>
          <a:off x="8301160" y="2385059"/>
          <a:ext cx="530013" cy="530013"/>
        </a:xfrm>
        <a:prstGeom prst="ellipse">
          <a:avLst/>
        </a:prstGeom>
        <a:solidFill>
          <a:schemeClr val="accent6">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DF4EF94A-1A85-4F65-B057-1E208A7D6DDB}">
      <dsp:nvSpPr>
        <dsp:cNvPr id="0" name=""/>
        <dsp:cNvSpPr/>
      </dsp:nvSpPr>
      <dsp:spPr>
        <a:xfrm>
          <a:off x="-5907261" y="-904007"/>
          <a:ext cx="7032476" cy="7032476"/>
        </a:xfrm>
        <a:prstGeom prst="blockArc">
          <a:avLst>
            <a:gd name="adj1" fmla="val 18900000"/>
            <a:gd name="adj2" fmla="val 2700000"/>
            <a:gd name="adj3" fmla="val 307"/>
          </a:avLst>
        </a:prstGeom>
        <a:noFill/>
        <a:ln w="12700" cap="flat" cmpd="sng" algn="ctr">
          <a:solidFill>
            <a:schemeClr val="accent2">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sp>
    <dsp:sp modelId="{08BCCEED-63CB-4F09-B8AB-E34C59AF96CD}">
      <dsp:nvSpPr>
        <dsp:cNvPr id="0" name=""/>
        <dsp:cNvSpPr/>
      </dsp:nvSpPr>
      <dsp:spPr>
        <a:xfrm>
          <a:off x="491771" y="326424"/>
          <a:ext cx="9313197" cy="653266"/>
        </a:xfrm>
        <a:prstGeom prst="rect">
          <a:avLst/>
        </a:prstGeom>
        <a:solidFill>
          <a:schemeClr val="accent2">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518530" tIns="50800" rIns="50800" bIns="50800" numCol="1" spcCol="1270" anchor="ctr" anchorCtr="0">
          <a:noAutofit/>
        </a:bodyPr>
        <a:lstStyle/>
        <a:p>
          <a:pPr marL="0" marR="0" lvl="0" indent="0" algn="just" defTabSz="914400" eaLnBrk="1" fontAlgn="auto" latinLnBrk="0" hangingPunct="1">
            <a:lnSpc>
              <a:spcPct val="100000"/>
            </a:lnSpc>
            <a:spcBef>
              <a:spcPct val="0"/>
            </a:spcBef>
            <a:spcAft>
              <a:spcPts val="0"/>
            </a:spcAft>
            <a:buClrTx/>
            <a:buSzTx/>
            <a:buFontTx/>
            <a:buNone/>
            <a:tabLst/>
            <a:defRPr/>
          </a:pPr>
          <a:r>
            <a:rPr lang="it-IT" sz="2000" b="0" i="0" kern="1200" dirty="0"/>
            <a:t>Fissazione di </a:t>
          </a:r>
          <a:r>
            <a:rPr lang="it-IT" sz="2000" b="1" kern="1200" dirty="0"/>
            <a:t>requisiti di progettazione </a:t>
          </a:r>
          <a:r>
            <a:rPr lang="it-IT" sz="2000" b="1" kern="1200" dirty="0" err="1"/>
            <a:t>ecompatibile</a:t>
          </a:r>
          <a:r>
            <a:rPr lang="it-IT" sz="2000" kern="1200" dirty="0"/>
            <a:t> e </a:t>
          </a:r>
          <a:r>
            <a:rPr lang="it-IT" sz="2000" b="1" kern="1200" dirty="0"/>
            <a:t>di specifici obblighi di informazione</a:t>
          </a:r>
          <a:r>
            <a:rPr lang="it-IT" sz="2000" kern="1200" dirty="0"/>
            <a:t> </a:t>
          </a:r>
          <a:r>
            <a:rPr lang="it-IT" sz="2000" b="0" i="0" kern="1200" dirty="0"/>
            <a:t>  </a:t>
          </a:r>
          <a:endParaRPr lang="it-IT" sz="2000" kern="1200" dirty="0"/>
        </a:p>
      </dsp:txBody>
      <dsp:txXfrm>
        <a:off x="491771" y="326424"/>
        <a:ext cx="9313197" cy="653266"/>
      </dsp:txXfrm>
    </dsp:sp>
    <dsp:sp modelId="{BDAA5196-DED4-49AB-B06F-94D00DBC0667}">
      <dsp:nvSpPr>
        <dsp:cNvPr id="0" name=""/>
        <dsp:cNvSpPr/>
      </dsp:nvSpPr>
      <dsp:spPr>
        <a:xfrm>
          <a:off x="83480" y="244766"/>
          <a:ext cx="816583" cy="816583"/>
        </a:xfrm>
        <a:prstGeom prst="ellipse">
          <a:avLst/>
        </a:prstGeom>
        <a:solidFill>
          <a:schemeClr val="lt1">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D9FC3384-31B6-49E7-930D-D7CA2AF66306}">
      <dsp:nvSpPr>
        <dsp:cNvPr id="0" name=""/>
        <dsp:cNvSpPr/>
      </dsp:nvSpPr>
      <dsp:spPr>
        <a:xfrm>
          <a:off x="959883" y="1306011"/>
          <a:ext cx="8845085" cy="653266"/>
        </a:xfrm>
        <a:prstGeom prst="rect">
          <a:avLst/>
        </a:prstGeom>
        <a:solidFill>
          <a:schemeClr val="accent3">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518530" tIns="50800" rIns="50800" bIns="50800" numCol="1" spcCol="1270" anchor="ctr" anchorCtr="0">
          <a:noAutofit/>
        </a:bodyPr>
        <a:lstStyle/>
        <a:p>
          <a:pPr marL="0" lvl="0" indent="0" algn="just" defTabSz="889000">
            <a:lnSpc>
              <a:spcPct val="90000"/>
            </a:lnSpc>
            <a:spcBef>
              <a:spcPct val="0"/>
            </a:spcBef>
            <a:spcAft>
              <a:spcPct val="35000"/>
            </a:spcAft>
            <a:buFont typeface="Wingdings" panose="05000000000000000000" pitchFamily="2" charset="2"/>
            <a:buNone/>
          </a:pPr>
          <a:r>
            <a:rPr lang="it-IT" sz="2000" kern="1200" dirty="0"/>
            <a:t>Introduzione del </a:t>
          </a:r>
          <a:r>
            <a:rPr lang="it-IT" sz="2000" i="1" kern="1200" dirty="0"/>
            <a:t>Digital Product Passport</a:t>
          </a:r>
          <a:r>
            <a:rPr lang="it-IT" sz="2000" kern="1200" dirty="0"/>
            <a:t> (“</a:t>
          </a:r>
          <a:r>
            <a:rPr lang="it-IT" sz="2000" b="1" kern="1200" dirty="0"/>
            <a:t>DPP</a:t>
          </a:r>
          <a:r>
            <a:rPr lang="it-IT" sz="2000" kern="1200" dirty="0"/>
            <a:t>” o “</a:t>
          </a:r>
          <a:r>
            <a:rPr lang="it-IT" sz="2000" b="1" kern="1200" dirty="0"/>
            <a:t>Passaporto Digitale di Prodotto</a:t>
          </a:r>
          <a:r>
            <a:rPr lang="it-IT" sz="2000" kern="1200" dirty="0"/>
            <a:t>”)</a:t>
          </a:r>
          <a:endParaRPr lang="it-IT" sz="2000" b="0" u="none" kern="1200" dirty="0"/>
        </a:p>
      </dsp:txBody>
      <dsp:txXfrm>
        <a:off x="959883" y="1306011"/>
        <a:ext cx="8845085" cy="653266"/>
      </dsp:txXfrm>
    </dsp:sp>
    <dsp:sp modelId="{A0337DFF-FA35-4F56-A9AC-DC7D7329A853}">
      <dsp:nvSpPr>
        <dsp:cNvPr id="0" name=""/>
        <dsp:cNvSpPr/>
      </dsp:nvSpPr>
      <dsp:spPr>
        <a:xfrm>
          <a:off x="551592" y="1224352"/>
          <a:ext cx="816583" cy="816583"/>
        </a:xfrm>
        <a:prstGeom prst="ellipse">
          <a:avLst/>
        </a:prstGeom>
        <a:solidFill>
          <a:schemeClr val="lt1">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72381A88-409D-4D0B-973F-6185388B9031}">
      <dsp:nvSpPr>
        <dsp:cNvPr id="0" name=""/>
        <dsp:cNvSpPr/>
      </dsp:nvSpPr>
      <dsp:spPr>
        <a:xfrm>
          <a:off x="1103556" y="2285597"/>
          <a:ext cx="8701412" cy="653266"/>
        </a:xfrm>
        <a:prstGeom prst="rect">
          <a:avLst/>
        </a:prstGeom>
        <a:solidFill>
          <a:schemeClr val="accent4">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518530" tIns="50800" rIns="50800" bIns="50800" numCol="1" spcCol="1270" anchor="ctr" anchorCtr="0">
          <a:noAutofit/>
        </a:bodyPr>
        <a:lstStyle/>
        <a:p>
          <a:pPr marL="0" lvl="0" indent="0" algn="just" defTabSz="889000">
            <a:lnSpc>
              <a:spcPct val="90000"/>
            </a:lnSpc>
            <a:spcBef>
              <a:spcPct val="0"/>
            </a:spcBef>
            <a:spcAft>
              <a:spcPct val="35000"/>
            </a:spcAft>
            <a:buFont typeface="Wingdings" panose="05000000000000000000" pitchFamily="2" charset="2"/>
            <a:buNone/>
          </a:pPr>
          <a:r>
            <a:rPr lang="it-IT" sz="2000" kern="1200" dirty="0"/>
            <a:t>Previsione del </a:t>
          </a:r>
          <a:r>
            <a:rPr lang="it-IT" sz="2000" b="1" kern="1200" dirty="0"/>
            <a:t>divieto di distruzione dei prodotti di consumo invenduti</a:t>
          </a:r>
          <a:endParaRPr lang="it-IT" sz="2000" b="0" u="none" kern="1200" dirty="0"/>
        </a:p>
      </dsp:txBody>
      <dsp:txXfrm>
        <a:off x="1103556" y="2285597"/>
        <a:ext cx="8701412" cy="653266"/>
      </dsp:txXfrm>
    </dsp:sp>
    <dsp:sp modelId="{30A11212-D6F2-434C-944D-16EB3FCDD5C4}">
      <dsp:nvSpPr>
        <dsp:cNvPr id="0" name=""/>
        <dsp:cNvSpPr/>
      </dsp:nvSpPr>
      <dsp:spPr>
        <a:xfrm>
          <a:off x="695264" y="2203939"/>
          <a:ext cx="816583" cy="816583"/>
        </a:xfrm>
        <a:prstGeom prst="ellipse">
          <a:avLst/>
        </a:prstGeom>
        <a:solidFill>
          <a:schemeClr val="lt1">
            <a:hueOff val="0"/>
            <a:satOff val="0"/>
            <a:lumOff val="0"/>
            <a:alphaOff val="0"/>
          </a:schemeClr>
        </a:solidFill>
        <a:ln w="12700" cap="flat" cmpd="sng" algn="ctr">
          <a:solidFill>
            <a:schemeClr val="accent4">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E67AA3E3-8D45-444F-85E6-463B7E2635D1}">
      <dsp:nvSpPr>
        <dsp:cNvPr id="0" name=""/>
        <dsp:cNvSpPr/>
      </dsp:nvSpPr>
      <dsp:spPr>
        <a:xfrm>
          <a:off x="959883" y="3265184"/>
          <a:ext cx="8845085" cy="653266"/>
        </a:xfrm>
        <a:prstGeom prst="rect">
          <a:avLst/>
        </a:prstGeom>
        <a:solidFill>
          <a:schemeClr val="accent5">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518530" tIns="50800" rIns="50800" bIns="50800" numCol="1" spcCol="1270" anchor="ctr" anchorCtr="0">
          <a:noAutofit/>
        </a:bodyPr>
        <a:lstStyle/>
        <a:p>
          <a:pPr marL="0" lvl="0" indent="0" algn="l" defTabSz="889000">
            <a:lnSpc>
              <a:spcPct val="90000"/>
            </a:lnSpc>
            <a:spcBef>
              <a:spcPct val="0"/>
            </a:spcBef>
            <a:spcAft>
              <a:spcPct val="35000"/>
            </a:spcAft>
            <a:buNone/>
          </a:pPr>
          <a:r>
            <a:rPr lang="it-IT" sz="2000" kern="1200" dirty="0"/>
            <a:t>Definizione </a:t>
          </a:r>
          <a:r>
            <a:rPr lang="it-IT" sz="2000" b="0" kern="1200" dirty="0"/>
            <a:t>di requisiti obbligatori per gli </a:t>
          </a:r>
          <a:r>
            <a:rPr lang="it-IT" sz="2000" b="1" kern="1200" dirty="0"/>
            <a:t>appalti pubblici verdi</a:t>
          </a:r>
          <a:endParaRPr lang="it-IT" sz="2000" b="0" i="0" u="none" kern="1200" dirty="0"/>
        </a:p>
      </dsp:txBody>
      <dsp:txXfrm>
        <a:off x="959883" y="3265184"/>
        <a:ext cx="8845085" cy="653266"/>
      </dsp:txXfrm>
    </dsp:sp>
    <dsp:sp modelId="{A3DB9CCF-E11B-4FE0-AA93-4F551C92641B}">
      <dsp:nvSpPr>
        <dsp:cNvPr id="0" name=""/>
        <dsp:cNvSpPr/>
      </dsp:nvSpPr>
      <dsp:spPr>
        <a:xfrm>
          <a:off x="551592" y="3183525"/>
          <a:ext cx="816583" cy="816583"/>
        </a:xfrm>
        <a:prstGeom prst="ellipse">
          <a:avLst/>
        </a:prstGeom>
        <a:solidFill>
          <a:schemeClr val="lt1">
            <a:hueOff val="0"/>
            <a:satOff val="0"/>
            <a:lumOff val="0"/>
            <a:alphaOff val="0"/>
          </a:schemeClr>
        </a:solidFill>
        <a:ln w="12700" cap="flat" cmpd="sng" algn="ctr">
          <a:solidFill>
            <a:schemeClr val="accent5">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 modelId="{04F77531-0B83-444F-A8D9-6D2CED43D2C0}">
      <dsp:nvSpPr>
        <dsp:cNvPr id="0" name=""/>
        <dsp:cNvSpPr/>
      </dsp:nvSpPr>
      <dsp:spPr>
        <a:xfrm>
          <a:off x="491771" y="4244770"/>
          <a:ext cx="9313197" cy="653266"/>
        </a:xfrm>
        <a:prstGeom prst="rect">
          <a:avLst/>
        </a:prstGeom>
        <a:solidFill>
          <a:schemeClr val="accent6">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518530" tIns="50800" rIns="50800" bIns="50800" numCol="1" spcCol="1270" anchor="ctr" anchorCtr="0">
          <a:noAutofit/>
        </a:bodyPr>
        <a:lstStyle/>
        <a:p>
          <a:pPr marL="0" lvl="0" indent="0" algn="l" defTabSz="889000">
            <a:lnSpc>
              <a:spcPct val="90000"/>
            </a:lnSpc>
            <a:spcBef>
              <a:spcPct val="0"/>
            </a:spcBef>
            <a:spcAft>
              <a:spcPct val="35000"/>
            </a:spcAft>
            <a:buNone/>
          </a:pPr>
          <a:r>
            <a:rPr lang="it-IT" sz="2000" kern="1200"/>
            <a:t>Rafforzamento dei </a:t>
          </a:r>
          <a:r>
            <a:rPr lang="it-IT" sz="2000" b="1" kern="1200"/>
            <a:t>controlli doganali</a:t>
          </a:r>
          <a:r>
            <a:rPr lang="it-IT" sz="2000" kern="1200"/>
            <a:t> e delle</a:t>
          </a:r>
          <a:r>
            <a:rPr lang="it-IT" sz="2000" b="1" kern="1200"/>
            <a:t> attività di vigilanza del mercato</a:t>
          </a:r>
          <a:r>
            <a:rPr lang="it-IT" sz="2000" kern="1200"/>
            <a:t> </a:t>
          </a:r>
          <a:endParaRPr lang="it-IT" sz="2000" kern="1200" dirty="0"/>
        </a:p>
      </dsp:txBody>
      <dsp:txXfrm>
        <a:off x="491771" y="4244770"/>
        <a:ext cx="9313197" cy="653266"/>
      </dsp:txXfrm>
    </dsp:sp>
    <dsp:sp modelId="{64DBB0BA-865B-475A-BB02-AD22E740BAB0}">
      <dsp:nvSpPr>
        <dsp:cNvPr id="0" name=""/>
        <dsp:cNvSpPr/>
      </dsp:nvSpPr>
      <dsp:spPr>
        <a:xfrm>
          <a:off x="83480" y="4163112"/>
          <a:ext cx="816583" cy="816583"/>
        </a:xfrm>
        <a:prstGeom prst="ellipse">
          <a:avLst/>
        </a:prstGeom>
        <a:solidFill>
          <a:schemeClr val="lt1">
            <a:hueOff val="0"/>
            <a:satOff val="0"/>
            <a:lumOff val="0"/>
            <a:alphaOff val="0"/>
          </a:schemeClr>
        </a:solidFill>
        <a:ln w="12700" cap="flat" cmpd="sng" algn="ctr">
          <a:solidFill>
            <a:schemeClr val="accent6">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8A6C9C4-9C29-4B67-9529-C90FCF9DB35A}">
      <dsp:nvSpPr>
        <dsp:cNvPr id="0" name=""/>
        <dsp:cNvSpPr/>
      </dsp:nvSpPr>
      <dsp:spPr>
        <a:xfrm>
          <a:off x="813566" y="2942674"/>
          <a:ext cx="2555222" cy="1277611"/>
        </a:xfrm>
        <a:prstGeom prst="roundRect">
          <a:avLst>
            <a:gd name="adj" fmla="val 10000"/>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it-IT" sz="2000" kern="1200" dirty="0"/>
            <a:t>Requisiti di progettazione ecocompatibile </a:t>
          </a:r>
        </a:p>
      </dsp:txBody>
      <dsp:txXfrm>
        <a:off x="850986" y="2980094"/>
        <a:ext cx="2480382" cy="1202771"/>
      </dsp:txXfrm>
    </dsp:sp>
    <dsp:sp modelId="{FFAEC338-4A7B-4CA2-A79A-2B1D213A8020}">
      <dsp:nvSpPr>
        <dsp:cNvPr id="0" name=""/>
        <dsp:cNvSpPr/>
      </dsp:nvSpPr>
      <dsp:spPr>
        <a:xfrm rot="18289469">
          <a:off x="2984935" y="2826658"/>
          <a:ext cx="1789796" cy="40390"/>
        </a:xfrm>
        <a:custGeom>
          <a:avLst/>
          <a:gdLst/>
          <a:ahLst/>
          <a:cxnLst/>
          <a:rect l="0" t="0" r="0" b="0"/>
          <a:pathLst>
            <a:path>
              <a:moveTo>
                <a:pt x="0" y="20195"/>
              </a:moveTo>
              <a:lnTo>
                <a:pt x="1789796" y="20195"/>
              </a:lnTo>
            </a:path>
          </a:pathLst>
        </a:cu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lang="it-IT" sz="600" kern="1200"/>
        </a:p>
      </dsp:txBody>
      <dsp:txXfrm>
        <a:off x="3835088" y="2802109"/>
        <a:ext cx="89489" cy="89489"/>
      </dsp:txXfrm>
    </dsp:sp>
    <dsp:sp modelId="{139EF514-B3B3-4BEE-9DB6-95035D999611}">
      <dsp:nvSpPr>
        <dsp:cNvPr id="0" name=""/>
        <dsp:cNvSpPr/>
      </dsp:nvSpPr>
      <dsp:spPr>
        <a:xfrm>
          <a:off x="4390877" y="1473421"/>
          <a:ext cx="2555222" cy="1277611"/>
        </a:xfrm>
        <a:prstGeom prst="roundRect">
          <a:avLst>
            <a:gd name="adj" fmla="val 10000"/>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it-IT" sz="2000" b="1" kern="1200" dirty="0"/>
            <a:t>Obblighi di informazione</a:t>
          </a:r>
        </a:p>
        <a:p>
          <a:pPr marL="0" lvl="0" indent="0" algn="ctr" defTabSz="889000">
            <a:lnSpc>
              <a:spcPct val="90000"/>
            </a:lnSpc>
            <a:spcBef>
              <a:spcPct val="0"/>
            </a:spcBef>
            <a:spcAft>
              <a:spcPct val="35000"/>
            </a:spcAft>
            <a:buNone/>
          </a:pPr>
          <a:r>
            <a:rPr lang="it-IT" sz="2000" kern="1200" dirty="0"/>
            <a:t>(art. 7) </a:t>
          </a:r>
        </a:p>
      </dsp:txBody>
      <dsp:txXfrm>
        <a:off x="4428297" y="1510841"/>
        <a:ext cx="2480382" cy="1202771"/>
      </dsp:txXfrm>
    </dsp:sp>
    <dsp:sp modelId="{6007802B-4E4D-44F3-9808-B47427005C5B}">
      <dsp:nvSpPr>
        <dsp:cNvPr id="0" name=""/>
        <dsp:cNvSpPr/>
      </dsp:nvSpPr>
      <dsp:spPr>
        <a:xfrm rot="18289469">
          <a:off x="6562246" y="1357405"/>
          <a:ext cx="1789796" cy="40390"/>
        </a:xfrm>
        <a:custGeom>
          <a:avLst/>
          <a:gdLst/>
          <a:ahLst/>
          <a:cxnLst/>
          <a:rect l="0" t="0" r="0" b="0"/>
          <a:pathLst>
            <a:path>
              <a:moveTo>
                <a:pt x="0" y="20195"/>
              </a:moveTo>
              <a:lnTo>
                <a:pt x="1789796" y="20195"/>
              </a:lnTo>
            </a:path>
          </a:pathLst>
        </a:custGeom>
        <a:no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lang="it-IT" sz="600" kern="1200"/>
        </a:p>
      </dsp:txBody>
      <dsp:txXfrm>
        <a:off x="7412399" y="1332856"/>
        <a:ext cx="89489" cy="89489"/>
      </dsp:txXfrm>
    </dsp:sp>
    <dsp:sp modelId="{B2B3BAB9-6A68-4299-AA8E-3DBEF28985A1}">
      <dsp:nvSpPr>
        <dsp:cNvPr id="0" name=""/>
        <dsp:cNvSpPr/>
      </dsp:nvSpPr>
      <dsp:spPr>
        <a:xfrm>
          <a:off x="7968189" y="4168"/>
          <a:ext cx="2555222" cy="1277611"/>
        </a:xfrm>
        <a:prstGeom prst="roundRect">
          <a:avLst>
            <a:gd name="adj" fmla="val 10000"/>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it-IT" sz="1500" kern="1200" dirty="0"/>
            <a:t>Includono </a:t>
          </a:r>
          <a:r>
            <a:rPr lang="it-IT" sz="1500" u="sng" kern="1200" dirty="0"/>
            <a:t>almeno</a:t>
          </a:r>
          <a:r>
            <a:rPr lang="it-IT" sz="1500" kern="1200" dirty="0"/>
            <a:t>:</a:t>
          </a:r>
        </a:p>
        <a:p>
          <a:pPr marL="0" lvl="0" indent="0" algn="ctr" defTabSz="666750">
            <a:lnSpc>
              <a:spcPct val="90000"/>
            </a:lnSpc>
            <a:spcBef>
              <a:spcPct val="0"/>
            </a:spcBef>
            <a:spcAft>
              <a:spcPct val="35000"/>
            </a:spcAft>
            <a:buNone/>
          </a:pPr>
          <a:r>
            <a:rPr lang="it-IT" sz="1500" kern="1200" dirty="0"/>
            <a:t>- requisiti relativi al </a:t>
          </a:r>
          <a:r>
            <a:rPr lang="it-IT" sz="1500" b="1" kern="1200" dirty="0"/>
            <a:t>DPP;</a:t>
          </a:r>
        </a:p>
        <a:p>
          <a:pPr marL="0" lvl="0" indent="0" algn="ctr" defTabSz="666750">
            <a:lnSpc>
              <a:spcPct val="90000"/>
            </a:lnSpc>
            <a:spcBef>
              <a:spcPct val="0"/>
            </a:spcBef>
            <a:spcAft>
              <a:spcPct val="35000"/>
            </a:spcAft>
            <a:buNone/>
          </a:pPr>
          <a:r>
            <a:rPr lang="it-IT" sz="1500" kern="1200" dirty="0"/>
            <a:t>- requisiti relativi alle </a:t>
          </a:r>
          <a:r>
            <a:rPr lang="it-IT" sz="1500" b="1" kern="1200" dirty="0"/>
            <a:t>sostanze che destano preoccupazione</a:t>
          </a:r>
        </a:p>
      </dsp:txBody>
      <dsp:txXfrm>
        <a:off x="8005609" y="41588"/>
        <a:ext cx="2480382" cy="1202771"/>
      </dsp:txXfrm>
    </dsp:sp>
    <dsp:sp modelId="{B86DBE53-9914-4259-BAF3-E9D4153C60ED}">
      <dsp:nvSpPr>
        <dsp:cNvPr id="0" name=""/>
        <dsp:cNvSpPr/>
      </dsp:nvSpPr>
      <dsp:spPr>
        <a:xfrm>
          <a:off x="6946100" y="2092032"/>
          <a:ext cx="1022089" cy="40390"/>
        </a:xfrm>
        <a:custGeom>
          <a:avLst/>
          <a:gdLst/>
          <a:ahLst/>
          <a:cxnLst/>
          <a:rect l="0" t="0" r="0" b="0"/>
          <a:pathLst>
            <a:path>
              <a:moveTo>
                <a:pt x="0" y="20195"/>
              </a:moveTo>
              <a:lnTo>
                <a:pt x="1022089" y="20195"/>
              </a:lnTo>
            </a:path>
          </a:pathLst>
        </a:custGeom>
        <a:no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it-IT" sz="500" kern="1200"/>
        </a:p>
      </dsp:txBody>
      <dsp:txXfrm>
        <a:off x="7431592" y="2086675"/>
        <a:ext cx="51104" cy="51104"/>
      </dsp:txXfrm>
    </dsp:sp>
    <dsp:sp modelId="{29B46DD0-DFB3-4F45-BD78-7373F0AD5137}">
      <dsp:nvSpPr>
        <dsp:cNvPr id="0" name=""/>
        <dsp:cNvSpPr/>
      </dsp:nvSpPr>
      <dsp:spPr>
        <a:xfrm>
          <a:off x="7968189" y="1473421"/>
          <a:ext cx="2555222" cy="1277611"/>
        </a:xfrm>
        <a:prstGeom prst="roundRect">
          <a:avLst>
            <a:gd name="adj" fmla="val 10000"/>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it-IT" sz="1500" kern="1200" dirty="0"/>
            <a:t>A seconda dei casi, esigono che i prodotti siano accompagnati dalle </a:t>
          </a:r>
          <a:r>
            <a:rPr lang="it-IT" sz="1500" b="1" kern="1200" dirty="0"/>
            <a:t>informazioni espressamente previste ai sensi dell’art. 7</a:t>
          </a:r>
          <a:r>
            <a:rPr lang="it-IT" sz="1500" kern="1200" dirty="0"/>
            <a:t>. </a:t>
          </a:r>
        </a:p>
      </dsp:txBody>
      <dsp:txXfrm>
        <a:off x="8005609" y="1510841"/>
        <a:ext cx="2480382" cy="1202771"/>
      </dsp:txXfrm>
    </dsp:sp>
    <dsp:sp modelId="{86B46A15-C1E9-4793-94CF-7187BBF69BB5}">
      <dsp:nvSpPr>
        <dsp:cNvPr id="0" name=""/>
        <dsp:cNvSpPr/>
      </dsp:nvSpPr>
      <dsp:spPr>
        <a:xfrm rot="3310531">
          <a:off x="6562246" y="2826658"/>
          <a:ext cx="1789796" cy="40390"/>
        </a:xfrm>
        <a:custGeom>
          <a:avLst/>
          <a:gdLst/>
          <a:ahLst/>
          <a:cxnLst/>
          <a:rect l="0" t="0" r="0" b="0"/>
          <a:pathLst>
            <a:path>
              <a:moveTo>
                <a:pt x="0" y="20195"/>
              </a:moveTo>
              <a:lnTo>
                <a:pt x="1789796" y="20195"/>
              </a:lnTo>
            </a:path>
          </a:pathLst>
        </a:custGeom>
        <a:no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lang="it-IT" sz="600" kern="1200"/>
        </a:p>
      </dsp:txBody>
      <dsp:txXfrm>
        <a:off x="7412399" y="2802109"/>
        <a:ext cx="89489" cy="89489"/>
      </dsp:txXfrm>
    </dsp:sp>
    <dsp:sp modelId="{7A3C28B1-55D4-4941-9776-67A0E3FE704A}">
      <dsp:nvSpPr>
        <dsp:cNvPr id="0" name=""/>
        <dsp:cNvSpPr/>
      </dsp:nvSpPr>
      <dsp:spPr>
        <a:xfrm>
          <a:off x="7968189" y="2942674"/>
          <a:ext cx="2555222" cy="1277611"/>
        </a:xfrm>
        <a:prstGeom prst="roundRect">
          <a:avLst>
            <a:gd name="adj" fmla="val 10000"/>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Font typeface="+mj-lt"/>
            <a:buNone/>
          </a:pPr>
          <a:r>
            <a:rPr lang="it-IT" sz="1500" b="1" kern="1200" dirty="0"/>
            <a:t>Chiari,</a:t>
          </a:r>
          <a:r>
            <a:rPr lang="it-IT" sz="1500" kern="1200" dirty="0"/>
            <a:t> </a:t>
          </a:r>
          <a:r>
            <a:rPr lang="it-IT" sz="1500" b="1" kern="1200" dirty="0"/>
            <a:t>facilmente comprensibili </a:t>
          </a:r>
          <a:r>
            <a:rPr lang="it-IT" sz="1500" kern="1200" dirty="0"/>
            <a:t>e </a:t>
          </a:r>
          <a:r>
            <a:rPr lang="it-IT" sz="1500" b="1" kern="1200" dirty="0"/>
            <a:t>adatti a caratteristiche dei </a:t>
          </a:r>
          <a:r>
            <a:rPr lang="it-IT" sz="1500" kern="1200" dirty="0"/>
            <a:t>gruppi di </a:t>
          </a:r>
          <a:r>
            <a:rPr lang="it-IT" sz="1500" b="1" kern="1200" dirty="0"/>
            <a:t>prodotti </a:t>
          </a:r>
          <a:r>
            <a:rPr lang="it-IT" sz="1500" kern="1200" dirty="0"/>
            <a:t>interessati e dei destinatari delle informazioni </a:t>
          </a:r>
        </a:p>
      </dsp:txBody>
      <dsp:txXfrm>
        <a:off x="8005609" y="2980094"/>
        <a:ext cx="2480382" cy="1202771"/>
      </dsp:txXfrm>
    </dsp:sp>
    <dsp:sp modelId="{48E29300-01C4-4E56-949C-E91D52DD1A7F}">
      <dsp:nvSpPr>
        <dsp:cNvPr id="0" name=""/>
        <dsp:cNvSpPr/>
      </dsp:nvSpPr>
      <dsp:spPr>
        <a:xfrm rot="3310531">
          <a:off x="2984935" y="4295911"/>
          <a:ext cx="1789796" cy="40390"/>
        </a:xfrm>
        <a:custGeom>
          <a:avLst/>
          <a:gdLst/>
          <a:ahLst/>
          <a:cxnLst/>
          <a:rect l="0" t="0" r="0" b="0"/>
          <a:pathLst>
            <a:path>
              <a:moveTo>
                <a:pt x="0" y="20195"/>
              </a:moveTo>
              <a:lnTo>
                <a:pt x="1789796" y="20195"/>
              </a:lnTo>
            </a:path>
          </a:pathLst>
        </a:custGeom>
        <a:noFill/>
        <a:ln w="12700" cap="flat" cmpd="sng" algn="ctr">
          <a:solidFill>
            <a:schemeClr val="accent2">
              <a:shade val="6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66700">
            <a:lnSpc>
              <a:spcPct val="90000"/>
            </a:lnSpc>
            <a:spcBef>
              <a:spcPct val="0"/>
            </a:spcBef>
            <a:spcAft>
              <a:spcPct val="35000"/>
            </a:spcAft>
            <a:buNone/>
          </a:pPr>
          <a:endParaRPr lang="it-IT" sz="600" kern="1200"/>
        </a:p>
      </dsp:txBody>
      <dsp:txXfrm>
        <a:off x="3835088" y="4271362"/>
        <a:ext cx="89489" cy="89489"/>
      </dsp:txXfrm>
    </dsp:sp>
    <dsp:sp modelId="{81912D60-31CF-4DE6-A5DE-3BA7B67B3516}">
      <dsp:nvSpPr>
        <dsp:cNvPr id="0" name=""/>
        <dsp:cNvSpPr/>
      </dsp:nvSpPr>
      <dsp:spPr>
        <a:xfrm>
          <a:off x="4390877" y="4411927"/>
          <a:ext cx="2555222" cy="1277611"/>
        </a:xfrm>
        <a:prstGeom prst="roundRect">
          <a:avLst>
            <a:gd name="adj" fmla="val 10000"/>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 tIns="12700" rIns="12700" bIns="12700" numCol="1" spcCol="1270" anchor="ctr" anchorCtr="0">
          <a:noAutofit/>
        </a:bodyPr>
        <a:lstStyle/>
        <a:p>
          <a:pPr marL="0" lvl="0" indent="0" algn="ctr" defTabSz="889000">
            <a:lnSpc>
              <a:spcPct val="90000"/>
            </a:lnSpc>
            <a:spcBef>
              <a:spcPct val="0"/>
            </a:spcBef>
            <a:spcAft>
              <a:spcPct val="35000"/>
            </a:spcAft>
            <a:buNone/>
          </a:pPr>
          <a:r>
            <a:rPr lang="it-IT" sz="2000" b="1" kern="1200" dirty="0"/>
            <a:t>Requisiti di prestazione</a:t>
          </a:r>
        </a:p>
        <a:p>
          <a:pPr marL="0" lvl="0" indent="0" algn="ctr" defTabSz="889000">
            <a:lnSpc>
              <a:spcPct val="90000"/>
            </a:lnSpc>
            <a:spcBef>
              <a:spcPct val="0"/>
            </a:spcBef>
            <a:spcAft>
              <a:spcPct val="35000"/>
            </a:spcAft>
            <a:buNone/>
          </a:pPr>
          <a:r>
            <a:rPr lang="it-IT" sz="2000" kern="1200" dirty="0"/>
            <a:t>(art. 6)</a:t>
          </a:r>
        </a:p>
      </dsp:txBody>
      <dsp:txXfrm>
        <a:off x="4428297" y="4449347"/>
        <a:ext cx="2480382" cy="1202771"/>
      </dsp:txXfrm>
    </dsp:sp>
    <dsp:sp modelId="{3A0AFD48-FDF8-4726-BA10-1C073D1EE8D9}">
      <dsp:nvSpPr>
        <dsp:cNvPr id="0" name=""/>
        <dsp:cNvSpPr/>
      </dsp:nvSpPr>
      <dsp:spPr>
        <a:xfrm>
          <a:off x="6946100" y="5030538"/>
          <a:ext cx="1022089" cy="40390"/>
        </a:xfrm>
        <a:custGeom>
          <a:avLst/>
          <a:gdLst/>
          <a:ahLst/>
          <a:cxnLst/>
          <a:rect l="0" t="0" r="0" b="0"/>
          <a:pathLst>
            <a:path>
              <a:moveTo>
                <a:pt x="0" y="20195"/>
              </a:moveTo>
              <a:lnTo>
                <a:pt x="1022089" y="20195"/>
              </a:lnTo>
            </a:path>
          </a:pathLst>
        </a:custGeom>
        <a:no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0">
          <a:scrgbClr r="0" g="0" b="0"/>
        </a:fillRef>
        <a:effectRef idx="0">
          <a:scrgbClr r="0" g="0" b="0"/>
        </a:effectRef>
        <a:fontRef idx="minor"/>
      </dsp:style>
      <dsp:txBody>
        <a:bodyPr spcFirstLastPara="0" vert="horz" wrap="square" lIns="12700" tIns="0" rIns="12700" bIns="0" numCol="1" spcCol="1270" anchor="ctr" anchorCtr="0">
          <a:noAutofit/>
        </a:bodyPr>
        <a:lstStyle/>
        <a:p>
          <a:pPr marL="0" lvl="0" indent="0" algn="ctr" defTabSz="222250">
            <a:lnSpc>
              <a:spcPct val="90000"/>
            </a:lnSpc>
            <a:spcBef>
              <a:spcPct val="0"/>
            </a:spcBef>
            <a:spcAft>
              <a:spcPct val="35000"/>
            </a:spcAft>
            <a:buNone/>
          </a:pPr>
          <a:endParaRPr lang="it-IT" sz="500" kern="1200"/>
        </a:p>
      </dsp:txBody>
      <dsp:txXfrm>
        <a:off x="7431592" y="5025181"/>
        <a:ext cx="51104" cy="51104"/>
      </dsp:txXfrm>
    </dsp:sp>
    <dsp:sp modelId="{00A52E36-258F-4D27-8739-5B1587791203}">
      <dsp:nvSpPr>
        <dsp:cNvPr id="0" name=""/>
        <dsp:cNvSpPr/>
      </dsp:nvSpPr>
      <dsp:spPr>
        <a:xfrm>
          <a:off x="7968189" y="4411927"/>
          <a:ext cx="2555222" cy="1277611"/>
        </a:xfrm>
        <a:prstGeom prst="roundRect">
          <a:avLst>
            <a:gd name="adj" fmla="val 10000"/>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9525" tIns="9525" rIns="9525" bIns="9525" numCol="1" spcCol="1270" anchor="ctr" anchorCtr="0">
          <a:noAutofit/>
        </a:bodyPr>
        <a:lstStyle/>
        <a:p>
          <a:pPr marL="0" lvl="0" indent="0" algn="ctr" defTabSz="666750">
            <a:lnSpc>
              <a:spcPct val="90000"/>
            </a:lnSpc>
            <a:spcBef>
              <a:spcPct val="0"/>
            </a:spcBef>
            <a:spcAft>
              <a:spcPct val="35000"/>
            </a:spcAft>
            <a:buNone/>
          </a:pPr>
          <a:r>
            <a:rPr lang="it-IT" sz="1500" kern="1200" dirty="0"/>
            <a:t>Definiti dalla Commissione europea in conformità alla procedura di cui all’Allegato II del Regolamento ESPR</a:t>
          </a:r>
        </a:p>
      </dsp:txBody>
      <dsp:txXfrm>
        <a:off x="8005609" y="4449347"/>
        <a:ext cx="2480382" cy="1202771"/>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4FD1272-8137-4C29-ACE2-0C22E1865735}">
      <dsp:nvSpPr>
        <dsp:cNvPr id="0" name=""/>
        <dsp:cNvSpPr/>
      </dsp:nvSpPr>
      <dsp:spPr>
        <a:xfrm rot="16200000">
          <a:off x="-1430726" y="1434249"/>
          <a:ext cx="4260329" cy="1391829"/>
        </a:xfrm>
        <a:prstGeom prst="flowChartManualOperation">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0" rIns="114300" bIns="0" numCol="1" spcCol="1270" anchor="ctr" anchorCtr="0">
          <a:noAutofit/>
        </a:bodyPr>
        <a:lstStyle/>
        <a:p>
          <a:pPr marL="0" lvl="0" indent="0" algn="ctr" defTabSz="800100">
            <a:lnSpc>
              <a:spcPct val="90000"/>
            </a:lnSpc>
            <a:spcBef>
              <a:spcPct val="0"/>
            </a:spcBef>
            <a:spcAft>
              <a:spcPct val="35000"/>
            </a:spcAft>
            <a:buNone/>
          </a:pPr>
          <a:r>
            <a:rPr lang="it-IT" sz="1800" b="1" kern="1200" dirty="0"/>
            <a:t>Fabbricanti</a:t>
          </a:r>
        </a:p>
      </dsp:txBody>
      <dsp:txXfrm rot="5400000">
        <a:off x="3524" y="852065"/>
        <a:ext cx="1391829" cy="2556197"/>
      </dsp:txXfrm>
    </dsp:sp>
    <dsp:sp modelId="{9B7DEB7F-D012-4A24-9934-BA321CF6C0BA}">
      <dsp:nvSpPr>
        <dsp:cNvPr id="0" name=""/>
        <dsp:cNvSpPr/>
      </dsp:nvSpPr>
      <dsp:spPr>
        <a:xfrm rot="16200000">
          <a:off x="65490" y="1434249"/>
          <a:ext cx="4260329" cy="1391829"/>
        </a:xfrm>
        <a:prstGeom prst="flowChartManualOperation">
          <a:avLst/>
        </a:prstGeom>
        <a:solidFill>
          <a:schemeClr val="accent2">
            <a:hueOff val="-572814"/>
            <a:satOff val="11139"/>
            <a:lumOff val="-4079"/>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0" rIns="114300" bIns="0" numCol="1" spcCol="1270" anchor="ctr" anchorCtr="0">
          <a:noAutofit/>
        </a:bodyPr>
        <a:lstStyle/>
        <a:p>
          <a:pPr marL="0" lvl="0" indent="0" algn="ctr" defTabSz="622300">
            <a:lnSpc>
              <a:spcPct val="90000"/>
            </a:lnSpc>
            <a:spcBef>
              <a:spcPct val="0"/>
            </a:spcBef>
            <a:spcAft>
              <a:spcPct val="35000"/>
            </a:spcAft>
            <a:buNone/>
          </a:pPr>
          <a:r>
            <a:rPr lang="it-IT" sz="1800" b="1" kern="1200" dirty="0">
              <a:latin typeface="GT America"/>
              <a:ea typeface="+mn-ea"/>
              <a:cs typeface="+mn-cs"/>
            </a:rPr>
            <a:t>Mandatari</a:t>
          </a:r>
        </a:p>
      </dsp:txBody>
      <dsp:txXfrm rot="5400000">
        <a:off x="1499740" y="852065"/>
        <a:ext cx="1391829" cy="2556197"/>
      </dsp:txXfrm>
    </dsp:sp>
    <dsp:sp modelId="{FDBEA83B-E1B1-4F14-A5BF-426170D5EE7B}">
      <dsp:nvSpPr>
        <dsp:cNvPr id="0" name=""/>
        <dsp:cNvSpPr/>
      </dsp:nvSpPr>
      <dsp:spPr>
        <a:xfrm rot="16200000">
          <a:off x="1561707" y="1434249"/>
          <a:ext cx="4260329" cy="1391829"/>
        </a:xfrm>
        <a:prstGeom prst="flowChartManualOperation">
          <a:avLst/>
        </a:prstGeom>
        <a:solidFill>
          <a:schemeClr val="accent2">
            <a:hueOff val="-1145629"/>
            <a:satOff val="22279"/>
            <a:lumOff val="-8157"/>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0" rIns="114300" bIns="0" numCol="1" spcCol="1270" anchor="ctr" anchorCtr="0">
          <a:noAutofit/>
        </a:bodyPr>
        <a:lstStyle/>
        <a:p>
          <a:pPr marL="0" lvl="0" indent="0" algn="ctr" defTabSz="800100">
            <a:lnSpc>
              <a:spcPct val="90000"/>
            </a:lnSpc>
            <a:spcBef>
              <a:spcPct val="0"/>
            </a:spcBef>
            <a:spcAft>
              <a:spcPct val="35000"/>
            </a:spcAft>
            <a:buNone/>
          </a:pPr>
          <a:r>
            <a:rPr lang="it-IT" sz="1800" b="1" kern="1200" dirty="0"/>
            <a:t>Importatori</a:t>
          </a:r>
        </a:p>
      </dsp:txBody>
      <dsp:txXfrm rot="5400000">
        <a:off x="2995957" y="852065"/>
        <a:ext cx="1391829" cy="2556197"/>
      </dsp:txXfrm>
    </dsp:sp>
    <dsp:sp modelId="{6E9056F0-85F2-446C-AAC6-B92AFAE87549}">
      <dsp:nvSpPr>
        <dsp:cNvPr id="0" name=""/>
        <dsp:cNvSpPr/>
      </dsp:nvSpPr>
      <dsp:spPr>
        <a:xfrm rot="16200000">
          <a:off x="3057923" y="1434249"/>
          <a:ext cx="4260329" cy="1391829"/>
        </a:xfrm>
        <a:prstGeom prst="flowChartManualOperation">
          <a:avLst/>
        </a:prstGeom>
        <a:solidFill>
          <a:schemeClr val="accent2">
            <a:hueOff val="-1718443"/>
            <a:satOff val="33418"/>
            <a:lumOff val="-1223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0" rIns="114300" bIns="0" numCol="1" spcCol="1270" anchor="ctr" anchorCtr="0">
          <a:noAutofit/>
        </a:bodyPr>
        <a:lstStyle/>
        <a:p>
          <a:pPr marL="0" lvl="0" indent="0" algn="ctr" defTabSz="800100">
            <a:lnSpc>
              <a:spcPct val="90000"/>
            </a:lnSpc>
            <a:spcBef>
              <a:spcPct val="0"/>
            </a:spcBef>
            <a:spcAft>
              <a:spcPct val="35000"/>
            </a:spcAft>
            <a:buNone/>
          </a:pPr>
          <a:r>
            <a:rPr lang="it-IT" sz="1800" b="1" kern="1200" dirty="0"/>
            <a:t>Distributori </a:t>
          </a:r>
        </a:p>
      </dsp:txBody>
      <dsp:txXfrm rot="5400000">
        <a:off x="4492173" y="852065"/>
        <a:ext cx="1391829" cy="2556197"/>
      </dsp:txXfrm>
    </dsp:sp>
    <dsp:sp modelId="{D62568BA-02FE-4937-92AD-A8DCE3E88D9C}">
      <dsp:nvSpPr>
        <dsp:cNvPr id="0" name=""/>
        <dsp:cNvSpPr/>
      </dsp:nvSpPr>
      <dsp:spPr>
        <a:xfrm rot="16200000">
          <a:off x="4554140" y="1434249"/>
          <a:ext cx="4260329" cy="1391829"/>
        </a:xfrm>
        <a:prstGeom prst="flowChartManualOperation">
          <a:avLst/>
        </a:prstGeom>
        <a:solidFill>
          <a:schemeClr val="accent2">
            <a:hueOff val="-2291257"/>
            <a:satOff val="44558"/>
            <a:lumOff val="-1631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0" rIns="114300" bIns="0" numCol="1" spcCol="1270" anchor="ctr" anchorCtr="0">
          <a:noAutofit/>
        </a:bodyPr>
        <a:lstStyle/>
        <a:p>
          <a:pPr marL="0" lvl="0" indent="0" algn="ctr" defTabSz="800100">
            <a:lnSpc>
              <a:spcPct val="90000"/>
            </a:lnSpc>
            <a:spcBef>
              <a:spcPct val="0"/>
            </a:spcBef>
            <a:spcAft>
              <a:spcPct val="35000"/>
            </a:spcAft>
            <a:buNone/>
          </a:pPr>
          <a:r>
            <a:rPr lang="it-IT" sz="1800" b="1" kern="1200" dirty="0"/>
            <a:t>Rivenditori</a:t>
          </a:r>
        </a:p>
      </dsp:txBody>
      <dsp:txXfrm rot="5400000">
        <a:off x="5988390" y="852065"/>
        <a:ext cx="1391829" cy="2556197"/>
      </dsp:txXfrm>
    </dsp:sp>
    <dsp:sp modelId="{D4057F3B-18C4-4959-8395-D2C344EE21A6}">
      <dsp:nvSpPr>
        <dsp:cNvPr id="0" name=""/>
        <dsp:cNvSpPr/>
      </dsp:nvSpPr>
      <dsp:spPr>
        <a:xfrm rot="16200000">
          <a:off x="6050357" y="1434249"/>
          <a:ext cx="4260329" cy="1391829"/>
        </a:xfrm>
        <a:prstGeom prst="flowChartManualOperation">
          <a:avLst/>
        </a:prstGeom>
        <a:solidFill>
          <a:schemeClr val="accent2">
            <a:hueOff val="-2864072"/>
            <a:satOff val="55697"/>
            <a:lumOff val="-20393"/>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0" rIns="114300" bIns="0" numCol="1" spcCol="1270" anchor="ctr" anchorCtr="0">
          <a:noAutofit/>
        </a:bodyPr>
        <a:lstStyle/>
        <a:p>
          <a:pPr marL="0" lvl="0" indent="0" algn="ctr" defTabSz="800100">
            <a:lnSpc>
              <a:spcPct val="90000"/>
            </a:lnSpc>
            <a:spcBef>
              <a:spcPct val="0"/>
            </a:spcBef>
            <a:spcAft>
              <a:spcPct val="35000"/>
            </a:spcAft>
            <a:buNone/>
          </a:pPr>
          <a:r>
            <a:rPr lang="it-IT" sz="1800" b="1" kern="1200" dirty="0"/>
            <a:t>Fornitori</a:t>
          </a:r>
          <a:r>
            <a:rPr lang="it-IT" sz="1800" b="1" kern="1200" baseline="0" dirty="0"/>
            <a:t> di servizi di logistica</a:t>
          </a:r>
          <a:endParaRPr lang="it-IT" sz="1800" b="1" kern="1200" dirty="0"/>
        </a:p>
      </dsp:txBody>
      <dsp:txXfrm rot="5400000">
        <a:off x="7484607" y="852065"/>
        <a:ext cx="1391829" cy="2556197"/>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35DB73FC-9C7C-4302-91F8-1CC4FCB4E714}">
      <dsp:nvSpPr>
        <dsp:cNvPr id="0" name=""/>
        <dsp:cNvSpPr/>
      </dsp:nvSpPr>
      <dsp:spPr>
        <a:xfrm>
          <a:off x="756165" y="0"/>
          <a:ext cx="8569881" cy="3951313"/>
        </a:xfrm>
        <a:prstGeom prst="rightArrow">
          <a:avLst/>
        </a:prstGeom>
        <a:solidFill>
          <a:schemeClr val="accent2">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F1094EC8-0F6C-49DD-8E3B-D40405A13981}">
      <dsp:nvSpPr>
        <dsp:cNvPr id="0" name=""/>
        <dsp:cNvSpPr/>
      </dsp:nvSpPr>
      <dsp:spPr>
        <a:xfrm>
          <a:off x="4922" y="1185393"/>
          <a:ext cx="3249150" cy="1580525"/>
        </a:xfrm>
        <a:prstGeom prst="roundRect">
          <a:avLst/>
        </a:prstGeom>
        <a:solidFill>
          <a:schemeClr val="accent2">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marR="0" lvl="0" indent="0" algn="l" defTabSz="914400" eaLnBrk="1" fontAlgn="auto" latinLnBrk="0" hangingPunct="1">
            <a:lnSpc>
              <a:spcPct val="100000"/>
            </a:lnSpc>
            <a:spcBef>
              <a:spcPct val="0"/>
            </a:spcBef>
            <a:spcAft>
              <a:spcPts val="0"/>
            </a:spcAft>
            <a:buClrTx/>
            <a:buSzTx/>
            <a:buFontTx/>
            <a:buNone/>
            <a:tabLst/>
            <a:defRPr/>
          </a:pPr>
          <a:r>
            <a:rPr lang="it-IT" sz="2100" kern="1200" dirty="0">
              <a:solidFill>
                <a:schemeClr val="bg1"/>
              </a:solidFill>
              <a:latin typeface="+mn-lt"/>
              <a:sym typeface="GT America" panose="00000500000000000000" pitchFamily="2" charset="0"/>
            </a:rPr>
            <a:t>Irrogazione delle </a:t>
          </a:r>
          <a:r>
            <a:rPr lang="it-IT" sz="2100" b="1" kern="1200" dirty="0">
              <a:solidFill>
                <a:schemeClr val="bg1"/>
              </a:solidFill>
              <a:latin typeface="+mn-lt"/>
              <a:sym typeface="GT America" panose="00000500000000000000" pitchFamily="2" charset="0"/>
            </a:rPr>
            <a:t>sanzioni </a:t>
          </a:r>
          <a:r>
            <a:rPr lang="it-IT" sz="2100" kern="1200" dirty="0">
              <a:solidFill>
                <a:schemeClr val="bg1"/>
              </a:solidFill>
              <a:latin typeface="+mn-lt"/>
              <a:sym typeface="GT America" panose="00000500000000000000" pitchFamily="2" charset="0"/>
            </a:rPr>
            <a:t>stabilite dagli Stati membri </a:t>
          </a:r>
          <a:endParaRPr lang="it-IT" sz="2100" kern="1200" dirty="0">
            <a:latin typeface="+mn-lt"/>
          </a:endParaRPr>
        </a:p>
      </dsp:txBody>
      <dsp:txXfrm>
        <a:off x="82077" y="1262548"/>
        <a:ext cx="3094840" cy="1426215"/>
      </dsp:txXfrm>
    </dsp:sp>
    <dsp:sp modelId="{6D7E3397-477D-44D0-B287-8C8A4D691353}">
      <dsp:nvSpPr>
        <dsp:cNvPr id="0" name=""/>
        <dsp:cNvSpPr/>
      </dsp:nvSpPr>
      <dsp:spPr>
        <a:xfrm>
          <a:off x="3416531" y="1185393"/>
          <a:ext cx="3249150" cy="1580525"/>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80010" tIns="80010" rIns="80010" bIns="80010" numCol="1" spcCol="1270" anchor="ctr" anchorCtr="0">
          <a:noAutofit/>
        </a:bodyPr>
        <a:lstStyle/>
        <a:p>
          <a:pPr marL="0" marR="0" lvl="0" indent="0" algn="l" defTabSz="914400" eaLnBrk="1" fontAlgn="auto" latinLnBrk="0" hangingPunct="1">
            <a:lnSpc>
              <a:spcPct val="100000"/>
            </a:lnSpc>
            <a:spcBef>
              <a:spcPct val="0"/>
            </a:spcBef>
            <a:spcAft>
              <a:spcPts val="0"/>
            </a:spcAft>
            <a:buClrTx/>
            <a:buSzTx/>
            <a:buFontTx/>
            <a:buNone/>
            <a:tabLst/>
            <a:defRPr/>
          </a:pPr>
          <a:r>
            <a:rPr lang="it-IT" sz="2100" b="0" kern="1200" dirty="0"/>
            <a:t>che tengano conto degli </a:t>
          </a:r>
          <a:r>
            <a:rPr lang="it-IT" sz="2100" b="1" kern="1200" dirty="0"/>
            <a:t>elementi </a:t>
          </a:r>
          <a:r>
            <a:rPr lang="it-IT" sz="2100" b="0" kern="1200" dirty="0"/>
            <a:t>di cui all’art. 74 del Regolamento</a:t>
          </a:r>
          <a:endParaRPr lang="it-IT" sz="2100" kern="1200" dirty="0"/>
        </a:p>
      </dsp:txBody>
      <dsp:txXfrm>
        <a:off x="3493686" y="1262548"/>
        <a:ext cx="3094840" cy="1426215"/>
      </dsp:txXfrm>
    </dsp:sp>
    <dsp:sp modelId="{7BE722CE-1B65-48A9-B8FB-9EFE9B100191}">
      <dsp:nvSpPr>
        <dsp:cNvPr id="0" name=""/>
        <dsp:cNvSpPr/>
      </dsp:nvSpPr>
      <dsp:spPr>
        <a:xfrm>
          <a:off x="6828139" y="1185393"/>
          <a:ext cx="3249150" cy="1580525"/>
        </a:xfrm>
        <a:prstGeom prst="roundRect">
          <a:avLst/>
        </a:prstGeom>
        <a:solidFill>
          <a:schemeClr val="accent4">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8580" tIns="68580" rIns="68580" bIns="68580" numCol="1" spcCol="1270" anchor="ctr" anchorCtr="0">
          <a:noAutofit/>
        </a:bodyPr>
        <a:lstStyle/>
        <a:p>
          <a:pPr marL="0" marR="0" lvl="0" indent="0" algn="l" defTabSz="914400" eaLnBrk="1" fontAlgn="auto" latinLnBrk="0" hangingPunct="1">
            <a:lnSpc>
              <a:spcPct val="100000"/>
            </a:lnSpc>
            <a:spcBef>
              <a:spcPct val="0"/>
            </a:spcBef>
            <a:spcAft>
              <a:spcPts val="0"/>
            </a:spcAft>
            <a:buClrTx/>
            <a:buSzTx/>
            <a:buFontTx/>
            <a:buNone/>
            <a:tabLst/>
            <a:defRPr/>
          </a:pPr>
          <a:r>
            <a:rPr lang="it-IT" sz="1800" b="1" kern="1200" dirty="0">
              <a:solidFill>
                <a:prstClr val="white"/>
              </a:solidFill>
              <a:latin typeface="GT America"/>
              <a:ea typeface="+mn-ea"/>
              <a:cs typeface="+mn-cs"/>
            </a:rPr>
            <a:t>senza pregiudizio </a:t>
          </a:r>
          <a:r>
            <a:rPr lang="it-IT" sz="1800" b="0" kern="1200" dirty="0">
              <a:solidFill>
                <a:prstClr val="white"/>
              </a:solidFill>
              <a:latin typeface="GT America"/>
              <a:ea typeface="+mn-ea"/>
              <a:cs typeface="+mn-cs"/>
            </a:rPr>
            <a:t>per l’applicazione degli altri mezzi di ricorso già a disposizione dei consumatori  </a:t>
          </a:r>
        </a:p>
      </dsp:txBody>
      <dsp:txXfrm>
        <a:off x="6905294" y="1262548"/>
        <a:ext cx="3094840" cy="1426215"/>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B46E1C9-BEB9-41D8-95AC-9F8F834BD2A6}">
      <dsp:nvSpPr>
        <dsp:cNvPr id="0" name=""/>
        <dsp:cNvSpPr/>
      </dsp:nvSpPr>
      <dsp:spPr>
        <a:xfrm>
          <a:off x="0" y="293110"/>
          <a:ext cx="9521997" cy="585900"/>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39013" tIns="249936" rIns="739013" bIns="113792" numCol="1" spcCol="1270" anchor="t" anchorCtr="0">
          <a:noAutofit/>
        </a:bodyPr>
        <a:lstStyle/>
        <a:p>
          <a:pPr marL="171450" lvl="1" indent="-171450" algn="l" defTabSz="711200">
            <a:lnSpc>
              <a:spcPct val="90000"/>
            </a:lnSpc>
            <a:spcBef>
              <a:spcPct val="0"/>
            </a:spcBef>
            <a:spcAft>
              <a:spcPct val="15000"/>
            </a:spcAft>
            <a:buChar char="•"/>
          </a:pPr>
          <a:r>
            <a:rPr lang="it-IT" sz="1600" kern="1200" dirty="0"/>
            <a:t>Valutazione della conformità ai requisiti normativi per tipologia di prodotto</a:t>
          </a:r>
        </a:p>
      </dsp:txBody>
      <dsp:txXfrm>
        <a:off x="0" y="293110"/>
        <a:ext cx="9521997" cy="585900"/>
      </dsp:txXfrm>
    </dsp:sp>
    <dsp:sp modelId="{43A4329B-ED46-4701-AEC5-926318CE7029}">
      <dsp:nvSpPr>
        <dsp:cNvPr id="0" name=""/>
        <dsp:cNvSpPr/>
      </dsp:nvSpPr>
      <dsp:spPr>
        <a:xfrm>
          <a:off x="476099" y="115990"/>
          <a:ext cx="6665397" cy="35424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1936" tIns="0" rIns="251936" bIns="0" numCol="1" spcCol="1270" anchor="ctr" anchorCtr="0">
          <a:noAutofit/>
        </a:bodyPr>
        <a:lstStyle/>
        <a:p>
          <a:pPr marL="0" lvl="0" indent="0" algn="l" defTabSz="711200">
            <a:lnSpc>
              <a:spcPct val="90000"/>
            </a:lnSpc>
            <a:spcBef>
              <a:spcPct val="0"/>
            </a:spcBef>
            <a:spcAft>
              <a:spcPct val="35000"/>
            </a:spcAft>
            <a:buNone/>
          </a:pPr>
          <a:r>
            <a:rPr lang="it-IT" sz="1600" b="1" kern="1200" dirty="0" err="1"/>
            <a:t>Assessment</a:t>
          </a:r>
          <a:r>
            <a:rPr lang="it-IT" sz="1600" b="1" kern="1200" dirty="0"/>
            <a:t> iniziale </a:t>
          </a:r>
        </a:p>
      </dsp:txBody>
      <dsp:txXfrm>
        <a:off x="493392" y="133283"/>
        <a:ext cx="6630811" cy="319654"/>
      </dsp:txXfrm>
    </dsp:sp>
    <dsp:sp modelId="{E71FEA66-279B-4A80-891C-A32A3D9E2040}">
      <dsp:nvSpPr>
        <dsp:cNvPr id="0" name=""/>
        <dsp:cNvSpPr/>
      </dsp:nvSpPr>
      <dsp:spPr>
        <a:xfrm>
          <a:off x="0" y="1120930"/>
          <a:ext cx="9521997" cy="585900"/>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39013" tIns="249936" rIns="739013" bIns="113792" numCol="1" spcCol="1270" anchor="t" anchorCtr="0">
          <a:noAutofit/>
        </a:bodyPr>
        <a:lstStyle/>
        <a:p>
          <a:pPr marL="171450" lvl="1" indent="-171450" algn="l" defTabSz="711200">
            <a:lnSpc>
              <a:spcPct val="90000"/>
            </a:lnSpc>
            <a:spcBef>
              <a:spcPct val="0"/>
            </a:spcBef>
            <a:spcAft>
              <a:spcPct val="15000"/>
            </a:spcAft>
            <a:buChar char="•"/>
          </a:pPr>
          <a:r>
            <a:rPr lang="it-IT" sz="1600" kern="1200" dirty="0"/>
            <a:t>Raccolta delle informazioni su materiali, processi e impatti ambientali</a:t>
          </a:r>
        </a:p>
      </dsp:txBody>
      <dsp:txXfrm>
        <a:off x="0" y="1120930"/>
        <a:ext cx="9521997" cy="585900"/>
      </dsp:txXfrm>
    </dsp:sp>
    <dsp:sp modelId="{D8D52BB0-B0C4-4AD8-92B6-2DD44420DBA9}">
      <dsp:nvSpPr>
        <dsp:cNvPr id="0" name=""/>
        <dsp:cNvSpPr/>
      </dsp:nvSpPr>
      <dsp:spPr>
        <a:xfrm>
          <a:off x="476099" y="943810"/>
          <a:ext cx="6665397" cy="35424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1936" tIns="0" rIns="251936" bIns="0" numCol="1" spcCol="1270" anchor="ctr" anchorCtr="0">
          <a:noAutofit/>
        </a:bodyPr>
        <a:lstStyle/>
        <a:p>
          <a:pPr marL="0" lvl="0" indent="0" algn="l" defTabSz="711200">
            <a:lnSpc>
              <a:spcPct val="90000"/>
            </a:lnSpc>
            <a:spcBef>
              <a:spcPct val="0"/>
            </a:spcBef>
            <a:spcAft>
              <a:spcPct val="35000"/>
            </a:spcAft>
            <a:buNone/>
          </a:pPr>
          <a:r>
            <a:rPr lang="it-IT" sz="1600" b="1" kern="1200" dirty="0"/>
            <a:t>Raccolta dati</a:t>
          </a:r>
          <a:endParaRPr lang="it-IT" sz="1600" b="1" i="0" kern="1200" dirty="0"/>
        </a:p>
      </dsp:txBody>
      <dsp:txXfrm>
        <a:off x="493392" y="961103"/>
        <a:ext cx="6630811" cy="319654"/>
      </dsp:txXfrm>
    </dsp:sp>
    <dsp:sp modelId="{8B7442F0-87C9-4ED0-B380-CF49F91C1E47}">
      <dsp:nvSpPr>
        <dsp:cNvPr id="0" name=""/>
        <dsp:cNvSpPr/>
      </dsp:nvSpPr>
      <dsp:spPr>
        <a:xfrm>
          <a:off x="0" y="1948750"/>
          <a:ext cx="9521997" cy="812700"/>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39013" tIns="249936" rIns="739013" bIns="113792" numCol="1" spcCol="1270" anchor="t" anchorCtr="0">
          <a:noAutofit/>
        </a:bodyPr>
        <a:lstStyle/>
        <a:p>
          <a:pPr marL="171450" lvl="1" indent="-171450" algn="l" defTabSz="711200">
            <a:lnSpc>
              <a:spcPct val="90000"/>
            </a:lnSpc>
            <a:spcBef>
              <a:spcPct val="0"/>
            </a:spcBef>
            <a:spcAft>
              <a:spcPct val="15000"/>
            </a:spcAft>
            <a:buChar char="•"/>
          </a:pPr>
          <a:r>
            <a:rPr lang="it-IT" sz="1600" kern="1200" dirty="0"/>
            <a:t>Adozione di un sistema (strumenti e procedure) di raccolta e archiviazione dei dati (</a:t>
          </a:r>
          <a:r>
            <a:rPr lang="it-IT" sz="1600" i="1" kern="1200" dirty="0"/>
            <a:t>e.g., </a:t>
          </a:r>
          <a:r>
            <a:rPr lang="it-IT" sz="1600" i="0" kern="1200" dirty="0"/>
            <a:t>software di gestione dei dati di prodotto)</a:t>
          </a:r>
          <a:endParaRPr lang="it-IT" sz="1600" kern="1200" dirty="0"/>
        </a:p>
      </dsp:txBody>
      <dsp:txXfrm>
        <a:off x="0" y="1948750"/>
        <a:ext cx="9521997" cy="812700"/>
      </dsp:txXfrm>
    </dsp:sp>
    <dsp:sp modelId="{33B9FA90-5E7A-43E3-A303-578495F49076}">
      <dsp:nvSpPr>
        <dsp:cNvPr id="0" name=""/>
        <dsp:cNvSpPr/>
      </dsp:nvSpPr>
      <dsp:spPr>
        <a:xfrm>
          <a:off x="476099" y="1771630"/>
          <a:ext cx="6665397" cy="35424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1936" tIns="0" rIns="251936" bIns="0" numCol="1" spcCol="1270" anchor="ctr" anchorCtr="0">
          <a:noAutofit/>
        </a:bodyPr>
        <a:lstStyle/>
        <a:p>
          <a:pPr marL="0" lvl="0" indent="0" algn="l" defTabSz="711200">
            <a:lnSpc>
              <a:spcPct val="90000"/>
            </a:lnSpc>
            <a:spcBef>
              <a:spcPct val="0"/>
            </a:spcBef>
            <a:spcAft>
              <a:spcPct val="35000"/>
            </a:spcAft>
            <a:buNone/>
          </a:pPr>
          <a:r>
            <a:rPr lang="it-IT" sz="1600" b="1" i="1" kern="1200" dirty="0"/>
            <a:t> </a:t>
          </a:r>
          <a:r>
            <a:rPr lang="it-IT" sz="1600" b="1" i="0" kern="1200" dirty="0"/>
            <a:t>Data Management</a:t>
          </a:r>
        </a:p>
      </dsp:txBody>
      <dsp:txXfrm>
        <a:off x="493392" y="1788923"/>
        <a:ext cx="6630811" cy="319654"/>
      </dsp:txXfrm>
    </dsp:sp>
    <dsp:sp modelId="{8343B99E-D03C-470B-9F2E-CACC8126C9BA}">
      <dsp:nvSpPr>
        <dsp:cNvPr id="0" name=""/>
        <dsp:cNvSpPr/>
      </dsp:nvSpPr>
      <dsp:spPr>
        <a:xfrm>
          <a:off x="0" y="3003370"/>
          <a:ext cx="9521997" cy="585900"/>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39013" tIns="249936" rIns="739013" bIns="113792" numCol="1" spcCol="1270" anchor="t" anchorCtr="0">
          <a:noAutofit/>
        </a:bodyPr>
        <a:lstStyle/>
        <a:p>
          <a:pPr marL="171450" lvl="1" indent="-171450" algn="l" defTabSz="711200">
            <a:lnSpc>
              <a:spcPct val="90000"/>
            </a:lnSpc>
            <a:spcBef>
              <a:spcPct val="0"/>
            </a:spcBef>
            <a:spcAft>
              <a:spcPct val="15000"/>
            </a:spcAft>
            <a:buChar char="•"/>
          </a:pPr>
          <a:r>
            <a:rPr lang="it-IT" sz="1600" kern="1200" dirty="0"/>
            <a:t>Integrazione dei principi di sostenibilità nei processi in base al ruolo nella filiera</a:t>
          </a:r>
        </a:p>
      </dsp:txBody>
      <dsp:txXfrm>
        <a:off x="0" y="3003370"/>
        <a:ext cx="9521997" cy="585900"/>
      </dsp:txXfrm>
    </dsp:sp>
    <dsp:sp modelId="{53917319-B66E-4047-9674-A776B21EB1A1}">
      <dsp:nvSpPr>
        <dsp:cNvPr id="0" name=""/>
        <dsp:cNvSpPr/>
      </dsp:nvSpPr>
      <dsp:spPr>
        <a:xfrm>
          <a:off x="476099" y="2826250"/>
          <a:ext cx="6665397" cy="35424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1936" tIns="0" rIns="251936" bIns="0" numCol="1" spcCol="1270" anchor="ctr" anchorCtr="0">
          <a:noAutofit/>
        </a:bodyPr>
        <a:lstStyle/>
        <a:p>
          <a:pPr marL="0" lvl="0" indent="0" algn="l" defTabSz="711200">
            <a:lnSpc>
              <a:spcPct val="90000"/>
            </a:lnSpc>
            <a:spcBef>
              <a:spcPct val="0"/>
            </a:spcBef>
            <a:spcAft>
              <a:spcPct val="35000"/>
            </a:spcAft>
            <a:buNone/>
          </a:pPr>
          <a:r>
            <a:rPr lang="it-IT" sz="1600" b="1" kern="1200" dirty="0"/>
            <a:t>Sostenibilità</a:t>
          </a:r>
          <a:endParaRPr lang="it-IT" sz="1600" kern="1200" dirty="0"/>
        </a:p>
      </dsp:txBody>
      <dsp:txXfrm>
        <a:off x="493392" y="2843543"/>
        <a:ext cx="6630811" cy="319654"/>
      </dsp:txXfrm>
    </dsp:sp>
    <dsp:sp modelId="{D69E75F4-604D-45C7-995B-BC0D7B8E41A5}">
      <dsp:nvSpPr>
        <dsp:cNvPr id="0" name=""/>
        <dsp:cNvSpPr/>
      </dsp:nvSpPr>
      <dsp:spPr>
        <a:xfrm>
          <a:off x="0" y="3831190"/>
          <a:ext cx="9521997" cy="812700"/>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39013" tIns="249936" rIns="739013" bIns="113792" numCol="1" spcCol="1270" anchor="t" anchorCtr="0">
          <a:noAutofit/>
        </a:bodyPr>
        <a:lstStyle/>
        <a:p>
          <a:pPr marL="171450" lvl="1" indent="-171450" algn="l" defTabSz="711200">
            <a:lnSpc>
              <a:spcPct val="90000"/>
            </a:lnSpc>
            <a:spcBef>
              <a:spcPct val="0"/>
            </a:spcBef>
            <a:spcAft>
              <a:spcPct val="15000"/>
            </a:spcAft>
            <a:buChar char="•"/>
          </a:pPr>
          <a:r>
            <a:rPr lang="it-IT" sz="1600" kern="1200" dirty="0"/>
            <a:t>Sviluppo di iniziative formative per il personale dipendente su DPP e pratiche di sostenibilità </a:t>
          </a:r>
        </a:p>
      </dsp:txBody>
      <dsp:txXfrm>
        <a:off x="0" y="3831190"/>
        <a:ext cx="9521997" cy="812700"/>
      </dsp:txXfrm>
    </dsp:sp>
    <dsp:sp modelId="{9F2838D1-C0AF-4FEE-A4C8-ADCBBFC1A218}">
      <dsp:nvSpPr>
        <dsp:cNvPr id="0" name=""/>
        <dsp:cNvSpPr/>
      </dsp:nvSpPr>
      <dsp:spPr>
        <a:xfrm>
          <a:off x="476099" y="3654070"/>
          <a:ext cx="6665397" cy="35424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1936" tIns="0" rIns="251936" bIns="0" numCol="1" spcCol="1270" anchor="ctr" anchorCtr="0">
          <a:noAutofit/>
        </a:bodyPr>
        <a:lstStyle/>
        <a:p>
          <a:pPr marL="0" lvl="0" indent="0" algn="l" defTabSz="711200">
            <a:lnSpc>
              <a:spcPct val="90000"/>
            </a:lnSpc>
            <a:spcBef>
              <a:spcPct val="0"/>
            </a:spcBef>
            <a:spcAft>
              <a:spcPct val="35000"/>
            </a:spcAft>
            <a:buNone/>
          </a:pPr>
          <a:r>
            <a:rPr lang="it-IT" sz="1600" b="1" kern="1200" dirty="0"/>
            <a:t>Formazione</a:t>
          </a:r>
        </a:p>
      </dsp:txBody>
      <dsp:txXfrm>
        <a:off x="493392" y="3671363"/>
        <a:ext cx="6630811" cy="319654"/>
      </dsp:txXfrm>
    </dsp:sp>
    <dsp:sp modelId="{6AC859D7-B016-4A79-81D3-1B8A006F3852}">
      <dsp:nvSpPr>
        <dsp:cNvPr id="0" name=""/>
        <dsp:cNvSpPr/>
      </dsp:nvSpPr>
      <dsp:spPr>
        <a:xfrm>
          <a:off x="0" y="4885810"/>
          <a:ext cx="9521997" cy="585900"/>
        </a:xfrm>
        <a:prstGeom prst="rect">
          <a:avLst/>
        </a:prstGeom>
        <a:solidFill>
          <a:schemeClr val="accent2">
            <a:alpha val="90000"/>
            <a:tint val="40000"/>
            <a:hueOff val="0"/>
            <a:satOff val="0"/>
            <a:lumOff val="0"/>
            <a:alphaOff val="0"/>
          </a:schemeClr>
        </a:solidFill>
        <a:ln w="12700" cap="flat" cmpd="sng" algn="ctr">
          <a:solidFill>
            <a:schemeClr val="accent2">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39013" tIns="249936" rIns="739013" bIns="113792" numCol="1" spcCol="1270" anchor="t" anchorCtr="0">
          <a:noAutofit/>
        </a:bodyPr>
        <a:lstStyle/>
        <a:p>
          <a:pPr marL="171450" lvl="1" indent="-171450" algn="l" defTabSz="711200">
            <a:lnSpc>
              <a:spcPct val="90000"/>
            </a:lnSpc>
            <a:spcBef>
              <a:spcPct val="0"/>
            </a:spcBef>
            <a:spcAft>
              <a:spcPct val="15000"/>
            </a:spcAft>
            <a:buChar char="•"/>
          </a:pPr>
          <a:r>
            <a:rPr lang="it-IT" sz="1600" kern="1200" dirty="0"/>
            <a:t>Implementazione di misure di controllo, monitoraggio e aggiornamento</a:t>
          </a:r>
        </a:p>
      </dsp:txBody>
      <dsp:txXfrm>
        <a:off x="0" y="4885810"/>
        <a:ext cx="9521997" cy="585900"/>
      </dsp:txXfrm>
    </dsp:sp>
    <dsp:sp modelId="{973844B3-941A-4ECE-9885-D3D932036E78}">
      <dsp:nvSpPr>
        <dsp:cNvPr id="0" name=""/>
        <dsp:cNvSpPr/>
      </dsp:nvSpPr>
      <dsp:spPr>
        <a:xfrm>
          <a:off x="476099" y="4708690"/>
          <a:ext cx="6665397" cy="354240"/>
        </a:xfrm>
        <a:prstGeom prst="roundRect">
          <a:avLst/>
        </a:prstGeom>
        <a:solidFill>
          <a:schemeClr val="lt1">
            <a:hueOff val="0"/>
            <a:satOff val="0"/>
            <a:lumOff val="0"/>
            <a:alphaOff val="0"/>
          </a:schemeClr>
        </a:solidFill>
        <a:ln w="12700" cap="flat" cmpd="sng" algn="ctr">
          <a:solidFill>
            <a:schemeClr val="accent2">
              <a:shade val="80000"/>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51936" tIns="0" rIns="251936" bIns="0" numCol="1" spcCol="1270" anchor="ctr" anchorCtr="0">
          <a:noAutofit/>
        </a:bodyPr>
        <a:lstStyle/>
        <a:p>
          <a:pPr marL="0" lvl="0" indent="0" algn="l" defTabSz="711200">
            <a:lnSpc>
              <a:spcPct val="90000"/>
            </a:lnSpc>
            <a:spcBef>
              <a:spcPct val="0"/>
            </a:spcBef>
            <a:spcAft>
              <a:spcPct val="35000"/>
            </a:spcAft>
            <a:buNone/>
          </a:pPr>
          <a:r>
            <a:rPr lang="it-IT" sz="1600" b="1" kern="1200" dirty="0" err="1"/>
            <a:t>Remediation</a:t>
          </a:r>
          <a:r>
            <a:rPr lang="it-IT" sz="1600" b="1" kern="1200" dirty="0"/>
            <a:t> </a:t>
          </a:r>
        </a:p>
      </dsp:txBody>
      <dsp:txXfrm>
        <a:off x="493392" y="4725983"/>
        <a:ext cx="6630811" cy="319654"/>
      </dsp:txXfrm>
    </dsp:sp>
  </dsp:spTree>
</dsp:drawing>
</file>

<file path=ppt/diagrams/layout1.xml><?xml version="1.0" encoding="utf-8"?>
<dgm:layoutDef xmlns:dgm="http://schemas.openxmlformats.org/drawingml/2006/diagram" xmlns:a="http://schemas.openxmlformats.org/drawingml/2006/main" uniqueId="urn:microsoft.com/office/officeart/2005/8/layout/chevron2">
  <dgm:title val=""/>
  <dgm:desc val=""/>
  <dgm:catLst>
    <dgm:cat type="process" pri="12000"/>
    <dgm:cat type="list" pri="16000"/>
    <dgm:cat type="convert" pri="11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Lst>
      <dgm:cxnLst>
        <dgm:cxn modelId="4" srcId="0" destId="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linearFlow">
    <dgm:varLst>
      <dgm:dir/>
      <dgm:animLvl val="lvl"/>
      <dgm:resizeHandles val="exact"/>
    </dgm:varLst>
    <dgm:alg type="lin">
      <dgm:param type="linDir" val="fromT"/>
      <dgm:param type="nodeHorzAlign" val="l"/>
    </dgm:alg>
    <dgm:shape xmlns:r="http://schemas.openxmlformats.org/officeDocument/2006/relationships" r:blip="">
      <dgm:adjLst/>
    </dgm:shape>
    <dgm:presOf/>
    <dgm:constrLst>
      <dgm:constr type="h" for="ch" forName="composite" refType="h"/>
      <dgm:constr type="w" for="ch" forName="composite" refType="w"/>
      <dgm:constr type="h" for="des" forName="parentText" op="equ"/>
      <dgm:constr type="h" for="ch" forName="sp" val="-14.88"/>
      <dgm:constr type="h" for="ch" forName="sp" refType="w" refFor="des" refForName="parentText" op="gte" fact="-0.3"/>
      <dgm:constr type="primFontSz" for="des" forName="parentText" op="equ" val="65"/>
      <dgm:constr type="primFontSz" for="des" forName="descendantText" op="equ" val="65"/>
    </dgm:constrLst>
    <dgm:ruleLst/>
    <dgm:forEach name="Name0" axis="ch" ptType="node">
      <dgm:layoutNode name="composite">
        <dgm:alg type="composite"/>
        <dgm:shape xmlns:r="http://schemas.openxmlformats.org/officeDocument/2006/relationships" r:blip="">
          <dgm:adjLst/>
        </dgm:shape>
        <dgm:presOf/>
        <dgm:choose name="Name1">
          <dgm:if name="Name2" func="var" arg="dir" op="equ" val="norm">
            <dgm:constrLst>
              <dgm:constr type="t" for="ch" forName="parentText"/>
              <dgm:constr type="l" for="ch" forName="parentText"/>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refType="w" refFor="ch" refForName="pare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if>
          <dgm:else name="Name3">
            <dgm:constrLst>
              <dgm:constr type="t" for="ch" forName="parentText"/>
              <dgm:constr type="r" for="ch" forName="parentText" refType="w"/>
              <dgm:constr type="w" for="ch" forName="parentText" refType="w" fact="0.4"/>
              <dgm:constr type="h" for="ch" forName="parentText" refType="h"/>
              <dgm:constr type="w" for="ch" forName="parentText" refType="w" op="lte" fact="0.5"/>
              <dgm:constr type="w" for="ch" forName="parentText" refType="h" refFor="ch" refForName="parentText" op="lte" fact="0.7"/>
              <dgm:constr type="h" for="ch" forName="parentText" refType="w" refFor="ch" refForName="parentText" op="lte" fact="3"/>
              <dgm:constr type="l" for="ch" forName="descendantText"/>
              <dgm:constr type="w" for="ch" forName="descendantText" refType="w"/>
              <dgm:constr type="wOff" for="ch" forName="descendantText" refType="w" refFor="ch" refForName="parentText" fact="-1"/>
              <dgm:constr type="t" for="ch" forName="descendantText"/>
              <dgm:constr type="b" for="ch" forName="descendantText" refType="h" refFor="ch" refForName="parentText"/>
              <dgm:constr type="bOff" for="ch" forName="descendantText" refType="w" refFor="ch" refForName="parentText" fact="-0.5"/>
            </dgm:constrLst>
          </dgm:else>
        </dgm:choose>
        <dgm:ruleLst/>
        <dgm:layoutNode name="parentText" styleLbl="alignNode1">
          <dgm:varLst>
            <dgm:chMax val="1"/>
            <dgm:bulletEnabled val="1"/>
          </dgm:varLst>
          <dgm:alg type="tx"/>
          <dgm:shape xmlns:r="http://schemas.openxmlformats.org/officeDocument/2006/relationships" rot="90" type="chevron" r:blip="">
            <dgm:adjLst/>
          </dgm:shape>
          <dgm:presOf axis="self" ptType="node"/>
          <dgm:constrLst>
            <dgm:constr type="lMarg" refType="primFontSz" fact="0.05"/>
            <dgm:constr type="rMarg" refType="primFontSz" fact="0.05"/>
            <dgm:constr type="tMarg" refType="primFontSz" fact="0.05"/>
            <dgm:constr type="bMarg" refType="primFontSz" fact="0.05"/>
          </dgm:constrLst>
          <dgm:ruleLst>
            <dgm:rule type="h" val="100" fact="NaN" max="NaN"/>
            <dgm:rule type="primFontSz" val="24" fact="NaN" max="NaN"/>
            <dgm:rule type="h" val="110" fact="NaN" max="NaN"/>
            <dgm:rule type="primFontSz" val="18" fact="NaN" max="NaN"/>
            <dgm:rule type="h" val="INF" fact="NaN" max="NaN"/>
            <dgm:rule type="primFontSz" val="5" fact="NaN" max="NaN"/>
          </dgm:ruleLst>
        </dgm:layoutNode>
        <dgm:layoutNode name="descendantText" styleLbl="alignAcc1">
          <dgm:varLst>
            <dgm:bulletEnabled val="1"/>
          </dgm:varLst>
          <dgm:choose name="Name4">
            <dgm:if name="Name5" func="var" arg="dir" op="equ" val="norm">
              <dgm:alg type="tx">
                <dgm:param type="stBulletLvl" val="1"/>
                <dgm:param type="txAnchorVertCh" val="mid"/>
              </dgm:alg>
              <dgm:shape xmlns:r="http://schemas.openxmlformats.org/officeDocument/2006/relationships" rot="90" type="round2SameRect" r:blip="">
                <dgm:adjLst/>
              </dgm:shape>
            </dgm:if>
            <dgm:else name="Name6">
              <dgm:alg type="tx">
                <dgm:param type="stBulletLvl" val="1"/>
                <dgm:param type="txAnchorVertCh" val="mid"/>
              </dgm:alg>
              <dgm:shape xmlns:r="http://schemas.openxmlformats.org/officeDocument/2006/relationships" rot="-90" type="round2SameRect" r:blip="">
                <dgm:adjLst/>
              </dgm:shape>
            </dgm:else>
          </dgm:choose>
          <dgm:presOf axis="des" ptType="node"/>
          <dgm:choose name="Name7">
            <dgm:if name="Name8" func="var" arg="dir" op="equ" val="norm">
              <dgm:constrLst>
                <dgm:constr type="secFontSz" refType="primFontSz"/>
                <dgm:constr type="tMarg" refType="primFontSz" fact="0.05"/>
                <dgm:constr type="bMarg" refType="primFontSz" fact="0.05"/>
                <dgm:constr type="rMarg" refType="primFontSz" fact="0.05"/>
              </dgm:constrLst>
            </dgm:if>
            <dgm:else name="Name9">
              <dgm:constrLst>
                <dgm:constr type="secFontSz" refType="primFontSz"/>
                <dgm:constr type="tMarg" refType="primFontSz" fact="0.05"/>
                <dgm:constr type="bMarg" refType="primFontSz" fact="0.05"/>
                <dgm:constr type="lMarg" refType="primFontSz" fact="0.05"/>
              </dgm:constrLst>
            </dgm:else>
          </dgm:choose>
          <dgm:ruleLst>
            <dgm:rule type="primFontSz" val="5" fact="NaN" max="NaN"/>
          </dgm:ruleLst>
        </dgm:layoutNode>
      </dgm:layoutNode>
      <dgm:forEach name="Name10" axis="followSib" ptType="sibTrans" cnt="1">
        <dgm:layoutNode name="sp">
          <dgm:alg type="sp"/>
          <dgm:shape xmlns:r="http://schemas.openxmlformats.org/officeDocument/2006/relationships" r:blip="">
            <dgm:adjLst/>
          </dgm:shape>
          <dgm:presOf axis="self"/>
          <dgm:constrLst>
            <dgm:constr type="w" val="1"/>
            <dgm:constr type="h" val="37.5"/>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cycle6">
  <dgm:title val=""/>
  <dgm:desc val=""/>
  <dgm:catLst>
    <dgm:cat type="cycle" pri="4000"/>
    <dgm:cat type="relationship" pri="24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hoose name="Name9">
      <dgm:if name="Name10" func="var" arg="dir" op="equ" val="norm">
        <dgm:constrLst>
          <dgm:constr type="w" for="ch" forName="node" refType="w"/>
          <dgm:constr type="w" for="ch" ptType="sibTrans" refType="w" refFor="ch" refForName="node" op="equ" fact="0.3"/>
          <dgm:constr type="diam" for="ch" ptType="sibTrans" refType="diam" op="equ"/>
          <dgm:constr type="sibSp" refType="w" refFor="ch" refForName="node" op="equ" fact="0.15"/>
          <dgm:constr type="w" for="ch" forName="spNode" refType="sibSp" fact="1.6"/>
          <dgm:constr type="primFontSz" for="ch" forName="node" op="equ" val="65"/>
        </dgm:constrLst>
      </dgm:if>
      <dgm:else name="Name11">
        <dgm:constrLst>
          <dgm:constr type="w" for="ch" forName="node" refType="w"/>
          <dgm:constr type="w" for="ch" ptType="sibTrans" refType="w" refFor="ch" refForName="node" op="equ" fact="0.3"/>
          <dgm:constr type="diam" for="ch" ptType="sibTrans" refType="diam" op="equ" fact="-1"/>
          <dgm:constr type="sibSp" refType="w" refFor="ch" refForName="node" op="equ" fact="0.15"/>
          <dgm:constr type="w" for="ch" forName="spNode" refType="sibSp" fact="1.6"/>
          <dgm:constr type="primFontSz" for="ch" forName="node" op="equ" val="65"/>
        </dgm:constrLst>
      </dgm:else>
    </dgm:choose>
    <dgm:ruleLst/>
    <dgm:forEach name="Name12" axis="ch" ptType="node">
      <dgm:layoutNode name="node">
        <dgm:varLst>
          <dgm:bulletEnabled val="1"/>
        </dgm:varLst>
        <dgm:alg type="tx"/>
        <dgm:shape xmlns:r="http://schemas.openxmlformats.org/officeDocument/2006/relationships" type="roundRect" r:blip="">
          <dgm:adjLst/>
        </dgm:shape>
        <dgm:presOf axis="desOrSelf" ptType="node"/>
        <dgm:constrLst>
          <dgm:constr type="h" refType="w" fact="0.65"/>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3">
        <dgm:if name="Name14" axis="par ch" ptType="doc node" func="cnt" op="gt" val="1">
          <dgm:layoutNode name="spNode">
            <dgm:alg type="sp"/>
            <dgm:shape xmlns:r="http://schemas.openxmlformats.org/officeDocument/2006/relationships" r:blip="">
              <dgm:adjLst/>
            </dgm:shape>
            <dgm:presOf/>
            <dgm:constrLst>
              <dgm:constr type="h" refType="w"/>
            </dgm:constrLst>
            <dgm:ruleLst/>
          </dgm:layoutNode>
          <dgm:forEach name="Name15" axis="followSib" ptType="sibTrans" hideLastTrans="0" cnt="1">
            <dgm:layoutNode name="sibTrans">
              <dgm:alg type="conn">
                <dgm:param type="dim" val="1D"/>
                <dgm:param type="connRout" val="curve"/>
                <dgm:param type="begPts" val="radial"/>
                <dgm:param type="endPts" val="radial"/>
                <dgm:param type="endSty" val="noArr"/>
              </dgm:alg>
              <dgm:shape xmlns:r="http://schemas.openxmlformats.org/officeDocument/2006/relationships" type="conn" r:blip="">
                <dgm:adjLst/>
              </dgm:shape>
              <dgm:presOf axis="self"/>
              <dgm:constrLst>
                <dgm:constr type="h" refType="w" fact="0.65"/>
                <dgm:constr type="connDist"/>
                <dgm:constr type="begPad" refType="connDist" fact="0.01"/>
                <dgm:constr type="endPad" refType="connDist" fact="0.01"/>
              </dgm:constrLst>
              <dgm:ruleLst/>
            </dgm:layoutNode>
          </dgm:forEach>
        </dgm:if>
        <dgm:else name="Name16"/>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hProcess11">
  <dgm:title val=""/>
  <dgm:desc val=""/>
  <dgm:catLst>
    <dgm:cat type="process" pri="8000"/>
    <dgm:cat type="convert" pri="14000"/>
  </dgm:catLst>
  <dgm:sampData useDef="1">
    <dgm:dataModel>
      <dgm:pt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alg type="composite"/>
    <dgm:shape xmlns:r="http://schemas.openxmlformats.org/officeDocument/2006/relationships" r:blip="">
      <dgm:adjLst/>
    </dgm:shape>
    <dgm:presOf/>
    <dgm:choose name="Name1">
      <dgm:if name="Name2" func="var" arg="dir" op="equ" val="norm">
        <dgm:constrLst>
          <dgm:constr type="w" for="ch" forName="arrow" refType="w"/>
          <dgm:constr type="h" for="ch" forName="arrow" refType="h" fact="0.4"/>
          <dgm:constr type="ctrY" for="ch" forName="arrow" refType="h" fact="0.5"/>
          <dgm:constr type="l" for="ch" forName="arrow"/>
          <dgm:constr type="w" for="ch" forName="points" refType="w" fact="0.9"/>
          <dgm:constr type="h" for="ch" forName="points" refType="h"/>
          <dgm:constr type="t" for="ch" forName="points"/>
          <dgm:constr type="l" for="ch" forName="points"/>
        </dgm:constrLst>
      </dgm:if>
      <dgm:else name="Name3">
        <dgm:constrLst>
          <dgm:constr type="w" for="ch" forName="arrow" refType="w"/>
          <dgm:constr type="h" for="ch" forName="arrow" refType="h" fact="0.4"/>
          <dgm:constr type="ctrY" for="ch" forName="arrow" refType="h" fact="0.5"/>
          <dgm:constr type="r" for="ch" forName="arrow" refType="w"/>
          <dgm:constr type="w" for="ch" forName="points" refType="w" fact="0.9"/>
          <dgm:constr type="h" for="ch" forName="points" refType="h"/>
          <dgm:constr type="t" for="ch" forName="points"/>
          <dgm:constr type="r" for="ch" forName="points" refType="w"/>
        </dgm:constrLst>
      </dgm:else>
    </dgm:choose>
    <dgm:ruleLst/>
    <dgm:layoutNode name="arrow" styleLbl="bgShp">
      <dgm:alg type="sp"/>
      <dgm:choose name="Name4">
        <dgm:if name="Name5" func="var" arg="dir" op="equ" val="norm">
          <dgm:shape xmlns:r="http://schemas.openxmlformats.org/officeDocument/2006/relationships" type="notchedRightArrow" r:blip="">
            <dgm:adjLst/>
          </dgm:shape>
        </dgm:if>
        <dgm:else name="Name6">
          <dgm:shape xmlns:r="http://schemas.openxmlformats.org/officeDocument/2006/relationships" rot="180" type="notchedRightArrow" r:blip="">
            <dgm:adjLst/>
          </dgm:shape>
        </dgm:else>
      </dgm:choose>
      <dgm:presOf/>
      <dgm:constrLst/>
      <dgm:ruleLst/>
    </dgm:layoutNode>
    <dgm:layoutNode name="points">
      <dgm:choose name="Name7">
        <dgm:if name="Name8" func="var" arg="dir" op="equ" val="norm">
          <dgm:alg type="lin">
            <dgm:param type="linDir" val="fromL"/>
          </dgm:alg>
        </dgm:if>
        <dgm:else name="Name9">
          <dgm:alg type="lin">
            <dgm:param type="linDir" val="fromR"/>
          </dgm:alg>
        </dgm:else>
      </dgm:choose>
      <dgm:shape xmlns:r="http://schemas.openxmlformats.org/officeDocument/2006/relationships" r:blip="">
        <dgm:adjLst/>
      </dgm:shape>
      <dgm:presOf/>
      <dgm:constrLst>
        <dgm:constr type="w" for="ch" forName="compositeA" refType="w"/>
        <dgm:constr type="h" for="ch" forName="compositeA" refType="h"/>
        <dgm:constr type="w" for="ch" forName="compositeB" refType="w" refFor="ch" refForName="compositeA" op="equ"/>
        <dgm:constr type="h" for="ch" forName="compositeB" refType="h" refFor="ch" refForName="compositeA" op="equ"/>
        <dgm:constr type="primFontSz" for="des" ptType="node" op="equ" val="65"/>
        <dgm:constr type="w" for="ch" forName="space" refType="w" refFor="ch" refForName="compositeA" op="equ" fact="0.05"/>
      </dgm:constrLst>
      <dgm:ruleLst/>
      <dgm:forEach name="Name10" axis="ch" ptType="node">
        <dgm:choose name="Name11">
          <dgm:if name="Name12" axis="self" ptType="node" func="posOdd" op="equ" val="1">
            <dgm:layoutNode name="compositeA">
              <dgm:alg type="composite"/>
              <dgm:shape xmlns:r="http://schemas.openxmlformats.org/officeDocument/2006/relationships" r:blip="">
                <dgm:adjLst/>
              </dgm:shape>
              <dgm:presOf/>
              <dgm:constrLst>
                <dgm:constr type="w" for="ch" forName="textA" refType="w"/>
                <dgm:constr type="h" for="ch" forName="textA" refType="h" fact="0.4"/>
                <dgm:constr type="t" for="ch" forName="textA"/>
                <dgm:constr type="l" for="ch" forName="textA"/>
                <dgm:constr type="h" for="ch" forName="circleA" refType="h" fact="0.1"/>
                <dgm:constr type="h" for="ch" forName="circleA" refType="w" op="lte"/>
                <dgm:constr type="w" for="ch" forName="circleA" refType="h" refFor="ch" refForName="circleA" op="equ"/>
                <dgm:constr type="ctrY" for="ch" forName="circleA" refType="h" fact="0.5"/>
                <dgm:constr type="ctrX" for="ch" forName="circleA" refType="w" refFor="ch" refForName="textA" fact="0.5"/>
                <dgm:constr type="w" for="ch" forName="spaceA" refType="w"/>
                <dgm:constr type="h" for="ch" forName="spaceA" refType="h" fact="0.4"/>
                <dgm:constr type="b" for="ch" forName="spaceA" refType="h"/>
                <dgm:constr type="l" for="ch" forName="spaceA"/>
              </dgm:constrLst>
              <dgm:ruleLst/>
              <dgm:layoutNode name="textA" styleLbl="revTx">
                <dgm:varLst>
                  <dgm:bulletEnabled val="1"/>
                </dgm:varLst>
                <dgm:alg type="tx">
                  <dgm:param type="txAnchorVert" val="b"/>
                  <dgm:param type="txAnchorVertCh" val="b"/>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A">
                <dgm:alg type="sp"/>
                <dgm:shape xmlns:r="http://schemas.openxmlformats.org/officeDocument/2006/relationships" type="ellipse" r:blip="">
                  <dgm:adjLst/>
                </dgm:shape>
                <dgm:presOf/>
                <dgm:constrLst/>
                <dgm:ruleLst/>
              </dgm:layoutNode>
              <dgm:layoutNode name="spaceA">
                <dgm:alg type="sp"/>
                <dgm:shape xmlns:r="http://schemas.openxmlformats.org/officeDocument/2006/relationships" r:blip="">
                  <dgm:adjLst/>
                </dgm:shape>
                <dgm:presOf/>
                <dgm:constrLst/>
                <dgm:ruleLst/>
              </dgm:layoutNode>
            </dgm:layoutNode>
          </dgm:if>
          <dgm:else name="Name13">
            <dgm:layoutNode name="compositeB">
              <dgm:alg type="composite"/>
              <dgm:shape xmlns:r="http://schemas.openxmlformats.org/officeDocument/2006/relationships" r:blip="">
                <dgm:adjLst/>
              </dgm:shape>
              <dgm:presOf/>
              <dgm:constrLst>
                <dgm:constr type="w" for="ch" forName="textB" refType="w"/>
                <dgm:constr type="h" for="ch" forName="textB" refType="h" fact="0.4"/>
                <dgm:constr type="b" for="ch" forName="textB" refType="h"/>
                <dgm:constr type="l" for="ch" forName="textB"/>
                <dgm:constr type="h" for="ch" forName="circleB" refType="h" fact="0.1"/>
                <dgm:constr type="w" for="ch" forName="circleB" refType="h" refFor="ch" refForName="circleB" op="equ"/>
                <dgm:constr type="h" for="ch" forName="circleB" refType="w" op="lte"/>
                <dgm:constr type="ctrY" for="ch" forName="circleB" refType="h" fact="0.5"/>
                <dgm:constr type="ctrX" for="ch" forName="circleB" refType="w" refFor="ch" refForName="textB" fact="0.5"/>
                <dgm:constr type="w" for="ch" forName="spaceB" refType="w"/>
                <dgm:constr type="h" for="ch" forName="spaceB" refType="h" fact="0.4"/>
                <dgm:constr type="t" for="ch" forName="spaceB"/>
                <dgm:constr type="l" for="ch" forName="spaceB"/>
              </dgm:constrLst>
              <dgm:ruleLst/>
              <dgm:layoutNode name="textB" styleLbl="revTx">
                <dgm:varLst>
                  <dgm:bulletEnabled val="1"/>
                </dgm:varLst>
                <dgm:alg type="tx">
                  <dgm:param type="txAnchorVert" val="t"/>
                  <dgm:param type="txAnchorVertCh" val="t"/>
                  <dgm:param type="txAnchorHorzCh" val="ctr"/>
                </dgm:alg>
                <dgm:shape xmlns:r="http://schemas.openxmlformats.org/officeDocument/2006/relationships" type="rect" r:blip="">
                  <dgm:adjLst/>
                </dgm:shape>
                <dgm:presOf axis="desOrSelf" ptType="node"/>
                <dgm:constrLst/>
                <dgm:ruleLst>
                  <dgm:rule type="primFontSz" val="5" fact="NaN" max="NaN"/>
                </dgm:ruleLst>
              </dgm:layoutNode>
              <dgm:layoutNode name="circleB">
                <dgm:alg type="sp"/>
                <dgm:shape xmlns:r="http://schemas.openxmlformats.org/officeDocument/2006/relationships" type="ellipse" r:blip="">
                  <dgm:adjLst/>
                </dgm:shape>
                <dgm:presOf/>
                <dgm:constrLst/>
                <dgm:ruleLst/>
              </dgm:layoutNode>
              <dgm:layoutNode name="spaceB">
                <dgm:alg type="sp"/>
                <dgm:shape xmlns:r="http://schemas.openxmlformats.org/officeDocument/2006/relationships" r:blip="">
                  <dgm:adjLst/>
                </dgm:shape>
                <dgm:presOf/>
                <dgm:constrLst/>
                <dgm:ruleLst/>
              </dgm:layoutNode>
            </dgm:layoutNode>
          </dgm:else>
        </dgm:choose>
        <dgm:forEach name="Name14" axis="followSib" ptType="sibTrans" cnt="1">
          <dgm:layoutNode name="space">
            <dgm:alg type="sp"/>
            <dgm:shape xmlns:r="http://schemas.openxmlformats.org/officeDocument/2006/relationships" r:blip="">
              <dgm:adjLst/>
            </dgm:shape>
            <dgm:presOf/>
            <dgm:constrLst/>
            <dgm:ruleLst/>
          </dgm:layoutNode>
        </dgm:forEach>
      </dgm:forEach>
    </dgm:layoutNode>
  </dgm:layoutNode>
</dgm:layoutDef>
</file>

<file path=ppt/diagrams/layout4.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5.xml><?xml version="1.0" encoding="utf-8"?>
<dgm:layoutDef xmlns:dgm="http://schemas.openxmlformats.org/drawingml/2006/diagram" xmlns:a="http://schemas.openxmlformats.org/drawingml/2006/main" uniqueId="urn:microsoft.com/office/officeart/2008/layout/VerticalCurvedList">
  <dgm:title val=""/>
  <dgm:desc val=""/>
  <dgm:catLst>
    <dgm:cat type="list" pri="20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chMax val="7"/>
      <dgm:chPref val="7"/>
      <dgm:dir/>
    </dgm:varLst>
    <dgm:alg type="composite"/>
    <dgm:shape xmlns:r="http://schemas.openxmlformats.org/officeDocument/2006/relationships" r:blip="">
      <dgm:adjLst/>
    </dgm:shape>
    <dgm:constrLst>
      <dgm:constr type="w" for="ch" refType="h" refFor="ch" op="gte" fact="0.8"/>
    </dgm:constrLst>
    <dgm:layoutNode name="Name1">
      <dgm:alg type="composite"/>
      <dgm:shape xmlns:r="http://schemas.openxmlformats.org/officeDocument/2006/relationships" r:blip="">
        <dgm:adjLst/>
      </dgm:shape>
      <dgm:choose name="Name2">
        <dgm:if name="Name3" func="var" arg="dir" op="equ" val="norm">
          <dgm:choose name="Name4">
            <dgm:if name="Name5" axis="ch" ptType="node" func="cnt" op="equ" val="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h" fact="0.225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primFontSz" for="ch" ptType="node" op="equ" val="65"/>
              </dgm:constrLst>
            </dgm:if>
            <dgm:if name="Name6" axis="ch" ptType="node" func="cnt" op="equ" val="2">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h" fact="0.1891"/>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h" fact="0.1891"/>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primFontSz" for="ch" ptType="node" op="equ" val="65"/>
              </dgm:constrLst>
            </dgm:if>
            <dgm:if name="Name7" axis="ch" ptType="node" func="cnt" op="equ" val="3">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h" fact="0.1526"/>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h" fact="0.2253"/>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h" fact="0.1526"/>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primFontSz" for="ch" ptType="node" op="equ" val="65"/>
              </dgm:constrLst>
            </dgm:if>
            <dgm:if name="Name8" axis="ch" ptType="node" func="cnt" op="equ" val="4">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h" fact="0.1268"/>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h" fact="0.215"/>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h" fact="0.21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h" fact="0.126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primFontSz" for="ch" ptType="node" op="equ" val="65"/>
              </dgm:constrLst>
            </dgm:if>
            <dgm:if name="Name9" axis="ch" ptType="node" func="cnt" op="equ" val="5">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h" fact="0.1082"/>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h" fact="0.197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h" fact="0.2253"/>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h" fact="0.1978"/>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h" fact="0.1082"/>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primFontSz" for="ch" ptType="node" op="equ" val="65"/>
              </dgm:constrLst>
            </dgm:if>
            <dgm:if name="Name10" axis="ch" ptType="node" func="cnt" op="equ" val="6">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h" fact="0.0943"/>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h" fact="0.1809"/>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h" fact="0.2205"/>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h" fact="0.2205"/>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h" fact="0.18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h" fact="0.0943"/>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primFontSz" for="ch" ptType="node" op="equ" val="65"/>
              </dgm:constrLst>
            </dgm:if>
            <dgm:else name="Name11">
              <dgm:constrLst>
                <dgm:constr type="h" for="ch" forName="cycle" refType="h"/>
                <dgm:constr type="w" for="ch" forName="cycle" refType="h" refFor="ch" refForName="cycle" fact="0.26"/>
                <dgm:constr type="l" for="ch" forName="cycle"/>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h" fact="0.0835"/>
                <dgm:constr type="l" for="ch" forName="text_1" refType="ctrX" refFor="ch" refForName="accent_1"/>
                <dgm:constr type="r" for="ch" forName="text_1" refType="w"/>
                <dgm:constr type="w" for="ch" forName="text_1" refType="h" refFor="ch" refForName="text_1" op="gte"/>
                <dgm:constr type="h" for="ch" forName="text_1" refType="h" refFor="ch" refForName="accent_1" fact="0.8"/>
                <dgm:constr type="ctrY" for="ch" forName="text_1" refType="ctrY" refFor="ch" refForName="accent_1"/>
                <dgm:constr type="l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h" fact="0.1658"/>
                <dgm:constr type="l" for="ch" forName="text_2" refType="ctrX" refFor="ch" refForName="accent_2"/>
                <dgm:constr type="r" for="ch" forName="text_2" refType="w"/>
                <dgm:constr type="w" for="ch" forName="text_2" refType="h" refFor="ch" refForName="text_2" op="gte"/>
                <dgm:constr type="h" for="ch" forName="text_2" refType="h" refFor="ch" refForName="accent_2" fact="0.8"/>
                <dgm:constr type="ctrY" for="ch" forName="text_2" refType="ctrY" refFor="ch" refForName="accent_2"/>
                <dgm:constr type="l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h" fact="0.2109"/>
                <dgm:constr type="l" for="ch" forName="text_3" refType="ctrX" refFor="ch" refForName="accent_3"/>
                <dgm:constr type="r" for="ch" forName="text_3" refType="w"/>
                <dgm:constr type="w" for="ch" forName="text_3" refType="h" refFor="ch" refForName="text_3" op="gte"/>
                <dgm:constr type="h" for="ch" forName="text_3" refType="h" refFor="ch" refForName="accent_3" fact="0.8"/>
                <dgm:constr type="ctrY" for="ch" forName="text_3" refType="ctrY" refFor="ch" refForName="accent_3"/>
                <dgm:constr type="l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h" fact="0.2253"/>
                <dgm:constr type="l" for="ch" forName="text_4" refType="ctrX" refFor="ch" refForName="accent_4"/>
                <dgm:constr type="r" for="ch" forName="text_4" refType="w"/>
                <dgm:constr type="w" for="ch" forName="text_4" refType="h" refFor="ch" refForName="text_4" op="gte"/>
                <dgm:constr type="h" for="ch" forName="text_4" refType="h" refFor="ch" refForName="accent_4" fact="0.8"/>
                <dgm:constr type="ctrY" for="ch" forName="text_4" refType="ctrY" refFor="ch" refForName="accent_4"/>
                <dgm:constr type="l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h" fact="0.2109"/>
                <dgm:constr type="l" for="ch" forName="text_5" refType="ctrX" refFor="ch" refForName="accent_5"/>
                <dgm:constr type="r" for="ch" forName="text_5" refType="w"/>
                <dgm:constr type="w" for="ch" forName="text_5" refType="h" refFor="ch" refForName="text_5" op="gte"/>
                <dgm:constr type="h" for="ch" forName="text_5" refType="h" refFor="ch" refForName="accent_5" fact="0.8"/>
                <dgm:constr type="ctrY" for="ch" forName="text_5" refType="ctrY" refFor="ch" refForName="accent_5"/>
                <dgm:constr type="l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h" fact="0.1658"/>
                <dgm:constr type="l" for="ch" forName="text_6" refType="ctrX" refFor="ch" refForName="accent_6"/>
                <dgm:constr type="r" for="ch" forName="text_6" refType="w"/>
                <dgm:constr type="w" for="ch" forName="text_6" refType="h" refFor="ch" refForName="text_6" op="gte"/>
                <dgm:constr type="h" for="ch" forName="text_6" refType="h" refFor="ch" refForName="accent_6" fact="0.8"/>
                <dgm:constr type="ctrY" for="ch" forName="text_6" refType="ctrY" refFor="ch" refForName="accent_6"/>
                <dgm:constr type="l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h" fact="0.0835"/>
                <dgm:constr type="l" for="ch" forName="text_7" refType="ctrX" refFor="ch" refForName="accent_7"/>
                <dgm:constr type="r" for="ch" forName="text_7" refType="w"/>
                <dgm:constr type="w" for="ch" forName="text_7" refType="h" refFor="ch" refForName="text_7" op="gte"/>
                <dgm:constr type="h" for="ch" forName="text_7" refType="h" refFor="ch" refForName="accent_7" fact="0.8"/>
                <dgm:constr type="ctrY" for="ch" forName="text_7" refType="ctrY" refFor="ch" refForName="accent_7"/>
                <dgm:constr type="lMarg" for="ch" forName="text_7" refType="w" refFor="ch" refForName="accent_7" fact="1.8"/>
                <dgm:constr type="primFontSz" for="ch" ptType="node" op="equ" val="65"/>
              </dgm:constrLst>
            </dgm:else>
          </dgm:choose>
        </dgm:if>
        <dgm:else name="Name12">
          <dgm:choose name="Name13">
            <dgm:if name="Name14" axis="ch" ptType="node" func="cnt" op="equ" val="1">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625"/>
                <dgm:constr type="w" for="ch" forName="accent_1" refType="h" refFor="ch" refForName="accent_1" op="equ"/>
                <dgm:constr type="ctrY" for="ch" forName="accent_1" refType="h" fact="0.5"/>
                <dgm:constr type="ctrX" for="ch" forName="accent_1" refType="w"/>
                <dgm:constr type="ctrXOff" for="ch" forName="accent_1" refType="h" fact="-0.225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primFontSz" for="ch" ptType="node" op="equ" val="65"/>
              </dgm:constrLst>
            </dgm:if>
            <dgm:if name="Name15" axis="ch" ptType="node" func="cnt" op="equ" val="2">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3571"/>
                <dgm:constr type="w" for="ch" forName="accent_1" refType="h" refFor="ch" refForName="accent_1" op="equ"/>
                <dgm:constr type="ctrY" for="ch" forName="accent_1" refType="h" fact="0.2857"/>
                <dgm:constr type="ctrX" for="ch" forName="accent_1" refType="w"/>
                <dgm:constr type="ctrXOff" for="ch" forName="accent_1" refType="h" fact="-0.1891"/>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3571"/>
                <dgm:constr type="w" for="ch" forName="accent_2" refType="h" refFor="ch" refForName="accent_2" op="equ"/>
                <dgm:constr type="ctrY" for="ch" forName="accent_2" refType="h" fact="0.7143"/>
                <dgm:constr type="ctrX" for="ch" forName="accent_2" refType="w"/>
                <dgm:constr type="ctrXOff" for="ch" forName="accent_2" refType="h" fact="-0.1891"/>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primFontSz" for="ch" ptType="node" op="equ" val="65"/>
              </dgm:constrLst>
            </dgm:if>
            <dgm:if name="Name16" axis="ch" ptType="node" func="cnt" op="equ" val="3">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25"/>
                <dgm:constr type="w" for="ch" forName="accent_1" refType="h" refFor="ch" refForName="accent_1" op="equ"/>
                <dgm:constr type="ctrY" for="ch" forName="accent_1" refType="h" fact="0.2"/>
                <dgm:constr type="ctrX" for="ch" forName="accent_1" refType="w"/>
                <dgm:constr type="ctrXOff" for="ch" forName="accent_1" refType="h" fact="-0.1526"/>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25"/>
                <dgm:constr type="w" for="ch" forName="accent_2" refType="h" refFor="ch" refForName="accent_2" op="equ"/>
                <dgm:constr type="ctrY" for="ch" forName="accent_2" refType="h" fact="0.5"/>
                <dgm:constr type="ctrX" for="ch" forName="accent_2" refType="w"/>
                <dgm:constr type="ctrXOff" for="ch" forName="accent_2" refType="h" fact="-0.2253"/>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25"/>
                <dgm:constr type="w" for="ch" forName="accent_3" refType="h" refFor="ch" refForName="accent_3" op="equ"/>
                <dgm:constr type="ctrY" for="ch" forName="accent_3" refType="h" fact="0.8"/>
                <dgm:constr type="ctrX" for="ch" forName="accent_3" refType="w"/>
                <dgm:constr type="ctrXOff" for="ch" forName="accent_3" refType="h" fact="-0.1526"/>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primFontSz" for="ch" ptType="node" op="equ" val="65"/>
              </dgm:constrLst>
            </dgm:if>
            <dgm:if name="Name17" axis="ch" ptType="node" func="cnt" op="equ" val="4">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923"/>
                <dgm:constr type="w" for="ch" forName="accent_1" refType="h" refFor="ch" refForName="accent_1" op="equ"/>
                <dgm:constr type="ctrY" for="ch" forName="accent_1" refType="h" fact="0.1538"/>
                <dgm:constr type="ctrX" for="ch" forName="accent_1" refType="w"/>
                <dgm:constr type="ctrXOff" for="ch" forName="accent_1" refType="h" fact="-0.1268"/>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923"/>
                <dgm:constr type="w" for="ch" forName="accent_2" refType="h" refFor="ch" refForName="accent_2" op="equ"/>
                <dgm:constr type="ctrY" for="ch" forName="accent_2" refType="h" fact="0.3846"/>
                <dgm:constr type="ctrX" for="ch" forName="accent_2" refType="w"/>
                <dgm:constr type="ctrXOff" for="ch" forName="accent_2" refType="h" fact="-0.215"/>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923"/>
                <dgm:constr type="w" for="ch" forName="accent_3" refType="h" refFor="ch" refForName="accent_3" op="equ"/>
                <dgm:constr type="ctrY" for="ch" forName="accent_3" refType="h" fact="0.6154"/>
                <dgm:constr type="ctrX" for="ch" forName="accent_3" refType="w"/>
                <dgm:constr type="ctrXOff" for="ch" forName="accent_3" refType="h" fact="-0.21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923"/>
                <dgm:constr type="w" for="ch" forName="accent_4" refType="h" refFor="ch" refForName="accent_4" op="equ"/>
                <dgm:constr type="ctrY" for="ch" forName="accent_4" refType="h" fact="0.8462"/>
                <dgm:constr type="ctrX" for="ch" forName="accent_4" refType="w"/>
                <dgm:constr type="ctrXOff" for="ch" forName="accent_4" refType="h" fact="-0.126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primFontSz" for="ch" ptType="node" op="equ" val="65"/>
              </dgm:constrLst>
            </dgm:if>
            <dgm:if name="Name18" axis="ch" ptType="node" func="cnt" op="equ" val="5">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563"/>
                <dgm:constr type="w" for="ch" forName="accent_1" refType="h" refFor="ch" refForName="accent_1" op="equ"/>
                <dgm:constr type="ctrY" for="ch" forName="accent_1" refType="h" fact="0.125"/>
                <dgm:constr type="ctrX" for="ch" forName="accent_1" refType="w"/>
                <dgm:constr type="ctrXOff" for="ch" forName="accent_1" refType="h" fact="-0.1082"/>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563"/>
                <dgm:constr type="w" for="ch" forName="accent_2" refType="h" refFor="ch" refForName="accent_2" op="equ"/>
                <dgm:constr type="ctrY" for="ch" forName="accent_2" refType="h" fact="0.3125"/>
                <dgm:constr type="ctrX" for="ch" forName="accent_2" refType="w"/>
                <dgm:constr type="ctrXOff" for="ch" forName="accent_2" refType="h" fact="-0.197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563"/>
                <dgm:constr type="w" for="ch" forName="accent_3" refType="h" refFor="ch" refForName="accent_3" op="equ"/>
                <dgm:constr type="ctrY" for="ch" forName="accent_3" refType="h" fact="0.5"/>
                <dgm:constr type="ctrX" for="ch" forName="accent_3" refType="w"/>
                <dgm:constr type="ctrXOff" for="ch" forName="accent_3" refType="h" fact="-0.2253"/>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563"/>
                <dgm:constr type="w" for="ch" forName="accent_4" refType="h" refFor="ch" refForName="accent_4" op="equ"/>
                <dgm:constr type="ctrY" for="ch" forName="accent_4" refType="h" fact="0.6875"/>
                <dgm:constr type="ctrX" for="ch" forName="accent_4" refType="w"/>
                <dgm:constr type="ctrXOff" for="ch" forName="accent_4" refType="h" fact="-0.1978"/>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563"/>
                <dgm:constr type="w" for="ch" forName="accent_5" refType="h" refFor="ch" refForName="accent_5" op="equ"/>
                <dgm:constr type="ctrY" for="ch" forName="accent_5" refType="h" fact="0.875"/>
                <dgm:constr type="ctrX" for="ch" forName="accent_5" refType="w"/>
                <dgm:constr type="ctrXOff" for="ch" forName="accent_5" refType="h" fact="-0.1082"/>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primFontSz" for="ch" ptType="node" op="equ" val="65"/>
              </dgm:constrLst>
            </dgm:if>
            <dgm:if name="Name19" axis="ch" ptType="node" func="cnt" op="equ" val="6">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316"/>
                <dgm:constr type="w" for="ch" forName="accent_1" refType="h" refFor="ch" refForName="accent_1" op="equ"/>
                <dgm:constr type="ctrY" for="ch" forName="accent_1" refType="h" fact="0.1053"/>
                <dgm:constr type="ctrX" for="ch" forName="accent_1" refType="w"/>
                <dgm:constr type="ctrXOff" for="ch" forName="accent_1" refType="h" fact="-0.0943"/>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316"/>
                <dgm:constr type="w" for="ch" forName="accent_2" refType="h" refFor="ch" refForName="accent_2" op="equ"/>
                <dgm:constr type="ctrY" for="ch" forName="accent_2" refType="h" fact="0.2632"/>
                <dgm:constr type="ctrX" for="ch" forName="accent_2" refType="w"/>
                <dgm:constr type="ctrXOff" for="ch" forName="accent_2" refType="h" fact="-0.1809"/>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316"/>
                <dgm:constr type="w" for="ch" forName="accent_3" refType="h" refFor="ch" refForName="accent_3" op="equ"/>
                <dgm:constr type="ctrY" for="ch" forName="accent_3" refType="h" fact="0.4211"/>
                <dgm:constr type="ctrX" for="ch" forName="accent_3" refType="w"/>
                <dgm:constr type="ctrXOff" for="ch" forName="accent_3" refType="h" fact="-0.2205"/>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316"/>
                <dgm:constr type="w" for="ch" forName="accent_4" refType="h" refFor="ch" refForName="accent_4" op="equ"/>
                <dgm:constr type="ctrY" for="ch" forName="accent_4" refType="h" fact="0.5789"/>
                <dgm:constr type="ctrX" for="ch" forName="accent_4" refType="w"/>
                <dgm:constr type="ctrXOff" for="ch" forName="accent_4" refType="h" fact="-0.2205"/>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316"/>
                <dgm:constr type="w" for="ch" forName="accent_5" refType="h" refFor="ch" refForName="accent_5" op="equ"/>
                <dgm:constr type="ctrY" for="ch" forName="accent_5" refType="h" fact="0.7368"/>
                <dgm:constr type="ctrX" for="ch" forName="accent_5" refType="w"/>
                <dgm:constr type="ctrXOff" for="ch" forName="accent_5" refType="h" fact="-0.18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316"/>
                <dgm:constr type="w" for="ch" forName="accent_6" refType="h" refFor="ch" refForName="accent_6" op="equ"/>
                <dgm:constr type="ctrY" for="ch" forName="accent_6" refType="h" fact="0.8947"/>
                <dgm:constr type="ctrX" for="ch" forName="accent_6" refType="w"/>
                <dgm:constr type="ctrXOff" for="ch" forName="accent_6" refType="h" fact="-0.0943"/>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primFontSz" for="ch" ptType="node" op="equ" val="65"/>
              </dgm:constrLst>
            </dgm:if>
            <dgm:else name="Name20">
              <dgm:constrLst>
                <dgm:constr type="h" for="ch" forName="cycle" refType="h"/>
                <dgm:constr type="w" for="ch" forName="cycle" refType="h" refFor="ch" refForName="cycle" fact="0.26"/>
                <dgm:constr type="r" for="ch" forName="cycle" refType="w"/>
                <dgm:constr type="ctrY" for="ch" forName="cycle" refType="h" fact="0.5"/>
                <dgm:constr type="diam" for="ch" forName="cycle" refType="h" fact="1.344"/>
                <dgm:constr type="h" for="ch" forName="accent_1" refType="h" fact="0.1136"/>
                <dgm:constr type="w" for="ch" forName="accent_1" refType="h" refFor="ch" refForName="accent_1" op="equ"/>
                <dgm:constr type="ctrY" for="ch" forName="accent_1" refType="h" fact="0.0909"/>
                <dgm:constr type="ctrX" for="ch" forName="accent_1" refType="w"/>
                <dgm:constr type="ctrXOff" for="ch" forName="accent_1" refType="h" fact="-0.0835"/>
                <dgm:constr type="r" for="ch" forName="text_1" refType="ctrX" refFor="ch" refForName="accent_1"/>
                <dgm:constr type="rOff" for="ch" forName="text_1" refType="ctrXOff" refFor="ch" refForName="accent_1"/>
                <dgm:constr type="l" for="ch" forName="text_1"/>
                <dgm:constr type="w" for="ch" forName="text_1" refType="h" refFor="ch" refForName="text_1" op="gte"/>
                <dgm:constr type="h" for="ch" forName="text_1" refType="h" refFor="ch" refForName="accent_1" fact="0.8"/>
                <dgm:constr type="ctrY" for="ch" forName="text_1" refType="ctrY" refFor="ch" refForName="accent_1"/>
                <dgm:constr type="rMarg" for="ch" forName="text_1" refType="w" refFor="ch" refForName="accent_1" fact="1.8"/>
                <dgm:constr type="h" for="ch" forName="accent_2" refType="h" fact="0.1136"/>
                <dgm:constr type="w" for="ch" forName="accent_2" refType="h" refFor="ch" refForName="accent_2" op="equ"/>
                <dgm:constr type="ctrY" for="ch" forName="accent_2" refType="h" fact="0.2273"/>
                <dgm:constr type="ctrX" for="ch" forName="accent_2" refType="w"/>
                <dgm:constr type="ctrXOff" for="ch" forName="accent_2" refType="h" fact="-0.1658"/>
                <dgm:constr type="r" for="ch" forName="text_2" refType="ctrX" refFor="ch" refForName="accent_2"/>
                <dgm:constr type="rOff" for="ch" forName="text_2" refType="ctrXOff" refFor="ch" refForName="accent_2"/>
                <dgm:constr type="l" for="ch" forName="text_2"/>
                <dgm:constr type="w" for="ch" forName="text_2" refType="h" refFor="ch" refForName="text_2" op="gte"/>
                <dgm:constr type="h" for="ch" forName="text_2" refType="h" refFor="ch" refForName="accent_2" fact="0.8"/>
                <dgm:constr type="ctrY" for="ch" forName="text_2" refType="ctrY" refFor="ch" refForName="accent_2"/>
                <dgm:constr type="rMarg" for="ch" forName="text_2" refType="w" refFor="ch" refForName="accent_2" fact="1.8"/>
                <dgm:constr type="h" for="ch" forName="accent_3" refType="h" fact="0.1136"/>
                <dgm:constr type="w" for="ch" forName="accent_3" refType="h" refFor="ch" refForName="accent_3" op="equ"/>
                <dgm:constr type="ctrY" for="ch" forName="accent_3" refType="h" fact="0.3636"/>
                <dgm:constr type="ctrX" for="ch" forName="accent_3" refType="w"/>
                <dgm:constr type="ctrXOff" for="ch" forName="accent_3" refType="h" fact="-0.2109"/>
                <dgm:constr type="r" for="ch" forName="text_3" refType="ctrX" refFor="ch" refForName="accent_3"/>
                <dgm:constr type="rOff" for="ch" forName="text_3" refType="ctrXOff" refFor="ch" refForName="accent_3"/>
                <dgm:constr type="l" for="ch" forName="text_3"/>
                <dgm:constr type="w" for="ch" forName="text_3" refType="h" refFor="ch" refForName="text_3" op="gte"/>
                <dgm:constr type="h" for="ch" forName="text_3" refType="h" refFor="ch" refForName="accent_3" fact="0.8"/>
                <dgm:constr type="ctrY" for="ch" forName="text_3" refType="ctrY" refFor="ch" refForName="accent_3"/>
                <dgm:constr type="rMarg" for="ch" forName="text_3" refType="w" refFor="ch" refForName="accent_3" fact="1.8"/>
                <dgm:constr type="h" for="ch" forName="accent_4" refType="h" fact="0.1136"/>
                <dgm:constr type="w" for="ch" forName="accent_4" refType="h" refFor="ch" refForName="accent_4" op="equ"/>
                <dgm:constr type="ctrY" for="ch" forName="accent_4" refType="h" fact="0.5"/>
                <dgm:constr type="ctrX" for="ch" forName="accent_4" refType="w"/>
                <dgm:constr type="ctrXOff" for="ch" forName="accent_4" refType="h" fact="-0.2253"/>
                <dgm:constr type="r" for="ch" forName="text_4" refType="ctrX" refFor="ch" refForName="accent_4"/>
                <dgm:constr type="rOff" for="ch" forName="text_4" refType="ctrXOff" refFor="ch" refForName="accent_4"/>
                <dgm:constr type="l" for="ch" forName="text_4"/>
                <dgm:constr type="w" for="ch" forName="text_4" refType="h" refFor="ch" refForName="text_4" op="gte"/>
                <dgm:constr type="h" for="ch" forName="text_4" refType="h" refFor="ch" refForName="accent_4" fact="0.8"/>
                <dgm:constr type="ctrY" for="ch" forName="text_4" refType="ctrY" refFor="ch" refForName="accent_4"/>
                <dgm:constr type="rMarg" for="ch" forName="text_4" refType="w" refFor="ch" refForName="accent_4" fact="1.8"/>
                <dgm:constr type="h" for="ch" forName="accent_5" refType="h" fact="0.1136"/>
                <dgm:constr type="w" for="ch" forName="accent_5" refType="h" refFor="ch" refForName="accent_5" op="equ"/>
                <dgm:constr type="ctrY" for="ch" forName="accent_5" refType="h" fact="0.6364"/>
                <dgm:constr type="ctrX" for="ch" forName="accent_5" refType="w"/>
                <dgm:constr type="ctrXOff" for="ch" forName="accent_5" refType="h" fact="-0.2109"/>
                <dgm:constr type="r" for="ch" forName="text_5" refType="ctrX" refFor="ch" refForName="accent_5"/>
                <dgm:constr type="rOff" for="ch" forName="text_5" refType="ctrXOff" refFor="ch" refForName="accent_5"/>
                <dgm:constr type="l" for="ch" forName="text_5"/>
                <dgm:constr type="w" for="ch" forName="text_5" refType="h" refFor="ch" refForName="text_5" op="gte"/>
                <dgm:constr type="h" for="ch" forName="text_5" refType="h" refFor="ch" refForName="accent_5" fact="0.8"/>
                <dgm:constr type="ctrY" for="ch" forName="text_5" refType="ctrY" refFor="ch" refForName="accent_5"/>
                <dgm:constr type="rMarg" for="ch" forName="text_5" refType="w" refFor="ch" refForName="accent_5" fact="1.8"/>
                <dgm:constr type="h" for="ch" forName="accent_6" refType="h" fact="0.1136"/>
                <dgm:constr type="w" for="ch" forName="accent_6" refType="h" refFor="ch" refForName="accent_6" op="equ"/>
                <dgm:constr type="ctrY" for="ch" forName="accent_6" refType="h" fact="0.7727"/>
                <dgm:constr type="ctrX" for="ch" forName="accent_6" refType="w"/>
                <dgm:constr type="ctrXOff" for="ch" forName="accent_6" refType="h" fact="-0.1658"/>
                <dgm:constr type="r" for="ch" forName="text_6" refType="ctrX" refFor="ch" refForName="accent_6"/>
                <dgm:constr type="rOff" for="ch" forName="text_6" refType="ctrXOff" refFor="ch" refForName="accent_6"/>
                <dgm:constr type="l" for="ch" forName="text_6"/>
                <dgm:constr type="w" for="ch" forName="text_6" refType="h" refFor="ch" refForName="text_6" op="gte"/>
                <dgm:constr type="h" for="ch" forName="text_6" refType="h" refFor="ch" refForName="accent_6" fact="0.8"/>
                <dgm:constr type="ctrY" for="ch" forName="text_6" refType="ctrY" refFor="ch" refForName="accent_6"/>
                <dgm:constr type="rMarg" for="ch" forName="text_6" refType="w" refFor="ch" refForName="accent_6" fact="1.8"/>
                <dgm:constr type="h" for="ch" forName="accent_7" refType="h" fact="0.1136"/>
                <dgm:constr type="w" for="ch" forName="accent_7" refType="h" refFor="ch" refForName="accent_7" op="equ"/>
                <dgm:constr type="ctrY" for="ch" forName="accent_7" refType="h" fact="0.9091"/>
                <dgm:constr type="ctrX" for="ch" forName="accent_7" refType="w"/>
                <dgm:constr type="ctrXOff" for="ch" forName="accent_7" refType="h" fact="-0.0835"/>
                <dgm:constr type="r" for="ch" forName="text_7" refType="ctrX" refFor="ch" refForName="accent_7"/>
                <dgm:constr type="rOff" for="ch" forName="text_7" refType="ctrXOff" refFor="ch" refForName="accent_7"/>
                <dgm:constr type="l" for="ch" forName="text_7"/>
                <dgm:constr type="w" for="ch" forName="text_7" refType="h" refFor="ch" refForName="text_7" op="gte"/>
                <dgm:constr type="h" for="ch" forName="text_7" refType="h" refFor="ch" refForName="accent_7" fact="0.8"/>
                <dgm:constr type="ctrY" for="ch" forName="text_7" refType="ctrY" refFor="ch" refForName="accent_7"/>
                <dgm:constr type="rMarg" for="ch" forName="text_7" refType="w" refFor="ch" refForName="accent_7" fact="1.8"/>
                <dgm:constr type="primFontSz" for="ch" ptType="node" op="equ" val="65"/>
              </dgm:constrLst>
            </dgm:else>
          </dgm:choose>
        </dgm:else>
      </dgm:choose>
      <dgm:layoutNode name="cycle">
        <dgm:choose name="Name21">
          <dgm:if name="Name22" func="var" arg="dir" op="equ" val="norm">
            <dgm:alg type="cycle">
              <dgm:param type="stAng" val="45"/>
              <dgm:param type="spanAng" val="90"/>
            </dgm:alg>
          </dgm:if>
          <dgm:else name="Name23">
            <dgm:alg type="cycle">
              <dgm:param type="stAng" val="225"/>
              <dgm:param type="spanAng" val="90"/>
            </dgm:alg>
          </dgm:else>
        </dgm:choose>
        <dgm:shape xmlns:r="http://schemas.openxmlformats.org/officeDocument/2006/relationships" r:blip="">
          <dgm:adjLst/>
        </dgm:shape>
        <dgm:presOf/>
        <dgm:constrLst>
          <dgm:constr type="w" for="ch" val="1"/>
          <dgm:constr type="h" for="ch" val="1"/>
          <dgm:constr type="diam" for="ch" forName="conn" refType="diam"/>
        </dgm:constrLst>
        <dgm:layoutNode name="srcNode">
          <dgm:alg type="sp"/>
          <dgm:shape xmlns:r="http://schemas.openxmlformats.org/officeDocument/2006/relationships" type="rect" r:blip="" hideGeom="1">
            <dgm:adjLst/>
          </dgm:shape>
          <dgm:presOf/>
        </dgm:layoutNode>
        <dgm:layoutNode name="conn" styleLbl="parChTrans1D2">
          <dgm:alg type="conn">
            <dgm:param type="connRout" val="curve"/>
            <dgm:param type="srcNode" val="srcNode"/>
            <dgm:param type="dstNode" val="dstNode"/>
            <dgm:param type="begPts" val="ctr"/>
            <dgm:param type="endPts" val="ctr"/>
            <dgm:param type="endSty" val="noArr"/>
          </dgm:alg>
          <dgm:shape xmlns:r="http://schemas.openxmlformats.org/officeDocument/2006/relationships" type="conn" r:blip="">
            <dgm:adjLst/>
          </dgm:shape>
          <dgm:presOf axis="desOrSelf" ptType="sibTrans" hideLastTrans="0" st="0" cnt="1"/>
          <dgm:constrLst>
            <dgm:constr type="begPad"/>
            <dgm:constr type="endPad"/>
          </dgm:constrLst>
        </dgm:layoutNode>
        <dgm:layoutNode name="extraNode">
          <dgm:alg type="sp"/>
          <dgm:shape xmlns:r="http://schemas.openxmlformats.org/officeDocument/2006/relationships" type="rect" r:blip="" hideGeom="1">
            <dgm:adjLst/>
          </dgm:shape>
          <dgm:presOf/>
        </dgm:layoutNode>
        <dgm:layoutNode name="dstNode">
          <dgm:alg type="sp"/>
          <dgm:shape xmlns:r="http://schemas.openxmlformats.org/officeDocument/2006/relationships" type="rect" r:blip="" hideGeom="1">
            <dgm:adjLst/>
          </dgm:shape>
          <dgm:presOf/>
        </dgm:layoutNode>
      </dgm:layoutNode>
      <dgm:forEach name="wrapper" axis="self" ptType="parTrans">
        <dgm:forEach name="wrapper2" axis="self" ptType="sibTrans" st="2">
          <dgm:forEach name="accentRepeat" axis="self">
            <dgm:layoutNode name="accentRepeatNode" styleLbl="solidFgAcc1">
              <dgm:alg type="sp"/>
              <dgm:shape xmlns:r="http://schemas.openxmlformats.org/officeDocument/2006/relationships" type="ellipse" r:blip="">
                <dgm:adjLst/>
              </dgm:shape>
              <dgm:presOf/>
            </dgm:layoutNode>
          </dgm:forEach>
        </dgm:forEach>
      </dgm:forEach>
      <dgm:forEach name="Name24" axis="ch" ptType="node" cnt="1">
        <dgm:layoutNode name="text_1" styleLbl="node1">
          <dgm:varLst>
            <dgm:bulletEnabled val="1"/>
          </dgm:varLst>
          <dgm:choose name="Name25">
            <dgm:if name="Name26" func="var" arg="dir" op="equ" val="norm">
              <dgm:alg type="tx">
                <dgm:param type="parTxLTRAlign" val="l"/>
                <dgm:param type="shpTxLTRAlignCh" val="l"/>
                <dgm:param type="parTxRTLAlign" val="l"/>
                <dgm:param type="shpTxRTLAlignCh" val="l"/>
              </dgm:alg>
            </dgm:if>
            <dgm:else name="Name2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1">
          <dgm:alg type="sp"/>
          <dgm:shape xmlns:r="http://schemas.openxmlformats.org/officeDocument/2006/relationships" r:blip="">
            <dgm:adjLst/>
          </dgm:shape>
          <dgm:presOf/>
          <dgm:constrLst/>
          <dgm:forEach name="Name28" ref="accentRepeat"/>
        </dgm:layoutNode>
      </dgm:forEach>
      <dgm:forEach name="Name29" axis="ch" ptType="node" st="2" cnt="1">
        <dgm:layoutNode name="text_2" styleLbl="node1">
          <dgm:varLst>
            <dgm:bulletEnabled val="1"/>
          </dgm:varLst>
          <dgm:choose name="Name30">
            <dgm:if name="Name31" func="var" arg="dir" op="equ" val="norm">
              <dgm:alg type="tx">
                <dgm:param type="parTxLTRAlign" val="l"/>
                <dgm:param type="shpTxLTRAlignCh" val="l"/>
                <dgm:param type="parTxRTLAlign" val="l"/>
                <dgm:param type="shpTxRTLAlignCh" val="l"/>
              </dgm:alg>
            </dgm:if>
            <dgm:else name="Name3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2">
          <dgm:alg type="sp"/>
          <dgm:shape xmlns:r="http://schemas.openxmlformats.org/officeDocument/2006/relationships" r:blip="">
            <dgm:adjLst/>
          </dgm:shape>
          <dgm:presOf/>
          <dgm:constrLst/>
          <dgm:forEach name="Name33" ref="accentRepeat"/>
        </dgm:layoutNode>
      </dgm:forEach>
      <dgm:forEach name="Name34" axis="ch" ptType="node" st="3" cnt="1">
        <dgm:layoutNode name="text_3" styleLbl="node1">
          <dgm:varLst>
            <dgm:bulletEnabled val="1"/>
          </dgm:varLst>
          <dgm:choose name="Name35">
            <dgm:if name="Name36" func="var" arg="dir" op="equ" val="norm">
              <dgm:alg type="tx">
                <dgm:param type="parTxLTRAlign" val="l"/>
                <dgm:param type="shpTxLTRAlignCh" val="l"/>
                <dgm:param type="parTxRTLAlign" val="l"/>
                <dgm:param type="shpTxRTLAlignCh" val="l"/>
              </dgm:alg>
            </dgm:if>
            <dgm:else name="Name3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3">
          <dgm:alg type="sp"/>
          <dgm:shape xmlns:r="http://schemas.openxmlformats.org/officeDocument/2006/relationships" r:blip="">
            <dgm:adjLst/>
          </dgm:shape>
          <dgm:presOf/>
          <dgm:constrLst/>
          <dgm:forEach name="Name38" ref="accentRepeat"/>
        </dgm:layoutNode>
      </dgm:forEach>
      <dgm:forEach name="Name39" axis="ch" ptType="node" st="4" cnt="1">
        <dgm:layoutNode name="text_4" styleLbl="node1">
          <dgm:varLst>
            <dgm:bulletEnabled val="1"/>
          </dgm:varLst>
          <dgm:choose name="Name40">
            <dgm:if name="Name41" func="var" arg="dir" op="equ" val="norm">
              <dgm:alg type="tx">
                <dgm:param type="parTxLTRAlign" val="l"/>
                <dgm:param type="shpTxLTRAlignCh" val="l"/>
                <dgm:param type="parTxRTLAlign" val="l"/>
                <dgm:param type="shpTxRTLAlignCh" val="l"/>
              </dgm:alg>
            </dgm:if>
            <dgm:else name="Name4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4">
          <dgm:alg type="sp"/>
          <dgm:shape xmlns:r="http://schemas.openxmlformats.org/officeDocument/2006/relationships" r:blip="">
            <dgm:adjLst/>
          </dgm:shape>
          <dgm:presOf/>
          <dgm:constrLst/>
          <dgm:forEach name="Name43" ref="accentRepeat"/>
        </dgm:layoutNode>
      </dgm:forEach>
      <dgm:forEach name="Name44" axis="ch" ptType="node" st="5" cnt="1">
        <dgm:layoutNode name="text_5" styleLbl="node1">
          <dgm:varLst>
            <dgm:bulletEnabled val="1"/>
          </dgm:varLst>
          <dgm:choose name="Name45">
            <dgm:if name="Name46" func="var" arg="dir" op="equ" val="norm">
              <dgm:alg type="tx">
                <dgm:param type="parTxLTRAlign" val="l"/>
                <dgm:param type="shpTxLTRAlignCh" val="l"/>
                <dgm:param type="parTxRTLAlign" val="l"/>
                <dgm:param type="shpTxRTLAlignCh" val="l"/>
              </dgm:alg>
            </dgm:if>
            <dgm:else name="Name4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5">
          <dgm:alg type="sp"/>
          <dgm:shape xmlns:r="http://schemas.openxmlformats.org/officeDocument/2006/relationships" r:blip="">
            <dgm:adjLst/>
          </dgm:shape>
          <dgm:presOf/>
          <dgm:constrLst/>
          <dgm:forEach name="Name48" ref="accentRepeat"/>
        </dgm:layoutNode>
      </dgm:forEach>
      <dgm:forEach name="Name49" axis="ch" ptType="node" st="6" cnt="1">
        <dgm:layoutNode name="text_6" styleLbl="node1">
          <dgm:varLst>
            <dgm:bulletEnabled val="1"/>
          </dgm:varLst>
          <dgm:choose name="Name50">
            <dgm:if name="Name51" func="var" arg="dir" op="equ" val="norm">
              <dgm:alg type="tx">
                <dgm:param type="parTxLTRAlign" val="l"/>
                <dgm:param type="shpTxLTRAlignCh" val="l"/>
                <dgm:param type="parTxRTLAlign" val="l"/>
                <dgm:param type="shpTxRTLAlignCh" val="l"/>
              </dgm:alg>
            </dgm:if>
            <dgm:else name="Name52">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6">
          <dgm:alg type="sp"/>
          <dgm:shape xmlns:r="http://schemas.openxmlformats.org/officeDocument/2006/relationships" r:blip="">
            <dgm:adjLst/>
          </dgm:shape>
          <dgm:presOf/>
          <dgm:constrLst/>
          <dgm:forEach name="Name53" ref="accentRepeat"/>
        </dgm:layoutNode>
      </dgm:forEach>
      <dgm:forEach name="Name54" axis="ch" ptType="node" st="7" cnt="1">
        <dgm:layoutNode name="text_7" styleLbl="node1">
          <dgm:varLst>
            <dgm:bulletEnabled val="1"/>
          </dgm:varLst>
          <dgm:choose name="Name55">
            <dgm:if name="Name56" func="var" arg="dir" op="equ" val="norm">
              <dgm:alg type="tx">
                <dgm:param type="parTxLTRAlign" val="l"/>
                <dgm:param type="shpTxLTRAlignCh" val="l"/>
                <dgm:param type="parTxRTLAlign" val="l"/>
                <dgm:param type="shpTxRTLAlignCh" val="l"/>
              </dgm:alg>
            </dgm:if>
            <dgm:else name="Name57">
              <dgm:alg type="tx">
                <dgm:param type="parTxLTRAlign" val="r"/>
                <dgm:param type="shpTxLTRAlignCh" val="r"/>
                <dgm:param type="parTxRTLAlign" val="r"/>
                <dgm:param type="shpTxRTLAlignCh" val="r"/>
              </dgm:alg>
            </dgm:else>
          </dgm:choose>
          <dgm:shape xmlns:r="http://schemas.openxmlformats.org/officeDocument/2006/relationships" type="rect" r:blip="">
            <dgm:adjLst/>
          </dgm:shape>
          <dgm:presOf axis="desOrSelf" ptType="node"/>
          <dgm:constrLst>
            <dgm:constr type="primFontSz" val="65"/>
            <dgm:constr type="lMarg" refType="primFontSz" fact="0.2"/>
            <dgm:constr type="rMarg" refType="primFontSz" fact="0.2"/>
            <dgm:constr type="tMarg" refType="primFontSz" fact="0.2"/>
            <dgm:constr type="bMarg" refType="primFontSz" fact="0.2"/>
          </dgm:constrLst>
          <dgm:ruleLst>
            <dgm:rule type="primFontSz" val="5" fact="NaN" max="NaN"/>
          </dgm:ruleLst>
        </dgm:layoutNode>
        <dgm:layoutNode name="accent_7">
          <dgm:alg type="sp"/>
          <dgm:shape xmlns:r="http://schemas.openxmlformats.org/officeDocument/2006/relationships" r:blip="">
            <dgm:adjLst/>
          </dgm:shape>
          <dgm:presOf/>
          <dgm:constrLst/>
          <dgm:forEach name="Name58" ref="accentRepeat"/>
        </dgm:layoutNode>
      </dgm:forEach>
    </dgm:layoutNode>
  </dgm:layoutNode>
</dgm:layoutDef>
</file>

<file path=ppt/diagrams/layout6.xml><?xml version="1.0" encoding="utf-8"?>
<dgm:layoutDef xmlns:dgm="http://schemas.openxmlformats.org/drawingml/2006/diagram" xmlns:a="http://schemas.openxmlformats.org/drawingml/2006/main" uniqueId="urn:microsoft.com/office/officeart/2005/8/layout/hierarchy2">
  <dgm:title val=""/>
  <dgm:desc val=""/>
  <dgm:catLst>
    <dgm:cat type="hierarchy" pri="5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diagram">
    <dgm:varLst>
      <dgm:chPref val="1"/>
      <dgm:dir/>
      <dgm:animOne val="branch"/>
      <dgm:animLvl val="lvl"/>
      <dgm:resizeHandles val="exact"/>
    </dgm:varLst>
    <dgm:choose name="Name0">
      <dgm:if name="Name1" func="var" arg="dir" op="equ" val="norm">
        <dgm:alg type="hierChild">
          <dgm:param type="linDir" val="fromT"/>
          <dgm:param type="chAlign" val="l"/>
        </dgm:alg>
      </dgm:if>
      <dgm:else name="Name2">
        <dgm:alg type="hierChild">
          <dgm:param type="linDir" val="fromT"/>
          <dgm:param type="chAlign" val="r"/>
        </dgm:alg>
      </dgm:else>
    </dgm:choose>
    <dgm:shape xmlns:r="http://schemas.openxmlformats.org/officeDocument/2006/relationships" r:blip="">
      <dgm:adjLst/>
    </dgm:shape>
    <dgm:presOf/>
    <dgm:constrLst>
      <dgm:constr type="h" for="des" ptType="node" refType="h"/>
      <dgm:constr type="w" for="des" ptType="node" refType="h" refFor="des" refPtType="node" fact="2"/>
      <dgm:constr type="sibSp" refType="h" refFor="des" refPtType="node" op="equ" fact="0.15"/>
      <dgm:constr type="sibSp" for="des" forName="level2hierChild" refType="h" refFor="des" refPtType="node" op="equ" fact="0.15"/>
      <dgm:constr type="sibSp" for="des" forName="level3hierChild" refType="h" refFor="des" refPtType="node" op="equ" fact="0.15"/>
      <dgm:constr type="sp" for="des" forName="root1" refType="w" refFor="des" refPtType="node" fact="0.4"/>
      <dgm:constr type="sp" for="des" forName="root2" refType="sp" refFor="des" refForName="root1" op="equ"/>
      <dgm:constr type="primFontSz" for="des" ptType="node" op="equ" val="65"/>
      <dgm:constr type="primFontSz" for="des" forName="connTx" op="equ" val="55"/>
      <dgm:constr type="primFontSz" for="des" forName="connTx" refType="primFontSz" refFor="des" refPtType="node" op="lte" fact="0.8"/>
    </dgm:constrLst>
    <dgm:ruleLst/>
    <dgm:forEach name="Name3" axis="ch">
      <dgm:forEach name="Name4" axis="self" ptType="node">
        <dgm:layoutNode name="root1">
          <dgm:choose name="Name5">
            <dgm:if name="Name6" func="var" arg="dir" op="equ" val="norm">
              <dgm:alg type="hierRoot">
                <dgm:param type="hierAlign" val="lCtrCh"/>
              </dgm:alg>
            </dgm:if>
            <dgm:else name="Name7">
              <dgm:alg type="hierRoot">
                <dgm:param type="hierAlign" val="rCtrCh"/>
              </dgm:alg>
            </dgm:else>
          </dgm:choose>
          <dgm:shape xmlns:r="http://schemas.openxmlformats.org/officeDocument/2006/relationships" r:blip="">
            <dgm:adjLst/>
          </dgm:shape>
          <dgm:presOf/>
          <dgm:constrLst/>
          <dgm:ruleLst/>
          <dgm:layoutNode name="LevelOneTextNod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2hierChild">
            <dgm:choose name="Name8">
              <dgm:if name="Name9" func="var" arg="dir" op="equ" val="norm">
                <dgm:alg type="hierChild">
                  <dgm:param type="linDir" val="fromT"/>
                  <dgm:param type="chAlign" val="l"/>
                </dgm:alg>
              </dgm:if>
              <dgm:else name="Name10">
                <dgm:alg type="hierChild">
                  <dgm:param type="linDir" val="fromT"/>
                  <dgm:param type="chAlign" val="r"/>
                </dgm:alg>
              </dgm:else>
            </dgm:choose>
            <dgm:shape xmlns:r="http://schemas.openxmlformats.org/officeDocument/2006/relationships" r:blip="">
              <dgm:adjLst/>
            </dgm:shape>
            <dgm:presOf/>
            <dgm:constrLst/>
            <dgm:ruleLst/>
            <dgm:forEach name="repeat" axis="ch">
              <dgm:forEach name="Name11" axis="self" ptType="parTrans" cnt="1">
                <dgm:layoutNode name="conn2-1">
                  <dgm:choose name="Name12">
                    <dgm:if name="Name13" func="var" arg="dir" op="equ" val="norm">
                      <dgm:alg type="conn">
                        <dgm:param type="dim" val="1D"/>
                        <dgm:param type="begPts" val="midR"/>
                        <dgm:param type="endPts" val="midL"/>
                        <dgm:param type="endSty" val="noArr"/>
                      </dgm:alg>
                    </dgm:if>
                    <dgm:else name="Name14">
                      <dgm:alg type="conn">
                        <dgm:param type="dim" val="1D"/>
                        <dgm:param type="begPts" val="midL"/>
                        <dgm:param type="endPts" val="midR"/>
                        <dgm:param type="endSty" val="noArr"/>
                      </dgm:alg>
                    </dgm:else>
                  </dgm:choose>
                  <dgm:shape xmlns:r="http://schemas.openxmlformats.org/officeDocument/2006/relationships" type="conn" r:blip="">
                    <dgm:adjLst/>
                  </dgm:shape>
                  <dgm:presOf axis="self"/>
                  <dgm:constrLst>
                    <dgm:constr type="w" val="1"/>
                    <dgm:constr type="h" val="5"/>
                    <dgm:constr type="connDist"/>
                    <dgm:constr type="begPad"/>
                    <dgm:constr type="endPad"/>
                    <dgm:constr type="userA" for="ch" refType="connDist"/>
                  </dgm:constrLst>
                  <dgm:ruleLst/>
                  <dgm:layoutNode name="connTx">
                    <dgm:alg type="tx">
                      <dgm:param type="autoTxRot" val="grav"/>
                    </dgm:alg>
                    <dgm:shape xmlns:r="http://schemas.openxmlformats.org/officeDocument/2006/relationships" type="rect" r:blip="" hideGeom="1">
                      <dgm:adjLst/>
                    </dgm:shape>
                    <dgm:presOf axis="self"/>
                    <dgm:constrLst>
                      <dgm:constr type="userA"/>
                      <dgm:constr type="w" refType="userA" fact="0.05"/>
                      <dgm:constr type="h" refType="userA" fact="0.05"/>
                      <dgm:constr type="lMarg" val="1"/>
                      <dgm:constr type="rMarg" val="1"/>
                      <dgm:constr type="tMarg"/>
                      <dgm:constr type="bMarg"/>
                    </dgm:constrLst>
                    <dgm:ruleLst>
                      <dgm:rule type="h" val="NaN" fact="0.25" max="NaN"/>
                      <dgm:rule type="w" val="NaN" fact="0.8" max="NaN"/>
                      <dgm:rule type="primFontSz" val="5" fact="NaN" max="NaN"/>
                    </dgm:ruleLst>
                  </dgm:layoutNode>
                </dgm:layoutNode>
              </dgm:forEach>
              <dgm:forEach name="Name15" axis="self" ptType="node">
                <dgm:layoutNode name="root2">
                  <dgm:choose name="Name16">
                    <dgm:if name="Name17" func="var" arg="dir" op="equ" val="norm">
                      <dgm:alg type="hierRoot">
                        <dgm:param type="hierAlign" val="lCtrCh"/>
                      </dgm:alg>
                    </dgm:if>
                    <dgm:else name="Name18">
                      <dgm:alg type="hierRoot">
                        <dgm:param type="hierAlign" val="rCtrCh"/>
                      </dgm:alg>
                    </dgm:else>
                  </dgm:choose>
                  <dgm:shape xmlns:r="http://schemas.openxmlformats.org/officeDocument/2006/relationships" r:blip="">
                    <dgm:adjLst/>
                  </dgm:shape>
                  <dgm:presOf/>
                  <dgm:constrLst/>
                  <dgm:ruleLst/>
                  <dgm:layoutNode name="LevelTwoTextNode">
                    <dgm:varLst>
                      <dgm:chPref val="3"/>
                    </dgm:varLst>
                    <dgm:alg type="tx"/>
                    <dgm:shape xmlns:r="http://schemas.openxmlformats.org/officeDocument/2006/relationships" type="roundRect" r:blip="">
                      <dgm:adjLst>
                        <dgm:adj idx="1" val="0.1"/>
                      </dgm:adjLst>
                    </dgm:shape>
                    <dgm:presOf axis="self"/>
                    <dgm:constrLst>
                      <dgm:constr type="tMarg" refType="primFontSz" fact="0.05"/>
                      <dgm:constr type="bMarg" refType="primFontSz" fact="0.05"/>
                      <dgm:constr type="lMarg" refType="primFontSz" fact="0.05"/>
                      <dgm:constr type="rMarg" refType="primFontSz" fact="0.05"/>
                    </dgm:constrLst>
                    <dgm:ruleLst>
                      <dgm:rule type="primFontSz" val="5" fact="NaN" max="NaN"/>
                    </dgm:ruleLst>
                  </dgm:layoutNode>
                  <dgm:layoutNode name="level3hierChild">
                    <dgm:choose name="Name19">
                      <dgm:if name="Name20" func="var" arg="dir" op="equ" val="norm">
                        <dgm:alg type="hierChild">
                          <dgm:param type="linDir" val="fromT"/>
                          <dgm:param type="chAlign" val="l"/>
                        </dgm:alg>
                      </dgm:if>
                      <dgm:else name="Name21">
                        <dgm:alg type="hierChild">
                          <dgm:param type="linDir" val="fromT"/>
                          <dgm:param type="chAlign" val="r"/>
                        </dgm:alg>
                      </dgm:else>
                    </dgm:choose>
                    <dgm:shape xmlns:r="http://schemas.openxmlformats.org/officeDocument/2006/relationships" r:blip="">
                      <dgm:adjLst/>
                    </dgm:shape>
                    <dgm:presOf/>
                    <dgm:constrLst/>
                    <dgm:ruleLst/>
                    <dgm:forEach name="Name22" ref="repeat"/>
                  </dgm:layoutNode>
                </dgm:layoutNode>
              </dgm:forEach>
            </dgm:forEach>
          </dgm:layoutNode>
        </dgm:layoutNode>
      </dgm:forEach>
    </dgm:forEach>
  </dgm:layoutNode>
</dgm:layoutDef>
</file>

<file path=ppt/diagrams/layout7.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layout8.xml><?xml version="1.0" encoding="utf-8"?>
<dgm:layoutDef xmlns:dgm="http://schemas.openxmlformats.org/drawingml/2006/diagram" xmlns:a="http://schemas.openxmlformats.org/drawingml/2006/main" uniqueId="urn:microsoft.com/office/officeart/2005/8/layout/hProcess9">
  <dgm:title val=""/>
  <dgm:desc val=""/>
  <dgm:catLst>
    <dgm:cat type="process" pri="5000"/>
    <dgm:cat type="convert" pri="1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CompostProcess">
    <dgm:varLst>
      <dgm:dir/>
      <dgm:resizeHandles val="exact"/>
    </dgm:varLst>
    <dgm:alg type="composite">
      <dgm:param type="horzAlign" val="ctr"/>
      <dgm:param type="vertAlign" val="mid"/>
    </dgm:alg>
    <dgm:shape xmlns:r="http://schemas.openxmlformats.org/officeDocument/2006/relationships" r:blip="">
      <dgm:adjLst/>
    </dgm:shape>
    <dgm:presOf/>
    <dgm:constrLst>
      <dgm:constr type="w" for="ch" forName="arrow" refType="w" fact="0.85"/>
      <dgm:constr type="h" for="ch" forName="arrow" refType="h"/>
      <dgm:constr type="ctrX" for="ch" forName="arrow" refType="w" fact="0.5"/>
      <dgm:constr type="ctrY" for="ch" forName="arrow" refType="h" fact="0.5"/>
      <dgm:constr type="w" for="ch" forName="linearProcess" refType="w"/>
      <dgm:constr type="h" for="ch" forName="linearProcess" refType="h" fact="0.4"/>
      <dgm:constr type="ctrX" for="ch" forName="linearProcess" refType="w" fact="0.5"/>
      <dgm:constr type="ctrY" for="ch" forName="linearProcess" refType="h" fact="0.5"/>
    </dgm:constrLst>
    <dgm:ruleLst/>
    <dgm:layoutNode name="arrow" styleLbl="bgShp">
      <dgm:alg type="sp"/>
      <dgm:choose name="Name0">
        <dgm:if name="Name1" func="var" arg="dir" op="equ" val="norm">
          <dgm:shape xmlns:r="http://schemas.openxmlformats.org/officeDocument/2006/relationships" type="rightArrow" r:blip="">
            <dgm:adjLst/>
          </dgm:shape>
        </dgm:if>
        <dgm:else name="Name2">
          <dgm:shape xmlns:r="http://schemas.openxmlformats.org/officeDocument/2006/relationships" type="leftArrow" r:blip="">
            <dgm:adjLst/>
          </dgm:shape>
        </dgm:else>
      </dgm:choose>
      <dgm:presOf/>
      <dgm:constrLst/>
      <dgm:ruleLst/>
    </dgm:layoutNode>
    <dgm:layoutNode name="linearProcess">
      <dgm:choose name="Name3">
        <dgm:if name="Name4" func="var" arg="dir" op="equ" val="norm">
          <dgm:alg type="lin"/>
        </dgm:if>
        <dgm:else name="Name5">
          <dgm:alg type="lin">
            <dgm:param type="linDir" val="fromR"/>
          </dgm:alg>
        </dgm:else>
      </dgm:choose>
      <dgm:shape xmlns:r="http://schemas.openxmlformats.org/officeDocument/2006/relationships" r:blip="">
        <dgm:adjLst/>
      </dgm:shape>
      <dgm:presOf/>
      <dgm:constrLst>
        <dgm:constr type="userA" for="ch" ptType="node" refType="w"/>
        <dgm:constr type="h" for="ch" ptType="node" refType="h"/>
        <dgm:constr type="w" for="ch" ptType="node" op="equ"/>
        <dgm:constr type="w" for="ch" forName="sibTrans" refType="w" fact="0.05"/>
        <dgm:constr type="primFontSz" for="ch" ptType="node" op="equ" val="65"/>
      </dgm:constrLst>
      <dgm:ruleLst/>
      <dgm:forEach name="Name6" axis="ch" ptType="node">
        <dgm:layoutNode name="textNode" styleLbl="node1">
          <dgm:varLst>
            <dgm:bulletEnabled val="1"/>
          </dgm:varLst>
          <dgm:alg type="tx"/>
          <dgm:shape xmlns:r="http://schemas.openxmlformats.org/officeDocument/2006/relationships" type="roundRect" r:blip="">
            <dgm:adjLst/>
          </dgm:shape>
          <dgm:presOf axis="desOrSelf" ptType="node"/>
          <dgm:constrLst>
            <dgm:constr type="userA"/>
            <dgm:constr type="w" refType="userA" fact="0.3"/>
            <dgm:constr type="tMarg" refType="primFontSz" fact="0.3"/>
            <dgm:constr type="bMarg" refType="primFontSz" fact="0.3"/>
            <dgm:constr type="lMarg" refType="primFontSz" fact="0.3"/>
            <dgm:constr type="rMarg" refType="primFontSz" fact="0.3"/>
          </dgm:constrLst>
          <dgm:ruleLst>
            <dgm:rule type="w" val="NaN" fact="1" max="NaN"/>
            <dgm:rule type="primFontSz" val="5" fact="NaN" max="NaN"/>
          </dgm:ruleLst>
        </dgm:layoutNode>
        <dgm:forEach name="Name7" axis="followSib" ptType="sibTrans" cnt="1">
          <dgm:layoutNode name="sibTrans">
            <dgm:alg type="sp"/>
            <dgm:shape xmlns:r="http://schemas.openxmlformats.org/officeDocument/2006/relationships" r:blip="">
              <dgm:adjLst/>
            </dgm:shape>
            <dgm:presOf/>
            <dgm:constrLst/>
            <dgm:ruleLst/>
          </dgm:layoutNode>
        </dgm:forEach>
      </dgm:forEach>
    </dgm:layoutNode>
  </dgm:layoutNode>
</dgm:layoutDef>
</file>

<file path=ppt/diagrams/layout9.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Überschriftenplatzhalt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vl1pPr>
          </a:lstStyle>
          <a:p>
            <a:endParaRPr lang="de-DE" dirty="0">
              <a:latin typeface="GT America" panose="020B0604020202020204" pitchFamily="34" charset="0"/>
            </a:endParaRPr>
          </a:p>
        </p:txBody>
      </p:sp>
      <p:sp>
        <p:nvSpPr>
          <p:cNvPr id="3" name="Datumsplatzhalter 2"/>
          <p:cNvSpPr>
            <a:spLocks noGrp="1"/>
          </p:cNvSpPr>
          <p:nvPr>
            <p:ph type="dt" sz="quarter" idx="1"/>
          </p:nvPr>
        </p:nvSpPr>
        <p:spPr>
          <a:xfrm>
            <a:off x="3850443" y="0"/>
            <a:ext cx="2945659" cy="496332"/>
          </a:xfrm>
          <a:prstGeom prst="rect">
            <a:avLst/>
          </a:prstGeom>
        </p:spPr>
        <p:txBody>
          <a:bodyPr vert="horz" lIns="91440" tIns="45720" rIns="91440" bIns="45720" rtlCol="0"/>
          <a:lstStyle>
            <a:lvl1pPr algn="r">
              <a:defRPr sz="1200"/>
            </a:lvl1pPr>
          </a:lstStyle>
          <a:p>
            <a:fld id="{6427875B-CA47-FA49-97C5-D3B545E6FF0D}" type="datetime1">
              <a:rPr lang="de-DE" smtClean="0">
                <a:latin typeface="GT America" panose="020B0604020202020204" pitchFamily="34" charset="0"/>
              </a:rPr>
              <a:t>12.02.2025</a:t>
            </a:fld>
            <a:endParaRPr lang="de-DE" dirty="0">
              <a:latin typeface="GT America" panose="020B0604020202020204" pitchFamily="34" charset="0"/>
            </a:endParaRPr>
          </a:p>
        </p:txBody>
      </p:sp>
      <p:sp>
        <p:nvSpPr>
          <p:cNvPr id="4" name="Fußzeilenplatzhalter 3"/>
          <p:cNvSpPr>
            <a:spLocks noGrp="1"/>
          </p:cNvSpPr>
          <p:nvPr>
            <p:ph type="ftr" sz="quarter" idx="2"/>
          </p:nvPr>
        </p:nvSpPr>
        <p:spPr>
          <a:xfrm>
            <a:off x="0" y="9428583"/>
            <a:ext cx="2945659" cy="496332"/>
          </a:xfrm>
          <a:prstGeom prst="rect">
            <a:avLst/>
          </a:prstGeom>
        </p:spPr>
        <p:txBody>
          <a:bodyPr vert="horz" lIns="91440" tIns="45720" rIns="91440" bIns="45720" rtlCol="0" anchor="b"/>
          <a:lstStyle>
            <a:lvl1pPr algn="l">
              <a:defRPr sz="1200"/>
            </a:lvl1pPr>
          </a:lstStyle>
          <a:p>
            <a:endParaRPr lang="de-DE" dirty="0">
              <a:latin typeface="GT America" panose="020B0604020202020204" pitchFamily="34" charset="0"/>
            </a:endParaRPr>
          </a:p>
        </p:txBody>
      </p:sp>
      <p:sp>
        <p:nvSpPr>
          <p:cNvPr id="5" name="Foliennummernplatzhalter 4"/>
          <p:cNvSpPr>
            <a:spLocks noGrp="1"/>
          </p:cNvSpPr>
          <p:nvPr>
            <p:ph type="sldNum" sz="quarter" idx="3"/>
          </p:nvPr>
        </p:nvSpPr>
        <p:spPr>
          <a:xfrm>
            <a:off x="3850443" y="9428583"/>
            <a:ext cx="2945659" cy="496332"/>
          </a:xfrm>
          <a:prstGeom prst="rect">
            <a:avLst/>
          </a:prstGeom>
        </p:spPr>
        <p:txBody>
          <a:bodyPr vert="horz" lIns="91440" tIns="45720" rIns="91440" bIns="45720" rtlCol="0" anchor="b"/>
          <a:lstStyle>
            <a:lvl1pPr algn="r">
              <a:defRPr sz="1200"/>
            </a:lvl1pPr>
          </a:lstStyle>
          <a:p>
            <a:fld id="{DDC18DFC-9FCA-D944-A230-740BE9B04ED8}" type="slidenum">
              <a:rPr lang="de-DE" smtClean="0">
                <a:latin typeface="GT America" panose="020B0604020202020204" pitchFamily="34" charset="0"/>
              </a:rPr>
              <a:t>‹N›</a:t>
            </a:fld>
            <a:endParaRPr lang="de-DE" dirty="0">
              <a:latin typeface="GT America" panose="020B0604020202020204" pitchFamily="34" charset="0"/>
            </a:endParaRPr>
          </a:p>
        </p:txBody>
      </p:sp>
    </p:spTree>
    <p:extLst>
      <p:ext uri="{BB962C8B-B14F-4D97-AF65-F5344CB8AC3E}">
        <p14:creationId xmlns:p14="http://schemas.microsoft.com/office/powerpoint/2010/main" val="3473943370"/>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5659" cy="496332"/>
          </a:xfrm>
          <a:prstGeom prst="rect">
            <a:avLst/>
          </a:prstGeom>
        </p:spPr>
        <p:txBody>
          <a:bodyPr vert="horz" lIns="91440" tIns="45720" rIns="91440" bIns="45720" rtlCol="0"/>
          <a:lstStyle>
            <a:lvl1pPr algn="l">
              <a:defRPr sz="1200">
                <a:latin typeface="GT America" panose="00000500000000000000" pitchFamily="2" charset="0"/>
                <a:cs typeface="GT America" panose="020B0604020202020204" pitchFamily="34" charset="0"/>
                <a:sym typeface="GT America" panose="00000500000000000000" pitchFamily="2" charset="0"/>
              </a:defRPr>
            </a:lvl1pPr>
          </a:lstStyle>
          <a:p>
            <a:endParaRPr lang="en-US" dirty="0"/>
          </a:p>
        </p:txBody>
      </p:sp>
      <p:sp>
        <p:nvSpPr>
          <p:cNvPr id="3" name="Datumsplatzhalter 2"/>
          <p:cNvSpPr>
            <a:spLocks noGrp="1"/>
          </p:cNvSpPr>
          <p:nvPr>
            <p:ph type="dt" idx="1"/>
          </p:nvPr>
        </p:nvSpPr>
        <p:spPr>
          <a:xfrm>
            <a:off x="3850443" y="0"/>
            <a:ext cx="2945659" cy="496332"/>
          </a:xfrm>
          <a:prstGeom prst="rect">
            <a:avLst/>
          </a:prstGeom>
        </p:spPr>
        <p:txBody>
          <a:bodyPr vert="horz" lIns="91440" tIns="45720" rIns="91440" bIns="45720" rtlCol="0"/>
          <a:lstStyle>
            <a:lvl1pPr algn="r">
              <a:defRPr sz="1200">
                <a:latin typeface="GT America" panose="00000500000000000000" pitchFamily="2" charset="0"/>
                <a:cs typeface="GT America" panose="020B0604020202020204" pitchFamily="34" charset="0"/>
                <a:sym typeface="GT America" panose="00000500000000000000" pitchFamily="2" charset="0"/>
              </a:defRPr>
            </a:lvl1pPr>
          </a:lstStyle>
          <a:p>
            <a:fld id="{46E04166-0329-2A4F-ABDD-FC90F497E6CB}" type="datetime1">
              <a:rPr lang="de-DE" smtClean="0"/>
              <a:pPr/>
              <a:t>12.02.2025</a:t>
            </a:fld>
            <a:endParaRPr lang="en-US" dirty="0"/>
          </a:p>
        </p:txBody>
      </p:sp>
      <p:sp>
        <p:nvSpPr>
          <p:cNvPr id="4" name="Folienbildplatzhalt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1440" tIns="45720" rIns="91440" bIns="45720" rtlCol="0" anchor="ctr"/>
          <a:lstStyle/>
          <a:p>
            <a:endParaRPr lang="en-US" dirty="0">
              <a:latin typeface="GT America"/>
            </a:endParaRPr>
          </a:p>
        </p:txBody>
      </p:sp>
      <p:sp>
        <p:nvSpPr>
          <p:cNvPr id="5" name="Notizenplatzhalter 4"/>
          <p:cNvSpPr>
            <a:spLocks noGrp="1"/>
          </p:cNvSpPr>
          <p:nvPr>
            <p:ph type="body" sz="quarter" idx="3"/>
          </p:nvPr>
        </p:nvSpPr>
        <p:spPr>
          <a:xfrm>
            <a:off x="679768" y="4715153"/>
            <a:ext cx="5438140" cy="4466987"/>
          </a:xfrm>
          <a:prstGeom prst="rect">
            <a:avLst/>
          </a:prstGeom>
        </p:spPr>
        <p:txBody>
          <a:bodyPr vert="horz" lIns="91440" tIns="45720" rIns="91440" bIns="45720" rtlCol="0"/>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US" dirty="0"/>
          </a:p>
        </p:txBody>
      </p:sp>
      <p:sp>
        <p:nvSpPr>
          <p:cNvPr id="6" name="Fußzeilenplatzhalter 5"/>
          <p:cNvSpPr>
            <a:spLocks noGrp="1"/>
          </p:cNvSpPr>
          <p:nvPr>
            <p:ph type="ftr" sz="quarter" idx="4"/>
          </p:nvPr>
        </p:nvSpPr>
        <p:spPr>
          <a:xfrm>
            <a:off x="0" y="9428583"/>
            <a:ext cx="2945659" cy="496332"/>
          </a:xfrm>
          <a:prstGeom prst="rect">
            <a:avLst/>
          </a:prstGeom>
        </p:spPr>
        <p:txBody>
          <a:bodyPr vert="horz" lIns="91440" tIns="45720" rIns="91440" bIns="45720" rtlCol="0" anchor="b"/>
          <a:lstStyle>
            <a:lvl1pPr algn="l">
              <a:defRPr sz="1200">
                <a:latin typeface="GT America" panose="00000500000000000000" pitchFamily="2" charset="0"/>
                <a:cs typeface="GT America" panose="020B0604020202020204" pitchFamily="34" charset="0"/>
                <a:sym typeface="GT America" panose="00000500000000000000" pitchFamily="2" charset="0"/>
              </a:defRPr>
            </a:lvl1pPr>
          </a:lstStyle>
          <a:p>
            <a:endParaRPr lang="en-US" dirty="0"/>
          </a:p>
        </p:txBody>
      </p:sp>
      <p:sp>
        <p:nvSpPr>
          <p:cNvPr id="7" name="Foliennummernplatzhalter 6"/>
          <p:cNvSpPr>
            <a:spLocks noGrp="1"/>
          </p:cNvSpPr>
          <p:nvPr>
            <p:ph type="sldNum" sz="quarter" idx="5"/>
          </p:nvPr>
        </p:nvSpPr>
        <p:spPr>
          <a:xfrm>
            <a:off x="3850443" y="9428583"/>
            <a:ext cx="2945659" cy="496332"/>
          </a:xfrm>
          <a:prstGeom prst="rect">
            <a:avLst/>
          </a:prstGeom>
        </p:spPr>
        <p:txBody>
          <a:bodyPr vert="horz" lIns="91440" tIns="45720" rIns="91440" bIns="45720" rtlCol="0" anchor="b"/>
          <a:lstStyle>
            <a:lvl1pPr algn="r">
              <a:defRPr sz="1200">
                <a:latin typeface="GT America" panose="00000500000000000000" pitchFamily="2" charset="0"/>
                <a:cs typeface="GT America" panose="020B0604020202020204" pitchFamily="34" charset="0"/>
                <a:sym typeface="GT America" panose="00000500000000000000" pitchFamily="2" charset="0"/>
              </a:defRPr>
            </a:lvl1pPr>
          </a:lstStyle>
          <a:p>
            <a:fld id="{8B06FBF5-0168-4384-9FE9-2931CD60313C}" type="slidenum">
              <a:rPr lang="en-US" smtClean="0"/>
              <a:pPr/>
              <a:t>‹N›</a:t>
            </a:fld>
            <a:endParaRPr lang="en-US" dirty="0"/>
          </a:p>
        </p:txBody>
      </p:sp>
    </p:spTree>
    <p:extLst>
      <p:ext uri="{BB962C8B-B14F-4D97-AF65-F5344CB8AC3E}">
        <p14:creationId xmlns:p14="http://schemas.microsoft.com/office/powerpoint/2010/main" val="2691939734"/>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1pPr>
    <a:lvl2pPr marL="457200" algn="l" defTabSz="914400" rtl="0" eaLnBrk="1" latinLnBrk="0" hangingPunct="1">
      <a:defRPr sz="12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2pPr>
    <a:lvl3pPr marL="914400" algn="l" defTabSz="914400" rtl="0" eaLnBrk="1" latinLnBrk="0" hangingPunct="1">
      <a:defRPr sz="12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3pPr>
    <a:lvl4pPr marL="1371600" algn="l" defTabSz="914400" rtl="0" eaLnBrk="1" latinLnBrk="0" hangingPunct="1">
      <a:defRPr sz="12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4pPr>
    <a:lvl5pPr marL="1828800" algn="l" defTabSz="914400" rtl="0" eaLnBrk="1" latinLnBrk="0" hangingPunct="1">
      <a:defRPr sz="12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fld id="{8B06FBF5-0168-4384-9FE9-2931CD60313C}" type="slidenum">
              <a:rPr lang="en-US" smtClean="0"/>
              <a:pPr/>
              <a:t>1</a:t>
            </a:fld>
            <a:endParaRPr lang="en-US" dirty="0"/>
          </a:p>
        </p:txBody>
      </p:sp>
    </p:spTree>
    <p:extLst>
      <p:ext uri="{BB962C8B-B14F-4D97-AF65-F5344CB8AC3E}">
        <p14:creationId xmlns:p14="http://schemas.microsoft.com/office/powerpoint/2010/main" val="9989561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fld id="{8B06FBF5-0168-4384-9FE9-2931CD60313C}" type="slidenum">
              <a:rPr lang="en-US" smtClean="0"/>
              <a:pPr/>
              <a:t>2</a:t>
            </a:fld>
            <a:endParaRPr lang="en-US" dirty="0"/>
          </a:p>
        </p:txBody>
      </p:sp>
    </p:spTree>
    <p:extLst>
      <p:ext uri="{BB962C8B-B14F-4D97-AF65-F5344CB8AC3E}">
        <p14:creationId xmlns:p14="http://schemas.microsoft.com/office/powerpoint/2010/main" val="3561789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06FBF5-0168-4384-9FE9-2931CD60313C}" type="slidenum">
              <a:rPr kumimoji="0" lang="en-US" sz="1200" b="0" i="0" u="none" strike="noStrike" kern="1200" cap="none" spc="0" normalizeH="0" baseline="0" noProof="0" smtClean="0">
                <a:ln>
                  <a:noFill/>
                </a:ln>
                <a:solidFill>
                  <a:prstClr val="black"/>
                </a:solidFill>
                <a:effectLst/>
                <a:uLnTx/>
                <a:uFillTx/>
                <a:latin typeface="GT America" panose="00000500000000000000" pitchFamily="2" charset="0"/>
                <a:ea typeface="+mn-ea"/>
                <a:sym typeface="GT America" panose="00000500000000000000" pitchFamily="2" charset="0"/>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dirty="0">
              <a:ln>
                <a:noFill/>
              </a:ln>
              <a:solidFill>
                <a:prstClr val="black"/>
              </a:solidFill>
              <a:effectLst/>
              <a:uLnTx/>
              <a:uFillTx/>
              <a:latin typeface="GT America" panose="00000500000000000000" pitchFamily="2" charset="0"/>
              <a:ea typeface="+mn-ea"/>
              <a:sym typeface="GT America" panose="00000500000000000000" pitchFamily="2" charset="0"/>
            </a:endParaRPr>
          </a:p>
        </p:txBody>
      </p:sp>
    </p:spTree>
    <p:extLst>
      <p:ext uri="{BB962C8B-B14F-4D97-AF65-F5344CB8AC3E}">
        <p14:creationId xmlns:p14="http://schemas.microsoft.com/office/powerpoint/2010/main" val="4264765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Folienbildplatzhalt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126979" name="Notizenplatzhalter 2"/>
          <p:cNvSpPr>
            <a:spLocks noGrp="1"/>
          </p:cNvSpPr>
          <p:nvPr>
            <p:ph type="body" idx="1"/>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spcBef>
                <a:spcPct val="0"/>
              </a:spcBef>
            </a:pPr>
            <a:endParaRPr lang="de-DE" altLang="de-DE">
              <a:latin typeface="Arial" charset="0"/>
              <a:cs typeface="Arial" charset="0"/>
            </a:endParaRPr>
          </a:p>
        </p:txBody>
      </p:sp>
      <p:sp>
        <p:nvSpPr>
          <p:cNvPr id="126980" name="Foliennummernplatzhalter 3"/>
          <p:cNvSpPr>
            <a:spLocks noGrp="1"/>
          </p:cNvSpPr>
          <p:nvPr>
            <p:ph type="sldNum" sz="quarter" idx="5"/>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fld id="{3156A83F-B66C-4482-BAC9-1ABDEB352A22}" type="slidenum">
              <a:rPr lang="en-US" altLang="de-DE"/>
              <a:pPr/>
              <a:t>34</a:t>
            </a:fld>
            <a:endParaRPr lang="en-US" altLang="de-DE"/>
          </a:p>
        </p:txBody>
      </p:sp>
    </p:spTree>
    <p:extLst>
      <p:ext uri="{BB962C8B-B14F-4D97-AF65-F5344CB8AC3E}">
        <p14:creationId xmlns:p14="http://schemas.microsoft.com/office/powerpoint/2010/main" val="368329814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14.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15.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16.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17.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18.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19.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3.xml"/><Relationship Id="rId1" Type="http://schemas.openxmlformats.org/officeDocument/2006/relationships/tags" Target="../tags/tag24.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3.xml"/><Relationship Id="rId1" Type="http://schemas.openxmlformats.org/officeDocument/2006/relationships/tags" Target="../tags/tag25.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3.xml"/><Relationship Id="rId1" Type="http://schemas.openxmlformats.org/officeDocument/2006/relationships/tags" Target="../tags/tag26.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3.xml"/><Relationship Id="rId1" Type="http://schemas.openxmlformats.org/officeDocument/2006/relationships/tags" Target="../tags/tag2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3.xml"/><Relationship Id="rId1" Type="http://schemas.openxmlformats.org/officeDocument/2006/relationships/tags" Target="../tags/tag28.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3.xml"/><Relationship Id="rId1" Type="http://schemas.openxmlformats.org/officeDocument/2006/relationships/tags" Target="../tags/tag29.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3.xml"/><Relationship Id="rId1" Type="http://schemas.openxmlformats.org/officeDocument/2006/relationships/tags" Target="../tags/tag30.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3.xml"/><Relationship Id="rId1" Type="http://schemas.openxmlformats.org/officeDocument/2006/relationships/tags" Target="../tags/tag31.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3.xml"/><Relationship Id="rId1" Type="http://schemas.openxmlformats.org/officeDocument/2006/relationships/tags" Target="../tags/tag32.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3.xml"/><Relationship Id="rId1" Type="http://schemas.openxmlformats.org/officeDocument/2006/relationships/tags" Target="../tags/tag33.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4.xml"/><Relationship Id="rId1" Type="http://schemas.openxmlformats.org/officeDocument/2006/relationships/tags" Target="../tags/tag35.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4.xml"/><Relationship Id="rId1" Type="http://schemas.openxmlformats.org/officeDocument/2006/relationships/tags" Target="../tags/tag36.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4.xml"/><Relationship Id="rId1" Type="http://schemas.openxmlformats.org/officeDocument/2006/relationships/tags" Target="../tags/tag37.xml"/><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4.xml"/><Relationship Id="rId1" Type="http://schemas.openxmlformats.org/officeDocument/2006/relationships/tags" Target="../tags/tag38.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4.xml"/><Relationship Id="rId1" Type="http://schemas.openxmlformats.org/officeDocument/2006/relationships/tags" Target="../tags/tag39.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4.xml"/><Relationship Id="rId1" Type="http://schemas.openxmlformats.org/officeDocument/2006/relationships/tags" Target="../tags/tag40.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4.xml"/><Relationship Id="rId1" Type="http://schemas.openxmlformats.org/officeDocument/2006/relationships/tags" Target="../tags/tag41.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4.xml"/><Relationship Id="rId1" Type="http://schemas.openxmlformats.org/officeDocument/2006/relationships/tags" Target="../tags/tag42.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5.xml"/><Relationship Id="rId1" Type="http://schemas.openxmlformats.org/officeDocument/2006/relationships/tags" Target="../tags/tag44.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5.xml"/><Relationship Id="rId1" Type="http://schemas.openxmlformats.org/officeDocument/2006/relationships/tags" Target="../tags/tag45.xml"/><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5.xml"/><Relationship Id="rId1" Type="http://schemas.openxmlformats.org/officeDocument/2006/relationships/tags" Target="../tags/tag46.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5.xml"/><Relationship Id="rId1" Type="http://schemas.openxmlformats.org/officeDocument/2006/relationships/tags" Target="../tags/tag47.xml"/><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6.xml"/><Relationship Id="rId1" Type="http://schemas.openxmlformats.org/officeDocument/2006/relationships/tags" Target="../tags/tag49.xml"/><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6.xml"/><Relationship Id="rId1" Type="http://schemas.openxmlformats.org/officeDocument/2006/relationships/tags" Target="../tags/tag50.xml"/><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6.xml"/><Relationship Id="rId1" Type="http://schemas.openxmlformats.org/officeDocument/2006/relationships/tags" Target="../tags/tag51.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6.xml"/><Relationship Id="rId1" Type="http://schemas.openxmlformats.org/officeDocument/2006/relationships/tags" Target="../tags/tag52.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6.xml"/><Relationship Id="rId1" Type="http://schemas.openxmlformats.org/officeDocument/2006/relationships/tags" Target="../tags/tag53.xml"/><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7.xml"/><Relationship Id="rId1" Type="http://schemas.openxmlformats.org/officeDocument/2006/relationships/tags" Target="../tags/tag55.xml"/><Relationship Id="rId4" Type="http://schemas.openxmlformats.org/officeDocument/2006/relationships/image" Target="../media/image1.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7.xml"/><Relationship Id="rId1" Type="http://schemas.openxmlformats.org/officeDocument/2006/relationships/tags" Target="../tags/tag56.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7.xml"/><Relationship Id="rId1" Type="http://schemas.openxmlformats.org/officeDocument/2006/relationships/tags" Target="../tags/tag57.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7.xml"/><Relationship Id="rId1" Type="http://schemas.openxmlformats.org/officeDocument/2006/relationships/tags" Target="../tags/tag58.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2.emf"/><Relationship Id="rId4" Type="http://schemas.openxmlformats.org/officeDocument/2006/relationships/image" Target="../media/image1.emf"/></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8.xml"/><Relationship Id="rId1" Type="http://schemas.openxmlformats.org/officeDocument/2006/relationships/tags" Target="../tags/tag60.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3" Type="http://schemas.openxmlformats.org/officeDocument/2006/relationships/oleObject" Target="../embeddings/oleObject59.bin"/><Relationship Id="rId2" Type="http://schemas.openxmlformats.org/officeDocument/2006/relationships/slideMaster" Target="../slideMasters/slideMaster8.xml"/><Relationship Id="rId1" Type="http://schemas.openxmlformats.org/officeDocument/2006/relationships/tags" Target="../tags/tag61.xml"/><Relationship Id="rId4" Type="http://schemas.openxmlformats.org/officeDocument/2006/relationships/image" Target="../media/image1.emf"/></Relationships>
</file>

<file path=ppt/slideLayouts/_rels/slideLayout52.xml.rels><?xml version="1.0" encoding="UTF-8" standalone="yes"?>
<Relationships xmlns="http://schemas.openxmlformats.org/package/2006/relationships"><Relationship Id="rId3" Type="http://schemas.openxmlformats.org/officeDocument/2006/relationships/oleObject" Target="../embeddings/oleObject60.bin"/><Relationship Id="rId2" Type="http://schemas.openxmlformats.org/officeDocument/2006/relationships/slideMaster" Target="../slideMasters/slideMaster8.xml"/><Relationship Id="rId1" Type="http://schemas.openxmlformats.org/officeDocument/2006/relationships/tags" Target="../tags/tag62.xml"/><Relationship Id="rId4" Type="http://schemas.openxmlformats.org/officeDocument/2006/relationships/image" Target="../media/image1.emf"/></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61.bin"/><Relationship Id="rId2" Type="http://schemas.openxmlformats.org/officeDocument/2006/relationships/slideMaster" Target="../slideMasters/slideMaster8.xml"/><Relationship Id="rId1" Type="http://schemas.openxmlformats.org/officeDocument/2006/relationships/tags" Target="../tags/tag63.xml"/><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3" Type="http://schemas.openxmlformats.org/officeDocument/2006/relationships/oleObject" Target="../embeddings/oleObject62.bin"/><Relationship Id="rId2" Type="http://schemas.openxmlformats.org/officeDocument/2006/relationships/slideMaster" Target="../slideMasters/slideMaster8.xml"/><Relationship Id="rId1" Type="http://schemas.openxmlformats.org/officeDocument/2006/relationships/tags" Target="../tags/tag64.xml"/><Relationship Id="rId4" Type="http://schemas.openxmlformats.org/officeDocument/2006/relationships/image" Target="../media/image1.emf"/></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64.bin"/><Relationship Id="rId2" Type="http://schemas.openxmlformats.org/officeDocument/2006/relationships/slideMaster" Target="../slideMasters/slideMaster9.xml"/><Relationship Id="rId1" Type="http://schemas.openxmlformats.org/officeDocument/2006/relationships/tags" Target="../tags/tag66.xml"/><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65.bin"/><Relationship Id="rId2" Type="http://schemas.openxmlformats.org/officeDocument/2006/relationships/slideMaster" Target="../slideMasters/slideMaster9.xml"/><Relationship Id="rId1" Type="http://schemas.openxmlformats.org/officeDocument/2006/relationships/tags" Target="../tags/tag67.xml"/><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66.bin"/><Relationship Id="rId2" Type="http://schemas.openxmlformats.org/officeDocument/2006/relationships/slideMaster" Target="../slideMasters/slideMaster9.xml"/><Relationship Id="rId1" Type="http://schemas.openxmlformats.org/officeDocument/2006/relationships/tags" Target="../tags/tag68.xml"/><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67.bin"/><Relationship Id="rId2" Type="http://schemas.openxmlformats.org/officeDocument/2006/relationships/slideMaster" Target="../slideMasters/slideMaster9.xml"/><Relationship Id="rId1" Type="http://schemas.openxmlformats.org/officeDocument/2006/relationships/tags" Target="../tags/tag69.xml"/><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9.xml"/><Relationship Id="rId1" Type="http://schemas.openxmlformats.org/officeDocument/2006/relationships/tags" Target="../tags/tag70.xml"/><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4" Type="http://schemas.openxmlformats.org/officeDocument/2006/relationships/image" Target="../media/image1.emf"/></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70.bin"/><Relationship Id="rId2" Type="http://schemas.openxmlformats.org/officeDocument/2006/relationships/slideMaster" Target="../slideMasters/slideMaster10.xml"/><Relationship Id="rId1" Type="http://schemas.openxmlformats.org/officeDocument/2006/relationships/tags" Target="../tags/tag72.xml"/><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71.bin"/><Relationship Id="rId2" Type="http://schemas.openxmlformats.org/officeDocument/2006/relationships/slideMaster" Target="../slideMasters/slideMaster10.xml"/><Relationship Id="rId1" Type="http://schemas.openxmlformats.org/officeDocument/2006/relationships/tags" Target="../tags/tag73.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72.bin"/><Relationship Id="rId2" Type="http://schemas.openxmlformats.org/officeDocument/2006/relationships/slideMaster" Target="../slideMasters/slideMaster10.xml"/><Relationship Id="rId1" Type="http://schemas.openxmlformats.org/officeDocument/2006/relationships/tags" Target="../tags/tag74.xml"/><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73.bin"/><Relationship Id="rId2" Type="http://schemas.openxmlformats.org/officeDocument/2006/relationships/slideMaster" Target="../slideMasters/slideMaster10.xml"/><Relationship Id="rId1" Type="http://schemas.openxmlformats.org/officeDocument/2006/relationships/tags" Target="../tags/tag75.xml"/><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74.bin"/><Relationship Id="rId2" Type="http://schemas.openxmlformats.org/officeDocument/2006/relationships/slideMaster" Target="../slideMasters/slideMaster10.xml"/><Relationship Id="rId1" Type="http://schemas.openxmlformats.org/officeDocument/2006/relationships/tags" Target="../tags/tag76.xml"/><Relationship Id="rId4" Type="http://schemas.openxmlformats.org/officeDocument/2006/relationships/image" Target="../media/image1.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76.bin"/><Relationship Id="rId2" Type="http://schemas.openxmlformats.org/officeDocument/2006/relationships/slideMaster" Target="../slideMasters/slideMaster11.xml"/><Relationship Id="rId1" Type="http://schemas.openxmlformats.org/officeDocument/2006/relationships/tags" Target="../tags/tag78.xml"/><Relationship Id="rId4" Type="http://schemas.openxmlformats.org/officeDocument/2006/relationships/image" Target="../media/image1.emf"/></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77.bin"/><Relationship Id="rId2" Type="http://schemas.openxmlformats.org/officeDocument/2006/relationships/slideMaster" Target="../slideMasters/slideMaster11.xml"/><Relationship Id="rId1" Type="http://schemas.openxmlformats.org/officeDocument/2006/relationships/tags" Target="../tags/tag79.xml"/><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3" Type="http://schemas.openxmlformats.org/officeDocument/2006/relationships/oleObject" Target="../embeddings/oleObject79.bin"/><Relationship Id="rId2" Type="http://schemas.openxmlformats.org/officeDocument/2006/relationships/slideMaster" Target="../slideMasters/slideMaster12.xml"/><Relationship Id="rId1" Type="http://schemas.openxmlformats.org/officeDocument/2006/relationships/tags" Target="../tags/tag81.xml"/><Relationship Id="rId4" Type="http://schemas.openxmlformats.org/officeDocument/2006/relationships/image" Target="../media/image1.emf"/></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80.bin"/><Relationship Id="rId2" Type="http://schemas.openxmlformats.org/officeDocument/2006/relationships/slideMaster" Target="../slideMasters/slideMaster12.xml"/><Relationship Id="rId1" Type="http://schemas.openxmlformats.org/officeDocument/2006/relationships/tags" Target="../tags/tag82.xml"/><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82.bin"/><Relationship Id="rId2" Type="http://schemas.openxmlformats.org/officeDocument/2006/relationships/slideMaster" Target="../slideMasters/slideMaster13.xml"/><Relationship Id="rId1" Type="http://schemas.openxmlformats.org/officeDocument/2006/relationships/tags" Target="../tags/tag85.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13.xml"/><Relationship Id="rId1" Type="http://schemas.openxmlformats.org/officeDocument/2006/relationships/tags" Target="../tags/tag86.xml"/><Relationship Id="rId4" Type="http://schemas.openxmlformats.org/officeDocument/2006/relationships/image" Target="../media/image1.emf"/></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83.bin"/><Relationship Id="rId2" Type="http://schemas.openxmlformats.org/officeDocument/2006/relationships/slideMaster" Target="../slideMasters/slideMaster13.xml"/><Relationship Id="rId1" Type="http://schemas.openxmlformats.org/officeDocument/2006/relationships/tags" Target="../tags/tag87.xml"/><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84.bin"/><Relationship Id="rId2" Type="http://schemas.openxmlformats.org/officeDocument/2006/relationships/slideMaster" Target="../slideMasters/slideMaster13.xml"/><Relationship Id="rId1" Type="http://schemas.openxmlformats.org/officeDocument/2006/relationships/tags" Target="../tags/tag88.xml"/><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90.xml"/><Relationship Id="rId1" Type="http://schemas.openxmlformats.org/officeDocument/2006/relationships/tags" Target="../tags/tag89.xml"/><Relationship Id="rId5" Type="http://schemas.openxmlformats.org/officeDocument/2006/relationships/image" Target="../media/image1.emf"/><Relationship Id="rId4" Type="http://schemas.openxmlformats.org/officeDocument/2006/relationships/oleObject" Target="../embeddings/oleObject85.bin"/></Relationships>
</file>

<file path=ppt/slideLayouts/_rels/slideLayout74.xml.rels><?xml version="1.0" encoding="UTF-8" standalone="yes"?>
<Relationships xmlns="http://schemas.openxmlformats.org/package/2006/relationships"><Relationship Id="rId3" Type="http://schemas.openxmlformats.org/officeDocument/2006/relationships/oleObject" Target="../embeddings/oleObject86.bin"/><Relationship Id="rId2" Type="http://schemas.openxmlformats.org/officeDocument/2006/relationships/slideMaster" Target="../slideMasters/slideMaster13.xml"/><Relationship Id="rId1" Type="http://schemas.openxmlformats.org/officeDocument/2006/relationships/tags" Target="../tags/tag91.xml"/><Relationship Id="rId4" Type="http://schemas.openxmlformats.org/officeDocument/2006/relationships/image" Target="../media/image1.emf"/></Relationships>
</file>

<file path=ppt/slideLayouts/_rels/slideLayout75.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13.xml"/><Relationship Id="rId1" Type="http://schemas.openxmlformats.org/officeDocument/2006/relationships/tags" Target="../tags/tag92.xml"/><Relationship Id="rId4" Type="http://schemas.openxmlformats.org/officeDocument/2006/relationships/image" Target="../media/image1.emf"/></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88.bin"/><Relationship Id="rId2" Type="http://schemas.openxmlformats.org/officeDocument/2006/relationships/slideMaster" Target="../slideMasters/slideMaster13.xml"/><Relationship Id="rId1" Type="http://schemas.openxmlformats.org/officeDocument/2006/relationships/tags" Target="../tags/tag93.xml"/><Relationship Id="rId4" Type="http://schemas.openxmlformats.org/officeDocument/2006/relationships/image" Target="../media/image1.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89.bin"/><Relationship Id="rId2" Type="http://schemas.openxmlformats.org/officeDocument/2006/relationships/slideMaster" Target="../slideMasters/slideMaster13.xml"/><Relationship Id="rId1" Type="http://schemas.openxmlformats.org/officeDocument/2006/relationships/tags" Target="../tags/tag94.xml"/><Relationship Id="rId4"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3" Type="http://schemas.openxmlformats.org/officeDocument/2006/relationships/oleObject" Target="../embeddings/oleObject91.bin"/><Relationship Id="rId2" Type="http://schemas.openxmlformats.org/officeDocument/2006/relationships/slideMaster" Target="../slideMasters/slideMaster14.xml"/><Relationship Id="rId1" Type="http://schemas.openxmlformats.org/officeDocument/2006/relationships/tags" Target="../tags/tag97.xml"/><Relationship Id="rId4" Type="http://schemas.openxmlformats.org/officeDocument/2006/relationships/image" Target="../media/image1.emf"/></Relationships>
</file>

<file path=ppt/slideLayouts/_rels/slideLayout79.xml.rels><?xml version="1.0" encoding="UTF-8" standalone="yes"?>
<Relationships xmlns="http://schemas.openxmlformats.org/package/2006/relationships"><Relationship Id="rId3" Type="http://schemas.openxmlformats.org/officeDocument/2006/relationships/oleObject" Target="../embeddings/oleObject92.bin"/><Relationship Id="rId2" Type="http://schemas.openxmlformats.org/officeDocument/2006/relationships/slideMaster" Target="../slideMasters/slideMaster14.xml"/><Relationship Id="rId1" Type="http://schemas.openxmlformats.org/officeDocument/2006/relationships/tags" Target="../tags/tag98.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12.xml"/><Relationship Id="rId4" Type="http://schemas.openxmlformats.org/officeDocument/2006/relationships/image" Target="../media/image1.emf"/></Relationships>
</file>

<file path=ppt/slideLayouts/_rels/slideLayout80.xml.rels><?xml version="1.0" encoding="UTF-8" standalone="yes"?>
<Relationships xmlns="http://schemas.openxmlformats.org/package/2006/relationships"><Relationship Id="rId3" Type="http://schemas.openxmlformats.org/officeDocument/2006/relationships/oleObject" Target="../embeddings/oleObject93.bin"/><Relationship Id="rId2" Type="http://schemas.openxmlformats.org/officeDocument/2006/relationships/slideMaster" Target="../slideMasters/slideMaster14.xml"/><Relationship Id="rId1" Type="http://schemas.openxmlformats.org/officeDocument/2006/relationships/tags" Target="../tags/tag99.xml"/><Relationship Id="rId4" Type="http://schemas.openxmlformats.org/officeDocument/2006/relationships/image" Target="../media/image1.emf"/></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4.xml"/><Relationship Id="rId2" Type="http://schemas.openxmlformats.org/officeDocument/2006/relationships/tags" Target="../tags/tag101.xml"/><Relationship Id="rId1" Type="http://schemas.openxmlformats.org/officeDocument/2006/relationships/tags" Target="../tags/tag100.xml"/><Relationship Id="rId5" Type="http://schemas.openxmlformats.org/officeDocument/2006/relationships/image" Target="../media/image1.emf"/><Relationship Id="rId4" Type="http://schemas.openxmlformats.org/officeDocument/2006/relationships/oleObject" Target="../embeddings/oleObject94.bin"/></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95.bin"/><Relationship Id="rId2" Type="http://schemas.openxmlformats.org/officeDocument/2006/relationships/slideMaster" Target="../slideMasters/slideMaster14.xml"/><Relationship Id="rId1" Type="http://schemas.openxmlformats.org/officeDocument/2006/relationships/tags" Target="../tags/tag102.xml"/><Relationship Id="rId4" Type="http://schemas.openxmlformats.org/officeDocument/2006/relationships/image" Target="../media/image1.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96.bin"/><Relationship Id="rId2" Type="http://schemas.openxmlformats.org/officeDocument/2006/relationships/slideMaster" Target="../slideMasters/slideMaster14.xml"/><Relationship Id="rId1" Type="http://schemas.openxmlformats.org/officeDocument/2006/relationships/tags" Target="../tags/tag103.xml"/><Relationship Id="rId4" Type="http://schemas.openxmlformats.org/officeDocument/2006/relationships/image" Target="../media/image1.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97.bin"/><Relationship Id="rId2" Type="http://schemas.openxmlformats.org/officeDocument/2006/relationships/slideMaster" Target="../slideMasters/slideMaster14.xml"/><Relationship Id="rId1" Type="http://schemas.openxmlformats.org/officeDocument/2006/relationships/tags" Target="../tags/tag104.xml"/><Relationship Id="rId4" Type="http://schemas.openxmlformats.org/officeDocument/2006/relationships/image" Target="../media/image1.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98.bin"/><Relationship Id="rId2" Type="http://schemas.openxmlformats.org/officeDocument/2006/relationships/slideMaster" Target="../slideMasters/slideMaster14.xml"/><Relationship Id="rId1" Type="http://schemas.openxmlformats.org/officeDocument/2006/relationships/tags" Target="../tags/tag105.xml"/><Relationship Id="rId4" Type="http://schemas.openxmlformats.org/officeDocument/2006/relationships/image" Target="../media/image1.emf"/></Relationships>
</file>

<file path=ppt/slideLayouts/_rels/slideLayout86.xml.rels><?xml version="1.0" encoding="UTF-8" standalone="yes"?>
<Relationships xmlns="http://schemas.openxmlformats.org/package/2006/relationships"><Relationship Id="rId3" Type="http://schemas.openxmlformats.org/officeDocument/2006/relationships/oleObject" Target="../embeddings/oleObject100.bin"/><Relationship Id="rId2" Type="http://schemas.openxmlformats.org/officeDocument/2006/relationships/slideMaster" Target="../slideMasters/slideMaster15.xml"/><Relationship Id="rId1" Type="http://schemas.openxmlformats.org/officeDocument/2006/relationships/tags" Target="../tags/tag108.xml"/><Relationship Id="rId4" Type="http://schemas.openxmlformats.org/officeDocument/2006/relationships/image" Target="../media/image1.emf"/></Relationships>
</file>

<file path=ppt/slideLayouts/_rels/slideLayout87.xml.rels><?xml version="1.0" encoding="UTF-8" standalone="yes"?>
<Relationships xmlns="http://schemas.openxmlformats.org/package/2006/relationships"><Relationship Id="rId3" Type="http://schemas.openxmlformats.org/officeDocument/2006/relationships/oleObject" Target="../embeddings/oleObject101.bin"/><Relationship Id="rId2" Type="http://schemas.openxmlformats.org/officeDocument/2006/relationships/slideMaster" Target="../slideMasters/slideMaster15.xml"/><Relationship Id="rId1" Type="http://schemas.openxmlformats.org/officeDocument/2006/relationships/tags" Target="../tags/tag109.xml"/><Relationship Id="rId4" Type="http://schemas.openxmlformats.org/officeDocument/2006/relationships/image" Target="../media/image1.emf"/></Relationships>
</file>

<file path=ppt/slideLayouts/_rels/slideLayout88.xml.rels><?xml version="1.0" encoding="UTF-8" standalone="yes"?>
<Relationships xmlns="http://schemas.openxmlformats.org/package/2006/relationships"><Relationship Id="rId3" Type="http://schemas.openxmlformats.org/officeDocument/2006/relationships/oleObject" Target="../embeddings/oleObject102.bin"/><Relationship Id="rId2" Type="http://schemas.openxmlformats.org/officeDocument/2006/relationships/slideMaster" Target="../slideMasters/slideMaster15.xml"/><Relationship Id="rId1" Type="http://schemas.openxmlformats.org/officeDocument/2006/relationships/tags" Target="../tags/tag110.xml"/><Relationship Id="rId4" Type="http://schemas.openxmlformats.org/officeDocument/2006/relationships/image" Target="../media/image1.emf"/></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5.xml"/><Relationship Id="rId2" Type="http://schemas.openxmlformats.org/officeDocument/2006/relationships/tags" Target="../tags/tag112.xml"/><Relationship Id="rId1" Type="http://schemas.openxmlformats.org/officeDocument/2006/relationships/tags" Target="../tags/tag111.xml"/><Relationship Id="rId5" Type="http://schemas.openxmlformats.org/officeDocument/2006/relationships/image" Target="../media/image1.emf"/><Relationship Id="rId4" Type="http://schemas.openxmlformats.org/officeDocument/2006/relationships/oleObject" Target="../embeddings/oleObject103.bin"/></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13.xml"/><Relationship Id="rId4" Type="http://schemas.openxmlformats.org/officeDocument/2006/relationships/image" Target="../media/image1.emf"/></Relationships>
</file>

<file path=ppt/slideLayouts/_rels/slideLayout90.xml.rels><?xml version="1.0" encoding="UTF-8" standalone="yes"?>
<Relationships xmlns="http://schemas.openxmlformats.org/package/2006/relationships"><Relationship Id="rId3" Type="http://schemas.openxmlformats.org/officeDocument/2006/relationships/oleObject" Target="../embeddings/oleObject104.bin"/><Relationship Id="rId2" Type="http://schemas.openxmlformats.org/officeDocument/2006/relationships/slideMaster" Target="../slideMasters/slideMaster15.xml"/><Relationship Id="rId1" Type="http://schemas.openxmlformats.org/officeDocument/2006/relationships/tags" Target="../tags/tag113.xml"/><Relationship Id="rId4" Type="http://schemas.openxmlformats.org/officeDocument/2006/relationships/image" Target="../media/image1.emf"/></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105.bin"/><Relationship Id="rId2" Type="http://schemas.openxmlformats.org/officeDocument/2006/relationships/slideMaster" Target="../slideMasters/slideMaster15.xml"/><Relationship Id="rId1" Type="http://schemas.openxmlformats.org/officeDocument/2006/relationships/tags" Target="../tags/tag114.xml"/><Relationship Id="rId4" Type="http://schemas.openxmlformats.org/officeDocument/2006/relationships/image" Target="../media/image1.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106.bin"/><Relationship Id="rId2" Type="http://schemas.openxmlformats.org/officeDocument/2006/relationships/slideMaster" Target="../slideMasters/slideMaster15.xml"/><Relationship Id="rId1" Type="http://schemas.openxmlformats.org/officeDocument/2006/relationships/tags" Target="../tags/tag115.xml"/><Relationship Id="rId4" Type="http://schemas.openxmlformats.org/officeDocument/2006/relationships/image" Target="../media/image1.emf"/></Relationships>
</file>

<file path=ppt/slideLayouts/_rels/slideLayout93.xml.rels><?xml version="1.0" encoding="UTF-8" standalone="yes"?>
<Relationships xmlns="http://schemas.openxmlformats.org/package/2006/relationships"><Relationship Id="rId3" Type="http://schemas.openxmlformats.org/officeDocument/2006/relationships/oleObject" Target="../embeddings/oleObject107.bin"/><Relationship Id="rId2" Type="http://schemas.openxmlformats.org/officeDocument/2006/relationships/slideMaster" Target="../slideMasters/slideMaster15.xml"/><Relationship Id="rId1" Type="http://schemas.openxmlformats.org/officeDocument/2006/relationships/tags" Target="../tags/tag116.xml"/><Relationship Id="rId4" Type="http://schemas.openxmlformats.org/officeDocument/2006/relationships/image" Target="../media/image1.emf"/></Relationships>
</file>

<file path=ppt/slideLayouts/_rels/slideLayout94.xml.rels><?xml version="1.0" encoding="UTF-8" standalone="yes"?>
<Relationships xmlns="http://schemas.openxmlformats.org/package/2006/relationships"><Relationship Id="rId3" Type="http://schemas.openxmlformats.org/officeDocument/2006/relationships/oleObject" Target="../embeddings/oleObject108.bin"/><Relationship Id="rId2" Type="http://schemas.openxmlformats.org/officeDocument/2006/relationships/slideMaster" Target="../slideMasters/slideMaster15.xml"/><Relationship Id="rId1" Type="http://schemas.openxmlformats.org/officeDocument/2006/relationships/tags" Target="../tags/tag117.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Einstiegsfoli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40644115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hteck 7"/>
          <p:cNvSpPr/>
          <p:nvPr userDrawn="1"/>
        </p:nvSpPr>
        <p:spPr>
          <a:xfrm>
            <a:off x="-794" y="0"/>
            <a:ext cx="12193588"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cxnSp>
        <p:nvCxnSpPr>
          <p:cNvPr id="11" name="Gerade Verbindung 10"/>
          <p:cNvCxnSpPr/>
          <p:nvPr userDrawn="1"/>
        </p:nvCxnSpPr>
        <p:spPr>
          <a:xfrm>
            <a:off x="3971764" y="1664804"/>
            <a:ext cx="0" cy="5193196"/>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1" name="Textplatzhalter 20"/>
          <p:cNvSpPr>
            <a:spLocks noGrp="1"/>
          </p:cNvSpPr>
          <p:nvPr>
            <p:ph type="body" sz="quarter" idx="12" hasCustomPrompt="1"/>
          </p:nvPr>
        </p:nvSpPr>
        <p:spPr>
          <a:xfrm>
            <a:off x="4259263" y="5121202"/>
            <a:ext cx="7453312" cy="320088"/>
          </a:xfrm>
        </p:spPr>
        <p:txBody>
          <a:bodyPr wrap="square" anchor="b">
            <a:spAutoFit/>
          </a:bodyPr>
          <a:lstStyle>
            <a:lvl1pPr>
              <a:lnSpc>
                <a:spcPct val="130000"/>
              </a:lnSpc>
              <a:spcBef>
                <a:spcPts val="0"/>
              </a:spcBef>
              <a:defRPr sz="1600" cap="all"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bearbeiten</a:t>
            </a:r>
          </a:p>
        </p:txBody>
      </p:sp>
      <p:sp>
        <p:nvSpPr>
          <p:cNvPr id="25" name="Textplatzhalter 20"/>
          <p:cNvSpPr>
            <a:spLocks noGrp="1"/>
          </p:cNvSpPr>
          <p:nvPr>
            <p:ph type="body" sz="quarter" idx="13" hasCustomPrompt="1"/>
          </p:nvPr>
        </p:nvSpPr>
        <p:spPr>
          <a:xfrm>
            <a:off x="4259263" y="6207115"/>
            <a:ext cx="7453312" cy="246221"/>
          </a:xfrm>
        </p:spPr>
        <p:txBody>
          <a:bodyPr wrap="square" anchor="b">
            <a:spAutoFit/>
          </a:bodyPr>
          <a:lstStyle>
            <a:lvl1pPr>
              <a:spcBef>
                <a:spcPts val="0"/>
              </a:spcBef>
              <a:defRPr sz="1600" cap="none"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Ort,</a:t>
            </a:r>
          </a:p>
        </p:txBody>
      </p:sp>
      <p:pic>
        <p:nvPicPr>
          <p:cNvPr id="17" name="Picture 10"/>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263352" y="200024"/>
            <a:ext cx="4018011" cy="532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9" name="object 4">
            <a:extLst>
              <a:ext uri="{FF2B5EF4-FFF2-40B4-BE49-F238E27FC236}">
                <a16:creationId xmlns:a16="http://schemas.microsoft.com/office/drawing/2014/main" id="{F1407FCD-A98D-8D4C-BAEA-A83B72042659}"/>
              </a:ext>
            </a:extLst>
          </p:cNvPr>
          <p:cNvSpPr/>
          <p:nvPr userDrawn="1"/>
        </p:nvSpPr>
        <p:spPr>
          <a:xfrm>
            <a:off x="0" y="899999"/>
            <a:ext cx="12192635" cy="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
        <p:nvSpPr>
          <p:cNvPr id="13" name="Textplatzhalter 15"/>
          <p:cNvSpPr>
            <a:spLocks noGrp="1"/>
          </p:cNvSpPr>
          <p:nvPr>
            <p:ph type="body" sz="quarter" idx="14" hasCustomPrompt="1"/>
          </p:nvPr>
        </p:nvSpPr>
        <p:spPr>
          <a:xfrm>
            <a:off x="0" y="908720"/>
            <a:ext cx="12192794" cy="769441"/>
          </a:xfrm>
          <a:solidFill>
            <a:schemeClr val="tx2"/>
          </a:solidFill>
          <a:effectLst>
            <a:outerShdw dist="27940" dir="5400000" algn="t" rotWithShape="0">
              <a:prstClr val="black"/>
            </a:outerShdw>
          </a:effectLst>
        </p:spPr>
        <p:txBody>
          <a:bodyPr wrap="square" lIns="234000" bIns="0">
            <a:spAutoFit/>
          </a:bodyPr>
          <a:lstStyle>
            <a:lvl1pPr algn="l">
              <a:lnSpc>
                <a:spcPct val="100000"/>
              </a:lnSpc>
              <a:spcBef>
                <a:spcPts val="0"/>
              </a:spcBef>
              <a:defRPr sz="5000" cap="all"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Titel durch klicken hinzufügen</a:t>
            </a:r>
          </a:p>
        </p:txBody>
      </p:sp>
      <p:sp>
        <p:nvSpPr>
          <p:cNvPr id="14" name="Textplatzhalter 20">
            <a:extLst>
              <a:ext uri="{FF2B5EF4-FFF2-40B4-BE49-F238E27FC236}">
                <a16:creationId xmlns:a16="http://schemas.microsoft.com/office/drawing/2014/main" id="{B844ACB7-98F5-7044-A959-474A15FAEE00}"/>
              </a:ext>
            </a:extLst>
          </p:cNvPr>
          <p:cNvSpPr>
            <a:spLocks noGrp="1"/>
          </p:cNvSpPr>
          <p:nvPr>
            <p:ph type="body" sz="quarter" idx="16" hasCustomPrompt="1"/>
          </p:nvPr>
        </p:nvSpPr>
        <p:spPr>
          <a:xfrm>
            <a:off x="4259263" y="5877272"/>
            <a:ext cx="7453312" cy="246221"/>
          </a:xfrm>
        </p:spPr>
        <p:txBody>
          <a:bodyPr wrap="square" anchor="b">
            <a:spAutoFit/>
          </a:bodyPr>
          <a:lstStyle>
            <a:lvl1pPr>
              <a:spcBef>
                <a:spcPts val="0"/>
              </a:spcBef>
              <a:defRPr sz="1600" cap="none"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Name</a:t>
            </a:r>
          </a:p>
        </p:txBody>
      </p:sp>
      <p:sp>
        <p:nvSpPr>
          <p:cNvPr id="16" name="Datumsplatzhalter 4"/>
          <p:cNvSpPr>
            <a:spLocks noGrp="1"/>
          </p:cNvSpPr>
          <p:nvPr>
            <p:ph type="dt" sz="half" idx="2"/>
          </p:nvPr>
        </p:nvSpPr>
        <p:spPr>
          <a:xfrm>
            <a:off x="5302872" y="6207115"/>
            <a:ext cx="6410325" cy="246221"/>
          </a:xfrm>
          <a:prstGeom prst="rect">
            <a:avLst/>
          </a:prstGeom>
        </p:spPr>
        <p:txBody>
          <a:bodyPr vert="horz" lIns="0" tIns="0" rIns="0" bIns="0" rtlCol="0" anchor="b">
            <a:noAutofit/>
          </a:bodyPr>
          <a:lstStyle>
            <a:lvl1pPr algn="l">
              <a:defRPr sz="160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fld id="{972147F7-0CFD-40BE-8A04-725485871520}" type="datetime4">
              <a:rPr lang="en-US" smtClean="0"/>
              <a:t>February 12, 2025</a:t>
            </a:fld>
            <a:endParaRPr lang="de-DE" dirty="0"/>
          </a:p>
        </p:txBody>
      </p:sp>
    </p:spTree>
    <p:extLst>
      <p:ext uri="{BB962C8B-B14F-4D97-AF65-F5344CB8AC3E}">
        <p14:creationId xmlns:p14="http://schemas.microsoft.com/office/powerpoint/2010/main" val="36181017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Kapiteleinstieg 3">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124112165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17" name="Foliennummernplatzhalter 16"/>
          <p:cNvSpPr>
            <a:spLocks noGrp="1"/>
          </p:cNvSpPr>
          <p:nvPr>
            <p:ph type="sldNum" sz="quarter" idx="10"/>
          </p:nvPr>
        </p:nvSpPr>
        <p:spPr>
          <a:xfrm>
            <a:off x="11928648" y="6453187"/>
            <a:ext cx="263350" cy="404813"/>
          </a:xfrm>
          <a:prstGeom prst="rect">
            <a:avLst/>
          </a:prstGeom>
        </p:spPr>
        <p:txBody>
          <a:bodyPr lIns="0" tIns="0" rIns="0" bIns="0" anchor="ctr" anchorCtr="0"/>
          <a:lstStyle>
            <a:lvl1pPr>
              <a:defRPr lang="de-DE" sz="1100" smtClean="0">
                <a:latin typeface="GT America" panose="00000500000000000000" pitchFamily="2" charset="0"/>
                <a:cs typeface="GT America" panose="020B0604020202020204" pitchFamily="34" charset="0"/>
                <a:sym typeface="GT America" panose="00000500000000000000" pitchFamily="2" charset="0"/>
              </a:defRPr>
            </a:lvl1pPr>
          </a:lstStyle>
          <a:p>
            <a:pPr algn="ctr"/>
            <a:fld id="{4CFEB0D3-1EB3-4F08-8062-95FFB9749870}" type="slidenum">
              <a:rPr lang="de-DE" smtClean="0"/>
              <a:pPr algn="ctr"/>
              <a:t>‹N›</a:t>
            </a:fld>
            <a:endParaRPr lang="de-DE" dirty="0"/>
          </a:p>
        </p:txBody>
      </p:sp>
    </p:spTree>
    <p:extLst>
      <p:ext uri="{BB962C8B-B14F-4D97-AF65-F5344CB8AC3E}">
        <p14:creationId xmlns:p14="http://schemas.microsoft.com/office/powerpoint/2010/main" val="33353536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Kapiteleinstieg 4">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194900089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hteck 9"/>
          <p:cNvSpPr/>
          <p:nvPr userDrawn="1"/>
        </p:nvSpPr>
        <p:spPr>
          <a:xfrm>
            <a:off x="0" y="1"/>
            <a:ext cx="12193588" cy="90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cxnSp>
        <p:nvCxnSpPr>
          <p:cNvPr id="13" name="Gerade Verbindung 12"/>
          <p:cNvCxnSpPr/>
          <p:nvPr userDrawn="1"/>
        </p:nvCxnSpPr>
        <p:spPr>
          <a:xfrm>
            <a:off x="0" y="900000"/>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2" name="Titel 1"/>
          <p:cNvSpPr>
            <a:spLocks noGrp="1"/>
          </p:cNvSpPr>
          <p:nvPr>
            <p:ph type="title"/>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dirty="0"/>
              <a:t>Titelmasterformat durch Klicken bearbeiten</a:t>
            </a:r>
          </a:p>
        </p:txBody>
      </p:sp>
      <p:sp>
        <p:nvSpPr>
          <p:cNvPr id="4" name="Foliennummernplatzhalter 3"/>
          <p:cNvSpPr>
            <a:spLocks noGrp="1"/>
          </p:cNvSpPr>
          <p:nvPr>
            <p:ph type="sldNum" sz="quarter" idx="15"/>
          </p:nvPr>
        </p:nvSpPr>
        <p:spPr>
          <a:xfrm>
            <a:off x="11928648" y="6453187"/>
            <a:ext cx="263350" cy="404813"/>
          </a:xfrm>
          <a:prstGeom prst="rect">
            <a:avLst/>
          </a:prstGeom>
        </p:spPr>
        <p:txBody>
          <a:bodyPr lIns="0" tIns="0" rIns="0" bIns="0" anchor="ctr" anchorCtr="0"/>
          <a:lstStyle>
            <a:lvl1pPr>
              <a:defRPr lang="de-DE" sz="1100" smtClean="0">
                <a:latin typeface="GT America" panose="00000500000000000000" pitchFamily="2" charset="0"/>
                <a:cs typeface="GT America" panose="020B0604020202020204" pitchFamily="34" charset="0"/>
                <a:sym typeface="GT America" panose="00000500000000000000" pitchFamily="2" charset="0"/>
              </a:defRPr>
            </a:lvl1pPr>
          </a:lstStyle>
          <a:p>
            <a:pPr algn="ctr"/>
            <a:fld id="{4CFEB0D3-1EB3-4F08-8062-95FFB9749870}" type="slidenum">
              <a:rPr lang="de-DE" smtClean="0"/>
              <a:pPr algn="ctr"/>
              <a:t>‹N›</a:t>
            </a:fld>
            <a:endParaRPr lang="de-DE" dirty="0"/>
          </a:p>
        </p:txBody>
      </p:sp>
      <p:sp>
        <p:nvSpPr>
          <p:cNvPr id="12" name="Textplatzhalter 15"/>
          <p:cNvSpPr>
            <a:spLocks noGrp="1"/>
          </p:cNvSpPr>
          <p:nvPr>
            <p:ph type="body" sz="quarter" idx="13" hasCustomPrompt="1"/>
          </p:nvPr>
        </p:nvSpPr>
        <p:spPr>
          <a:xfrm>
            <a:off x="0" y="914400"/>
            <a:ext cx="11928472" cy="991792"/>
          </a:xfrm>
          <a:solidFill>
            <a:schemeClr val="tx2"/>
          </a:solidFill>
          <a:effectLst>
            <a:outerShdw dist="27940" dir="5400000" algn="t" rotWithShape="0">
              <a:schemeClr val="tx1"/>
            </a:outerShdw>
          </a:effectLst>
        </p:spPr>
        <p:txBody>
          <a:bodyPr lIns="1170000" tIns="72000" bIns="72000">
            <a:spAutoFit/>
          </a:bodyPr>
          <a:lstStyle>
            <a:lvl1pPr>
              <a:lnSpc>
                <a:spcPts val="6600"/>
              </a:lnSpc>
              <a:defRPr sz="6000" cap="all"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Text bearbeiten</a:t>
            </a:r>
          </a:p>
        </p:txBody>
      </p:sp>
    </p:spTree>
    <p:extLst>
      <p:ext uri="{BB962C8B-B14F-4D97-AF65-F5344CB8AC3E}">
        <p14:creationId xmlns:p14="http://schemas.microsoft.com/office/powerpoint/2010/main" val="17120688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Kopfzeile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20228475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a:xfrm>
            <a:off x="11928648" y="6453187"/>
            <a:ext cx="263350" cy="404813"/>
          </a:xfrm>
          <a:prstGeom prst="rect">
            <a:avLst/>
          </a:prstGeom>
        </p:spPr>
        <p:txBody>
          <a:bodyPr lIns="0" tIns="0" rIns="0" bIns="0" anchor="ctr" anchorCtr="0"/>
          <a:lstStyle>
            <a:lvl1pPr>
              <a:defRPr lang="de-DE" sz="1100" smtClean="0">
                <a:latin typeface="GT America" panose="00000500000000000000" pitchFamily="2" charset="0"/>
                <a:cs typeface="GT America" panose="020B0604020202020204" pitchFamily="34" charset="0"/>
                <a:sym typeface="GT America" panose="00000500000000000000" pitchFamily="2" charset="0"/>
              </a:defRPr>
            </a:lvl1pPr>
          </a:lstStyle>
          <a:p>
            <a:pPr algn="ctr"/>
            <a:fld id="{4CFEB0D3-1EB3-4F08-8062-95FFB9749870}" type="slidenum">
              <a:rPr lang="de-DE" smtClean="0"/>
              <a:pPr algn="ctr"/>
              <a:t>‹N›</a:t>
            </a:fld>
            <a:endParaRPr lang="de-DE" dirty="0"/>
          </a:p>
        </p:txBody>
      </p:sp>
    </p:spTree>
    <p:extLst>
      <p:ext uri="{BB962C8B-B14F-4D97-AF65-F5344CB8AC3E}">
        <p14:creationId xmlns:p14="http://schemas.microsoft.com/office/powerpoint/2010/main" val="291759592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Kopfzeile Untertitel">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39536334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2" name="Foliennummernplatzhalter 1"/>
          <p:cNvSpPr>
            <a:spLocks noGrp="1"/>
          </p:cNvSpPr>
          <p:nvPr>
            <p:ph type="sldNum" sz="quarter" idx="14"/>
          </p:nvPr>
        </p:nvSpPr>
        <p:spPr>
          <a:xfrm>
            <a:off x="11928648" y="6453187"/>
            <a:ext cx="263350" cy="404813"/>
          </a:xfrm>
          <a:prstGeom prst="rect">
            <a:avLst/>
          </a:prstGeom>
        </p:spPr>
        <p:txBody>
          <a:bodyPr lIns="0" tIns="0" rIns="0" bIns="0" anchor="ctr" anchorCtr="0"/>
          <a:lstStyle>
            <a:lvl1pPr>
              <a:defRPr lang="de-DE" sz="1100" smtClean="0">
                <a:latin typeface="GT America" panose="00000500000000000000" pitchFamily="2" charset="0"/>
                <a:cs typeface="GT America" panose="020B0604020202020204" pitchFamily="34" charset="0"/>
                <a:sym typeface="GT America" panose="00000500000000000000" pitchFamily="2" charset="0"/>
              </a:defRPr>
            </a:lvl1pPr>
          </a:lstStyle>
          <a:p>
            <a:pPr algn="ctr"/>
            <a:fld id="{4CFEB0D3-1EB3-4F08-8062-95FFB9749870}" type="slidenum">
              <a:rPr lang="de-DE" smtClean="0"/>
              <a:pPr algn="ctr"/>
              <a:t>‹N›</a:t>
            </a:fld>
            <a:endParaRPr lang="de-DE" dirty="0"/>
          </a:p>
        </p:txBody>
      </p:sp>
    </p:spTree>
    <p:extLst>
      <p:ext uri="{BB962C8B-B14F-4D97-AF65-F5344CB8AC3E}">
        <p14:creationId xmlns:p14="http://schemas.microsoft.com/office/powerpoint/2010/main" val="289755412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Kopfzeile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058458"/>
            <a:ext cx="11449048" cy="5008968"/>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2952831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a:xfrm>
            <a:off x="11928648" y="6453187"/>
            <a:ext cx="263350" cy="404813"/>
          </a:xfrm>
          <a:prstGeom prst="rect">
            <a:avLst/>
          </a:prstGeom>
        </p:spPr>
        <p:txBody>
          <a:bodyPr lIns="0" tIns="0" rIns="0" bIns="0" anchor="ctr" anchorCtr="0"/>
          <a:lstStyle>
            <a:lvl1pPr>
              <a:defRPr lang="de-DE" sz="1100" smtClean="0">
                <a:latin typeface="GT America" panose="00000500000000000000" pitchFamily="2" charset="0"/>
                <a:cs typeface="GT America" panose="020B0604020202020204" pitchFamily="34" charset="0"/>
                <a:sym typeface="GT America" panose="00000500000000000000" pitchFamily="2" charset="0"/>
              </a:defRPr>
            </a:lvl1pPr>
          </a:lstStyle>
          <a:p>
            <a:pPr algn="ctr"/>
            <a:fld id="{4CFEB0D3-1EB3-4F08-8062-95FFB9749870}" type="slidenum">
              <a:rPr lang="de-DE" smtClean="0"/>
              <a:pPr algn="ctr"/>
              <a:t>‹N›</a:t>
            </a:fld>
            <a:endParaRPr lang="de-DE" dirty="0"/>
          </a:p>
        </p:txBody>
      </p:sp>
    </p:spTree>
    <p:extLst>
      <p:ext uri="{BB962C8B-B14F-4D97-AF65-F5344CB8AC3E}">
        <p14:creationId xmlns:p14="http://schemas.microsoft.com/office/powerpoint/2010/main" val="172770416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opfzeile farbig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10203550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tx2"/>
                </a:solidFill>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a:xfrm>
            <a:off x="11928648" y="6453187"/>
            <a:ext cx="263350" cy="404813"/>
          </a:xfrm>
          <a:prstGeom prst="rect">
            <a:avLst/>
          </a:prstGeom>
        </p:spPr>
        <p:txBody>
          <a:bodyPr lIns="0" tIns="0" rIns="0" bIns="0" anchor="ctr" anchorCtr="0"/>
          <a:lstStyle>
            <a:lvl1pPr algn="ctr">
              <a:defRPr sz="1100">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19162096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Kopfzeile + Fließtextkasten Gobi Orange">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hteck 13"/>
          <p:cNvSpPr/>
          <p:nvPr userDrawn="1"/>
        </p:nvSpPr>
        <p:spPr>
          <a:xfrm>
            <a:off x="-794" y="0"/>
            <a:ext cx="12193588" cy="76470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T America" panose="00000500000000000000" pitchFamily="2" charset="0"/>
              <a:sym typeface="GT America" panose="00000500000000000000" pitchFamily="2" charset="0"/>
            </a:endParaRPr>
          </a:p>
        </p:txBody>
      </p:sp>
      <p:sp>
        <p:nvSpPr>
          <p:cNvPr id="19" name="Textfeld 18"/>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mn-cs"/>
              <a:sym typeface="GT America" panose="00000500000000000000" pitchFamily="2" charset="0"/>
            </a:endParaRPr>
          </a:p>
        </p:txBody>
      </p:sp>
      <p:sp>
        <p:nvSpPr>
          <p:cNvPr id="21" name="Textfeld 20"/>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GT America" panose="00000500000000000000" pitchFamily="2" charset="0"/>
                <a:ea typeface="+mn-ea"/>
                <a:cs typeface="+mn-cs"/>
                <a:sym typeface="GT America" panose="00000500000000000000" pitchFamily="2" charset="0"/>
              </a:rPr>
              <a:t>© Rödl &amp; Partner </a:t>
            </a:r>
          </a:p>
        </p:txBody>
      </p:sp>
      <p:cxnSp>
        <p:nvCxnSpPr>
          <p:cNvPr id="20" name="Gerade Verbindung 19"/>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platzhalter 2"/>
          <p:cNvSpPr>
            <a:spLocks noGrp="1"/>
          </p:cNvSpPr>
          <p:nvPr>
            <p:ph idx="1"/>
          </p:nvPr>
        </p:nvSpPr>
        <p:spPr>
          <a:xfrm>
            <a:off x="263525" y="1052512"/>
            <a:ext cx="11448000" cy="5400675"/>
          </a:xfrm>
          <a:prstGeom prst="rect">
            <a:avLst/>
          </a:prstGeom>
        </p:spPr>
        <p:txBody>
          <a:bodyPr vert="horz" lIns="0" tIns="0" rIns="0" bIns="0" rtlCol="0">
            <a:noAutofit/>
          </a:bodyPr>
          <a:lstStyle>
            <a:lvl1pPr>
              <a:defRPr>
                <a:latin typeface="GT America" panose="00000500000000000000" pitchFamily="2" charset="0"/>
                <a:sym typeface="GT America" panose="00000500000000000000" pitchFamily="2" charset="0"/>
              </a:defRPr>
            </a:lvl1pPr>
            <a:lvl2pPr>
              <a:defRPr>
                <a:latin typeface="GT America" panose="00000500000000000000" pitchFamily="2" charset="0"/>
                <a:sym typeface="GT America" panose="00000500000000000000" pitchFamily="2" charset="0"/>
              </a:defRPr>
            </a:lvl2pPr>
            <a:lvl3pPr>
              <a:defRPr>
                <a:latin typeface="GT America" panose="00000500000000000000" pitchFamily="2" charset="0"/>
                <a:sym typeface="GT America" panose="00000500000000000000" pitchFamily="2" charset="0"/>
              </a:defRPr>
            </a:lvl3pPr>
            <a:lvl4pPr>
              <a:defRPr>
                <a:latin typeface="GT America" panose="00000500000000000000" pitchFamily="2" charset="0"/>
                <a:sym typeface="GT America" panose="00000500000000000000" pitchFamily="2" charset="0"/>
              </a:defRPr>
            </a:lvl4pPr>
            <a:lvl5pPr>
              <a:defRPr>
                <a:latin typeface="GT America" panose="00000500000000000000" pitchFamily="2" charset="0"/>
                <a:sym typeface="GT America" panose="00000500000000000000" pitchFamily="2" charset="0"/>
              </a:defRPr>
            </a:lvl5p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2" name="Titel 1"/>
          <p:cNvSpPr>
            <a:spLocks noGrp="1"/>
          </p:cNvSpPr>
          <p:nvPr>
            <p:ph type="title"/>
          </p:nvPr>
        </p:nvSpPr>
        <p:spPr/>
        <p:txBody>
          <a:bodyPr/>
          <a:lstStyle>
            <a:lvl1pPr>
              <a:defRPr>
                <a:latin typeface="GT America" panose="00000500000000000000" pitchFamily="2" charset="0"/>
                <a:sym typeface="GT America" panose="00000500000000000000" pitchFamily="2" charset="0"/>
              </a:defRPr>
            </a:lvl1pPr>
          </a:lstStyle>
          <a:p>
            <a:r>
              <a:rPr lang="de-DE"/>
              <a:t>Titelmasterformat durch Klicken bearbeiten</a:t>
            </a:r>
          </a:p>
        </p:txBody>
      </p:sp>
      <p:sp>
        <p:nvSpPr>
          <p:cNvPr id="4" name="Foliennummernplatzhalter 3"/>
          <p:cNvSpPr>
            <a:spLocks noGrp="1"/>
          </p:cNvSpPr>
          <p:nvPr>
            <p:ph type="sldNum" sz="quarter" idx="11"/>
          </p:nvPr>
        </p:nvSpPr>
        <p:spPr/>
        <p:txBody>
          <a:bodyPr/>
          <a:lstStyle>
            <a:lvl1pPr>
              <a:defRPr>
                <a:latin typeface="GT America" panose="00000500000000000000" pitchFamily="2"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199087930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Kapiteleinstieg 1">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1" name="Bildplatzhalter 10"/>
          <p:cNvSpPr>
            <a:spLocks noGrp="1"/>
          </p:cNvSpPr>
          <p:nvPr>
            <p:ph type="pic" sz="quarter" idx="16"/>
          </p:nvPr>
        </p:nvSpPr>
        <p:spPr>
          <a:xfrm>
            <a:off x="4822022" y="-2841"/>
            <a:ext cx="7110000" cy="6859253"/>
          </a:xfrm>
          <a:solidFill>
            <a:schemeClr val="bg1"/>
          </a:solidFill>
        </p:spPr>
        <p:txBody>
          <a:bodyPr/>
          <a:lstStyle>
            <a:lvl1pPr>
              <a:defRPr>
                <a:latin typeface="Arial" panose="020B0604020202020204" pitchFamily="34" charset="0"/>
                <a:cs typeface="Arial" panose="020B0604020202020204" pitchFamily="34" charset="0"/>
              </a:defRPr>
            </a:lvl1pPr>
          </a:lstStyle>
          <a:p>
            <a:endParaRPr lang="en-GB" dirty="0"/>
          </a:p>
        </p:txBody>
      </p:sp>
      <p:graphicFrame>
        <p:nvGraphicFramePr>
          <p:cNvPr id="7" name="Objek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23977" y="3302606"/>
            <a:ext cx="6881442"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16" name="object 6">
            <a:extLst>
              <a:ext uri="{FF2B5EF4-FFF2-40B4-BE49-F238E27FC236}">
                <a16:creationId xmlns:a16="http://schemas.microsoft.com/office/drawing/2014/main" id="{35B15152-362B-804E-8180-EB8D98DF2756}"/>
              </a:ext>
            </a:extLst>
          </p:cNvPr>
          <p:cNvSpPr/>
          <p:nvPr userDrawn="1"/>
        </p:nvSpPr>
        <p:spPr>
          <a:xfrm>
            <a:off x="4816097" y="-6350"/>
            <a:ext cx="45719" cy="6864350"/>
          </a:xfrm>
          <a:custGeom>
            <a:avLst/>
            <a:gdLst/>
            <a:ahLst/>
            <a:cxnLst/>
            <a:rect l="l" t="t" r="r" b="b"/>
            <a:pathLst>
              <a:path h="4698365">
                <a:moveTo>
                  <a:pt x="0" y="0"/>
                </a:moveTo>
                <a:lnTo>
                  <a:pt x="0" y="4697996"/>
                </a:lnTo>
              </a:path>
            </a:pathLst>
          </a:custGeom>
          <a:ln w="28575">
            <a:solidFill>
              <a:srgbClr val="000000"/>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17" name="Foliennummernplatzhalter 16"/>
          <p:cNvSpPr>
            <a:spLocks noGrp="1"/>
          </p:cNvSpPr>
          <p:nvPr>
            <p:ph type="sldNum" sz="quarter" idx="17"/>
          </p:nvPr>
        </p:nvSpPr>
        <p:spPr>
          <a:xfrm>
            <a:off x="11928648" y="6453187"/>
            <a:ext cx="263350" cy="404813"/>
          </a:xfrm>
          <a:prstGeom prst="rect">
            <a:avLst/>
          </a:prstGeom>
        </p:spPr>
        <p:txBody>
          <a:bodyPr lIns="0" tIns="0" rIns="0" bIns="0" anchor="ctr" anchorCtr="0"/>
          <a:lstStyle>
            <a:lvl1pPr algn="ctr">
              <a:defRPr sz="1100">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N›</a:t>
            </a:fld>
            <a:endParaRPr lang="de-DE" dirty="0"/>
          </a:p>
        </p:txBody>
      </p:sp>
      <p:sp>
        <p:nvSpPr>
          <p:cNvPr id="10" name="object 4">
            <a:extLst>
              <a:ext uri="{FF2B5EF4-FFF2-40B4-BE49-F238E27FC236}">
                <a16:creationId xmlns:a16="http://schemas.microsoft.com/office/drawing/2014/main" id="{880C4227-47B7-694C-8443-CF01E2AE097C}"/>
              </a:ext>
            </a:extLst>
          </p:cNvPr>
          <p:cNvSpPr/>
          <p:nvPr userDrawn="1"/>
        </p:nvSpPr>
        <p:spPr>
          <a:xfrm>
            <a:off x="2681" y="899998"/>
            <a:ext cx="4813416" cy="45719"/>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12" name="Titel 5"/>
          <p:cNvSpPr>
            <a:spLocks noGrp="1"/>
          </p:cNvSpPr>
          <p:nvPr>
            <p:ph type="title" hasCustomPrompt="1"/>
          </p:nvPr>
        </p:nvSpPr>
        <p:spPr>
          <a:xfrm>
            <a:off x="263526" y="260648"/>
            <a:ext cx="4421686" cy="396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de-DE" dirty="0" err="1"/>
              <a:t>kapitel</a:t>
            </a:r>
            <a:endParaRPr lang="en-GB" dirty="0"/>
          </a:p>
        </p:txBody>
      </p:sp>
    </p:spTree>
    <p:extLst>
      <p:ext uri="{BB962C8B-B14F-4D97-AF65-F5344CB8AC3E}">
        <p14:creationId xmlns:p14="http://schemas.microsoft.com/office/powerpoint/2010/main" val="26838107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Kapiteldeckblatt 2">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729274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17" name="Foliennummernplatzhalter 16"/>
          <p:cNvSpPr>
            <a:spLocks noGrp="1"/>
          </p:cNvSpPr>
          <p:nvPr>
            <p:ph type="sldNum" sz="quarter" idx="10"/>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269534845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Kapiteleinstieg 1">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1" name="Bildplatzhalter 10"/>
          <p:cNvSpPr>
            <a:spLocks noGrp="1"/>
          </p:cNvSpPr>
          <p:nvPr>
            <p:ph type="pic" sz="quarter" idx="16"/>
          </p:nvPr>
        </p:nvSpPr>
        <p:spPr>
          <a:xfrm>
            <a:off x="4822022" y="-2841"/>
            <a:ext cx="7110000" cy="6859253"/>
          </a:xfrm>
          <a:solidFill>
            <a:schemeClr val="bg1"/>
          </a:solidFill>
        </p:spPr>
        <p:txBody>
          <a:bodyPr/>
          <a:lstStyle>
            <a:lvl1pPr>
              <a:defRPr>
                <a:latin typeface="GT America" panose="020B0604020202020204" pitchFamily="34" charset="0"/>
                <a:cs typeface="GT America" panose="020B0604020202020204" pitchFamily="34" charset="0"/>
              </a:defRPr>
            </a:lvl1pPr>
          </a:lstStyle>
          <a:p>
            <a:endParaRPr lang="en-GB" dirty="0"/>
          </a:p>
        </p:txBody>
      </p:sp>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34731559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16" name="object 6">
            <a:extLst>
              <a:ext uri="{FF2B5EF4-FFF2-40B4-BE49-F238E27FC236}">
                <a16:creationId xmlns:a16="http://schemas.microsoft.com/office/drawing/2014/main" id="{35B15152-362B-804E-8180-EB8D98DF2756}"/>
              </a:ext>
            </a:extLst>
          </p:cNvPr>
          <p:cNvSpPr/>
          <p:nvPr userDrawn="1"/>
        </p:nvSpPr>
        <p:spPr>
          <a:xfrm>
            <a:off x="4816097" y="-6350"/>
            <a:ext cx="45719" cy="6864350"/>
          </a:xfrm>
          <a:custGeom>
            <a:avLst/>
            <a:gdLst/>
            <a:ahLst/>
            <a:cxnLst/>
            <a:rect l="l" t="t" r="r" b="b"/>
            <a:pathLst>
              <a:path h="4698365">
                <a:moveTo>
                  <a:pt x="0" y="0"/>
                </a:moveTo>
                <a:lnTo>
                  <a:pt x="0" y="4697996"/>
                </a:lnTo>
              </a:path>
            </a:pathLst>
          </a:custGeom>
          <a:ln w="25400">
            <a:solidFill>
              <a:schemeClr val="bg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
        <p:nvSpPr>
          <p:cNvPr id="17" name="Foliennummernplatzhalter 16"/>
          <p:cNvSpPr>
            <a:spLocks noGrp="1"/>
          </p:cNvSpPr>
          <p:nvPr>
            <p:ph type="sldNum" sz="quarter" idx="17"/>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
        <p:nvSpPr>
          <p:cNvPr id="12" name="Textplatzhalter 15">
            <a:extLst>
              <a:ext uri="{FF2B5EF4-FFF2-40B4-BE49-F238E27FC236}">
                <a16:creationId xmlns:a16="http://schemas.microsoft.com/office/drawing/2014/main" id="{0C5518B1-4504-3744-9B22-25FE06791E1B}"/>
              </a:ext>
            </a:extLst>
          </p:cNvPr>
          <p:cNvSpPr>
            <a:spLocks noGrp="1"/>
          </p:cNvSpPr>
          <p:nvPr>
            <p:ph type="body" sz="quarter" idx="14" hasCustomPrompt="1"/>
          </p:nvPr>
        </p:nvSpPr>
        <p:spPr>
          <a:xfrm>
            <a:off x="1" y="244800"/>
            <a:ext cx="4799856" cy="641726"/>
          </a:xfrm>
          <a:solidFill>
            <a:schemeClr val="tx2"/>
          </a:solidFill>
          <a:effectLst>
            <a:outerShdw dist="27940" dir="5100000" algn="t" rotWithShape="0">
              <a:schemeClr val="bg1"/>
            </a:outerShdw>
          </a:effectLst>
        </p:spPr>
        <p:txBody>
          <a:bodyPr wrap="square" lIns="262800" rIns="144000" bIns="208800">
            <a:spAutoFit/>
          </a:bodyPr>
          <a:lstStyle>
            <a:lvl1pPr algn="l">
              <a:lnSpc>
                <a:spcPct val="100000"/>
              </a:lnSpc>
              <a:spcBef>
                <a:spcPts val="0"/>
              </a:spcBef>
              <a:defRPr sz="2800" cap="all" spc="-70" baseline="0">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err="1"/>
              <a:t>KApitel</a:t>
            </a:r>
            <a:endParaRPr lang="de-DE" dirty="0"/>
          </a:p>
        </p:txBody>
      </p:sp>
    </p:spTree>
    <p:extLst>
      <p:ext uri="{BB962C8B-B14F-4D97-AF65-F5344CB8AC3E}">
        <p14:creationId xmlns:p14="http://schemas.microsoft.com/office/powerpoint/2010/main" val="27966883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Vollbild">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1"/>
            </p:custDataLst>
            <p:extLst>
              <p:ext uri="{D42A27DB-BD31-4B8C-83A1-F6EECF244321}">
                <p14:modId xmlns:p14="http://schemas.microsoft.com/office/powerpoint/2010/main" val="1238187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2" name="Objekt 1"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extfeld 3"/>
          <p:cNvSpPr txBox="1"/>
          <p:nvPr userDrawn="1"/>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Textbox</a:t>
            </a:r>
          </a:p>
        </p:txBody>
      </p:sp>
      <p:sp>
        <p:nvSpPr>
          <p:cNvPr id="5" name="Textfeld 4"/>
          <p:cNvSpPr txBox="1"/>
          <p:nvPr userDrawn="1"/>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Vier</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7" name="Textfeld 6"/>
          <p:cNvSpPr txBox="1"/>
          <p:nvPr userDrawn="1"/>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Drei</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8" name="Textfeld 7"/>
          <p:cNvSpPr txBox="1"/>
          <p:nvPr userDrawn="1"/>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Zwei Spalten</a:t>
            </a:r>
          </a:p>
        </p:txBody>
      </p:sp>
      <p:grpSp>
        <p:nvGrpSpPr>
          <p:cNvPr id="9" name="Gruppieren 8"/>
          <p:cNvGrpSpPr/>
          <p:nvPr userDrawn="1"/>
        </p:nvGrpSpPr>
        <p:grpSpPr>
          <a:xfrm>
            <a:off x="-276708" y="-835143"/>
            <a:ext cx="12205181" cy="7972555"/>
            <a:chOff x="-276708" y="-835143"/>
            <a:chExt cx="12205181" cy="7972555"/>
          </a:xfrm>
        </p:grpSpPr>
        <p:cxnSp>
          <p:nvCxnSpPr>
            <p:cNvPr id="10" name="Gerade Verbindung 23"/>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24"/>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Gerade Verbindung 78"/>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Gerade Verbindung mit Pfeil 12"/>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4" name="Gerade Verbindung mit Pfeil 13"/>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5" name="Gerade Verbindung mit Pfeil 14"/>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6" name="Gerade Verbindung mit Pfeil 15"/>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7" name="Gerade Verbindung mit Pfeil 16"/>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Gerade Verbindung mit Pfeil 17"/>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9" name="Gerade Verbindung mit Pfeil 18"/>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0" name="Gerade Verbindung mit Pfeil 19"/>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1" name="Gerade Verbindung mit Pfeil 20"/>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Gerade Verbindung 107"/>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3" name="Gerade Verbindung 108"/>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4" name="Gerade Verbindung 109"/>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5" name="Gerade Verbindung 110"/>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6" name="Gerade Verbindung 111"/>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7" name="Gerade Verbindung 112"/>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28" name="Gerade Verbindung 33"/>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29" name="Gerade Verbindung 34"/>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0" name="Gerade Verbindung 35"/>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1" name="Gerade Verbindung 38"/>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cxnSp>
        <p:nvCxnSpPr>
          <p:cNvPr id="32" name="Gerade Verbindung 37"/>
          <p:cNvCxnSpPr/>
          <p:nvPr userDrawn="1"/>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Textfeld 32"/>
          <p:cNvSpPr txBox="1"/>
          <p:nvPr userDrawn="1"/>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Tabelle</a:t>
            </a:r>
            <a:r>
              <a:rPr lang="de-DE" sz="1200" baseline="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 </a:t>
            </a: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Vollflächig)</a:t>
            </a:r>
          </a:p>
        </p:txBody>
      </p:sp>
      <p:sp>
        <p:nvSpPr>
          <p:cNvPr id="6" name="Bildplatzhalter 5"/>
          <p:cNvSpPr>
            <a:spLocks noGrp="1"/>
          </p:cNvSpPr>
          <p:nvPr>
            <p:ph type="pic" sz="quarter" idx="12"/>
          </p:nvPr>
        </p:nvSpPr>
        <p:spPr>
          <a:xfrm>
            <a:off x="0" y="0"/>
            <a:ext cx="12192000" cy="6858000"/>
          </a:xfrm>
          <a:solidFill>
            <a:schemeClr val="bg2"/>
          </a:solidFill>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it-IT"/>
              <a:t>Fare clic sull'icona per inserire un'immagine</a:t>
            </a:r>
            <a:endParaRPr lang="en-GB" dirty="0"/>
          </a:p>
        </p:txBody>
      </p:sp>
    </p:spTree>
    <p:extLst>
      <p:ext uri="{BB962C8B-B14F-4D97-AF65-F5344CB8AC3E}">
        <p14:creationId xmlns:p14="http://schemas.microsoft.com/office/powerpoint/2010/main" val="236215191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Kapiteleinstieg 2">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bg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28652778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2" name="Foliennummernplatzhalter 1"/>
          <p:cNvSpPr>
            <a:spLocks noGrp="1"/>
          </p:cNvSpPr>
          <p:nvPr>
            <p:ph type="sldNum" sz="quarter" idx="10"/>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136498710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Kapiteleinstieg 3">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5400">
            <a:solidFill>
              <a:schemeClr val="bg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5558119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17" name="Foliennummernplatzhalter 16"/>
          <p:cNvSpPr>
            <a:spLocks noGrp="1"/>
          </p:cNvSpPr>
          <p:nvPr>
            <p:ph type="sldNum" sz="quarter" idx="10"/>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22191239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Kapiteleinstieg 4">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1841725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hteck 9"/>
          <p:cNvSpPr/>
          <p:nvPr userDrawn="1"/>
        </p:nvSpPr>
        <p:spPr>
          <a:xfrm>
            <a:off x="0" y="1"/>
            <a:ext cx="12193588" cy="90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cxnSp>
        <p:nvCxnSpPr>
          <p:cNvPr id="13" name="Gerade Verbindung 12"/>
          <p:cNvCxnSpPr/>
          <p:nvPr userDrawn="1"/>
        </p:nvCxnSpPr>
        <p:spPr>
          <a:xfrm>
            <a:off x="0" y="900000"/>
            <a:ext cx="11928475"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2" name="Titel 1"/>
          <p:cNvSpPr>
            <a:spLocks noGrp="1"/>
          </p:cNvSpPr>
          <p:nvPr>
            <p:ph type="title"/>
          </p:nvPr>
        </p:nvSpPr>
        <p:spPr/>
        <p:txBody>
          <a:bodyPr/>
          <a:lstStyle>
            <a:lvl1pPr>
              <a:defRPr>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r>
              <a:rPr lang="de-DE" dirty="0"/>
              <a:t>Titelmasterformat durch Klicken bearbeiten</a:t>
            </a:r>
          </a:p>
        </p:txBody>
      </p:sp>
      <p:sp>
        <p:nvSpPr>
          <p:cNvPr id="4" name="Foliennummernplatzhalter 3"/>
          <p:cNvSpPr>
            <a:spLocks noGrp="1"/>
          </p:cNvSpPr>
          <p:nvPr>
            <p:ph type="sldNum" sz="quarter" idx="15"/>
          </p:nvPr>
        </p:nvSpPr>
        <p:spPr/>
        <p:txBody>
          <a:bodyPr lIns="0" tIns="0" rIns="0" bIns="0" anchor="ctr" anchorCtr="0"/>
          <a:lstStyle>
            <a:lvl1pPr>
              <a:defRPr lang="de-DE" smtClean="0">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
        <p:nvSpPr>
          <p:cNvPr id="12" name="Textplatzhalter 15"/>
          <p:cNvSpPr>
            <a:spLocks noGrp="1"/>
          </p:cNvSpPr>
          <p:nvPr>
            <p:ph type="body" sz="quarter" idx="13" hasCustomPrompt="1"/>
          </p:nvPr>
        </p:nvSpPr>
        <p:spPr>
          <a:xfrm>
            <a:off x="0" y="910800"/>
            <a:ext cx="11928472" cy="991792"/>
          </a:xfrm>
          <a:solidFill>
            <a:schemeClr val="tx2"/>
          </a:solidFill>
          <a:effectLst>
            <a:outerShdw dist="27940" dir="5400000" algn="t" rotWithShape="0">
              <a:schemeClr val="bg1"/>
            </a:outerShdw>
          </a:effectLst>
        </p:spPr>
        <p:txBody>
          <a:bodyPr lIns="1170000" tIns="72000" bIns="72000">
            <a:spAutoFit/>
          </a:bodyPr>
          <a:lstStyle>
            <a:lvl1pPr>
              <a:lnSpc>
                <a:spcPts val="6600"/>
              </a:lnSpc>
              <a:defRPr sz="6000" cap="all" baseline="0">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Text bearbeiten</a:t>
            </a:r>
          </a:p>
        </p:txBody>
      </p:sp>
    </p:spTree>
    <p:extLst>
      <p:ext uri="{BB962C8B-B14F-4D97-AF65-F5344CB8AC3E}">
        <p14:creationId xmlns:p14="http://schemas.microsoft.com/office/powerpoint/2010/main" val="366620912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Kopfzeile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5400">
            <a:solidFill>
              <a:schemeClr val="bg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41895305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3596893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Kopfzeile Untertitel ">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5400">
            <a:solidFill>
              <a:schemeClr val="bg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33451772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212517752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Kopfzeile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058458"/>
            <a:ext cx="11449048" cy="5008968"/>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5400">
            <a:solidFill>
              <a:schemeClr val="bg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28892817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235403910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Kopfzeile farbig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17038593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tx2"/>
                </a:solidFill>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a:xfrm>
            <a:off x="11928648" y="6453187"/>
            <a:ext cx="263350" cy="404813"/>
          </a:xfrm>
          <a:prstGeom prst="rect">
            <a:avLst/>
          </a:prstGeom>
        </p:spPr>
        <p:txBody>
          <a:bodyPr lIns="0" tIns="0" rIns="0" bIns="0" anchor="ctr" anchorCtr="0"/>
          <a:lstStyle>
            <a:lvl1pPr algn="ctr">
              <a:defRPr sz="1100">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1916209652"/>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Kopfzeile + Fließtextkasten  Dolomite Grey">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16457225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hteck 13"/>
          <p:cNvSpPr/>
          <p:nvPr userDrawn="1"/>
        </p:nvSpPr>
        <p:spPr>
          <a:xfrm>
            <a:off x="-794" y="0"/>
            <a:ext cx="12193588" cy="76470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T America" panose="00000500000000000000" pitchFamily="2" charset="0"/>
              <a:sym typeface="GT America" panose="00000500000000000000" pitchFamily="2" charset="0"/>
            </a:endParaRPr>
          </a:p>
        </p:txBody>
      </p:sp>
      <p:sp>
        <p:nvSpPr>
          <p:cNvPr id="19" name="Textfeld 18"/>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mn-cs"/>
              <a:sym typeface="GT America" panose="00000500000000000000" pitchFamily="2" charset="0"/>
            </a:endParaRPr>
          </a:p>
        </p:txBody>
      </p:sp>
      <p:sp>
        <p:nvSpPr>
          <p:cNvPr id="21" name="Textfeld 20"/>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GT America" panose="00000500000000000000" pitchFamily="2" charset="0"/>
                <a:ea typeface="+mn-ea"/>
                <a:cs typeface="+mn-cs"/>
                <a:sym typeface="GT America" panose="00000500000000000000" pitchFamily="2" charset="0"/>
              </a:rPr>
              <a:t>© Rödl &amp; Partner </a:t>
            </a:r>
          </a:p>
        </p:txBody>
      </p:sp>
      <p:cxnSp>
        <p:nvCxnSpPr>
          <p:cNvPr id="20" name="Gerade Verbindung 19"/>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platzhalter 2"/>
          <p:cNvSpPr>
            <a:spLocks noGrp="1"/>
          </p:cNvSpPr>
          <p:nvPr>
            <p:ph idx="1"/>
          </p:nvPr>
        </p:nvSpPr>
        <p:spPr>
          <a:xfrm>
            <a:off x="263525" y="1052512"/>
            <a:ext cx="11448000" cy="5400675"/>
          </a:xfrm>
          <a:prstGeom prst="rect">
            <a:avLst/>
          </a:prstGeom>
        </p:spPr>
        <p:txBody>
          <a:bodyPr vert="horz" lIns="0" tIns="0" rIns="0" bIns="0" rtlCol="0">
            <a:noAutofit/>
          </a:bodyPr>
          <a:lstStyle>
            <a:lvl1pPr>
              <a:defRPr>
                <a:latin typeface="GT America" panose="00000500000000000000" pitchFamily="2" charset="0"/>
                <a:sym typeface="GT America" panose="00000500000000000000" pitchFamily="2" charset="0"/>
              </a:defRPr>
            </a:lvl1pPr>
            <a:lvl2pPr>
              <a:defRPr>
                <a:latin typeface="GT America" panose="00000500000000000000" pitchFamily="2" charset="0"/>
                <a:sym typeface="GT America" panose="00000500000000000000" pitchFamily="2" charset="0"/>
              </a:defRPr>
            </a:lvl2pPr>
            <a:lvl3pPr>
              <a:defRPr>
                <a:latin typeface="GT America" panose="00000500000000000000" pitchFamily="2" charset="0"/>
                <a:sym typeface="GT America" panose="00000500000000000000" pitchFamily="2" charset="0"/>
              </a:defRPr>
            </a:lvl3pPr>
            <a:lvl4pPr>
              <a:defRPr>
                <a:latin typeface="GT America" panose="00000500000000000000" pitchFamily="2" charset="0"/>
                <a:sym typeface="GT America" panose="00000500000000000000" pitchFamily="2" charset="0"/>
              </a:defRPr>
            </a:lvl4pPr>
            <a:lvl5pPr>
              <a:defRPr>
                <a:latin typeface="GT America" panose="00000500000000000000" pitchFamily="2" charset="0"/>
                <a:sym typeface="GT America" panose="00000500000000000000" pitchFamily="2" charset="0"/>
              </a:defRPr>
            </a:lvl5p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2" name="Titel 1"/>
          <p:cNvSpPr>
            <a:spLocks noGrp="1"/>
          </p:cNvSpPr>
          <p:nvPr>
            <p:ph type="title"/>
          </p:nvPr>
        </p:nvSpPr>
        <p:spPr/>
        <p:txBody>
          <a:bodyPr/>
          <a:lstStyle>
            <a:lvl1pPr>
              <a:defRPr>
                <a:solidFill>
                  <a:schemeClr val="bg1"/>
                </a:solidFill>
                <a:latin typeface="GT America" panose="00000500000000000000" pitchFamily="2" charset="0"/>
                <a:sym typeface="GT America" panose="00000500000000000000" pitchFamily="2" charset="0"/>
              </a:defRPr>
            </a:lvl1pPr>
          </a:lstStyle>
          <a:p>
            <a:r>
              <a:rPr lang="de-DE"/>
              <a:t>Titelmasterformat durch Klicken bearbeiten</a:t>
            </a:r>
          </a:p>
        </p:txBody>
      </p:sp>
      <p:sp>
        <p:nvSpPr>
          <p:cNvPr id="4" name="Foliennummernplatzhalter 3"/>
          <p:cNvSpPr>
            <a:spLocks noGrp="1"/>
          </p:cNvSpPr>
          <p:nvPr>
            <p:ph type="sldNum" sz="quarter" idx="11"/>
          </p:nvPr>
        </p:nvSpPr>
        <p:spPr/>
        <p:txBody>
          <a:bodyPr/>
          <a:lstStyle>
            <a:lvl1pPr>
              <a:defRPr>
                <a:latin typeface="GT America" panose="00000500000000000000" pitchFamily="2"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3803496367"/>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Kopfzeile + Fließtextkasten Danakil Yellow">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20469913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hteck 13"/>
          <p:cNvSpPr/>
          <p:nvPr userDrawn="1"/>
        </p:nvSpPr>
        <p:spPr>
          <a:xfrm>
            <a:off x="-794" y="0"/>
            <a:ext cx="12193588" cy="764702"/>
          </a:xfrm>
          <a:prstGeom prst="rect">
            <a:avLst/>
          </a:prstGeom>
          <a:solidFill>
            <a:srgbClr val="FFFC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T America" panose="00000500000000000000" pitchFamily="2" charset="0"/>
              <a:sym typeface="GT America" panose="00000500000000000000" pitchFamily="2" charset="0"/>
            </a:endParaRPr>
          </a:p>
        </p:txBody>
      </p:sp>
      <p:sp>
        <p:nvSpPr>
          <p:cNvPr id="19" name="Textfeld 18"/>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mn-cs"/>
              <a:sym typeface="GT America" panose="00000500000000000000" pitchFamily="2" charset="0"/>
            </a:endParaRPr>
          </a:p>
        </p:txBody>
      </p:sp>
      <p:sp>
        <p:nvSpPr>
          <p:cNvPr id="21" name="Textfeld 20"/>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GT America" panose="00000500000000000000" pitchFamily="2" charset="0"/>
                <a:ea typeface="+mn-ea"/>
                <a:cs typeface="+mn-cs"/>
                <a:sym typeface="GT America" panose="00000500000000000000" pitchFamily="2" charset="0"/>
              </a:rPr>
              <a:t>© Rödl &amp; Partner </a:t>
            </a:r>
          </a:p>
        </p:txBody>
      </p:sp>
      <p:cxnSp>
        <p:nvCxnSpPr>
          <p:cNvPr id="20" name="Gerade Verbindung 19"/>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7" name="Textplatzhalter 2"/>
          <p:cNvSpPr>
            <a:spLocks noGrp="1"/>
          </p:cNvSpPr>
          <p:nvPr>
            <p:ph idx="1"/>
          </p:nvPr>
        </p:nvSpPr>
        <p:spPr>
          <a:xfrm>
            <a:off x="263525" y="1052512"/>
            <a:ext cx="11448000" cy="5400675"/>
          </a:xfrm>
          <a:prstGeom prst="rect">
            <a:avLst/>
          </a:prstGeom>
        </p:spPr>
        <p:txBody>
          <a:bodyPr vert="horz" lIns="0" tIns="0" rIns="0" bIns="0" rtlCol="0">
            <a:noAutofit/>
          </a:bodyPr>
          <a:lstStyle>
            <a:lvl1pPr>
              <a:defRPr>
                <a:latin typeface="GT America" panose="00000500000000000000" pitchFamily="2" charset="0"/>
                <a:sym typeface="GT America" panose="00000500000000000000" pitchFamily="2" charset="0"/>
              </a:defRPr>
            </a:lvl1pPr>
            <a:lvl2pPr>
              <a:defRPr>
                <a:latin typeface="GT America" panose="00000500000000000000" pitchFamily="2" charset="0"/>
                <a:sym typeface="GT America" panose="00000500000000000000" pitchFamily="2" charset="0"/>
              </a:defRPr>
            </a:lvl2pPr>
            <a:lvl3pPr>
              <a:defRPr>
                <a:latin typeface="GT America" panose="00000500000000000000" pitchFamily="2" charset="0"/>
                <a:sym typeface="GT America" panose="00000500000000000000" pitchFamily="2" charset="0"/>
              </a:defRPr>
            </a:lvl3pPr>
            <a:lvl4pPr>
              <a:defRPr>
                <a:latin typeface="GT America" panose="00000500000000000000" pitchFamily="2" charset="0"/>
                <a:sym typeface="GT America" panose="00000500000000000000" pitchFamily="2" charset="0"/>
              </a:defRPr>
            </a:lvl4pPr>
            <a:lvl5pPr>
              <a:defRPr>
                <a:latin typeface="GT America" panose="00000500000000000000" pitchFamily="2" charset="0"/>
                <a:sym typeface="GT America" panose="00000500000000000000" pitchFamily="2" charset="0"/>
              </a:defRPr>
            </a:lvl5p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2" name="Titel 1"/>
          <p:cNvSpPr>
            <a:spLocks noGrp="1"/>
          </p:cNvSpPr>
          <p:nvPr>
            <p:ph type="title"/>
          </p:nvPr>
        </p:nvSpPr>
        <p:spPr/>
        <p:txBody>
          <a:bodyPr/>
          <a:lstStyle>
            <a:lvl1pPr>
              <a:defRPr>
                <a:latin typeface="GT America" panose="00000500000000000000" pitchFamily="2" charset="0"/>
                <a:sym typeface="GT America" panose="00000500000000000000" pitchFamily="2" charset="0"/>
              </a:defRPr>
            </a:lvl1pPr>
          </a:lstStyle>
          <a:p>
            <a:r>
              <a:rPr lang="de-DE"/>
              <a:t>Titelmasterformat durch Klicken bearbeiten</a:t>
            </a:r>
          </a:p>
        </p:txBody>
      </p:sp>
      <p:sp>
        <p:nvSpPr>
          <p:cNvPr id="4" name="Foliennummernplatzhalter 3"/>
          <p:cNvSpPr>
            <a:spLocks noGrp="1"/>
          </p:cNvSpPr>
          <p:nvPr>
            <p:ph type="sldNum" sz="quarter" idx="11"/>
          </p:nvPr>
        </p:nvSpPr>
        <p:spPr/>
        <p:txBody>
          <a:bodyPr/>
          <a:lstStyle>
            <a:lvl1pPr>
              <a:defRPr>
                <a:latin typeface="GT America" panose="00000500000000000000" pitchFamily="2"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174420956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Kapiteleinstieg 1">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1" name="Bildplatzhalter 10"/>
          <p:cNvSpPr>
            <a:spLocks noGrp="1"/>
          </p:cNvSpPr>
          <p:nvPr>
            <p:ph type="pic" sz="quarter" idx="16"/>
          </p:nvPr>
        </p:nvSpPr>
        <p:spPr>
          <a:xfrm>
            <a:off x="4822022" y="-2841"/>
            <a:ext cx="7110000" cy="6859253"/>
          </a:xfrm>
          <a:solidFill>
            <a:schemeClr val="bg1"/>
          </a:solidFill>
        </p:spPr>
        <p:txBody>
          <a:bodyPr/>
          <a:lstStyle>
            <a:lvl1pPr>
              <a:defRPr>
                <a:latin typeface="GT America" panose="020B0604020202020204" pitchFamily="34" charset="0"/>
                <a:cs typeface="GT America" panose="020B0604020202020204" pitchFamily="34" charset="0"/>
              </a:defRPr>
            </a:lvl1pPr>
          </a:lstStyle>
          <a:p>
            <a:endParaRPr lang="en-GB" dirty="0"/>
          </a:p>
        </p:txBody>
      </p:sp>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13734720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16" name="object 6">
            <a:extLst>
              <a:ext uri="{FF2B5EF4-FFF2-40B4-BE49-F238E27FC236}">
                <a16:creationId xmlns:a16="http://schemas.microsoft.com/office/drawing/2014/main" id="{35B15152-362B-804E-8180-EB8D98DF2756}"/>
              </a:ext>
            </a:extLst>
          </p:cNvPr>
          <p:cNvSpPr/>
          <p:nvPr userDrawn="1"/>
        </p:nvSpPr>
        <p:spPr>
          <a:xfrm>
            <a:off x="4816097" y="-6350"/>
            <a:ext cx="45719" cy="6864350"/>
          </a:xfrm>
          <a:custGeom>
            <a:avLst/>
            <a:gdLst/>
            <a:ahLst/>
            <a:cxnLst/>
            <a:rect l="l" t="t" r="r" b="b"/>
            <a:pathLst>
              <a:path h="4698365">
                <a:moveTo>
                  <a:pt x="0" y="0"/>
                </a:moveTo>
                <a:lnTo>
                  <a:pt x="0" y="4697996"/>
                </a:lnTo>
              </a:path>
            </a:pathLst>
          </a:custGeom>
          <a:ln w="28575">
            <a:solidFill>
              <a:srgbClr val="000000"/>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
        <p:nvSpPr>
          <p:cNvPr id="17" name="Foliennummernplatzhalter 16"/>
          <p:cNvSpPr>
            <a:spLocks noGrp="1"/>
          </p:cNvSpPr>
          <p:nvPr>
            <p:ph type="sldNum" sz="quarter" idx="17"/>
          </p:nvPr>
        </p:nvSpPr>
        <p:spPr>
          <a:noFill/>
        </p:spPr>
        <p:txBody>
          <a:bodyPr vert="horz" lIns="0" tIns="0" rIns="0" bIns="0" rtlCol="0" anchor="ctr"/>
          <a:lstStyle>
            <a:lvl1pPr>
              <a:defRPr lang="de-DE" smtClean="0">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
        <p:nvSpPr>
          <p:cNvPr id="10" name="Textplatzhalter 15">
            <a:extLst>
              <a:ext uri="{FF2B5EF4-FFF2-40B4-BE49-F238E27FC236}">
                <a16:creationId xmlns:a16="http://schemas.microsoft.com/office/drawing/2014/main" id="{616C383F-4C26-3742-8E54-12A54343F08C}"/>
              </a:ext>
            </a:extLst>
          </p:cNvPr>
          <p:cNvSpPr>
            <a:spLocks noGrp="1"/>
          </p:cNvSpPr>
          <p:nvPr>
            <p:ph type="body" sz="quarter" idx="14" hasCustomPrompt="1"/>
          </p:nvPr>
        </p:nvSpPr>
        <p:spPr>
          <a:xfrm>
            <a:off x="1" y="244800"/>
            <a:ext cx="4799856" cy="641726"/>
          </a:xfrm>
          <a:solidFill>
            <a:schemeClr val="tx2"/>
          </a:solidFill>
          <a:effectLst>
            <a:outerShdw dist="27940" dir="5100000" algn="t" rotWithShape="0">
              <a:prstClr val="black"/>
            </a:outerShdw>
          </a:effectLst>
        </p:spPr>
        <p:txBody>
          <a:bodyPr wrap="square" lIns="262800" rIns="144000" bIns="208800">
            <a:spAutoFit/>
          </a:bodyPr>
          <a:lstStyle>
            <a:lvl1pPr algn="l">
              <a:lnSpc>
                <a:spcPct val="100000"/>
              </a:lnSpc>
              <a:spcBef>
                <a:spcPts val="0"/>
              </a:spcBef>
              <a:defRPr sz="2800" cap="all" spc="-70"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err="1"/>
              <a:t>KApitel</a:t>
            </a:r>
            <a:endParaRPr lang="de-DE" dirty="0"/>
          </a:p>
        </p:txBody>
      </p:sp>
    </p:spTree>
    <p:extLst>
      <p:ext uri="{BB962C8B-B14F-4D97-AF65-F5344CB8AC3E}">
        <p14:creationId xmlns:p14="http://schemas.microsoft.com/office/powerpoint/2010/main" val="412969425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Einstiegsfolie_Bild hoch 50%">
    <p:spTree>
      <p:nvGrpSpPr>
        <p:cNvPr id="1" name=""/>
        <p:cNvGrpSpPr/>
        <p:nvPr/>
      </p:nvGrpSpPr>
      <p:grpSpPr>
        <a:xfrm>
          <a:off x="0" y="0"/>
          <a:ext cx="0" cy="0"/>
          <a:chOff x="0" y="0"/>
          <a:chExt cx="0" cy="0"/>
        </a:xfrm>
      </p:grpSpPr>
      <p:sp>
        <p:nvSpPr>
          <p:cNvPr id="8" name="Rechteck 7"/>
          <p:cNvSpPr/>
          <p:nvPr userDrawn="1"/>
        </p:nvSpPr>
        <p:spPr>
          <a:xfrm>
            <a:off x="-794" y="0"/>
            <a:ext cx="12193588"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9" name="object 4">
            <a:extLst>
              <a:ext uri="{FF2B5EF4-FFF2-40B4-BE49-F238E27FC236}">
                <a16:creationId xmlns:a16="http://schemas.microsoft.com/office/drawing/2014/main" id="{F1407FCD-A98D-8D4C-BAEA-A83B72042659}"/>
              </a:ext>
            </a:extLst>
          </p:cNvPr>
          <p:cNvSpPr/>
          <p:nvPr userDrawn="1"/>
        </p:nvSpPr>
        <p:spPr>
          <a:xfrm>
            <a:off x="0" y="899999"/>
            <a:ext cx="12192635" cy="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
        <p:nvSpPr>
          <p:cNvPr id="14" name="Bildplatzhalter 13"/>
          <p:cNvSpPr>
            <a:spLocks noGrp="1"/>
          </p:cNvSpPr>
          <p:nvPr>
            <p:ph type="pic" sz="quarter" idx="17"/>
          </p:nvPr>
        </p:nvSpPr>
        <p:spPr>
          <a:xfrm>
            <a:off x="6043200" y="0"/>
            <a:ext cx="6148800" cy="6858000"/>
          </a:xfrm>
          <a:solidFill>
            <a:schemeClr val="bg2"/>
          </a:solidFill>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it-IT"/>
              <a:t>Fare clic sull'icona per inserire un'immagine</a:t>
            </a:r>
            <a:endParaRPr lang="de-DE" dirty="0"/>
          </a:p>
        </p:txBody>
      </p:sp>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15759583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154" name="Picture 10"/>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263352" y="200024"/>
            <a:ext cx="4018011" cy="532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 name="Textplatzhalter 20"/>
          <p:cNvSpPr>
            <a:spLocks noGrp="1"/>
          </p:cNvSpPr>
          <p:nvPr>
            <p:ph type="body" sz="quarter" idx="12" hasCustomPrompt="1"/>
          </p:nvPr>
        </p:nvSpPr>
        <p:spPr>
          <a:xfrm>
            <a:off x="1966051" y="4728545"/>
            <a:ext cx="3744000" cy="640175"/>
          </a:xfrm>
        </p:spPr>
        <p:txBody>
          <a:bodyPr wrap="square" anchor="b">
            <a:spAutoFit/>
          </a:bodyPr>
          <a:lstStyle>
            <a:lvl1pPr>
              <a:lnSpc>
                <a:spcPct val="130000"/>
              </a:lnSpc>
              <a:spcBef>
                <a:spcPts val="0"/>
              </a:spcBef>
              <a:defRPr sz="1600" cap="all"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bearbeiten</a:t>
            </a:r>
          </a:p>
        </p:txBody>
      </p:sp>
      <p:sp>
        <p:nvSpPr>
          <p:cNvPr id="28" name="Textplatzhalter 20"/>
          <p:cNvSpPr>
            <a:spLocks noGrp="1"/>
          </p:cNvSpPr>
          <p:nvPr>
            <p:ph type="body" sz="quarter" idx="13" hasCustomPrompt="1"/>
          </p:nvPr>
        </p:nvSpPr>
        <p:spPr>
          <a:xfrm>
            <a:off x="1966051" y="6207115"/>
            <a:ext cx="3949929" cy="246221"/>
          </a:xfrm>
        </p:spPr>
        <p:txBody>
          <a:bodyPr wrap="square" anchor="b">
            <a:spAutoFit/>
          </a:bodyPr>
          <a:lstStyle>
            <a:lvl1pPr>
              <a:spcBef>
                <a:spcPts val="0"/>
              </a:spcBef>
              <a:defRPr sz="1600" cap="none"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Ort,</a:t>
            </a:r>
          </a:p>
        </p:txBody>
      </p:sp>
      <p:sp>
        <p:nvSpPr>
          <p:cNvPr id="21" name="object 6">
            <a:extLst>
              <a:ext uri="{FF2B5EF4-FFF2-40B4-BE49-F238E27FC236}">
                <a16:creationId xmlns:a16="http://schemas.microsoft.com/office/drawing/2014/main" id="{7A6E9864-542A-6F4C-965E-7D2AEBA2E01D}"/>
              </a:ext>
            </a:extLst>
          </p:cNvPr>
          <p:cNvSpPr/>
          <p:nvPr userDrawn="1"/>
        </p:nvSpPr>
        <p:spPr>
          <a:xfrm>
            <a:off x="1710074" y="1710000"/>
            <a:ext cx="45719" cy="5148000"/>
          </a:xfrm>
          <a:custGeom>
            <a:avLst/>
            <a:gdLst/>
            <a:ahLst/>
            <a:cxnLst/>
            <a:rect l="l" t="t" r="r" b="b"/>
            <a:pathLst>
              <a:path h="4698365">
                <a:moveTo>
                  <a:pt x="0" y="0"/>
                </a:moveTo>
                <a:lnTo>
                  <a:pt x="0" y="4697996"/>
                </a:lnTo>
              </a:path>
            </a:pathLst>
          </a:custGeom>
          <a:ln w="28575">
            <a:solidFill>
              <a:srgbClr val="000000"/>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
        <p:nvSpPr>
          <p:cNvPr id="15" name="Textplatzhalter 15"/>
          <p:cNvSpPr>
            <a:spLocks noGrp="1"/>
          </p:cNvSpPr>
          <p:nvPr>
            <p:ph type="body" sz="quarter" idx="14" hasCustomPrompt="1"/>
          </p:nvPr>
        </p:nvSpPr>
        <p:spPr>
          <a:xfrm>
            <a:off x="-16405" y="944724"/>
            <a:ext cx="6037200" cy="2308324"/>
          </a:xfrm>
          <a:solidFill>
            <a:schemeClr val="tx2"/>
          </a:solidFill>
          <a:effectLst>
            <a:outerShdw dist="27940" dir="5400000" algn="t" rotWithShape="0">
              <a:prstClr val="black"/>
            </a:outerShdw>
          </a:effectLst>
        </p:spPr>
        <p:txBody>
          <a:bodyPr wrap="square" lIns="234000" rIns="144000" bIns="0">
            <a:spAutoFit/>
          </a:bodyPr>
          <a:lstStyle>
            <a:lvl1pPr algn="l">
              <a:lnSpc>
                <a:spcPct val="100000"/>
              </a:lnSpc>
              <a:spcBef>
                <a:spcPts val="0"/>
              </a:spcBef>
              <a:defRPr sz="5000" cap="all"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Titel durch klicken hinzufügen</a:t>
            </a:r>
          </a:p>
        </p:txBody>
      </p:sp>
      <p:sp>
        <p:nvSpPr>
          <p:cNvPr id="23" name="object 6">
            <a:extLst>
              <a:ext uri="{FF2B5EF4-FFF2-40B4-BE49-F238E27FC236}">
                <a16:creationId xmlns:a16="http://schemas.microsoft.com/office/drawing/2014/main" id="{35B15152-362B-804E-8180-EB8D98DF2756}"/>
              </a:ext>
            </a:extLst>
          </p:cNvPr>
          <p:cNvSpPr/>
          <p:nvPr userDrawn="1"/>
        </p:nvSpPr>
        <p:spPr>
          <a:xfrm flipH="1">
            <a:off x="5986816" y="-6350"/>
            <a:ext cx="56383" cy="6864350"/>
          </a:xfrm>
          <a:custGeom>
            <a:avLst/>
            <a:gdLst/>
            <a:ahLst/>
            <a:cxnLst/>
            <a:rect l="l" t="t" r="r" b="b"/>
            <a:pathLst>
              <a:path h="4698365">
                <a:moveTo>
                  <a:pt x="0" y="0"/>
                </a:moveTo>
                <a:lnTo>
                  <a:pt x="0" y="4697996"/>
                </a:lnTo>
              </a:path>
            </a:pathLst>
          </a:custGeom>
          <a:ln w="25400">
            <a:solidFill>
              <a:srgbClr val="000000"/>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
        <p:nvSpPr>
          <p:cNvPr id="16" name="Textplatzhalter 20">
            <a:extLst>
              <a:ext uri="{FF2B5EF4-FFF2-40B4-BE49-F238E27FC236}">
                <a16:creationId xmlns:a16="http://schemas.microsoft.com/office/drawing/2014/main" id="{154663BA-8C19-9E4F-A02C-E19A516A7AEC}"/>
              </a:ext>
            </a:extLst>
          </p:cNvPr>
          <p:cNvSpPr>
            <a:spLocks noGrp="1"/>
          </p:cNvSpPr>
          <p:nvPr>
            <p:ph type="body" sz="quarter" idx="16" hasCustomPrompt="1"/>
          </p:nvPr>
        </p:nvSpPr>
        <p:spPr>
          <a:xfrm>
            <a:off x="1966051" y="5877272"/>
            <a:ext cx="3950723" cy="246221"/>
          </a:xfrm>
        </p:spPr>
        <p:txBody>
          <a:bodyPr wrap="square" anchor="b">
            <a:spAutoFit/>
          </a:bodyPr>
          <a:lstStyle>
            <a:lvl1pPr>
              <a:spcBef>
                <a:spcPts val="0"/>
              </a:spcBef>
              <a:defRPr sz="1600" cap="none"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Name</a:t>
            </a:r>
          </a:p>
        </p:txBody>
      </p:sp>
      <p:sp>
        <p:nvSpPr>
          <p:cNvPr id="18" name="Datumsplatzhalter 4"/>
          <p:cNvSpPr>
            <a:spLocks noGrp="1"/>
          </p:cNvSpPr>
          <p:nvPr>
            <p:ph type="dt" sz="half" idx="2"/>
          </p:nvPr>
        </p:nvSpPr>
        <p:spPr>
          <a:xfrm>
            <a:off x="2891149" y="6207115"/>
            <a:ext cx="3024831" cy="246221"/>
          </a:xfrm>
          <a:prstGeom prst="rect">
            <a:avLst/>
          </a:prstGeom>
        </p:spPr>
        <p:txBody>
          <a:bodyPr vert="horz" lIns="0" tIns="0" rIns="0" bIns="0" rtlCol="0" anchor="b">
            <a:noAutofit/>
          </a:bodyPr>
          <a:lstStyle>
            <a:lvl1pPr algn="l">
              <a:defRPr sz="160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fld id="{D5F8BFEF-E7FD-4E3A-89AE-81A10A655280}" type="datetime4">
              <a:rPr lang="en-US" smtClean="0"/>
              <a:t>February 12, 2025</a:t>
            </a:fld>
            <a:endParaRPr lang="de-DE" dirty="0"/>
          </a:p>
        </p:txBody>
      </p:sp>
      <p:sp>
        <p:nvSpPr>
          <p:cNvPr id="17" name="Textfeld 16"/>
          <p:cNvSpPr txBox="1"/>
          <p:nvPr userDrawn="1"/>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Textbox</a:t>
            </a:r>
          </a:p>
        </p:txBody>
      </p:sp>
      <p:sp>
        <p:nvSpPr>
          <p:cNvPr id="20" name="Textfeld 19"/>
          <p:cNvSpPr txBox="1"/>
          <p:nvPr userDrawn="1"/>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Vier</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22" name="Textfeld 21"/>
          <p:cNvSpPr txBox="1"/>
          <p:nvPr userDrawn="1"/>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Drei</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24" name="Textfeld 23"/>
          <p:cNvSpPr txBox="1"/>
          <p:nvPr userDrawn="1"/>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Zwei Spalten</a:t>
            </a:r>
          </a:p>
        </p:txBody>
      </p:sp>
      <p:grpSp>
        <p:nvGrpSpPr>
          <p:cNvPr id="25" name="Gruppieren 24"/>
          <p:cNvGrpSpPr/>
          <p:nvPr userDrawn="1"/>
        </p:nvGrpSpPr>
        <p:grpSpPr>
          <a:xfrm>
            <a:off x="-276708" y="-835143"/>
            <a:ext cx="12205181" cy="7972555"/>
            <a:chOff x="-276708" y="-835143"/>
            <a:chExt cx="12205181" cy="7972555"/>
          </a:xfrm>
        </p:grpSpPr>
        <p:cxnSp>
          <p:nvCxnSpPr>
            <p:cNvPr id="27" name="Gerade Verbindung 23"/>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24"/>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78"/>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mit Pfeil 30"/>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 name="Gerade Verbindung mit Pfeil 31"/>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3" name="Gerade Verbindung mit Pfeil 32"/>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Gerade Verbindung mit Pfeil 33"/>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5" name="Gerade Verbindung mit Pfeil 34"/>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6" name="Gerade Verbindung mit Pfeil 35"/>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7" name="Gerade Verbindung mit Pfeil 36"/>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8" name="Gerade Verbindung mit Pfeil 37"/>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9" name="Gerade Verbindung mit Pfeil 38"/>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0" name="Gerade Verbindung 107"/>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1" name="Gerade Verbindung 108"/>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Gerade Verbindung 109"/>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3" name="Gerade Verbindung 110"/>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4" name="Gerade Verbindung 111"/>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5" name="Gerade Verbindung 112"/>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6" name="Gerade Verbindung 33"/>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7" name="Gerade Verbindung 34"/>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8" name="Gerade Verbindung 35"/>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9" name="Gerade Verbindung 38"/>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cxnSp>
        <p:nvCxnSpPr>
          <p:cNvPr id="50" name="Gerade Verbindung 37"/>
          <p:cNvCxnSpPr/>
          <p:nvPr userDrawn="1"/>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Textfeld 50"/>
          <p:cNvSpPr txBox="1"/>
          <p:nvPr userDrawn="1"/>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Tabelle</a:t>
            </a:r>
            <a:r>
              <a:rPr lang="de-DE" sz="1200" baseline="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 </a:t>
            </a: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Vollflächig)</a:t>
            </a:r>
          </a:p>
        </p:txBody>
      </p:sp>
    </p:spTree>
    <p:extLst>
      <p:ext uri="{BB962C8B-B14F-4D97-AF65-F5344CB8AC3E}">
        <p14:creationId xmlns:p14="http://schemas.microsoft.com/office/powerpoint/2010/main" val="199074895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Kapiteleinstieg 2">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2831334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2" name="Foliennummernplatzhalter 1"/>
          <p:cNvSpPr>
            <a:spLocks noGrp="1"/>
          </p:cNvSpPr>
          <p:nvPr>
            <p:ph type="sldNum" sz="quarter" idx="10"/>
          </p:nvPr>
        </p:nvSpPr>
        <p:spPr>
          <a:noFill/>
        </p:spPr>
        <p:txBody>
          <a:bodyPr vert="horz" lIns="0" tIns="0" rIns="0" bIns="0" rtlCol="0" anchor="ctr"/>
          <a:lstStyle>
            <a:lvl1pPr>
              <a:defRPr lang="de-DE" smtClean="0">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116028102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Agenda">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2" name="Foliennummernplatzhalter 1"/>
          <p:cNvSpPr>
            <a:spLocks noGrp="1"/>
          </p:cNvSpPr>
          <p:nvPr>
            <p:ph type="sldNum" sz="quarter" idx="10"/>
          </p:nvPr>
        </p:nvSpPr>
        <p:spPr>
          <a:noFill/>
        </p:spPr>
        <p:txBody>
          <a:bodyPr vert="horz" lIns="0" tIns="0" rIns="0" bIns="0" rtlCol="0" anchor="ctr"/>
          <a:lstStyle>
            <a:lvl1pPr>
              <a:defRPr lang="de-DE" smtClean="0">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279158908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Kapiteleinstieg 3">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28009750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17" name="Foliennummernplatzhalter 16"/>
          <p:cNvSpPr>
            <a:spLocks noGrp="1"/>
          </p:cNvSpPr>
          <p:nvPr>
            <p:ph type="sldNum" sz="quarter" idx="10"/>
          </p:nvPr>
        </p:nvSpPr>
        <p:spPr>
          <a:noFill/>
        </p:spPr>
        <p:txBody>
          <a:bodyPr vert="horz" lIns="0" tIns="0" rIns="0" bIns="0" rtlCol="0" anchor="ctr"/>
          <a:lstStyle>
            <a:lvl1pPr>
              <a:defRPr lang="de-DE" smtClean="0">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104119528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Kapiteleinstieg 4">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3429720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0" name="Rechteck 9"/>
          <p:cNvSpPr/>
          <p:nvPr userDrawn="1"/>
        </p:nvSpPr>
        <p:spPr>
          <a:xfrm>
            <a:off x="0" y="1"/>
            <a:ext cx="12193588" cy="90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cxnSp>
        <p:nvCxnSpPr>
          <p:cNvPr id="13" name="Gerade Verbindung 12"/>
          <p:cNvCxnSpPr/>
          <p:nvPr userDrawn="1"/>
        </p:nvCxnSpPr>
        <p:spPr>
          <a:xfrm>
            <a:off x="0" y="900000"/>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2" name="Titel 1"/>
          <p:cNvSpPr>
            <a:spLocks noGrp="1"/>
          </p:cNvSpPr>
          <p:nvPr>
            <p:ph type="title"/>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dirty="0"/>
              <a:t>Titelmasterformat durch Klicken bearbeiten</a:t>
            </a:r>
          </a:p>
        </p:txBody>
      </p:sp>
      <p:sp>
        <p:nvSpPr>
          <p:cNvPr id="4" name="Foliennummernplatzhalter 3"/>
          <p:cNvSpPr>
            <a:spLocks noGrp="1"/>
          </p:cNvSpPr>
          <p:nvPr>
            <p:ph type="sldNum" sz="quarter" idx="15"/>
          </p:nvPr>
        </p:nvSpPr>
        <p:spPr>
          <a:noFill/>
        </p:spPr>
        <p:txBody>
          <a:bodyPr vert="horz" lIns="0" tIns="0" rIns="0" bIns="0" rtlCol="0" anchor="ctr"/>
          <a:lstStyle>
            <a:lvl1pPr>
              <a:defRPr lang="de-DE" smtClean="0">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
        <p:nvSpPr>
          <p:cNvPr id="12" name="Textplatzhalter 15"/>
          <p:cNvSpPr>
            <a:spLocks noGrp="1"/>
          </p:cNvSpPr>
          <p:nvPr>
            <p:ph type="body" sz="quarter" idx="13" hasCustomPrompt="1"/>
          </p:nvPr>
        </p:nvSpPr>
        <p:spPr>
          <a:xfrm>
            <a:off x="0" y="910800"/>
            <a:ext cx="11928472" cy="991792"/>
          </a:xfrm>
          <a:solidFill>
            <a:schemeClr val="tx2"/>
          </a:solidFill>
          <a:effectLst>
            <a:outerShdw dist="27940" dir="5400000" algn="t" rotWithShape="0">
              <a:schemeClr val="tx1"/>
            </a:outerShdw>
          </a:effectLst>
        </p:spPr>
        <p:txBody>
          <a:bodyPr lIns="1170000" tIns="72000" bIns="72000">
            <a:spAutoFit/>
          </a:bodyPr>
          <a:lstStyle>
            <a:lvl1pPr>
              <a:lnSpc>
                <a:spcPts val="6600"/>
              </a:lnSpc>
              <a:defRPr sz="6000" cap="all"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Text bearbeiten</a:t>
            </a:r>
          </a:p>
        </p:txBody>
      </p:sp>
    </p:spTree>
    <p:extLst>
      <p:ext uri="{BB962C8B-B14F-4D97-AF65-F5344CB8AC3E}">
        <p14:creationId xmlns:p14="http://schemas.microsoft.com/office/powerpoint/2010/main" val="17120688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Kopfzeile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33013450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a:noFill/>
        </p:spPr>
        <p:txBody>
          <a:bodyPr vert="horz" lIns="0" tIns="0" rIns="0" bIns="0" rtlCol="0" anchor="ctr"/>
          <a:lstStyle>
            <a:lvl1pPr>
              <a:defRPr lang="de-DE" smtClean="0">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400906501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Kopfzeile Untertitel">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26625475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2" name="Foliennummernplatzhalter 1"/>
          <p:cNvSpPr>
            <a:spLocks noGrp="1"/>
          </p:cNvSpPr>
          <p:nvPr>
            <p:ph type="sldNum" sz="quarter" idx="14"/>
          </p:nvPr>
        </p:nvSpPr>
        <p:spPr>
          <a:noFill/>
        </p:spPr>
        <p:txBody>
          <a:bodyPr vert="horz" lIns="0" tIns="0" rIns="0" bIns="0" rtlCol="0" anchor="ctr"/>
          <a:lstStyle>
            <a:lvl1pPr>
              <a:defRPr lang="de-DE" smtClean="0">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105514070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Kopfzeile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058458"/>
            <a:ext cx="11449048" cy="5008968"/>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32084688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a:noFill/>
        </p:spPr>
        <p:txBody>
          <a:bodyPr vert="horz" lIns="0" tIns="0" rIns="0" bIns="0" rtlCol="0" anchor="ctr"/>
          <a:lstStyle>
            <a:lvl1pPr>
              <a:defRPr lang="de-DE" smtClean="0">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423881988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Kapiteldeckblatt">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1001900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13" name="Gerade Verbindung 12"/>
          <p:cNvCxnSpPr/>
          <p:nvPr userDrawn="1"/>
        </p:nvCxnSpPr>
        <p:spPr>
          <a:xfrm>
            <a:off x="0" y="900000"/>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8" name="Textplatzhalter 15"/>
          <p:cNvSpPr>
            <a:spLocks noGrp="1"/>
          </p:cNvSpPr>
          <p:nvPr>
            <p:ph type="body" sz="quarter" idx="13" hasCustomPrompt="1"/>
          </p:nvPr>
        </p:nvSpPr>
        <p:spPr>
          <a:xfrm>
            <a:off x="0" y="910800"/>
            <a:ext cx="11928472" cy="991792"/>
          </a:xfrm>
          <a:solidFill>
            <a:schemeClr val="bg1"/>
          </a:solidFill>
          <a:effectLst>
            <a:outerShdw dist="27940" dir="5400000" algn="t" rotWithShape="0">
              <a:schemeClr val="tx1"/>
            </a:outerShdw>
          </a:effectLst>
        </p:spPr>
        <p:txBody>
          <a:bodyPr lIns="1170000" tIns="72000" bIns="72000">
            <a:spAutoFit/>
          </a:bodyPr>
          <a:lstStyle>
            <a:lvl1pPr>
              <a:lnSpc>
                <a:spcPts val="6600"/>
              </a:lnSpc>
              <a:defRPr sz="6000" cap="all"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Text bearbeiten</a:t>
            </a:r>
          </a:p>
        </p:txBody>
      </p:sp>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2" name="Titel 1"/>
          <p:cNvSpPr>
            <a:spLocks noGrp="1"/>
          </p:cNvSpPr>
          <p:nvPr>
            <p:ph type="title"/>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dirty="0"/>
              <a:t>Titelmasterformat durch Klicken bearbeiten</a:t>
            </a:r>
          </a:p>
        </p:txBody>
      </p:sp>
      <p:sp>
        <p:nvSpPr>
          <p:cNvPr id="4" name="Foliennummernplatzhalter 3"/>
          <p:cNvSpPr>
            <a:spLocks noGrp="1"/>
          </p:cNvSpPr>
          <p:nvPr>
            <p:ph type="sldNum" sz="quarter" idx="15"/>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30501898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Kopfzeile + Fließtextkast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2970027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0" name="Gerade Verbindung 19"/>
          <p:cNvCxnSpPr/>
          <p:nvPr userDrawn="1"/>
        </p:nvCxnSpPr>
        <p:spPr>
          <a:xfrm>
            <a:off x="0" y="900000"/>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title"/>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dirty="0"/>
              <a:t>Titelmasterformat durch Klicken bearbeiten</a:t>
            </a:r>
          </a:p>
        </p:txBody>
      </p:sp>
      <p:sp>
        <p:nvSpPr>
          <p:cNvPr id="4" name="Foliennummernplatzhalter 3"/>
          <p:cNvSpPr>
            <a:spLocks noGrp="1"/>
          </p:cNvSpPr>
          <p:nvPr>
            <p:ph type="sldNum" sz="quarter" idx="11"/>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
        <p:nvSpPr>
          <p:cNvPr id="9"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10" name="Textplatzhalter 14"/>
          <p:cNvSpPr>
            <a:spLocks noGrp="1"/>
          </p:cNvSpPr>
          <p:nvPr>
            <p:ph type="body" sz="quarter" idx="13"/>
          </p:nvPr>
        </p:nvSpPr>
        <p:spPr>
          <a:xfrm>
            <a:off x="263525" y="1058458"/>
            <a:ext cx="11449048" cy="5008968"/>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Tree>
    <p:extLst>
      <p:ext uri="{BB962C8B-B14F-4D97-AF65-F5344CB8AC3E}">
        <p14:creationId xmlns:p14="http://schemas.microsoft.com/office/powerpoint/2010/main" val="25099460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Untertitel + Kopfzeile + Fließtextkast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30340162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cxnSp>
        <p:nvCxnSpPr>
          <p:cNvPr id="20" name="Gerade Verbindung 19"/>
          <p:cNvCxnSpPr/>
          <p:nvPr userDrawn="1"/>
        </p:nvCxnSpPr>
        <p:spPr>
          <a:xfrm>
            <a:off x="0" y="900000"/>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Textplatzhalter 2">
            <a:extLst>
              <a:ext uri="{FF2B5EF4-FFF2-40B4-BE49-F238E27FC236}">
                <a16:creationId xmlns:a16="http://schemas.microsoft.com/office/drawing/2014/main" id="{3B32DA5B-3025-5D45-A927-BAED7D4FEB3A}"/>
              </a:ext>
            </a:extLst>
          </p:cNvPr>
          <p:cNvSpPr>
            <a:spLocks noGrp="1"/>
          </p:cNvSpPr>
          <p:nvPr>
            <p:ph idx="17" hasCustomPrompt="1"/>
          </p:nvPr>
        </p:nvSpPr>
        <p:spPr>
          <a:xfrm>
            <a:off x="263525" y="1052736"/>
            <a:ext cx="11448000" cy="346310"/>
          </a:xfrm>
          <a:prstGeom prst="rect">
            <a:avLst/>
          </a:prstGeom>
        </p:spPr>
        <p:txBody>
          <a:bodyPr vert="horz" lIns="0" tIns="0" rIns="0" bIns="0" rtlCol="0">
            <a:noAutofit/>
          </a:bodyPr>
          <a:lstStyle>
            <a:lvl1pPr>
              <a:defRPr>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vl2pPr>
              <a:defRPr>
                <a:solidFill>
                  <a:schemeClr val="tx2"/>
                </a:solidFill>
              </a:defRPr>
            </a:lvl2pPr>
            <a:lvl3pPr>
              <a:defRPr>
                <a:solidFill>
                  <a:schemeClr val="tx2"/>
                </a:solidFill>
              </a:defRPr>
            </a:lvl3pPr>
            <a:lvl4pPr>
              <a:defRPr>
                <a:solidFill>
                  <a:schemeClr val="tx2"/>
                </a:solidFill>
              </a:defRPr>
            </a:lvl4pPr>
            <a:lvl5pPr>
              <a:defRPr>
                <a:solidFill>
                  <a:schemeClr val="tx2"/>
                </a:solidFill>
              </a:defRPr>
            </a:lvl5pPr>
          </a:lstStyle>
          <a:p>
            <a:pPr lvl="0"/>
            <a:r>
              <a:rPr lang="de-DE" noProof="0" dirty="0"/>
              <a:t>UNTERTITEL</a:t>
            </a:r>
          </a:p>
        </p:txBody>
      </p:sp>
      <p:sp>
        <p:nvSpPr>
          <p:cNvPr id="2" name="Titel 1"/>
          <p:cNvSpPr>
            <a:spLocks noGrp="1"/>
          </p:cNvSpPr>
          <p:nvPr>
            <p:ph type="title"/>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dirty="0"/>
              <a:t>Titelmasterformat durch Klicken bearbeiten</a:t>
            </a:r>
          </a:p>
        </p:txBody>
      </p:sp>
      <p:sp>
        <p:nvSpPr>
          <p:cNvPr id="4" name="Foliennummernplatzhalter 3"/>
          <p:cNvSpPr>
            <a:spLocks noGrp="1"/>
          </p:cNvSpPr>
          <p:nvPr>
            <p:ph type="sldNum" sz="quarter" idx="19"/>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
        <p:nvSpPr>
          <p:cNvPr id="11"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13" name="Textplatzhalter 14"/>
          <p:cNvSpPr>
            <a:spLocks noGrp="1"/>
          </p:cNvSpPr>
          <p:nvPr>
            <p:ph type="body" sz="quarter" idx="13"/>
          </p:nvPr>
        </p:nvSpPr>
        <p:spPr>
          <a:xfrm>
            <a:off x="263525" y="1457326"/>
            <a:ext cx="11449048" cy="46101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Tree>
    <p:extLst>
      <p:ext uri="{BB962C8B-B14F-4D97-AF65-F5344CB8AC3E}">
        <p14:creationId xmlns:p14="http://schemas.microsoft.com/office/powerpoint/2010/main" val="4375853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Einstiegsfolie_Bild hoch 30%">
    <p:spTree>
      <p:nvGrpSpPr>
        <p:cNvPr id="1" name=""/>
        <p:cNvGrpSpPr/>
        <p:nvPr/>
      </p:nvGrpSpPr>
      <p:grpSpPr>
        <a:xfrm>
          <a:off x="0" y="0"/>
          <a:ext cx="0" cy="0"/>
          <a:chOff x="0" y="0"/>
          <a:chExt cx="0" cy="0"/>
        </a:xfrm>
      </p:grpSpPr>
      <p:sp>
        <p:nvSpPr>
          <p:cNvPr id="8" name="Rechteck 7"/>
          <p:cNvSpPr/>
          <p:nvPr userDrawn="1"/>
        </p:nvSpPr>
        <p:spPr>
          <a:xfrm>
            <a:off x="-794" y="0"/>
            <a:ext cx="12193588"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3" name="Rechteck 2"/>
          <p:cNvSpPr/>
          <p:nvPr userDrawn="1"/>
        </p:nvSpPr>
        <p:spPr>
          <a:xfrm>
            <a:off x="8004212" y="0"/>
            <a:ext cx="3924261" cy="3140968"/>
          </a:xfrm>
          <a:prstGeom prst="rect">
            <a:avLst/>
          </a:prstGeom>
          <a:solidFill>
            <a:schemeClr val="bg1"/>
          </a:solidFill>
          <a:ln w="28575" cmpd="sng">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16000" indent="-216000" algn="l">
              <a:buFont typeface="GT America" panose="020B0604020202020204" pitchFamily="34" charset="0"/>
              <a:buChar char="•"/>
            </a:pPr>
            <a:endParaRPr lang="de-DE" sz="1600" dirty="0" err="1">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40297852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6154" name="Picture 10"/>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263352" y="200024"/>
            <a:ext cx="4018011" cy="532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 name="Textplatzhalter 20"/>
          <p:cNvSpPr>
            <a:spLocks noGrp="1"/>
          </p:cNvSpPr>
          <p:nvPr>
            <p:ph type="body" sz="quarter" idx="12" hasCustomPrompt="1"/>
          </p:nvPr>
        </p:nvSpPr>
        <p:spPr>
          <a:xfrm>
            <a:off x="1966051" y="5048632"/>
            <a:ext cx="5724000" cy="320088"/>
          </a:xfrm>
        </p:spPr>
        <p:txBody>
          <a:bodyPr wrap="square" anchor="b">
            <a:spAutoFit/>
          </a:bodyPr>
          <a:lstStyle>
            <a:lvl1pPr>
              <a:lnSpc>
                <a:spcPct val="130000"/>
              </a:lnSpc>
              <a:spcBef>
                <a:spcPts val="0"/>
              </a:spcBef>
              <a:defRPr sz="1600" cap="all"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bearbeiten</a:t>
            </a:r>
          </a:p>
        </p:txBody>
      </p:sp>
      <p:sp>
        <p:nvSpPr>
          <p:cNvPr id="28" name="Textplatzhalter 20"/>
          <p:cNvSpPr>
            <a:spLocks noGrp="1"/>
          </p:cNvSpPr>
          <p:nvPr>
            <p:ph type="body" sz="quarter" idx="13" hasCustomPrompt="1"/>
          </p:nvPr>
        </p:nvSpPr>
        <p:spPr>
          <a:xfrm>
            <a:off x="1966051" y="6207115"/>
            <a:ext cx="3950723" cy="246221"/>
          </a:xfrm>
        </p:spPr>
        <p:txBody>
          <a:bodyPr wrap="square" anchor="b">
            <a:spAutoFit/>
          </a:bodyPr>
          <a:lstStyle>
            <a:lvl1pPr>
              <a:spcBef>
                <a:spcPts val="0"/>
              </a:spcBef>
              <a:defRPr sz="1600" cap="none"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Ort,</a:t>
            </a:r>
          </a:p>
        </p:txBody>
      </p:sp>
      <p:sp>
        <p:nvSpPr>
          <p:cNvPr id="19" name="object 4">
            <a:extLst>
              <a:ext uri="{FF2B5EF4-FFF2-40B4-BE49-F238E27FC236}">
                <a16:creationId xmlns:a16="http://schemas.microsoft.com/office/drawing/2014/main" id="{F1407FCD-A98D-8D4C-BAEA-A83B72042659}"/>
              </a:ext>
            </a:extLst>
          </p:cNvPr>
          <p:cNvSpPr/>
          <p:nvPr userDrawn="1"/>
        </p:nvSpPr>
        <p:spPr>
          <a:xfrm>
            <a:off x="0" y="899999"/>
            <a:ext cx="12192635" cy="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
        <p:nvSpPr>
          <p:cNvPr id="21" name="object 6">
            <a:extLst>
              <a:ext uri="{FF2B5EF4-FFF2-40B4-BE49-F238E27FC236}">
                <a16:creationId xmlns:a16="http://schemas.microsoft.com/office/drawing/2014/main" id="{7A6E9864-542A-6F4C-965E-7D2AEBA2E01D}"/>
              </a:ext>
            </a:extLst>
          </p:cNvPr>
          <p:cNvSpPr/>
          <p:nvPr userDrawn="1"/>
        </p:nvSpPr>
        <p:spPr>
          <a:xfrm>
            <a:off x="1710074" y="1674000"/>
            <a:ext cx="45719" cy="5184000"/>
          </a:xfrm>
          <a:custGeom>
            <a:avLst/>
            <a:gdLst/>
            <a:ahLst/>
            <a:cxnLst/>
            <a:rect l="l" t="t" r="r" b="b"/>
            <a:pathLst>
              <a:path h="4698365">
                <a:moveTo>
                  <a:pt x="0" y="0"/>
                </a:moveTo>
                <a:lnTo>
                  <a:pt x="0" y="4697996"/>
                </a:lnTo>
              </a:path>
            </a:pathLst>
          </a:custGeom>
          <a:ln w="28575">
            <a:solidFill>
              <a:srgbClr val="000000"/>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
        <p:nvSpPr>
          <p:cNvPr id="14" name="Bildplatzhalter 13"/>
          <p:cNvSpPr>
            <a:spLocks noGrp="1"/>
          </p:cNvSpPr>
          <p:nvPr>
            <p:ph type="pic" sz="quarter" idx="17"/>
          </p:nvPr>
        </p:nvSpPr>
        <p:spPr>
          <a:xfrm>
            <a:off x="7915200" y="0"/>
            <a:ext cx="4276800" cy="6858000"/>
          </a:xfrm>
          <a:solidFill>
            <a:schemeClr val="bg2"/>
          </a:solidFill>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it-IT"/>
              <a:t>Fare clic sull'icona per inserire un'immagine</a:t>
            </a:r>
            <a:endParaRPr lang="de-DE" dirty="0"/>
          </a:p>
        </p:txBody>
      </p:sp>
      <p:sp>
        <p:nvSpPr>
          <p:cNvPr id="23" name="object 6">
            <a:extLst>
              <a:ext uri="{FF2B5EF4-FFF2-40B4-BE49-F238E27FC236}">
                <a16:creationId xmlns:a16="http://schemas.microsoft.com/office/drawing/2014/main" id="{35B15152-362B-804E-8180-EB8D98DF2756}"/>
              </a:ext>
            </a:extLst>
          </p:cNvPr>
          <p:cNvSpPr/>
          <p:nvPr userDrawn="1"/>
        </p:nvSpPr>
        <p:spPr>
          <a:xfrm>
            <a:off x="7897200" y="-6350"/>
            <a:ext cx="45719" cy="6864350"/>
          </a:xfrm>
          <a:custGeom>
            <a:avLst/>
            <a:gdLst/>
            <a:ahLst/>
            <a:cxnLst/>
            <a:rect l="l" t="t" r="r" b="b"/>
            <a:pathLst>
              <a:path h="4698365">
                <a:moveTo>
                  <a:pt x="0" y="0"/>
                </a:moveTo>
                <a:lnTo>
                  <a:pt x="0" y="4697996"/>
                </a:lnTo>
              </a:path>
            </a:pathLst>
          </a:custGeom>
          <a:ln w="25400">
            <a:solidFill>
              <a:srgbClr val="000000"/>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
        <p:nvSpPr>
          <p:cNvPr id="15" name="Textplatzhalter 15"/>
          <p:cNvSpPr>
            <a:spLocks noGrp="1"/>
          </p:cNvSpPr>
          <p:nvPr>
            <p:ph type="body" sz="quarter" idx="14" hasCustomPrompt="1"/>
          </p:nvPr>
        </p:nvSpPr>
        <p:spPr>
          <a:xfrm>
            <a:off x="-16405" y="944724"/>
            <a:ext cx="7902000" cy="1538883"/>
          </a:xfrm>
          <a:solidFill>
            <a:schemeClr val="tx2"/>
          </a:solidFill>
          <a:effectLst>
            <a:outerShdw dist="27940" dir="5400000" algn="t" rotWithShape="0">
              <a:prstClr val="black"/>
            </a:outerShdw>
          </a:effectLst>
        </p:spPr>
        <p:txBody>
          <a:bodyPr wrap="square" lIns="234000" rIns="144000" bIns="0">
            <a:spAutoFit/>
          </a:bodyPr>
          <a:lstStyle>
            <a:lvl1pPr algn="l">
              <a:lnSpc>
                <a:spcPct val="100000"/>
              </a:lnSpc>
              <a:spcBef>
                <a:spcPts val="0"/>
              </a:spcBef>
              <a:defRPr sz="5000" cap="all"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Titel durch klicken hinzufügen</a:t>
            </a:r>
          </a:p>
        </p:txBody>
      </p:sp>
      <p:sp>
        <p:nvSpPr>
          <p:cNvPr id="17" name="Textplatzhalter 20">
            <a:extLst>
              <a:ext uri="{FF2B5EF4-FFF2-40B4-BE49-F238E27FC236}">
                <a16:creationId xmlns:a16="http://schemas.microsoft.com/office/drawing/2014/main" id="{933EB4BE-B7DA-FF4C-B744-5423D0C89B33}"/>
              </a:ext>
            </a:extLst>
          </p:cNvPr>
          <p:cNvSpPr>
            <a:spLocks noGrp="1"/>
          </p:cNvSpPr>
          <p:nvPr>
            <p:ph type="body" sz="quarter" idx="16" hasCustomPrompt="1"/>
          </p:nvPr>
        </p:nvSpPr>
        <p:spPr>
          <a:xfrm>
            <a:off x="1966051" y="5877272"/>
            <a:ext cx="3950723" cy="246221"/>
          </a:xfrm>
        </p:spPr>
        <p:txBody>
          <a:bodyPr wrap="square" anchor="b">
            <a:spAutoFit/>
          </a:bodyPr>
          <a:lstStyle>
            <a:lvl1pPr>
              <a:spcBef>
                <a:spcPts val="0"/>
              </a:spcBef>
              <a:defRPr sz="1600" cap="none"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Name</a:t>
            </a:r>
          </a:p>
        </p:txBody>
      </p:sp>
      <p:sp>
        <p:nvSpPr>
          <p:cNvPr id="18" name="Datumsplatzhalter 4"/>
          <p:cNvSpPr>
            <a:spLocks noGrp="1"/>
          </p:cNvSpPr>
          <p:nvPr>
            <p:ph type="dt" sz="half" idx="2"/>
          </p:nvPr>
        </p:nvSpPr>
        <p:spPr>
          <a:xfrm>
            <a:off x="2891149" y="6207115"/>
            <a:ext cx="3025625" cy="246221"/>
          </a:xfrm>
          <a:prstGeom prst="rect">
            <a:avLst/>
          </a:prstGeom>
        </p:spPr>
        <p:txBody>
          <a:bodyPr vert="horz" lIns="0" tIns="0" rIns="0" bIns="0" rtlCol="0" anchor="b">
            <a:noAutofit/>
          </a:bodyPr>
          <a:lstStyle>
            <a:lvl1pPr algn="l">
              <a:defRPr sz="160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fld id="{714045BB-F266-4537-A245-4340287B993F}" type="datetime4">
              <a:rPr lang="en-US" smtClean="0"/>
              <a:t>February 12, 2025</a:t>
            </a:fld>
            <a:endParaRPr lang="de-DE" dirty="0"/>
          </a:p>
        </p:txBody>
      </p:sp>
      <p:sp>
        <p:nvSpPr>
          <p:cNvPr id="16" name="Textfeld 15"/>
          <p:cNvSpPr txBox="1"/>
          <p:nvPr userDrawn="1"/>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Textbox</a:t>
            </a:r>
          </a:p>
        </p:txBody>
      </p:sp>
      <p:sp>
        <p:nvSpPr>
          <p:cNvPr id="20" name="Textfeld 19"/>
          <p:cNvSpPr txBox="1"/>
          <p:nvPr userDrawn="1"/>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Vier</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22" name="Textfeld 21"/>
          <p:cNvSpPr txBox="1"/>
          <p:nvPr userDrawn="1"/>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Drei</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24" name="Textfeld 23"/>
          <p:cNvSpPr txBox="1"/>
          <p:nvPr userDrawn="1"/>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Zwei Spalten</a:t>
            </a:r>
          </a:p>
        </p:txBody>
      </p:sp>
      <p:grpSp>
        <p:nvGrpSpPr>
          <p:cNvPr id="25" name="Gruppieren 24"/>
          <p:cNvGrpSpPr/>
          <p:nvPr userDrawn="1"/>
        </p:nvGrpSpPr>
        <p:grpSpPr>
          <a:xfrm>
            <a:off x="-276708" y="-835143"/>
            <a:ext cx="12205181" cy="7972555"/>
            <a:chOff x="-276708" y="-835143"/>
            <a:chExt cx="12205181" cy="7972555"/>
          </a:xfrm>
        </p:grpSpPr>
        <p:cxnSp>
          <p:nvCxnSpPr>
            <p:cNvPr id="27" name="Gerade Verbindung 23"/>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24"/>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78"/>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mit Pfeil 30"/>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2" name="Gerade Verbindung mit Pfeil 31"/>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3" name="Gerade Verbindung mit Pfeil 32"/>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Gerade Verbindung mit Pfeil 33"/>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5" name="Gerade Verbindung mit Pfeil 34"/>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6" name="Gerade Verbindung mit Pfeil 35"/>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7" name="Gerade Verbindung mit Pfeil 36"/>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8" name="Gerade Verbindung mit Pfeil 37"/>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9" name="Gerade Verbindung mit Pfeil 38"/>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0" name="Gerade Verbindung 107"/>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1" name="Gerade Verbindung 108"/>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Gerade Verbindung 109"/>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3" name="Gerade Verbindung 110"/>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4" name="Gerade Verbindung 111"/>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5" name="Gerade Verbindung 112"/>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6" name="Gerade Verbindung 33"/>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7" name="Gerade Verbindung 34"/>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8" name="Gerade Verbindung 35"/>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9" name="Gerade Verbindung 38"/>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cxnSp>
        <p:nvCxnSpPr>
          <p:cNvPr id="50" name="Gerade Verbindung 37"/>
          <p:cNvCxnSpPr/>
          <p:nvPr userDrawn="1"/>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1" name="Textfeld 50"/>
          <p:cNvSpPr txBox="1"/>
          <p:nvPr userDrawn="1"/>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Tabelle</a:t>
            </a:r>
            <a:r>
              <a:rPr lang="de-DE" sz="1200" baseline="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 </a:t>
            </a: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Vollflächig)</a:t>
            </a:r>
          </a:p>
        </p:txBody>
      </p:sp>
    </p:spTree>
    <p:extLst>
      <p:ext uri="{BB962C8B-B14F-4D97-AF65-F5344CB8AC3E}">
        <p14:creationId xmlns:p14="http://schemas.microsoft.com/office/powerpoint/2010/main" val="2435284410"/>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Vollbi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1"/>
            </p:custDataLst>
            <p:extLst>
              <p:ext uri="{D42A27DB-BD31-4B8C-83A1-F6EECF244321}">
                <p14:modId xmlns:p14="http://schemas.microsoft.com/office/powerpoint/2010/main" val="36565429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4" name="Objek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6" name="Bildplatzhalter 5"/>
          <p:cNvSpPr>
            <a:spLocks noGrp="1"/>
          </p:cNvSpPr>
          <p:nvPr>
            <p:ph type="pic" sz="quarter" idx="12"/>
          </p:nvPr>
        </p:nvSpPr>
        <p:spPr>
          <a:xfrm>
            <a:off x="1" y="0"/>
            <a:ext cx="11928472" cy="6858000"/>
          </a:xfrm>
          <a:solidFill>
            <a:schemeClr val="bg2"/>
          </a:solidFill>
        </p:spPr>
        <p:txBody>
          <a:bodyPr lIns="72000" tIns="72000" rIns="72000" bIns="72000"/>
          <a:lstStyle>
            <a:lvl1pPr>
              <a:defRPr>
                <a:solidFill>
                  <a:schemeClr val="tx1"/>
                </a:solidFill>
              </a:defRPr>
            </a:lvl1pPr>
          </a:lstStyle>
          <a:p>
            <a:endParaRPr lang="de-DE" dirty="0"/>
          </a:p>
        </p:txBody>
      </p:sp>
      <p:sp>
        <p:nvSpPr>
          <p:cNvPr id="16" name="Textfeld 15"/>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17" name="Textfeld 16"/>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3" name="Foliennummernplatzhalter 2"/>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318337678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Kapiteldeckblatt 1">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12856918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2" name="Foliennummernplatzhalter 1"/>
          <p:cNvSpPr>
            <a:spLocks noGrp="1"/>
          </p:cNvSpPr>
          <p:nvPr>
            <p:ph type="sldNum" sz="quarter" idx="10"/>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68526209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Kapiteldeckblatt 2">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26454497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17" name="Foliennummernplatzhalter 16"/>
          <p:cNvSpPr>
            <a:spLocks noGrp="1"/>
          </p:cNvSpPr>
          <p:nvPr>
            <p:ph type="sldNum" sz="quarter" idx="10"/>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330140852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Kopfzeile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8352973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310274397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Kopfzeile Untertitel ">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15712686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164958817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Kopfzeile farbig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37400181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tx2"/>
                </a:solidFill>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32577707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Kapiteldeckblatt 1">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8904033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2" name="Foliennummernplatzhalter 1"/>
          <p:cNvSpPr>
            <a:spLocks noGrp="1"/>
          </p:cNvSpPr>
          <p:nvPr>
            <p:ph type="sldNum" sz="quarter" idx="10"/>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103956716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Kapiteldeckblatt 2">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37210468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17" name="Foliennummernplatzhalter 16"/>
          <p:cNvSpPr>
            <a:spLocks noGrp="1"/>
          </p:cNvSpPr>
          <p:nvPr>
            <p:ph type="sldNum" sz="quarter" idx="10"/>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177569649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Kopfzeile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42468175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318079461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Kopfzeile Untertitel ">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3399994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29350248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Einstiegsfolie_Bild quer 40%">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87519237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Rechteck 7"/>
          <p:cNvSpPr/>
          <p:nvPr userDrawn="1"/>
        </p:nvSpPr>
        <p:spPr>
          <a:xfrm>
            <a:off x="-794" y="0"/>
            <a:ext cx="12193588"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2" name="Titel 1"/>
          <p:cNvSpPr>
            <a:spLocks noGrp="1"/>
          </p:cNvSpPr>
          <p:nvPr>
            <p:ph type="title" hasCustomPrompt="1"/>
          </p:nvPr>
        </p:nvSpPr>
        <p:spPr>
          <a:xfrm>
            <a:off x="263524" y="1134800"/>
            <a:ext cx="11664951" cy="892721"/>
          </a:xfrm>
        </p:spPr>
        <p:txBody>
          <a:bodyPr anchor="t"/>
          <a:lstStyle>
            <a:lvl1pPr>
              <a:lnSpc>
                <a:spcPts val="6600"/>
              </a:lnSpc>
              <a:defRPr sz="500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r>
              <a:rPr lang="de-DE" dirty="0"/>
              <a:t>Titel der </a:t>
            </a:r>
            <a:r>
              <a:rPr lang="de-DE" dirty="0" err="1"/>
              <a:t>präsentation</a:t>
            </a:r>
            <a:endParaRPr lang="en-US" dirty="0"/>
          </a:p>
        </p:txBody>
      </p:sp>
      <p:pic>
        <p:nvPicPr>
          <p:cNvPr id="6154" name="Picture 10"/>
          <p:cNvPicPr>
            <a:picLocks noChangeAspect="1" noChangeArrowheads="1"/>
          </p:cNvPicPr>
          <p:nvPr userDrawn="1"/>
        </p:nvPicPr>
        <p:blipFill>
          <a:blip r:embed="rId5" cstate="email">
            <a:extLst>
              <a:ext uri="{28A0092B-C50C-407E-A947-70E740481C1C}">
                <a14:useLocalDpi xmlns:a14="http://schemas.microsoft.com/office/drawing/2010/main"/>
              </a:ext>
            </a:extLst>
          </a:blip>
          <a:srcRect/>
          <a:stretch>
            <a:fillRect/>
          </a:stretch>
        </p:blipFill>
        <p:spPr bwMode="auto">
          <a:xfrm>
            <a:off x="263352" y="200024"/>
            <a:ext cx="4018011" cy="532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6" name="Textplatzhalter 20"/>
          <p:cNvSpPr>
            <a:spLocks noGrp="1"/>
          </p:cNvSpPr>
          <p:nvPr>
            <p:ph type="body" sz="quarter" idx="12" hasCustomPrompt="1"/>
          </p:nvPr>
        </p:nvSpPr>
        <p:spPr>
          <a:xfrm>
            <a:off x="264050" y="2566111"/>
            <a:ext cx="3744388" cy="640175"/>
          </a:xfrm>
        </p:spPr>
        <p:txBody>
          <a:bodyPr wrap="square" anchor="b" anchorCtr="0">
            <a:spAutoFit/>
          </a:bodyPr>
          <a:lstStyle>
            <a:lvl1pPr>
              <a:lnSpc>
                <a:spcPct val="130000"/>
              </a:lnSpc>
              <a:spcBef>
                <a:spcPts val="0"/>
              </a:spcBef>
              <a:defRPr sz="1600" cap="all"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bearbeiten</a:t>
            </a:r>
          </a:p>
        </p:txBody>
      </p:sp>
      <p:sp>
        <p:nvSpPr>
          <p:cNvPr id="28" name="Textplatzhalter 20"/>
          <p:cNvSpPr>
            <a:spLocks noGrp="1"/>
          </p:cNvSpPr>
          <p:nvPr>
            <p:ph type="body" sz="quarter" idx="13" hasCustomPrompt="1"/>
          </p:nvPr>
        </p:nvSpPr>
        <p:spPr>
          <a:xfrm>
            <a:off x="4284804" y="2960065"/>
            <a:ext cx="7453312" cy="246221"/>
          </a:xfrm>
        </p:spPr>
        <p:txBody>
          <a:bodyPr wrap="square" anchor="b">
            <a:spAutoFit/>
          </a:bodyPr>
          <a:lstStyle>
            <a:lvl1pPr>
              <a:spcBef>
                <a:spcPts val="0"/>
              </a:spcBef>
              <a:defRPr sz="1600" cap="none"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Ort,</a:t>
            </a:r>
          </a:p>
        </p:txBody>
      </p:sp>
      <p:sp>
        <p:nvSpPr>
          <p:cNvPr id="19" name="object 4">
            <a:extLst>
              <a:ext uri="{FF2B5EF4-FFF2-40B4-BE49-F238E27FC236}">
                <a16:creationId xmlns:a16="http://schemas.microsoft.com/office/drawing/2014/main" id="{F1407FCD-A98D-8D4C-BAEA-A83B72042659}"/>
              </a:ext>
            </a:extLst>
          </p:cNvPr>
          <p:cNvSpPr/>
          <p:nvPr userDrawn="1"/>
        </p:nvSpPr>
        <p:spPr>
          <a:xfrm>
            <a:off x="0" y="899999"/>
            <a:ext cx="12192635" cy="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
        <p:nvSpPr>
          <p:cNvPr id="14" name="Bildplatzhalter 13"/>
          <p:cNvSpPr>
            <a:spLocks noGrp="1"/>
          </p:cNvSpPr>
          <p:nvPr>
            <p:ph type="pic" sz="quarter" idx="17"/>
          </p:nvPr>
        </p:nvSpPr>
        <p:spPr>
          <a:xfrm>
            <a:off x="3176" y="3546000"/>
            <a:ext cx="12189618" cy="3312000"/>
          </a:xfrm>
          <a:solidFill>
            <a:schemeClr val="bg2"/>
          </a:solidFill>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it-IT"/>
              <a:t>Fare clic sull'icona per inserire un'immagine</a:t>
            </a:r>
            <a:endParaRPr lang="de-DE" dirty="0"/>
          </a:p>
        </p:txBody>
      </p:sp>
      <p:sp>
        <p:nvSpPr>
          <p:cNvPr id="31" name="object 5">
            <a:extLst>
              <a:ext uri="{FF2B5EF4-FFF2-40B4-BE49-F238E27FC236}">
                <a16:creationId xmlns:a16="http://schemas.microsoft.com/office/drawing/2014/main" id="{E53813C0-5592-A544-AC61-84B1689DD6BA}"/>
              </a:ext>
            </a:extLst>
          </p:cNvPr>
          <p:cNvSpPr/>
          <p:nvPr userDrawn="1"/>
        </p:nvSpPr>
        <p:spPr>
          <a:xfrm>
            <a:off x="0" y="2027521"/>
            <a:ext cx="12192635" cy="0"/>
          </a:xfrm>
          <a:custGeom>
            <a:avLst/>
            <a:gdLst/>
            <a:ahLst/>
            <a:cxnLst/>
            <a:rect l="l" t="t" r="r" b="b"/>
            <a:pathLst>
              <a:path w="12192635">
                <a:moveTo>
                  <a:pt x="0" y="0"/>
                </a:moveTo>
                <a:lnTo>
                  <a:pt x="12192113" y="0"/>
                </a:lnTo>
              </a:path>
            </a:pathLst>
          </a:custGeom>
          <a:ln w="25400">
            <a:solidFill>
              <a:srgbClr val="000000"/>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
        <p:nvSpPr>
          <p:cNvPr id="32" name="object 6">
            <a:extLst>
              <a:ext uri="{FF2B5EF4-FFF2-40B4-BE49-F238E27FC236}">
                <a16:creationId xmlns:a16="http://schemas.microsoft.com/office/drawing/2014/main" id="{7A6E9864-542A-6F4C-965E-7D2AEBA2E01D}"/>
              </a:ext>
            </a:extLst>
          </p:cNvPr>
          <p:cNvSpPr/>
          <p:nvPr userDrawn="1"/>
        </p:nvSpPr>
        <p:spPr>
          <a:xfrm flipH="1">
            <a:off x="4041788" y="2027521"/>
            <a:ext cx="45719" cy="1509479"/>
          </a:xfrm>
          <a:custGeom>
            <a:avLst/>
            <a:gdLst/>
            <a:ahLst/>
            <a:cxnLst/>
            <a:rect l="l" t="t" r="r" b="b"/>
            <a:pathLst>
              <a:path h="4698365">
                <a:moveTo>
                  <a:pt x="0" y="0"/>
                </a:moveTo>
                <a:lnTo>
                  <a:pt x="0" y="4697996"/>
                </a:lnTo>
              </a:path>
            </a:pathLst>
          </a:custGeom>
          <a:ln w="28575">
            <a:solidFill>
              <a:srgbClr val="000000"/>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
        <p:nvSpPr>
          <p:cNvPr id="33" name="object 5">
            <a:extLst>
              <a:ext uri="{FF2B5EF4-FFF2-40B4-BE49-F238E27FC236}">
                <a16:creationId xmlns:a16="http://schemas.microsoft.com/office/drawing/2014/main" id="{015ACE90-02E3-8C47-94C3-2D89724CC019}"/>
              </a:ext>
            </a:extLst>
          </p:cNvPr>
          <p:cNvSpPr/>
          <p:nvPr userDrawn="1"/>
        </p:nvSpPr>
        <p:spPr>
          <a:xfrm>
            <a:off x="-637" y="3537000"/>
            <a:ext cx="12192635" cy="0"/>
          </a:xfrm>
          <a:custGeom>
            <a:avLst/>
            <a:gdLst/>
            <a:ahLst/>
            <a:cxnLst/>
            <a:rect l="l" t="t" r="r" b="b"/>
            <a:pathLst>
              <a:path w="12192635">
                <a:moveTo>
                  <a:pt x="0" y="0"/>
                </a:moveTo>
                <a:lnTo>
                  <a:pt x="12192113" y="0"/>
                </a:lnTo>
              </a:path>
            </a:pathLst>
          </a:custGeom>
          <a:ln w="25400">
            <a:solidFill>
              <a:srgbClr val="000000"/>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
        <p:nvSpPr>
          <p:cNvPr id="16" name="Textplatzhalter 20">
            <a:extLst>
              <a:ext uri="{FF2B5EF4-FFF2-40B4-BE49-F238E27FC236}">
                <a16:creationId xmlns:a16="http://schemas.microsoft.com/office/drawing/2014/main" id="{A4C3430A-7E32-784A-A054-05C3781007FF}"/>
              </a:ext>
            </a:extLst>
          </p:cNvPr>
          <p:cNvSpPr>
            <a:spLocks noGrp="1"/>
          </p:cNvSpPr>
          <p:nvPr>
            <p:ph type="body" sz="quarter" idx="16" hasCustomPrompt="1"/>
          </p:nvPr>
        </p:nvSpPr>
        <p:spPr>
          <a:xfrm>
            <a:off x="4281488" y="2626341"/>
            <a:ext cx="7453313" cy="246221"/>
          </a:xfrm>
        </p:spPr>
        <p:txBody>
          <a:bodyPr wrap="square" anchor="b">
            <a:noAutofit/>
          </a:bodyPr>
          <a:lstStyle>
            <a:lvl1pPr>
              <a:spcBef>
                <a:spcPts val="0"/>
              </a:spcBef>
              <a:defRPr sz="1600" cap="none"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Name</a:t>
            </a:r>
          </a:p>
        </p:txBody>
      </p:sp>
      <p:sp>
        <p:nvSpPr>
          <p:cNvPr id="17" name="Datumsplatzhalter 4"/>
          <p:cNvSpPr>
            <a:spLocks noGrp="1"/>
          </p:cNvSpPr>
          <p:nvPr>
            <p:ph type="dt" sz="half" idx="2"/>
          </p:nvPr>
        </p:nvSpPr>
        <p:spPr>
          <a:xfrm>
            <a:off x="5207255" y="2956184"/>
            <a:ext cx="3024831" cy="246221"/>
          </a:xfrm>
          <a:prstGeom prst="rect">
            <a:avLst/>
          </a:prstGeom>
        </p:spPr>
        <p:txBody>
          <a:bodyPr vert="horz" lIns="0" tIns="0" rIns="0" bIns="0" rtlCol="0" anchor="b">
            <a:noAutofit/>
          </a:bodyPr>
          <a:lstStyle>
            <a:lvl1pPr algn="l">
              <a:defRPr sz="160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fld id="{ED235C46-AEEA-4F52-81F5-9598616C5809}" type="datetime4">
              <a:rPr lang="en-US" smtClean="0"/>
              <a:t>February 12, 2025</a:t>
            </a:fld>
            <a:endParaRPr lang="de-DE" dirty="0"/>
          </a:p>
        </p:txBody>
      </p:sp>
      <p:sp>
        <p:nvSpPr>
          <p:cNvPr id="18" name="Textfeld 17"/>
          <p:cNvSpPr txBox="1"/>
          <p:nvPr userDrawn="1"/>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Textbox</a:t>
            </a:r>
          </a:p>
        </p:txBody>
      </p:sp>
      <p:sp>
        <p:nvSpPr>
          <p:cNvPr id="20" name="Textfeld 19"/>
          <p:cNvSpPr txBox="1"/>
          <p:nvPr userDrawn="1"/>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Vier</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21" name="Textfeld 20"/>
          <p:cNvSpPr txBox="1"/>
          <p:nvPr userDrawn="1"/>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Drei</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22" name="Textfeld 21"/>
          <p:cNvSpPr txBox="1"/>
          <p:nvPr userDrawn="1"/>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Zwei Spalten</a:t>
            </a:r>
          </a:p>
        </p:txBody>
      </p:sp>
      <p:grpSp>
        <p:nvGrpSpPr>
          <p:cNvPr id="23" name="Gruppieren 22"/>
          <p:cNvGrpSpPr/>
          <p:nvPr userDrawn="1"/>
        </p:nvGrpSpPr>
        <p:grpSpPr>
          <a:xfrm>
            <a:off x="-276708" y="-835143"/>
            <a:ext cx="12205181" cy="7972555"/>
            <a:chOff x="-276708" y="-835143"/>
            <a:chExt cx="12205181" cy="7972555"/>
          </a:xfrm>
        </p:grpSpPr>
        <p:cxnSp>
          <p:nvCxnSpPr>
            <p:cNvPr id="24" name="Gerade Verbindung 23"/>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78"/>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mit Pfeil 28"/>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0" name="Gerade Verbindung mit Pfeil 29"/>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Gerade Verbindung mit Pfeil 33"/>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5" name="Gerade Verbindung mit Pfeil 34"/>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6" name="Gerade Verbindung mit Pfeil 35"/>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7" name="Gerade Verbindung mit Pfeil 36"/>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8" name="Gerade Verbindung mit Pfeil 37"/>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9" name="Gerade Verbindung mit Pfeil 38"/>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0" name="Gerade Verbindung mit Pfeil 39"/>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1" name="Gerade Verbindung 107"/>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2" name="Gerade Verbindung 108"/>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3" name="Gerade Verbindung 109"/>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4" name="Gerade Verbindung 110"/>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5" name="Gerade Verbindung 111"/>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6" name="Gerade Verbindung 112"/>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7" name="Gerade Verbindung 33"/>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8" name="Gerade Verbindung 34"/>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49" name="Gerade Verbindung 35"/>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50" name="Gerade Verbindung 38"/>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cxnSp>
        <p:nvCxnSpPr>
          <p:cNvPr id="51" name="Gerade Verbindung 37"/>
          <p:cNvCxnSpPr/>
          <p:nvPr userDrawn="1"/>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52" name="Textfeld 51"/>
          <p:cNvSpPr txBox="1"/>
          <p:nvPr userDrawn="1"/>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Tabelle</a:t>
            </a:r>
            <a:r>
              <a:rPr lang="de-DE" sz="1200" baseline="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 </a:t>
            </a: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Vollflächig)</a:t>
            </a:r>
          </a:p>
        </p:txBody>
      </p:sp>
    </p:spTree>
    <p:extLst>
      <p:ext uri="{BB962C8B-B14F-4D97-AF65-F5344CB8AC3E}">
        <p14:creationId xmlns:p14="http://schemas.microsoft.com/office/powerpoint/2010/main" val="1128082523"/>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Kapiteldeckblatt 1">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bg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3123098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2" name="Foliennummernplatzhalter 1"/>
          <p:cNvSpPr>
            <a:spLocks noGrp="1"/>
          </p:cNvSpPr>
          <p:nvPr>
            <p:ph type="sldNum" sz="quarter" idx="10"/>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361526387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Kapiteldeckblatt 2">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31372386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17" name="Foliennummernplatzhalter 16"/>
          <p:cNvSpPr>
            <a:spLocks noGrp="1"/>
          </p:cNvSpPr>
          <p:nvPr>
            <p:ph type="sldNum" sz="quarter" idx="10"/>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3959204798"/>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Kopfzeile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81823107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208697009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Kopfzeile Untertitel ">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6962996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49531011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Kopfzeile farbig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6547585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tx2"/>
                </a:solidFill>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348276810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Kapiteldeckblatt 1">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bg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1308842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2" name="Foliennummernplatzhalter 1"/>
          <p:cNvSpPr>
            <a:spLocks noGrp="1"/>
          </p:cNvSpPr>
          <p:nvPr>
            <p:ph type="sldNum" sz="quarter" idx="10"/>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379287337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Kapiteldeckblatt 2">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24850407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17" name="Foliennummernplatzhalter 16"/>
          <p:cNvSpPr>
            <a:spLocks noGrp="1"/>
          </p:cNvSpPr>
          <p:nvPr>
            <p:ph type="sldNum" sz="quarter" idx="10"/>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163611740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Kopfzeile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36474091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3882286171"/>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Kopfzeile Untertitel ">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40519281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3601074728"/>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Kopfzeile farbig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1352197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tx2"/>
                </a:solidFill>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415478887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13188546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3" name="Rechteck 12"/>
          <p:cNvSpPr/>
          <p:nvPr userDrawn="1"/>
        </p:nvSpPr>
        <p:spPr>
          <a:xfrm>
            <a:off x="-794" y="0"/>
            <a:ext cx="12193588"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cxnSp>
        <p:nvCxnSpPr>
          <p:cNvPr id="8" name="Gerade Verbindung 7"/>
          <p:cNvCxnSpPr/>
          <p:nvPr userDrawn="1"/>
        </p:nvCxnSpPr>
        <p:spPr>
          <a:xfrm>
            <a:off x="-1" y="900000"/>
            <a:ext cx="122040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a:xfrm>
            <a:off x="5988050" y="918000"/>
            <a:ext cx="0" cy="594000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itel 2"/>
          <p:cNvSpPr>
            <a:spLocks noGrp="1"/>
          </p:cNvSpPr>
          <p:nvPr>
            <p:ph type="title"/>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it-IT"/>
              <a:t>Fare clic per modificare lo stile del titolo dello schema</a:t>
            </a:r>
            <a:endParaRPr lang="de-DE" dirty="0"/>
          </a:p>
        </p:txBody>
      </p:sp>
    </p:spTree>
    <p:extLst>
      <p:ext uri="{BB962C8B-B14F-4D97-AF65-F5344CB8AC3E}">
        <p14:creationId xmlns:p14="http://schemas.microsoft.com/office/powerpoint/2010/main" val="1486554176"/>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Kapiteldeckblatt 1">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bg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83428568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2" name="Foliennummernplatzhalter 1"/>
          <p:cNvSpPr>
            <a:spLocks noGrp="1"/>
          </p:cNvSpPr>
          <p:nvPr>
            <p:ph type="sldNum" sz="quarter" idx="10"/>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1865132350"/>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Kapiteldeckblatt 2">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7292741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17" name="Foliennummernplatzhalter 16"/>
          <p:cNvSpPr>
            <a:spLocks noGrp="1"/>
          </p:cNvSpPr>
          <p:nvPr>
            <p:ph type="sldNum" sz="quarter" idx="10"/>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2244955011"/>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Kopfzeile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32128470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185682463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Kopfzeile Untertitel">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25414167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bg1"/>
                </a:solidFill>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2184559092"/>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Kopfzeile farbig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11462399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tx2"/>
                </a:solidFill>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372275699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Kopfzeile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414126937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1878697582"/>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Kopfzeile Untertitel ">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36465828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1954709028"/>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Kopfzeile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vl2pPr>
              <a:defRPr>
                <a:latin typeface="GT America" panose="00000500000000000000" pitchFamily="2" charset="0"/>
                <a:cs typeface="GT America" panose="020B0604020202020204" pitchFamily="34" charset="0"/>
                <a:sym typeface="GT America" panose="00000500000000000000" pitchFamily="2" charset="0"/>
              </a:defRPr>
            </a:lvl2pPr>
            <a:lvl3pPr>
              <a:defRPr>
                <a:latin typeface="GT America" panose="00000500000000000000" pitchFamily="2" charset="0"/>
                <a:cs typeface="GT America" panose="020B0604020202020204" pitchFamily="34" charset="0"/>
                <a:sym typeface="GT America" panose="00000500000000000000" pitchFamily="2" charset="0"/>
              </a:defRPr>
            </a:lvl3pPr>
            <a:lvl4pPr>
              <a:defRPr>
                <a:latin typeface="GT America" panose="00000500000000000000" pitchFamily="2" charset="0"/>
                <a:cs typeface="GT America" panose="020B0604020202020204" pitchFamily="34" charset="0"/>
                <a:sym typeface="GT America" panose="00000500000000000000" pitchFamily="2" charset="0"/>
              </a:defRPr>
            </a:lvl4pPr>
            <a:lvl5pPr>
              <a:defRPr>
                <a:latin typeface="GT America" panose="00000500000000000000" pitchFamily="2" charset="0"/>
                <a:cs typeface="GT America" panose="020B0604020202020204" pitchFamily="34" charset="0"/>
                <a:sym typeface="GT America" panose="00000500000000000000" pitchFamily="2"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7633440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508197565"/>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Kopfzeile Untertitel ">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34054703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a:t>Untertitel durch Klicken hinzufügen</a:t>
            </a:r>
          </a:p>
        </p:txBody>
      </p:sp>
      <p:sp>
        <p:nvSpPr>
          <p:cNvPr id="2" name="Foliennummernplatzhalter 1"/>
          <p:cNvSpPr>
            <a:spLocks noGrp="1"/>
          </p:cNvSpPr>
          <p:nvPr>
            <p:ph type="sldNum" sz="quarter" idx="14"/>
          </p:nvPr>
        </p:nvSpPr>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1284247868"/>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Kapiteleinstieg 1">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1" name="Bildplatzhalter 10"/>
          <p:cNvSpPr>
            <a:spLocks noGrp="1"/>
          </p:cNvSpPr>
          <p:nvPr>
            <p:ph type="pic" sz="quarter" idx="16"/>
          </p:nvPr>
        </p:nvSpPr>
        <p:spPr>
          <a:xfrm>
            <a:off x="4822022" y="-2841"/>
            <a:ext cx="7110000" cy="6859253"/>
          </a:xfrm>
          <a:solidFill>
            <a:schemeClr val="bg1"/>
          </a:solidFill>
        </p:spPr>
        <p:txBody>
          <a:bodyPr/>
          <a:lstStyle>
            <a:lvl1pPr>
              <a:defRPr>
                <a:latin typeface="Arial" panose="020B0604020202020204" pitchFamily="34" charset="0"/>
                <a:cs typeface="Arial" panose="020B0604020202020204" pitchFamily="34" charset="0"/>
              </a:defRPr>
            </a:lvl1pPr>
          </a:lstStyle>
          <a:p>
            <a:endParaRPr lang="en-GB" dirty="0"/>
          </a:p>
        </p:txBody>
      </p:sp>
      <p:graphicFrame>
        <p:nvGraphicFramePr>
          <p:cNvPr id="7" name="Objek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16" name="object 6">
            <a:extLst>
              <a:ext uri="{FF2B5EF4-FFF2-40B4-BE49-F238E27FC236}">
                <a16:creationId xmlns:a16="http://schemas.microsoft.com/office/drawing/2014/main" id="{35B15152-362B-804E-8180-EB8D98DF2756}"/>
              </a:ext>
            </a:extLst>
          </p:cNvPr>
          <p:cNvSpPr/>
          <p:nvPr userDrawn="1"/>
        </p:nvSpPr>
        <p:spPr>
          <a:xfrm>
            <a:off x="4816097" y="-6350"/>
            <a:ext cx="45719" cy="6864350"/>
          </a:xfrm>
          <a:custGeom>
            <a:avLst/>
            <a:gdLst/>
            <a:ahLst/>
            <a:cxnLst/>
            <a:rect l="l" t="t" r="r" b="b"/>
            <a:pathLst>
              <a:path h="4698365">
                <a:moveTo>
                  <a:pt x="0" y="0"/>
                </a:moveTo>
                <a:lnTo>
                  <a:pt x="0" y="4697996"/>
                </a:lnTo>
              </a:path>
            </a:pathLst>
          </a:custGeom>
          <a:ln w="28575">
            <a:solidFill>
              <a:srgbClr val="000000"/>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17" name="Foliennummernplatzhalter 16"/>
          <p:cNvSpPr>
            <a:spLocks noGrp="1"/>
          </p:cNvSpPr>
          <p:nvPr>
            <p:ph type="sldNum" sz="quarter" idx="17"/>
          </p:nvPr>
        </p:nvSpPr>
        <p:spPr>
          <a:noFill/>
        </p:spPr>
        <p:txBody>
          <a:bodyPr vert="horz" lIns="0" tIns="0" rIns="0" bIns="0" rtlCol="0" anchor="ctr"/>
          <a:lstStyle>
            <a:lvl1pPr>
              <a:defRPr lang="de-DE" smtClean="0">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N›</a:t>
            </a:fld>
            <a:endParaRPr lang="de-DE" dirty="0"/>
          </a:p>
        </p:txBody>
      </p:sp>
      <p:sp>
        <p:nvSpPr>
          <p:cNvPr id="10" name="Textplatzhalter 15">
            <a:extLst>
              <a:ext uri="{FF2B5EF4-FFF2-40B4-BE49-F238E27FC236}">
                <a16:creationId xmlns:a16="http://schemas.microsoft.com/office/drawing/2014/main" id="{616C383F-4C26-3742-8E54-12A54343F08C}"/>
              </a:ext>
            </a:extLst>
          </p:cNvPr>
          <p:cNvSpPr>
            <a:spLocks noGrp="1"/>
          </p:cNvSpPr>
          <p:nvPr>
            <p:ph type="body" sz="quarter" idx="14" hasCustomPrompt="1"/>
          </p:nvPr>
        </p:nvSpPr>
        <p:spPr>
          <a:xfrm>
            <a:off x="1" y="244800"/>
            <a:ext cx="4799856" cy="641726"/>
          </a:xfrm>
          <a:solidFill>
            <a:schemeClr val="tx2"/>
          </a:solidFill>
          <a:effectLst>
            <a:outerShdw dist="27940" dir="5100000" algn="t" rotWithShape="0">
              <a:prstClr val="black"/>
            </a:outerShdw>
          </a:effectLst>
        </p:spPr>
        <p:txBody>
          <a:bodyPr wrap="square" lIns="262800" rIns="144000" bIns="208800">
            <a:spAutoFit/>
          </a:bodyPr>
          <a:lstStyle>
            <a:lvl1pPr algn="l">
              <a:lnSpc>
                <a:spcPct val="100000"/>
              </a:lnSpc>
              <a:spcBef>
                <a:spcPts val="0"/>
              </a:spcBef>
              <a:defRPr sz="2800" cap="all" spc="-70"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r>
              <a:rPr lang="de-DE" dirty="0" err="1"/>
              <a:t>KApitel</a:t>
            </a:r>
            <a:endParaRPr lang="de-DE" dirty="0"/>
          </a:p>
        </p:txBody>
      </p:sp>
    </p:spTree>
    <p:extLst>
      <p:ext uri="{BB962C8B-B14F-4D97-AF65-F5344CB8AC3E}">
        <p14:creationId xmlns:p14="http://schemas.microsoft.com/office/powerpoint/2010/main" val="266888102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1_Agenda_Green-Bildplatzhalter">
    <p:spTree>
      <p:nvGrpSpPr>
        <p:cNvPr id="1" name=""/>
        <p:cNvGrpSpPr/>
        <p:nvPr/>
      </p:nvGrpSpPr>
      <p:grpSpPr>
        <a:xfrm>
          <a:off x="0" y="0"/>
          <a:ext cx="0" cy="0"/>
          <a:chOff x="0" y="0"/>
          <a:chExt cx="0" cy="0"/>
        </a:xfrm>
      </p:grpSpPr>
      <p:sp>
        <p:nvSpPr>
          <p:cNvPr id="10" name="Rechteck 9"/>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hteck 1" hidden="1"/>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buFontTx/>
              <a:buNone/>
            </a:pPr>
            <a:endParaRPr lang="de-DE" sz="2800" b="0"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3" name="Rechteck 12"/>
          <p:cNvSpPr/>
          <p:nvPr userDrawn="1"/>
        </p:nvSpPr>
        <p:spPr>
          <a:xfrm>
            <a:off x="-794" y="0"/>
            <a:ext cx="5988844"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cxnSp>
        <p:nvCxnSpPr>
          <p:cNvPr id="8" name="Gerade Verbindung 7"/>
          <p:cNvCxnSpPr/>
          <p:nvPr userDrawn="1"/>
        </p:nvCxnSpPr>
        <p:spPr>
          <a:xfrm>
            <a:off x="-1" y="900000"/>
            <a:ext cx="12204000"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a:xfrm>
            <a:off x="5988050" y="913136"/>
            <a:ext cx="0" cy="5944864"/>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3" name="Titel 2"/>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it-IT"/>
              <a:t>Fare clic per modificare lo stile del titolo</a:t>
            </a:r>
            <a:endParaRPr lang="de-DE" dirty="0"/>
          </a:p>
        </p:txBody>
      </p:sp>
    </p:spTree>
    <p:extLst>
      <p:ext uri="{BB962C8B-B14F-4D97-AF65-F5344CB8AC3E}">
        <p14:creationId xmlns:p14="http://schemas.microsoft.com/office/powerpoint/2010/main" val="429196058"/>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Kapiteleinstieg 2">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de-DE" dirty="0" err="1"/>
              <a:t>kapitel</a:t>
            </a:r>
            <a:endParaRPr lang="en-GB" dirty="0"/>
          </a:p>
        </p:txBody>
      </p:sp>
      <p:sp>
        <p:nvSpPr>
          <p:cNvPr id="2" name="Foliennummernplatzhalter 1"/>
          <p:cNvSpPr>
            <a:spLocks noGrp="1"/>
          </p:cNvSpPr>
          <p:nvPr>
            <p:ph type="sldNum" sz="quarter" idx="10"/>
          </p:nvPr>
        </p:nvSpPr>
        <p:spPr>
          <a:noFill/>
        </p:spPr>
        <p:txBody>
          <a:bodyPr vert="horz" lIns="0" tIns="0" rIns="0" bIns="0" rtlCol="0" anchor="ctr"/>
          <a:lstStyle>
            <a:lvl1pPr>
              <a:defRPr lang="de-DE" smtClean="0">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418830987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Kapiteleinstieg 2_Bildplatzhalter">
    <p:spTree>
      <p:nvGrpSpPr>
        <p:cNvPr id="1" name=""/>
        <p:cNvGrpSpPr/>
        <p:nvPr/>
      </p:nvGrpSpPr>
      <p:grpSpPr>
        <a:xfrm>
          <a:off x="0" y="0"/>
          <a:ext cx="0" cy="0"/>
          <a:chOff x="0" y="0"/>
          <a:chExt cx="0" cy="0"/>
        </a:xfrm>
      </p:grpSpPr>
      <p:sp>
        <p:nvSpPr>
          <p:cNvPr id="10" name="Rechteck 9"/>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a:endParaRPr>
          </a:p>
        </p:txBody>
      </p:sp>
      <p:sp>
        <p:nvSpPr>
          <p:cNvPr id="11" name="Rechteck 10"/>
          <p:cNvSpPr/>
          <p:nvPr userDrawn="1"/>
        </p:nvSpPr>
        <p:spPr>
          <a:xfrm>
            <a:off x="-794" y="0"/>
            <a:ext cx="6261746"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de-DE" dirty="0" err="1"/>
              <a:t>kapitel</a:t>
            </a:r>
            <a:endParaRPr lang="en-GB" dirty="0"/>
          </a:p>
        </p:txBody>
      </p:sp>
      <p:sp>
        <p:nvSpPr>
          <p:cNvPr id="2" name="Foliennummernplatzhalter 1"/>
          <p:cNvSpPr>
            <a:spLocks noGrp="1"/>
          </p:cNvSpPr>
          <p:nvPr>
            <p:ph type="sldNum" sz="quarter" idx="10"/>
          </p:nvPr>
        </p:nvSpPr>
        <p:spPr>
          <a:noFill/>
        </p:spPr>
        <p:txBody>
          <a:bodyPr vert="horz" lIns="0" tIns="0" rIns="0" bIns="0" rtlCol="0" anchor="ctr"/>
          <a:lstStyle>
            <a:lvl1pPr>
              <a:defRPr lang="de-DE" smtClean="0">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330742134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Kapiteleinstieg 3">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de-DE" dirty="0" err="1"/>
              <a:t>kapitel</a:t>
            </a:r>
            <a:endParaRPr lang="en-GB" dirty="0"/>
          </a:p>
        </p:txBody>
      </p:sp>
      <p:sp>
        <p:nvSpPr>
          <p:cNvPr id="17" name="Foliennummernplatzhalter 16"/>
          <p:cNvSpPr>
            <a:spLocks noGrp="1"/>
          </p:cNvSpPr>
          <p:nvPr>
            <p:ph type="sldNum" sz="quarter" idx="10"/>
          </p:nvPr>
        </p:nvSpPr>
        <p:spPr>
          <a:noFill/>
        </p:spPr>
        <p:txBody>
          <a:bodyPr vert="horz" lIns="0" tIns="0" rIns="0" bIns="0" rtlCol="0" anchor="ctr"/>
          <a:lstStyle>
            <a:lvl1pPr>
              <a:defRPr lang="de-DE" smtClean="0">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3675803824"/>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Kapiteleinstieg 4">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buFontTx/>
              <a:buNone/>
            </a:pPr>
            <a:endParaRPr lang="de-DE" sz="2800" b="0"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Rechteck 9"/>
          <p:cNvSpPr/>
          <p:nvPr userDrawn="1"/>
        </p:nvSpPr>
        <p:spPr>
          <a:xfrm>
            <a:off x="0" y="1"/>
            <a:ext cx="12193588" cy="90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cxnSp>
        <p:nvCxnSpPr>
          <p:cNvPr id="13" name="Gerade Verbindung 12"/>
          <p:cNvCxnSpPr/>
          <p:nvPr userDrawn="1"/>
        </p:nvCxnSpPr>
        <p:spPr>
          <a:xfrm>
            <a:off x="0" y="900000"/>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2" name="Titel 1"/>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de-DE" dirty="0"/>
              <a:t>Titelmasterformat durch Klicken bearbeiten</a:t>
            </a:r>
          </a:p>
        </p:txBody>
      </p:sp>
      <p:sp>
        <p:nvSpPr>
          <p:cNvPr id="4" name="Foliennummernplatzhalter 3"/>
          <p:cNvSpPr>
            <a:spLocks noGrp="1"/>
          </p:cNvSpPr>
          <p:nvPr>
            <p:ph type="sldNum" sz="quarter" idx="15"/>
          </p:nvPr>
        </p:nvSpPr>
        <p:spPr>
          <a:noFill/>
        </p:spPr>
        <p:txBody>
          <a:bodyPr vert="horz" lIns="0" tIns="0" rIns="0" bIns="0" rtlCol="0" anchor="ctr"/>
          <a:lstStyle>
            <a:lvl1pPr>
              <a:defRPr lang="de-DE" smtClean="0">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N›</a:t>
            </a:fld>
            <a:endParaRPr lang="de-DE" dirty="0"/>
          </a:p>
        </p:txBody>
      </p:sp>
      <p:sp>
        <p:nvSpPr>
          <p:cNvPr id="12" name="Textplatzhalter 15"/>
          <p:cNvSpPr>
            <a:spLocks noGrp="1"/>
          </p:cNvSpPr>
          <p:nvPr>
            <p:ph type="body" sz="quarter" idx="13" hasCustomPrompt="1"/>
          </p:nvPr>
        </p:nvSpPr>
        <p:spPr>
          <a:xfrm>
            <a:off x="0" y="910800"/>
            <a:ext cx="11928472" cy="991792"/>
          </a:xfrm>
          <a:solidFill>
            <a:schemeClr val="tx2"/>
          </a:solidFill>
          <a:effectLst>
            <a:outerShdw dist="27940" dir="5400000" algn="t" rotWithShape="0">
              <a:schemeClr val="tx1"/>
            </a:outerShdw>
          </a:effectLst>
        </p:spPr>
        <p:txBody>
          <a:bodyPr lIns="1170000" tIns="72000" bIns="72000">
            <a:spAutoFit/>
          </a:bodyPr>
          <a:lstStyle>
            <a:lvl1pPr>
              <a:lnSpc>
                <a:spcPts val="6600"/>
              </a:lnSpc>
              <a:defRPr sz="6000" cap="all"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r>
              <a:rPr lang="de-DE" dirty="0"/>
              <a:t>Text bearbeiten</a:t>
            </a:r>
          </a:p>
        </p:txBody>
      </p:sp>
    </p:spTree>
    <p:extLst>
      <p:ext uri="{BB962C8B-B14F-4D97-AF65-F5344CB8AC3E}">
        <p14:creationId xmlns:p14="http://schemas.microsoft.com/office/powerpoint/2010/main" val="632380677"/>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Kopfzeile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Arial" panose="020B0604020202020204" pitchFamily="34" charset="0"/>
                <a:cs typeface="Arial" panose="020B0604020202020204" pitchFamily="34" charset="0"/>
                <a:sym typeface="Arial" panose="020B0604020202020204" pitchFamily="34" charset="0"/>
              </a:defRPr>
            </a:lvl1pPr>
          </a:lstStyle>
          <a:p>
            <a:pPr lvl="0"/>
            <a:r>
              <a:rPr lang="de-DE" dirty="0"/>
              <a:t>Fußnote durch Klicken hinzufügen</a:t>
            </a:r>
          </a:p>
        </p:txBody>
      </p:sp>
      <p:sp>
        <p:nvSpPr>
          <p:cNvPr id="2" name="Foliennummernplatzhalter 1"/>
          <p:cNvSpPr>
            <a:spLocks noGrp="1"/>
          </p:cNvSpPr>
          <p:nvPr>
            <p:ph type="sldNum" sz="quarter" idx="14"/>
          </p:nvPr>
        </p:nvSpPr>
        <p:spPr>
          <a:noFill/>
        </p:spPr>
        <p:txBody>
          <a:bodyPr vert="horz" lIns="0" tIns="0" rIns="0" bIns="0" rtlCol="0" anchor="ctr"/>
          <a:lstStyle>
            <a:lvl1pPr>
              <a:defRPr lang="de-DE" smtClean="0">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158764927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Kopfzeile Untertitel">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de-DE" dirty="0"/>
              <a:t>Untertitel durch Klicken hinzufügen</a:t>
            </a:r>
          </a:p>
        </p:txBody>
      </p:sp>
      <p:sp>
        <p:nvSpPr>
          <p:cNvPr id="2" name="Foliennummernplatzhalter 1"/>
          <p:cNvSpPr>
            <a:spLocks noGrp="1"/>
          </p:cNvSpPr>
          <p:nvPr>
            <p:ph type="sldNum" sz="quarter" idx="14"/>
          </p:nvPr>
        </p:nvSpPr>
        <p:spPr>
          <a:noFill/>
        </p:spPr>
        <p:txBody>
          <a:bodyPr vert="horz" lIns="0" tIns="0" rIns="0" bIns="0" rtlCol="0" anchor="ctr"/>
          <a:lstStyle>
            <a:lvl1pPr>
              <a:defRPr lang="de-DE" smtClean="0">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160333579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Kopfzeile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058458"/>
            <a:ext cx="11449048" cy="5008968"/>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Arial" panose="020B0604020202020204" pitchFamily="34" charset="0"/>
                <a:cs typeface="Arial" panose="020B0604020202020204" pitchFamily="34" charset="0"/>
                <a:sym typeface="Arial" panose="020B0604020202020204" pitchFamily="34" charset="0"/>
              </a:defRPr>
            </a:lvl1pPr>
          </a:lstStyle>
          <a:p>
            <a:pPr lvl="0"/>
            <a:r>
              <a:rPr lang="de-DE" dirty="0"/>
              <a:t>Fußnote durch Klicken hinzufügen</a:t>
            </a:r>
          </a:p>
        </p:txBody>
      </p:sp>
      <p:sp>
        <p:nvSpPr>
          <p:cNvPr id="2" name="Foliennummernplatzhalter 1"/>
          <p:cNvSpPr>
            <a:spLocks noGrp="1"/>
          </p:cNvSpPr>
          <p:nvPr>
            <p:ph type="sldNum" sz="quarter" idx="14"/>
          </p:nvPr>
        </p:nvSpPr>
        <p:spPr>
          <a:noFill/>
        </p:spPr>
        <p:txBody>
          <a:bodyPr vert="horz" lIns="0" tIns="0" rIns="0" bIns="0" rtlCol="0" anchor="ctr"/>
          <a:lstStyle>
            <a:lvl1pPr>
              <a:defRPr lang="de-DE" smtClean="0">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366398418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1_Kopfzeile + Fließtextkasten Highland Green">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hteck 13"/>
          <p:cNvSpPr/>
          <p:nvPr userDrawn="1"/>
        </p:nvSpPr>
        <p:spPr>
          <a:xfrm>
            <a:off x="-794" y="0"/>
            <a:ext cx="12193588" cy="764702"/>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GT America" panose="00000500000000000000" pitchFamily="2" charset="0"/>
              <a:sym typeface="GT America" panose="00000500000000000000" pitchFamily="2" charset="0"/>
            </a:endParaRPr>
          </a:p>
        </p:txBody>
      </p:sp>
      <p:sp>
        <p:nvSpPr>
          <p:cNvPr id="19" name="Textfeld 18"/>
          <p:cNvSpPr txBox="1"/>
          <p:nvPr userDrawn="1"/>
        </p:nvSpPr>
        <p:spPr>
          <a:xfrm rot="16200000">
            <a:off x="8631237" y="3297236"/>
            <a:ext cx="6857999" cy="263527"/>
          </a:xfrm>
          <a:prstGeom prst="rect">
            <a:avLst/>
          </a:prstGeom>
          <a:solidFill>
            <a:srgbClr val="BDBCBC"/>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mn-cs"/>
              <a:sym typeface="GT America" panose="00000500000000000000" pitchFamily="2" charset="0"/>
            </a:endParaRPr>
          </a:p>
        </p:txBody>
      </p:sp>
      <p:sp>
        <p:nvSpPr>
          <p:cNvPr id="21" name="Textfeld 20"/>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accent5"/>
                </a:solidFill>
                <a:latin typeface="GT America" panose="00000500000000000000" pitchFamily="2" charset="0"/>
                <a:ea typeface="+mn-ea"/>
                <a:cs typeface="+mn-cs"/>
                <a:sym typeface="GT America" panose="00000500000000000000" pitchFamily="2" charset="0"/>
              </a:rPr>
              <a:t>© Rödl &amp; Partner </a:t>
            </a:r>
          </a:p>
        </p:txBody>
      </p:sp>
      <p:cxnSp>
        <p:nvCxnSpPr>
          <p:cNvPr id="20" name="Gerade Verbindung 19"/>
          <p:cNvCxnSpPr/>
          <p:nvPr userDrawn="1"/>
        </p:nvCxnSpPr>
        <p:spPr>
          <a:xfrm>
            <a:off x="0" y="764704"/>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itel 1"/>
          <p:cNvSpPr>
            <a:spLocks noGrp="1"/>
          </p:cNvSpPr>
          <p:nvPr>
            <p:ph type="title"/>
          </p:nvPr>
        </p:nvSpPr>
        <p:spPr/>
        <p:txBody>
          <a:bodyPr/>
          <a:lstStyle>
            <a:lvl1pPr>
              <a:defRPr>
                <a:latin typeface="GT America" panose="00000500000000000000" pitchFamily="2" charset="0"/>
                <a:sym typeface="GT America" panose="00000500000000000000" pitchFamily="2" charset="0"/>
              </a:defRPr>
            </a:lvl1pPr>
          </a:lstStyle>
          <a:p>
            <a:r>
              <a:rPr lang="de-DE"/>
              <a:t>Titelmasterformat durch Klicken bearbeiten</a:t>
            </a:r>
          </a:p>
        </p:txBody>
      </p:sp>
      <p:sp>
        <p:nvSpPr>
          <p:cNvPr id="4" name="Foliennummernplatzhalter 3"/>
          <p:cNvSpPr>
            <a:spLocks noGrp="1"/>
          </p:cNvSpPr>
          <p:nvPr>
            <p:ph type="sldNum" sz="quarter" idx="11"/>
          </p:nvPr>
        </p:nvSpPr>
        <p:spPr/>
        <p:txBody>
          <a:bodyPr/>
          <a:lstStyle>
            <a:lvl1pPr>
              <a:defRPr>
                <a:latin typeface="GT America" panose="00000500000000000000" pitchFamily="2" charset="0"/>
                <a:sym typeface="GT America" panose="00000500000000000000" pitchFamily="2"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3605195147"/>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Kapiteleinstieg 1">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1" name="Bildplatzhalter 10"/>
          <p:cNvSpPr>
            <a:spLocks noGrp="1"/>
          </p:cNvSpPr>
          <p:nvPr>
            <p:ph type="pic" sz="quarter" idx="16"/>
          </p:nvPr>
        </p:nvSpPr>
        <p:spPr>
          <a:xfrm>
            <a:off x="4822022" y="-2841"/>
            <a:ext cx="7110000" cy="6859253"/>
          </a:xfrm>
          <a:solidFill>
            <a:schemeClr val="bg1"/>
          </a:solidFill>
        </p:spPr>
        <p:txBody>
          <a:bodyPr/>
          <a:lstStyle>
            <a:lvl1pPr>
              <a:defRPr>
                <a:latin typeface="Arial" panose="020B0604020202020204" pitchFamily="34" charset="0"/>
                <a:cs typeface="Arial" panose="020B0604020202020204" pitchFamily="34" charset="0"/>
              </a:defRPr>
            </a:lvl1pPr>
          </a:lstStyle>
          <a:p>
            <a:endParaRPr lang="en-GB" dirty="0"/>
          </a:p>
        </p:txBody>
      </p:sp>
      <p:graphicFrame>
        <p:nvGraphicFramePr>
          <p:cNvPr id="7" name="Objek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16" name="object 6">
            <a:extLst>
              <a:ext uri="{FF2B5EF4-FFF2-40B4-BE49-F238E27FC236}">
                <a16:creationId xmlns:a16="http://schemas.microsoft.com/office/drawing/2014/main" id="{35B15152-362B-804E-8180-EB8D98DF2756}"/>
              </a:ext>
            </a:extLst>
          </p:cNvPr>
          <p:cNvSpPr/>
          <p:nvPr userDrawn="1"/>
        </p:nvSpPr>
        <p:spPr>
          <a:xfrm>
            <a:off x="4816097" y="-6350"/>
            <a:ext cx="45719" cy="6864350"/>
          </a:xfrm>
          <a:custGeom>
            <a:avLst/>
            <a:gdLst/>
            <a:ahLst/>
            <a:cxnLst/>
            <a:rect l="l" t="t" r="r" b="b"/>
            <a:pathLst>
              <a:path h="4698365">
                <a:moveTo>
                  <a:pt x="0" y="0"/>
                </a:moveTo>
                <a:lnTo>
                  <a:pt x="0" y="4697996"/>
                </a:lnTo>
              </a:path>
            </a:pathLst>
          </a:custGeom>
          <a:ln w="25400">
            <a:solidFill>
              <a:schemeClr val="bg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17" name="Foliennummernplatzhalter 16"/>
          <p:cNvSpPr>
            <a:spLocks noGrp="1"/>
          </p:cNvSpPr>
          <p:nvPr>
            <p:ph type="sldNum" sz="quarter" idx="17"/>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N›</a:t>
            </a:fld>
            <a:endParaRPr lang="de-DE" dirty="0"/>
          </a:p>
        </p:txBody>
      </p:sp>
      <p:sp>
        <p:nvSpPr>
          <p:cNvPr id="12" name="Textplatzhalter 15">
            <a:extLst>
              <a:ext uri="{FF2B5EF4-FFF2-40B4-BE49-F238E27FC236}">
                <a16:creationId xmlns:a16="http://schemas.microsoft.com/office/drawing/2014/main" id="{0C5518B1-4504-3744-9B22-25FE06791E1B}"/>
              </a:ext>
            </a:extLst>
          </p:cNvPr>
          <p:cNvSpPr>
            <a:spLocks noGrp="1"/>
          </p:cNvSpPr>
          <p:nvPr>
            <p:ph type="body" sz="quarter" idx="14" hasCustomPrompt="1"/>
          </p:nvPr>
        </p:nvSpPr>
        <p:spPr>
          <a:xfrm>
            <a:off x="1" y="244800"/>
            <a:ext cx="4799856" cy="641726"/>
          </a:xfrm>
          <a:solidFill>
            <a:schemeClr val="tx2"/>
          </a:solidFill>
          <a:effectLst>
            <a:outerShdw dist="27940" dir="5100000" algn="t" rotWithShape="0">
              <a:schemeClr val="bg1"/>
            </a:outerShdw>
          </a:effectLst>
        </p:spPr>
        <p:txBody>
          <a:bodyPr wrap="square" lIns="262800" rIns="144000" bIns="208800">
            <a:spAutoFit/>
          </a:bodyPr>
          <a:lstStyle>
            <a:lvl1pPr algn="l">
              <a:lnSpc>
                <a:spcPct val="100000"/>
              </a:lnSpc>
              <a:spcBef>
                <a:spcPts val="0"/>
              </a:spcBef>
              <a:defRPr sz="2800" cap="all" spc="-70"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r>
              <a:rPr lang="de-DE" dirty="0" err="1"/>
              <a:t>KApitel</a:t>
            </a:r>
            <a:endParaRPr lang="de-DE" dirty="0"/>
          </a:p>
        </p:txBody>
      </p:sp>
    </p:spTree>
    <p:extLst>
      <p:ext uri="{BB962C8B-B14F-4D97-AF65-F5344CB8AC3E}">
        <p14:creationId xmlns:p14="http://schemas.microsoft.com/office/powerpoint/2010/main" val="177673330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Kapiteleinstieg 2">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bg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de-DE" dirty="0" err="1"/>
              <a:t>kapitel</a:t>
            </a:r>
            <a:endParaRPr lang="en-GB" dirty="0"/>
          </a:p>
        </p:txBody>
      </p:sp>
      <p:sp>
        <p:nvSpPr>
          <p:cNvPr id="2" name="Foliennummernplatzhalter 1"/>
          <p:cNvSpPr>
            <a:spLocks noGrp="1"/>
          </p:cNvSpPr>
          <p:nvPr>
            <p:ph type="sldNum"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169972990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Kapiteleinstieg 1">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1" name="Bildplatzhalter 10"/>
          <p:cNvSpPr>
            <a:spLocks noGrp="1"/>
          </p:cNvSpPr>
          <p:nvPr>
            <p:ph type="pic" sz="quarter" idx="16"/>
          </p:nvPr>
        </p:nvSpPr>
        <p:spPr>
          <a:xfrm>
            <a:off x="4822022" y="-2841"/>
            <a:ext cx="7110000" cy="6859253"/>
          </a:xfrm>
          <a:solidFill>
            <a:schemeClr val="bg1"/>
          </a:solidFill>
        </p:spPr>
        <p:txBody>
          <a:bodyPr/>
          <a:lstStyle>
            <a:lvl1pPr>
              <a:defRPr>
                <a:latin typeface="GT America" panose="020B0604020202020204" pitchFamily="34" charset="0"/>
                <a:cs typeface="GT America" panose="020B0604020202020204" pitchFamily="34" charset="0"/>
              </a:defRPr>
            </a:lvl1pPr>
          </a:lstStyle>
          <a:p>
            <a:endParaRPr lang="en-GB" dirty="0"/>
          </a:p>
        </p:txBody>
      </p:sp>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41093457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16" name="object 6">
            <a:extLst>
              <a:ext uri="{FF2B5EF4-FFF2-40B4-BE49-F238E27FC236}">
                <a16:creationId xmlns:a16="http://schemas.microsoft.com/office/drawing/2014/main" id="{35B15152-362B-804E-8180-EB8D98DF2756}"/>
              </a:ext>
            </a:extLst>
          </p:cNvPr>
          <p:cNvSpPr/>
          <p:nvPr userDrawn="1"/>
        </p:nvSpPr>
        <p:spPr>
          <a:xfrm>
            <a:off x="4816097" y="-6350"/>
            <a:ext cx="45719" cy="6864350"/>
          </a:xfrm>
          <a:custGeom>
            <a:avLst/>
            <a:gdLst/>
            <a:ahLst/>
            <a:cxnLst/>
            <a:rect l="l" t="t" r="r" b="b"/>
            <a:pathLst>
              <a:path h="4698365">
                <a:moveTo>
                  <a:pt x="0" y="0"/>
                </a:moveTo>
                <a:lnTo>
                  <a:pt x="0" y="4697996"/>
                </a:lnTo>
              </a:path>
            </a:pathLst>
          </a:custGeom>
          <a:ln w="28575">
            <a:solidFill>
              <a:srgbClr val="000000"/>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
        <p:nvSpPr>
          <p:cNvPr id="17" name="Foliennummernplatzhalter 16"/>
          <p:cNvSpPr>
            <a:spLocks noGrp="1"/>
          </p:cNvSpPr>
          <p:nvPr>
            <p:ph type="sldNum" sz="quarter" idx="17"/>
          </p:nvPr>
        </p:nvSpPr>
        <p:spPr>
          <a:xfrm>
            <a:off x="11928648" y="6453187"/>
            <a:ext cx="263350" cy="404813"/>
          </a:xfrm>
          <a:prstGeom prst="rect">
            <a:avLst/>
          </a:prstGeom>
        </p:spPr>
        <p:txBody>
          <a:bodyPr lIns="0" tIns="0" rIns="0" bIns="0" anchor="ctr" anchorCtr="0"/>
          <a:lstStyle>
            <a:lvl1pPr algn="ctr">
              <a:defRPr sz="1100">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
        <p:nvSpPr>
          <p:cNvPr id="14" name="Textplatzhalter 15">
            <a:extLst>
              <a:ext uri="{FF2B5EF4-FFF2-40B4-BE49-F238E27FC236}">
                <a16:creationId xmlns:a16="http://schemas.microsoft.com/office/drawing/2014/main" id="{1A835BE2-55CD-2A46-97A5-3378A6C95F22}"/>
              </a:ext>
            </a:extLst>
          </p:cNvPr>
          <p:cNvSpPr>
            <a:spLocks noGrp="1"/>
          </p:cNvSpPr>
          <p:nvPr>
            <p:ph type="body" sz="quarter" idx="14" hasCustomPrompt="1"/>
          </p:nvPr>
        </p:nvSpPr>
        <p:spPr>
          <a:xfrm>
            <a:off x="1" y="244800"/>
            <a:ext cx="4799856" cy="641726"/>
          </a:xfrm>
          <a:solidFill>
            <a:schemeClr val="tx2"/>
          </a:solidFill>
          <a:effectLst>
            <a:outerShdw dist="27940" dir="5100000" algn="t" rotWithShape="0">
              <a:prstClr val="black"/>
            </a:outerShdw>
          </a:effectLst>
        </p:spPr>
        <p:txBody>
          <a:bodyPr wrap="square" lIns="262800" rIns="144000" bIns="208800">
            <a:spAutoFit/>
          </a:bodyPr>
          <a:lstStyle>
            <a:lvl1pPr algn="l">
              <a:lnSpc>
                <a:spcPct val="100000"/>
              </a:lnSpc>
              <a:spcBef>
                <a:spcPts val="0"/>
              </a:spcBef>
              <a:defRPr sz="2800" cap="all" spc="-70"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err="1"/>
              <a:t>KApitel</a:t>
            </a:r>
            <a:endParaRPr lang="de-DE" dirty="0"/>
          </a:p>
        </p:txBody>
      </p:sp>
    </p:spTree>
    <p:extLst>
      <p:ext uri="{BB962C8B-B14F-4D97-AF65-F5344CB8AC3E}">
        <p14:creationId xmlns:p14="http://schemas.microsoft.com/office/powerpoint/2010/main" val="2747235530"/>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Kapiteleinstieg 3">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5400">
            <a:solidFill>
              <a:schemeClr val="bg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de-DE" dirty="0" err="1"/>
              <a:t>kapitel</a:t>
            </a:r>
            <a:endParaRPr lang="en-GB" dirty="0"/>
          </a:p>
        </p:txBody>
      </p:sp>
      <p:sp>
        <p:nvSpPr>
          <p:cNvPr id="17" name="Foliennummernplatzhalter 16"/>
          <p:cNvSpPr>
            <a:spLocks noGrp="1"/>
          </p:cNvSpPr>
          <p:nvPr>
            <p:ph type="sldNum" sz="quarter" idx="10"/>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2093927341"/>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Kapiteleinstieg 4">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buFontTx/>
              <a:buNone/>
            </a:pPr>
            <a:endParaRPr lang="de-DE" sz="2800" b="0"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Rechteck 9"/>
          <p:cNvSpPr/>
          <p:nvPr userDrawn="1"/>
        </p:nvSpPr>
        <p:spPr>
          <a:xfrm>
            <a:off x="0" y="1"/>
            <a:ext cx="12193588" cy="90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cxnSp>
        <p:nvCxnSpPr>
          <p:cNvPr id="13" name="Gerade Verbindung 12"/>
          <p:cNvCxnSpPr/>
          <p:nvPr userDrawn="1"/>
        </p:nvCxnSpPr>
        <p:spPr>
          <a:xfrm>
            <a:off x="0" y="900000"/>
            <a:ext cx="11928475" cy="0"/>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2" name="Titel 1"/>
          <p:cNvSpPr>
            <a:spLocks noGrp="1"/>
          </p:cNvSpPr>
          <p:nvPr>
            <p:ph type="title"/>
          </p:nvPr>
        </p:nvSpPr>
        <p:spPr/>
        <p:txBody>
          <a:bodyPr/>
          <a:lstStyle>
            <a:lvl1pPr>
              <a:defRPr>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r>
              <a:rPr lang="de-DE" dirty="0"/>
              <a:t>Titelmasterformat durch Klicken bearbeiten</a:t>
            </a:r>
          </a:p>
        </p:txBody>
      </p:sp>
      <p:sp>
        <p:nvSpPr>
          <p:cNvPr id="4" name="Foliennummernplatzhalter 3"/>
          <p:cNvSpPr>
            <a:spLocks noGrp="1"/>
          </p:cNvSpPr>
          <p:nvPr>
            <p:ph type="sldNum" sz="quarter" idx="15"/>
          </p:nvPr>
        </p:nvSpPr>
        <p:spPr/>
        <p:txBody>
          <a:bodyPr lIns="0" tIns="0" rIns="0" bIns="0" anchor="ctr" anchorCtr="0"/>
          <a:lstStyle>
            <a:lvl1pPr>
              <a:defRPr lang="de-DE" smtClean="0">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N›</a:t>
            </a:fld>
            <a:endParaRPr lang="de-DE" dirty="0"/>
          </a:p>
        </p:txBody>
      </p:sp>
      <p:sp>
        <p:nvSpPr>
          <p:cNvPr id="12" name="Textplatzhalter 15"/>
          <p:cNvSpPr>
            <a:spLocks noGrp="1"/>
          </p:cNvSpPr>
          <p:nvPr>
            <p:ph type="body" sz="quarter" idx="13" hasCustomPrompt="1"/>
          </p:nvPr>
        </p:nvSpPr>
        <p:spPr>
          <a:xfrm>
            <a:off x="0" y="910800"/>
            <a:ext cx="11928472" cy="991792"/>
          </a:xfrm>
          <a:solidFill>
            <a:schemeClr val="tx2"/>
          </a:solidFill>
          <a:effectLst>
            <a:outerShdw dist="27940" dir="5400000" algn="t" rotWithShape="0">
              <a:schemeClr val="bg1"/>
            </a:outerShdw>
          </a:effectLst>
        </p:spPr>
        <p:txBody>
          <a:bodyPr lIns="1170000" tIns="72000" bIns="72000">
            <a:spAutoFit/>
          </a:bodyPr>
          <a:lstStyle>
            <a:lvl1pPr>
              <a:lnSpc>
                <a:spcPts val="6600"/>
              </a:lnSpc>
              <a:defRPr sz="6000" cap="all" baseline="0">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pPr lvl="0"/>
            <a:r>
              <a:rPr lang="de-DE" dirty="0"/>
              <a:t>Text bearbeiten</a:t>
            </a:r>
          </a:p>
        </p:txBody>
      </p:sp>
    </p:spTree>
    <p:extLst>
      <p:ext uri="{BB962C8B-B14F-4D97-AF65-F5344CB8AC3E}">
        <p14:creationId xmlns:p14="http://schemas.microsoft.com/office/powerpoint/2010/main" val="368322137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Kopfzeile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5400">
            <a:solidFill>
              <a:schemeClr val="bg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Arial" panose="020B0604020202020204" pitchFamily="34" charset="0"/>
                <a:cs typeface="Arial" panose="020B0604020202020204" pitchFamily="34" charset="0"/>
                <a:sym typeface="Arial" panose="020B0604020202020204" pitchFamily="34"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191981219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Kopfzeile Untertitel ">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5400">
            <a:solidFill>
              <a:schemeClr val="bg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de-DE" dirty="0"/>
              <a:t>Untertitel durch Klicken hinzufügen</a:t>
            </a:r>
          </a:p>
        </p:txBody>
      </p:sp>
      <p:sp>
        <p:nvSpPr>
          <p:cNvPr id="2" name="Foliennummernplatzhalter 1"/>
          <p:cNvSpPr>
            <a:spLocks noGrp="1"/>
          </p:cNvSpPr>
          <p:nvPr>
            <p:ph type="sldNum" sz="quarter" idx="14"/>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76185927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Kopfzeile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058458"/>
            <a:ext cx="11449048" cy="5008968"/>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5400">
            <a:solidFill>
              <a:schemeClr val="bg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bg1"/>
                </a:solidFill>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Arial" panose="020B0604020202020204" pitchFamily="34" charset="0"/>
                <a:cs typeface="Arial" panose="020B0604020202020204" pitchFamily="34" charset="0"/>
                <a:sym typeface="Arial" panose="020B0604020202020204" pitchFamily="34" charset="0"/>
              </a:defRPr>
            </a:lvl1pPr>
          </a:lstStyle>
          <a:p>
            <a:pPr lvl="0"/>
            <a:r>
              <a:rPr lang="de-DE" dirty="0"/>
              <a:t>Fußnote durch Klicken hinzufügen</a:t>
            </a:r>
          </a:p>
        </p:txBody>
      </p:sp>
      <p:sp>
        <p:nvSpPr>
          <p:cNvPr id="2" name="Foliennummernplatzhalter 1"/>
          <p:cNvSpPr>
            <a:spLocks noGrp="1"/>
          </p:cNvSpPr>
          <p:nvPr>
            <p:ph type="sldNum" sz="quarter" idx="14"/>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269821951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Kopfzeile farbig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tx2"/>
                </a:solidFill>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Arial" panose="020B0604020202020204" pitchFamily="34" charset="0"/>
                <a:cs typeface="Arial" panose="020B0604020202020204" pitchFamily="34" charset="0"/>
                <a:sym typeface="Arial" panose="020B0604020202020204" pitchFamily="34" charset="0"/>
              </a:defRPr>
            </a:lvl1pPr>
          </a:lstStyle>
          <a:p>
            <a:pPr lvl="0"/>
            <a:r>
              <a:rPr lang="de-DE" dirty="0"/>
              <a:t>Fußnote durch Klicken hinzufügen</a:t>
            </a:r>
          </a:p>
        </p:txBody>
      </p:sp>
      <p:sp>
        <p:nvSpPr>
          <p:cNvPr id="2" name="Foliennummernplatzhalter 1"/>
          <p:cNvSpPr>
            <a:spLocks noGrp="1"/>
          </p:cNvSpPr>
          <p:nvPr>
            <p:ph type="sldNum" sz="quarter" idx="14"/>
          </p:nvPr>
        </p:nvSpPr>
        <p:spPr>
          <a:xfrm>
            <a:off x="11928648" y="6453187"/>
            <a:ext cx="263350" cy="404813"/>
          </a:xfrm>
          <a:prstGeom prst="rect">
            <a:avLst/>
          </a:prstGeom>
        </p:spPr>
        <p:txBody>
          <a:bodyPr lIns="0" tIns="0" rIns="0" bIns="0" anchor="ctr" anchorCtr="0"/>
          <a:lstStyle>
            <a:lvl1pPr algn="ctr">
              <a:defRPr sz="1100">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365940845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Kapiteleinstieg 1">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1" name="Bildplatzhalter 10"/>
          <p:cNvSpPr>
            <a:spLocks noGrp="1"/>
          </p:cNvSpPr>
          <p:nvPr>
            <p:ph type="pic" sz="quarter" idx="16"/>
          </p:nvPr>
        </p:nvSpPr>
        <p:spPr>
          <a:xfrm>
            <a:off x="4822022" y="-2841"/>
            <a:ext cx="7110000" cy="6859253"/>
          </a:xfrm>
          <a:solidFill>
            <a:schemeClr val="bg1"/>
          </a:solidFill>
        </p:spPr>
        <p:txBody>
          <a:bodyPr/>
          <a:lstStyle>
            <a:lvl1pPr>
              <a:defRPr>
                <a:latin typeface="Arial" panose="020B0604020202020204" pitchFamily="34" charset="0"/>
                <a:cs typeface="Arial" panose="020B0604020202020204" pitchFamily="34" charset="0"/>
              </a:defRPr>
            </a:lvl1pPr>
          </a:lstStyle>
          <a:p>
            <a:endParaRPr lang="en-GB" dirty="0"/>
          </a:p>
        </p:txBody>
      </p:sp>
      <p:graphicFrame>
        <p:nvGraphicFramePr>
          <p:cNvPr id="7" name="Objek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23977" y="3302606"/>
            <a:ext cx="6881442"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16" name="object 6">
            <a:extLst>
              <a:ext uri="{FF2B5EF4-FFF2-40B4-BE49-F238E27FC236}">
                <a16:creationId xmlns:a16="http://schemas.microsoft.com/office/drawing/2014/main" id="{35B15152-362B-804E-8180-EB8D98DF2756}"/>
              </a:ext>
            </a:extLst>
          </p:cNvPr>
          <p:cNvSpPr/>
          <p:nvPr userDrawn="1"/>
        </p:nvSpPr>
        <p:spPr>
          <a:xfrm>
            <a:off x="4816097" y="-6350"/>
            <a:ext cx="45719" cy="6864350"/>
          </a:xfrm>
          <a:custGeom>
            <a:avLst/>
            <a:gdLst/>
            <a:ahLst/>
            <a:cxnLst/>
            <a:rect l="l" t="t" r="r" b="b"/>
            <a:pathLst>
              <a:path h="4698365">
                <a:moveTo>
                  <a:pt x="0" y="0"/>
                </a:moveTo>
                <a:lnTo>
                  <a:pt x="0" y="4697996"/>
                </a:lnTo>
              </a:path>
            </a:pathLst>
          </a:custGeom>
          <a:ln w="28575">
            <a:solidFill>
              <a:srgbClr val="000000"/>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17" name="Foliennummernplatzhalter 16"/>
          <p:cNvSpPr>
            <a:spLocks noGrp="1"/>
          </p:cNvSpPr>
          <p:nvPr>
            <p:ph type="sldNum" sz="quarter" idx="17"/>
          </p:nvPr>
        </p:nvSpPr>
        <p:spPr>
          <a:xfrm>
            <a:off x="11928648" y="6453187"/>
            <a:ext cx="263350" cy="404813"/>
          </a:xfrm>
          <a:prstGeom prst="rect">
            <a:avLst/>
          </a:prstGeom>
        </p:spPr>
        <p:txBody>
          <a:bodyPr lIns="0" tIns="0" rIns="0" bIns="0" anchor="ctr" anchorCtr="0"/>
          <a:lstStyle>
            <a:lvl1pPr algn="ctr">
              <a:defRPr sz="1100">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N›</a:t>
            </a:fld>
            <a:endParaRPr lang="de-DE" dirty="0"/>
          </a:p>
        </p:txBody>
      </p:sp>
      <p:sp>
        <p:nvSpPr>
          <p:cNvPr id="10" name="object 4">
            <a:extLst>
              <a:ext uri="{FF2B5EF4-FFF2-40B4-BE49-F238E27FC236}">
                <a16:creationId xmlns:a16="http://schemas.microsoft.com/office/drawing/2014/main" id="{880C4227-47B7-694C-8443-CF01E2AE097C}"/>
              </a:ext>
            </a:extLst>
          </p:cNvPr>
          <p:cNvSpPr/>
          <p:nvPr userDrawn="1"/>
        </p:nvSpPr>
        <p:spPr>
          <a:xfrm>
            <a:off x="2681" y="899998"/>
            <a:ext cx="4813416" cy="45719"/>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
        <p:nvSpPr>
          <p:cNvPr id="12" name="Titel 5"/>
          <p:cNvSpPr>
            <a:spLocks noGrp="1"/>
          </p:cNvSpPr>
          <p:nvPr>
            <p:ph type="title" hasCustomPrompt="1"/>
          </p:nvPr>
        </p:nvSpPr>
        <p:spPr>
          <a:xfrm>
            <a:off x="263526" y="260648"/>
            <a:ext cx="4421686" cy="396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de-DE" dirty="0" err="1"/>
              <a:t>kapitel</a:t>
            </a:r>
            <a:endParaRPr lang="en-GB" dirty="0"/>
          </a:p>
        </p:txBody>
      </p:sp>
    </p:spTree>
    <p:extLst>
      <p:ext uri="{BB962C8B-B14F-4D97-AF65-F5344CB8AC3E}">
        <p14:creationId xmlns:p14="http://schemas.microsoft.com/office/powerpoint/2010/main" val="2230574348"/>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Kapiteleinstieg 2">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8" y="3297236"/>
            <a:ext cx="6858001"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de-DE" dirty="0" err="1"/>
              <a:t>kapitel</a:t>
            </a:r>
            <a:endParaRPr lang="en-GB" dirty="0"/>
          </a:p>
        </p:txBody>
      </p:sp>
      <p:sp>
        <p:nvSpPr>
          <p:cNvPr id="2" name="Foliennummernplatzhalter 1"/>
          <p:cNvSpPr>
            <a:spLocks noGrp="1"/>
          </p:cNvSpPr>
          <p:nvPr>
            <p:ph type="sldNum" sz="quarter" idx="10"/>
          </p:nvPr>
        </p:nvSpPr>
        <p:spPr>
          <a:xfrm>
            <a:off x="11928648" y="6453187"/>
            <a:ext cx="263350" cy="404813"/>
          </a:xfrm>
          <a:prstGeom prst="rect">
            <a:avLst/>
          </a:prstGeom>
        </p:spPr>
        <p:txBody>
          <a:bodyPr lIns="0" tIns="0" rIns="0" bIns="0" anchor="ctr" anchorCtr="0"/>
          <a:lstStyle>
            <a:lvl1pPr>
              <a:defRPr lang="de-DE" sz="1100" smtClean="0">
                <a:latin typeface="Arial" panose="020B0604020202020204" pitchFamily="34" charset="0"/>
                <a:cs typeface="Arial" panose="020B0604020202020204" pitchFamily="34" charset="0"/>
                <a:sym typeface="Arial" panose="020B0604020202020204" pitchFamily="34" charset="0"/>
              </a:defRPr>
            </a:lvl1pPr>
          </a:lstStyle>
          <a:p>
            <a:pPr algn="ctr"/>
            <a:fld id="{4CFEB0D3-1EB3-4F08-8062-95FFB9749870}" type="slidenum">
              <a:rPr lang="de-DE" smtClean="0"/>
              <a:pPr algn="ctr"/>
              <a:t>‹N›</a:t>
            </a:fld>
            <a:endParaRPr lang="de-DE" dirty="0"/>
          </a:p>
        </p:txBody>
      </p:sp>
    </p:spTree>
    <p:extLst>
      <p:ext uri="{BB962C8B-B14F-4D97-AF65-F5344CB8AC3E}">
        <p14:creationId xmlns:p14="http://schemas.microsoft.com/office/powerpoint/2010/main" val="138121333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Kapiteleinstieg 3">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de-DE" dirty="0" err="1"/>
              <a:t>kapitel</a:t>
            </a:r>
            <a:endParaRPr lang="en-GB" dirty="0"/>
          </a:p>
        </p:txBody>
      </p:sp>
      <p:sp>
        <p:nvSpPr>
          <p:cNvPr id="17" name="Foliennummernplatzhalter 16"/>
          <p:cNvSpPr>
            <a:spLocks noGrp="1"/>
          </p:cNvSpPr>
          <p:nvPr>
            <p:ph type="sldNum" sz="quarter" idx="10"/>
          </p:nvPr>
        </p:nvSpPr>
        <p:spPr>
          <a:xfrm>
            <a:off x="11928648" y="6453187"/>
            <a:ext cx="263350" cy="404813"/>
          </a:xfrm>
          <a:prstGeom prst="rect">
            <a:avLst/>
          </a:prstGeom>
        </p:spPr>
        <p:txBody>
          <a:bodyPr lIns="0" tIns="0" rIns="0" bIns="0" anchor="ctr" anchorCtr="0"/>
          <a:lstStyle>
            <a:lvl1pPr>
              <a:defRPr lang="de-DE" sz="1100" smtClean="0">
                <a:latin typeface="Arial" panose="020B0604020202020204" pitchFamily="34" charset="0"/>
                <a:cs typeface="Arial" panose="020B0604020202020204" pitchFamily="34" charset="0"/>
                <a:sym typeface="Arial" panose="020B0604020202020204" pitchFamily="34" charset="0"/>
              </a:defRPr>
            </a:lvl1pPr>
          </a:lstStyle>
          <a:p>
            <a:pPr algn="ctr"/>
            <a:fld id="{4CFEB0D3-1EB3-4F08-8062-95FFB9749870}" type="slidenum">
              <a:rPr lang="de-DE" smtClean="0"/>
              <a:pPr algn="ctr"/>
              <a:t>‹N›</a:t>
            </a:fld>
            <a:endParaRPr lang="de-DE" dirty="0"/>
          </a:p>
        </p:txBody>
      </p:sp>
    </p:spTree>
    <p:extLst>
      <p:ext uri="{BB962C8B-B14F-4D97-AF65-F5344CB8AC3E}">
        <p14:creationId xmlns:p14="http://schemas.microsoft.com/office/powerpoint/2010/main" val="125547582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Kapiteleinstieg 4">
    <p:spTree>
      <p:nvGrpSpPr>
        <p:cNvPr id="1" name=""/>
        <p:cNvGrpSpPr/>
        <p:nvPr/>
      </p:nvGrpSpPr>
      <p:grpSpPr>
        <a:xfrm>
          <a:off x="0" y="0"/>
          <a:ext cx="0" cy="0"/>
          <a:chOff x="0" y="0"/>
          <a:chExt cx="0" cy="0"/>
        </a:xfrm>
      </p:grpSpPr>
      <p:graphicFrame>
        <p:nvGraphicFramePr>
          <p:cNvPr id="7" name="Objek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7" name="Objekt 6"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hteck 2" hidden="1"/>
          <p:cNvSpPr/>
          <p:nvPr userDrawn="1">
            <p:custDataLst>
              <p:tags r:id="rId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buFontTx/>
              <a:buNone/>
            </a:pPr>
            <a:endParaRPr lang="de-DE" sz="2800" b="0"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0" name="Rechteck 9"/>
          <p:cNvSpPr/>
          <p:nvPr userDrawn="1"/>
        </p:nvSpPr>
        <p:spPr>
          <a:xfrm>
            <a:off x="0" y="1"/>
            <a:ext cx="12193588" cy="900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cxnSp>
        <p:nvCxnSpPr>
          <p:cNvPr id="13" name="Gerade Verbindung 12"/>
          <p:cNvCxnSpPr/>
          <p:nvPr userDrawn="1"/>
        </p:nvCxnSpPr>
        <p:spPr>
          <a:xfrm>
            <a:off x="0" y="900000"/>
            <a:ext cx="11928475"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2" name="Titel 1"/>
          <p:cNvSpPr>
            <a:spLocks noGrp="1"/>
          </p:cNvSpPr>
          <p:nvPr>
            <p:ph type="title"/>
          </p:nvPr>
        </p:nvSpPr>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r>
              <a:rPr lang="de-DE" dirty="0"/>
              <a:t>Titelmasterformat durch Klicken bearbeiten</a:t>
            </a:r>
          </a:p>
        </p:txBody>
      </p:sp>
      <p:sp>
        <p:nvSpPr>
          <p:cNvPr id="4" name="Foliennummernplatzhalter 3"/>
          <p:cNvSpPr>
            <a:spLocks noGrp="1"/>
          </p:cNvSpPr>
          <p:nvPr>
            <p:ph type="sldNum" sz="quarter" idx="15"/>
          </p:nvPr>
        </p:nvSpPr>
        <p:spPr>
          <a:xfrm>
            <a:off x="11928648" y="6453187"/>
            <a:ext cx="263350" cy="404813"/>
          </a:xfrm>
          <a:prstGeom prst="rect">
            <a:avLst/>
          </a:prstGeom>
        </p:spPr>
        <p:txBody>
          <a:bodyPr lIns="0" tIns="0" rIns="0" bIns="0" anchor="ctr" anchorCtr="0"/>
          <a:lstStyle>
            <a:lvl1pPr>
              <a:defRPr lang="de-DE" sz="1100" smtClean="0">
                <a:latin typeface="Arial" panose="020B0604020202020204" pitchFamily="34" charset="0"/>
                <a:cs typeface="Arial" panose="020B0604020202020204" pitchFamily="34" charset="0"/>
                <a:sym typeface="Arial" panose="020B0604020202020204" pitchFamily="34" charset="0"/>
              </a:defRPr>
            </a:lvl1pPr>
          </a:lstStyle>
          <a:p>
            <a:pPr algn="ctr"/>
            <a:fld id="{4CFEB0D3-1EB3-4F08-8062-95FFB9749870}" type="slidenum">
              <a:rPr lang="de-DE" smtClean="0"/>
              <a:pPr algn="ctr"/>
              <a:t>‹N›</a:t>
            </a:fld>
            <a:endParaRPr lang="de-DE" dirty="0"/>
          </a:p>
        </p:txBody>
      </p:sp>
      <p:sp>
        <p:nvSpPr>
          <p:cNvPr id="12" name="Textplatzhalter 15"/>
          <p:cNvSpPr>
            <a:spLocks noGrp="1"/>
          </p:cNvSpPr>
          <p:nvPr>
            <p:ph type="body" sz="quarter" idx="13" hasCustomPrompt="1"/>
          </p:nvPr>
        </p:nvSpPr>
        <p:spPr>
          <a:xfrm>
            <a:off x="0" y="914400"/>
            <a:ext cx="11928472" cy="991792"/>
          </a:xfrm>
          <a:solidFill>
            <a:schemeClr val="tx2"/>
          </a:solidFill>
          <a:effectLst>
            <a:outerShdw dist="27940" dir="5400000" algn="t" rotWithShape="0">
              <a:schemeClr val="tx1"/>
            </a:outerShdw>
          </a:effectLst>
        </p:spPr>
        <p:txBody>
          <a:bodyPr lIns="1170000" tIns="72000" bIns="72000">
            <a:spAutoFit/>
          </a:bodyPr>
          <a:lstStyle>
            <a:lvl1pPr>
              <a:lnSpc>
                <a:spcPts val="6600"/>
              </a:lnSpc>
              <a:defRPr sz="6000" cap="all" baseline="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pPr lvl="0"/>
            <a:r>
              <a:rPr lang="de-DE" dirty="0"/>
              <a:t>Text bearbeiten</a:t>
            </a:r>
          </a:p>
        </p:txBody>
      </p:sp>
    </p:spTree>
    <p:extLst>
      <p:ext uri="{BB962C8B-B14F-4D97-AF65-F5344CB8AC3E}">
        <p14:creationId xmlns:p14="http://schemas.microsoft.com/office/powerpoint/2010/main" val="177905783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Kapiteleinstieg 2">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graphicFrame>
        <p:nvGraphicFramePr>
          <p:cNvPr id="7" name="Objekt 6" hidden="1"/>
          <p:cNvGraphicFramePr>
            <a:graphicFrameLocks noChangeAspect="1"/>
          </p:cNvGraphicFramePr>
          <p:nvPr userDrawn="1">
            <p:custDataLst>
              <p:tags r:id="rId1"/>
            </p:custDataLst>
            <p:extLst>
              <p:ext uri="{D42A27DB-BD31-4B8C-83A1-F6EECF244321}">
                <p14:modId xmlns:p14="http://schemas.microsoft.com/office/powerpoint/2010/main" val="133472919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6" name="Titel 5"/>
          <p:cNvSpPr>
            <a:spLocks noGrp="1"/>
          </p:cNvSpPr>
          <p:nvPr>
            <p:ph type="title" hasCustomPrompt="1"/>
          </p:nvPr>
        </p:nvSpPr>
        <p:spPr>
          <a:xfrm>
            <a:off x="263525" y="260648"/>
            <a:ext cx="11449049" cy="396000"/>
          </a:xfrm>
        </p:spPr>
        <p:txBody>
          <a:bodyPr/>
          <a:lstStyle>
            <a:lvl1pPr>
              <a:defRPr>
                <a:latin typeface="GT America" panose="00000500000000000000" pitchFamily="2" charset="0"/>
                <a:cs typeface="GT America" panose="020B0604020202020204" pitchFamily="34" charset="0"/>
                <a:sym typeface="GT America" panose="00000500000000000000" pitchFamily="2" charset="0"/>
              </a:defRPr>
            </a:lvl1pPr>
          </a:lstStyle>
          <a:p>
            <a:r>
              <a:rPr lang="de-DE" dirty="0" err="1"/>
              <a:t>kapitel</a:t>
            </a:r>
            <a:endParaRPr lang="en-GB" dirty="0"/>
          </a:p>
        </p:txBody>
      </p:sp>
      <p:sp>
        <p:nvSpPr>
          <p:cNvPr id="2" name="Foliennummernplatzhalter 1"/>
          <p:cNvSpPr>
            <a:spLocks noGrp="1"/>
          </p:cNvSpPr>
          <p:nvPr>
            <p:ph type="sldNum" sz="quarter" idx="10"/>
          </p:nvPr>
        </p:nvSpPr>
        <p:spPr>
          <a:xfrm>
            <a:off x="11928648" y="6453187"/>
            <a:ext cx="263350" cy="404813"/>
          </a:xfrm>
          <a:prstGeom prst="rect">
            <a:avLst/>
          </a:prstGeom>
        </p:spPr>
        <p:txBody>
          <a:bodyPr lIns="0" tIns="0" rIns="0" bIns="0" anchor="ctr" anchorCtr="0"/>
          <a:lstStyle>
            <a:lvl1pPr>
              <a:defRPr lang="de-DE" sz="1100" smtClean="0">
                <a:latin typeface="GT America" panose="00000500000000000000" pitchFamily="2" charset="0"/>
                <a:cs typeface="GT America" panose="020B0604020202020204" pitchFamily="34" charset="0"/>
                <a:sym typeface="GT America" panose="00000500000000000000" pitchFamily="2" charset="0"/>
              </a:defRPr>
            </a:lvl1pPr>
          </a:lstStyle>
          <a:p>
            <a:pPr algn="ctr"/>
            <a:fld id="{4CFEB0D3-1EB3-4F08-8062-95FFB9749870}" type="slidenum">
              <a:rPr lang="de-DE" smtClean="0"/>
              <a:pPr algn="ctr"/>
              <a:t>‹N›</a:t>
            </a:fld>
            <a:endParaRPr lang="de-DE" dirty="0"/>
          </a:p>
        </p:txBody>
      </p:sp>
    </p:spTree>
    <p:extLst>
      <p:ext uri="{BB962C8B-B14F-4D97-AF65-F5344CB8AC3E}">
        <p14:creationId xmlns:p14="http://schemas.microsoft.com/office/powerpoint/2010/main" val="1878208698"/>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Kopfzeile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Arial" panose="020B0604020202020204" pitchFamily="34" charset="0"/>
                <a:cs typeface="Arial" panose="020B0604020202020204" pitchFamily="34" charset="0"/>
                <a:sym typeface="Arial" panose="020B0604020202020204" pitchFamily="34" charset="0"/>
              </a:defRPr>
            </a:lvl1pPr>
          </a:lstStyle>
          <a:p>
            <a:pPr lvl="0"/>
            <a:r>
              <a:rPr lang="de-DE" dirty="0"/>
              <a:t>Fußnote durch Klicken hinzufügen</a:t>
            </a:r>
          </a:p>
        </p:txBody>
      </p:sp>
      <p:sp>
        <p:nvSpPr>
          <p:cNvPr id="2" name="Foliennummernplatzhalter 1"/>
          <p:cNvSpPr>
            <a:spLocks noGrp="1"/>
          </p:cNvSpPr>
          <p:nvPr>
            <p:ph type="sldNum" sz="quarter" idx="14"/>
          </p:nvPr>
        </p:nvSpPr>
        <p:spPr>
          <a:xfrm>
            <a:off x="11928648" y="6453187"/>
            <a:ext cx="263350" cy="404813"/>
          </a:xfrm>
          <a:prstGeom prst="rect">
            <a:avLst/>
          </a:prstGeom>
        </p:spPr>
        <p:txBody>
          <a:bodyPr lIns="0" tIns="0" rIns="0" bIns="0" anchor="ctr" anchorCtr="0"/>
          <a:lstStyle>
            <a:lvl1pPr>
              <a:defRPr lang="de-DE" sz="1100" smtClean="0">
                <a:latin typeface="Arial" panose="020B0604020202020204" pitchFamily="34" charset="0"/>
                <a:cs typeface="Arial" panose="020B0604020202020204" pitchFamily="34" charset="0"/>
                <a:sym typeface="Arial" panose="020B0604020202020204" pitchFamily="34" charset="0"/>
              </a:defRPr>
            </a:lvl1pPr>
          </a:lstStyle>
          <a:p>
            <a:pPr algn="ctr"/>
            <a:fld id="{4CFEB0D3-1EB3-4F08-8062-95FFB9749870}" type="slidenum">
              <a:rPr lang="de-DE" smtClean="0"/>
              <a:pPr algn="ctr"/>
              <a:t>‹N›</a:t>
            </a:fld>
            <a:endParaRPr lang="de-DE" dirty="0"/>
          </a:p>
        </p:txBody>
      </p:sp>
    </p:spTree>
    <p:extLst>
      <p:ext uri="{BB962C8B-B14F-4D97-AF65-F5344CB8AC3E}">
        <p14:creationId xmlns:p14="http://schemas.microsoft.com/office/powerpoint/2010/main" val="919955548"/>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Kopfzeile Untertitel">
    <p:spTree>
      <p:nvGrpSpPr>
        <p:cNvPr id="1" name=""/>
        <p:cNvGrpSpPr/>
        <p:nvPr/>
      </p:nvGrpSpPr>
      <p:grpSpPr>
        <a:xfrm>
          <a:off x="0" y="0"/>
          <a:ext cx="0" cy="0"/>
          <a:chOff x="0" y="0"/>
          <a:chExt cx="0" cy="0"/>
        </a:xfrm>
      </p:grpSpPr>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de-DE" dirty="0"/>
              <a:t>Untertitel durch Klicken hinzufügen</a:t>
            </a:r>
          </a:p>
        </p:txBody>
      </p:sp>
      <p:sp>
        <p:nvSpPr>
          <p:cNvPr id="2" name="Foliennummernplatzhalter 1"/>
          <p:cNvSpPr>
            <a:spLocks noGrp="1"/>
          </p:cNvSpPr>
          <p:nvPr>
            <p:ph type="sldNum" sz="quarter" idx="14"/>
          </p:nvPr>
        </p:nvSpPr>
        <p:spPr>
          <a:xfrm>
            <a:off x="11928648" y="6453187"/>
            <a:ext cx="263350" cy="404813"/>
          </a:xfrm>
          <a:prstGeom prst="rect">
            <a:avLst/>
          </a:prstGeom>
        </p:spPr>
        <p:txBody>
          <a:bodyPr lIns="0" tIns="0" rIns="0" bIns="0" anchor="ctr" anchorCtr="0"/>
          <a:lstStyle>
            <a:lvl1pPr>
              <a:defRPr lang="de-DE" sz="1100" smtClean="0">
                <a:latin typeface="Arial" panose="020B0604020202020204" pitchFamily="34" charset="0"/>
                <a:cs typeface="Arial" panose="020B0604020202020204" pitchFamily="34" charset="0"/>
                <a:sym typeface="Arial" panose="020B0604020202020204" pitchFamily="34" charset="0"/>
              </a:defRPr>
            </a:lvl1pPr>
          </a:lstStyle>
          <a:p>
            <a:pPr algn="ctr"/>
            <a:fld id="{4CFEB0D3-1EB3-4F08-8062-95FFB9749870}" type="slidenum">
              <a:rPr lang="de-DE" smtClean="0"/>
              <a:pPr algn="ctr"/>
              <a:t>‹N›</a:t>
            </a:fld>
            <a:endParaRPr lang="de-DE" dirty="0"/>
          </a:p>
        </p:txBody>
      </p:sp>
    </p:spTree>
    <p:extLst>
      <p:ext uri="{BB962C8B-B14F-4D97-AF65-F5344CB8AC3E}">
        <p14:creationId xmlns:p14="http://schemas.microsoft.com/office/powerpoint/2010/main" val="4281649883"/>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Kopfzeile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058458"/>
            <a:ext cx="11449048" cy="5008968"/>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5" name="Rechteck 4"/>
          <p:cNvSpPr/>
          <p:nvPr userDrawn="1"/>
        </p:nvSpPr>
        <p:spPr>
          <a:xfrm>
            <a:off x="-794" y="0"/>
            <a:ext cx="12193588" cy="89999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Arial" panose="020B0604020202020204" pitchFamily="34" charset="0"/>
              <a:cs typeface="Arial" panose="020B0604020202020204" pitchFamily="34" charset="0"/>
              <a:sym typeface="Arial" panose="020B0604020202020204" pitchFamily="34" charset="0"/>
            </a:endParaRPr>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p:nvPr>
        </p:nvSpPr>
        <p:spPr>
          <a:xfrm>
            <a:off x="263525" y="260648"/>
            <a:ext cx="11449049" cy="396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Arial" panose="020B0604020202020204" pitchFamily="34" charset="0"/>
                <a:cs typeface="Arial" panose="020B0604020202020204" pitchFamily="34" charset="0"/>
                <a:sym typeface="Arial" panose="020B0604020202020204" pitchFamily="34" charset="0"/>
              </a:defRPr>
            </a:lvl1pPr>
          </a:lstStyle>
          <a:p>
            <a:pPr lvl="0"/>
            <a:r>
              <a:rPr lang="de-DE" dirty="0"/>
              <a:t>Fußnote durch Klicken hinzufügen</a:t>
            </a:r>
          </a:p>
        </p:txBody>
      </p:sp>
      <p:sp>
        <p:nvSpPr>
          <p:cNvPr id="2" name="Foliennummernplatzhalter 1"/>
          <p:cNvSpPr>
            <a:spLocks noGrp="1"/>
          </p:cNvSpPr>
          <p:nvPr>
            <p:ph type="sldNum" sz="quarter" idx="14"/>
          </p:nvPr>
        </p:nvSpPr>
        <p:spPr>
          <a:xfrm>
            <a:off x="11928648" y="6453187"/>
            <a:ext cx="263350" cy="404813"/>
          </a:xfrm>
          <a:prstGeom prst="rect">
            <a:avLst/>
          </a:prstGeom>
        </p:spPr>
        <p:txBody>
          <a:bodyPr lIns="0" tIns="0" rIns="0" bIns="0" anchor="ctr" anchorCtr="0"/>
          <a:lstStyle>
            <a:lvl1pPr>
              <a:defRPr lang="de-DE" sz="1100" smtClean="0">
                <a:latin typeface="Arial" panose="020B0604020202020204" pitchFamily="34" charset="0"/>
                <a:cs typeface="Arial" panose="020B0604020202020204" pitchFamily="34" charset="0"/>
                <a:sym typeface="Arial" panose="020B0604020202020204" pitchFamily="34" charset="0"/>
              </a:defRPr>
            </a:lvl1pPr>
          </a:lstStyle>
          <a:p>
            <a:pPr algn="ctr"/>
            <a:fld id="{4CFEB0D3-1EB3-4F08-8062-95FFB9749870}" type="slidenum">
              <a:rPr lang="de-DE" smtClean="0"/>
              <a:pPr algn="ctr"/>
              <a:t>‹N›</a:t>
            </a:fld>
            <a:endParaRPr lang="de-DE" dirty="0"/>
          </a:p>
        </p:txBody>
      </p:sp>
    </p:spTree>
    <p:extLst>
      <p:ext uri="{BB962C8B-B14F-4D97-AF65-F5344CB8AC3E}">
        <p14:creationId xmlns:p14="http://schemas.microsoft.com/office/powerpoint/2010/main" val="340997895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Kopfzeile farbig Untertitel Text ">
    <p:spTree>
      <p:nvGrpSpPr>
        <p:cNvPr id="1" name=""/>
        <p:cNvGrpSpPr/>
        <p:nvPr/>
      </p:nvGrpSpPr>
      <p:grpSpPr>
        <a:xfrm>
          <a:off x="0" y="0"/>
          <a:ext cx="0" cy="0"/>
          <a:chOff x="0" y="0"/>
          <a:chExt cx="0" cy="0"/>
        </a:xfrm>
      </p:grpSpPr>
      <p:sp>
        <p:nvSpPr>
          <p:cNvPr id="15" name="Textplatzhalter 14"/>
          <p:cNvSpPr>
            <a:spLocks noGrp="1"/>
          </p:cNvSpPr>
          <p:nvPr>
            <p:ph type="body" sz="quarter" idx="13"/>
          </p:nvPr>
        </p:nvSpPr>
        <p:spPr>
          <a:xfrm>
            <a:off x="263525" y="1457326"/>
            <a:ext cx="11449048" cy="46101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vl2pPr>
              <a:defRPr>
                <a:latin typeface="Arial" panose="020B0604020202020204" pitchFamily="34" charset="0"/>
                <a:cs typeface="Arial" panose="020B0604020202020204" pitchFamily="34" charset="0"/>
                <a:sym typeface="Arial" panose="020B0604020202020204" pitchFamily="34" charset="0"/>
              </a:defRPr>
            </a:lvl2pPr>
            <a:lvl3pPr>
              <a:defRPr>
                <a:latin typeface="Arial" panose="020B0604020202020204" pitchFamily="34" charset="0"/>
                <a:cs typeface="Arial" panose="020B0604020202020204" pitchFamily="34" charset="0"/>
                <a:sym typeface="Arial" panose="020B0604020202020204" pitchFamily="34" charset="0"/>
              </a:defRPr>
            </a:lvl3pPr>
            <a:lvl4pPr>
              <a:defRPr>
                <a:latin typeface="Arial" panose="020B0604020202020204" pitchFamily="34" charset="0"/>
                <a:cs typeface="Arial" panose="020B0604020202020204" pitchFamily="34" charset="0"/>
                <a:sym typeface="Arial" panose="020B0604020202020204" pitchFamily="34" charset="0"/>
              </a:defRPr>
            </a:lvl4pPr>
            <a:lvl5pPr>
              <a:defRPr>
                <a:latin typeface="Arial" panose="020B0604020202020204" pitchFamily="34" charset="0"/>
                <a:cs typeface="Arial" panose="020B0604020202020204" pitchFamily="34" charset="0"/>
                <a:sym typeface="Arial" panose="020B0604020202020204" pitchFamily="34" charset="0"/>
              </a:defRPr>
            </a:lvl5pPr>
          </a:lstStyle>
          <a:p>
            <a:pPr lvl="0"/>
            <a:r>
              <a:rPr lang="de-DE" dirty="0"/>
              <a:t>Textmasterformat bearbeiten</a:t>
            </a:r>
          </a:p>
          <a:p>
            <a:pPr lvl="1"/>
            <a:r>
              <a:rPr lang="de-DE" dirty="0"/>
              <a:t>Zweite Ebene</a:t>
            </a:r>
          </a:p>
          <a:p>
            <a:pPr lvl="2"/>
            <a:r>
              <a:rPr lang="de-DE" dirty="0"/>
              <a:t>Dritte Ebene</a:t>
            </a:r>
          </a:p>
          <a:p>
            <a:pPr lvl="3"/>
            <a:r>
              <a:rPr lang="de-DE" dirty="0"/>
              <a:t>Vierte Ebene</a:t>
            </a:r>
          </a:p>
          <a:p>
            <a:pPr lvl="4"/>
            <a:r>
              <a:rPr lang="de-DE" dirty="0"/>
              <a:t>Fünfte Ebene</a:t>
            </a:r>
            <a:endParaRPr lang="en-GB" dirty="0"/>
          </a:p>
        </p:txBody>
      </p:sp>
      <p:sp>
        <p:nvSpPr>
          <p:cNvPr id="12" name="object 4">
            <a:extLst>
              <a:ext uri="{FF2B5EF4-FFF2-40B4-BE49-F238E27FC236}">
                <a16:creationId xmlns:a16="http://schemas.microsoft.com/office/drawing/2014/main" id="{880C4227-47B7-694C-8443-CF01E2AE097C}"/>
              </a:ext>
            </a:extLst>
          </p:cNvPr>
          <p:cNvSpPr/>
          <p:nvPr userDrawn="1"/>
        </p:nvSpPr>
        <p:spPr>
          <a:xfrm>
            <a:off x="2681" y="899998"/>
            <a:ext cx="12193200" cy="15846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graphicFrame>
        <p:nvGraphicFramePr>
          <p:cNvPr id="7" name="Objek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6" name="Titel 5"/>
          <p:cNvSpPr>
            <a:spLocks noGrp="1"/>
          </p:cNvSpPr>
          <p:nvPr>
            <p:ph type="title"/>
          </p:nvPr>
        </p:nvSpPr>
        <p:spPr>
          <a:xfrm>
            <a:off x="263525" y="260648"/>
            <a:ext cx="11449049" cy="396000"/>
          </a:xfrm>
        </p:spPr>
        <p:txBody>
          <a:bodyPr/>
          <a:lstStyle>
            <a:lvl1pPr>
              <a:defRPr>
                <a:solidFill>
                  <a:schemeClr val="tx2"/>
                </a:solidFill>
                <a:latin typeface="Arial" panose="020B0604020202020204" pitchFamily="34" charset="0"/>
                <a:cs typeface="Arial" panose="020B0604020202020204" pitchFamily="34" charset="0"/>
                <a:sym typeface="Arial" panose="020B0604020202020204" pitchFamily="34" charset="0"/>
              </a:defRPr>
            </a:lvl1pPr>
          </a:lstStyle>
          <a:p>
            <a:endParaRPr lang="en-GB" dirty="0"/>
          </a:p>
        </p:txBody>
      </p:sp>
      <p:sp>
        <p:nvSpPr>
          <p:cNvPr id="3" name="Textplatzhalter 2"/>
          <p:cNvSpPr>
            <a:spLocks noGrp="1"/>
          </p:cNvSpPr>
          <p:nvPr>
            <p:ph type="body" sz="quarter" idx="10" hasCustomPrompt="1"/>
          </p:nvPr>
        </p:nvSpPr>
        <p:spPr>
          <a:xfrm>
            <a:off x="263525" y="1065214"/>
            <a:ext cx="11449048" cy="288000"/>
          </a:xfrm>
        </p:spPr>
        <p:txBody>
          <a:bodyPr/>
          <a:lstStyle>
            <a:lvl1pPr>
              <a:defRPr>
                <a:latin typeface="Arial" panose="020B0604020202020204" pitchFamily="34" charset="0"/>
                <a:cs typeface="Arial" panose="020B0604020202020204" pitchFamily="34" charset="0"/>
                <a:sym typeface="Arial" panose="020B0604020202020204" pitchFamily="34" charset="0"/>
              </a:defRPr>
            </a:lvl1pPr>
          </a:lstStyle>
          <a:p>
            <a:pPr lvl="0"/>
            <a:r>
              <a:rPr lang="de-DE" dirty="0"/>
              <a:t>Untertitel durch Klicken hinzufügen</a:t>
            </a:r>
          </a:p>
        </p:txBody>
      </p:sp>
      <p:sp>
        <p:nvSpPr>
          <p:cNvPr id="13" name="Textplatzhalter 12"/>
          <p:cNvSpPr>
            <a:spLocks noGrp="1"/>
          </p:cNvSpPr>
          <p:nvPr>
            <p:ph type="body" sz="quarter" idx="12" hasCustomPrompt="1"/>
          </p:nvPr>
        </p:nvSpPr>
        <p:spPr>
          <a:xfrm>
            <a:off x="263524" y="6248400"/>
            <a:ext cx="11449049" cy="204788"/>
          </a:xfrm>
        </p:spPr>
        <p:txBody>
          <a:bodyPr vert="horz" lIns="0" tIns="0" rIns="0" bIns="0" rtlCol="0" anchor="b">
            <a:noAutofit/>
          </a:bodyPr>
          <a:lstStyle>
            <a:lvl1pPr>
              <a:defRPr lang="de-DE" sz="1000" dirty="0" smtClean="0">
                <a:latin typeface="Arial" panose="020B0604020202020204" pitchFamily="34" charset="0"/>
                <a:cs typeface="Arial" panose="020B0604020202020204" pitchFamily="34" charset="0"/>
                <a:sym typeface="Arial" panose="020B0604020202020204" pitchFamily="34" charset="0"/>
              </a:defRPr>
            </a:lvl1pPr>
          </a:lstStyle>
          <a:p>
            <a:pPr lvl="0"/>
            <a:r>
              <a:rPr lang="de-DE" dirty="0"/>
              <a:t>Fußnote durch Klicken hinzufügen</a:t>
            </a:r>
          </a:p>
        </p:txBody>
      </p:sp>
      <p:sp>
        <p:nvSpPr>
          <p:cNvPr id="2" name="Foliennummernplatzhalter 1"/>
          <p:cNvSpPr>
            <a:spLocks noGrp="1"/>
          </p:cNvSpPr>
          <p:nvPr>
            <p:ph type="sldNum" sz="quarter" idx="14"/>
          </p:nvPr>
        </p:nvSpPr>
        <p:spPr>
          <a:xfrm>
            <a:off x="11928648" y="6453187"/>
            <a:ext cx="263350" cy="404813"/>
          </a:xfrm>
          <a:prstGeom prst="rect">
            <a:avLst/>
          </a:prstGeom>
        </p:spPr>
        <p:txBody>
          <a:bodyPr lIns="0" tIns="0" rIns="0" bIns="0" anchor="ctr" anchorCtr="0"/>
          <a:lstStyle>
            <a:lvl1pPr algn="ctr">
              <a:defRPr sz="1100">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N›</a:t>
            </a:fld>
            <a:endParaRPr lang="de-DE" dirty="0"/>
          </a:p>
        </p:txBody>
      </p:sp>
    </p:spTree>
    <p:extLst>
      <p:ext uri="{BB962C8B-B14F-4D97-AF65-F5344CB8AC3E}">
        <p14:creationId xmlns:p14="http://schemas.microsoft.com/office/powerpoint/2010/main" val="236192543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1_Kapiteleinstieg 1">
    <p:spTree>
      <p:nvGrpSpPr>
        <p:cNvPr id="1" name=""/>
        <p:cNvGrpSpPr/>
        <p:nvPr/>
      </p:nvGrpSpPr>
      <p:grpSpPr>
        <a:xfrm>
          <a:off x="0" y="0"/>
          <a:ext cx="0" cy="0"/>
          <a:chOff x="0" y="0"/>
          <a:chExt cx="0" cy="0"/>
        </a:xfrm>
      </p:grpSpPr>
      <p:sp>
        <p:nvSpPr>
          <p:cNvPr id="5" name="Rechteck 4"/>
          <p:cNvSpPr/>
          <p:nvPr userDrawn="1"/>
        </p:nvSpPr>
        <p:spPr>
          <a:xfrm>
            <a:off x="-794" y="0"/>
            <a:ext cx="12193588" cy="68580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GT America" panose="00000500000000000000" pitchFamily="2" charset="0"/>
              <a:cs typeface="GT America" panose="020B0604020202020204" pitchFamily="34" charset="0"/>
              <a:sym typeface="GT America" panose="00000500000000000000" pitchFamily="2" charset="0"/>
            </a:endParaRPr>
          </a:p>
        </p:txBody>
      </p:sp>
      <p:sp>
        <p:nvSpPr>
          <p:cNvPr id="11" name="Bildplatzhalter 10"/>
          <p:cNvSpPr>
            <a:spLocks noGrp="1"/>
          </p:cNvSpPr>
          <p:nvPr>
            <p:ph type="pic" sz="quarter" idx="16"/>
          </p:nvPr>
        </p:nvSpPr>
        <p:spPr>
          <a:xfrm>
            <a:off x="4822022" y="-2841"/>
            <a:ext cx="7110000" cy="6859253"/>
          </a:xfrm>
          <a:solidFill>
            <a:schemeClr val="bg1"/>
          </a:solidFill>
        </p:spPr>
        <p:txBody>
          <a:bodyPr/>
          <a:lstStyle>
            <a:lvl1pPr>
              <a:defRPr>
                <a:latin typeface="GT America" panose="020B0604020202020204" pitchFamily="34" charset="0"/>
                <a:cs typeface="GT America" panose="020B0604020202020204" pitchFamily="34" charset="0"/>
              </a:defRPr>
            </a:lvl1pPr>
          </a:lstStyle>
          <a:p>
            <a:endParaRPr lang="en-GB" dirty="0"/>
          </a:p>
        </p:txBody>
      </p:sp>
      <p:graphicFrame>
        <p:nvGraphicFramePr>
          <p:cNvPr id="7" name="Objekt 6"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44" imgH="345" progId="TCLayout.ActiveDocument.1">
                  <p:embed/>
                </p:oleObj>
              </mc:Choice>
              <mc:Fallback>
                <p:oleObj name="think-cell Folie" r:id="rId3" imgW="344" imgH="345" progId="TCLayout.ActiveDocument.1">
                  <p:embed/>
                  <p:pic>
                    <p:nvPicPr>
                      <p:cNvPr id="7" name="Objekt 6" hidden="1"/>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 name="Textfeld 7"/>
          <p:cNvSpPr txBox="1"/>
          <p:nvPr userDrawn="1"/>
        </p:nvSpPr>
        <p:spPr>
          <a:xfrm rot="16200000">
            <a:off x="8631237" y="3297236"/>
            <a:ext cx="6857999"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userDrawn="1"/>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16" name="object 6">
            <a:extLst>
              <a:ext uri="{FF2B5EF4-FFF2-40B4-BE49-F238E27FC236}">
                <a16:creationId xmlns:a16="http://schemas.microsoft.com/office/drawing/2014/main" id="{35B15152-362B-804E-8180-EB8D98DF2756}"/>
              </a:ext>
            </a:extLst>
          </p:cNvPr>
          <p:cNvSpPr/>
          <p:nvPr userDrawn="1"/>
        </p:nvSpPr>
        <p:spPr>
          <a:xfrm>
            <a:off x="4816097" y="-6350"/>
            <a:ext cx="45719" cy="6864350"/>
          </a:xfrm>
          <a:custGeom>
            <a:avLst/>
            <a:gdLst/>
            <a:ahLst/>
            <a:cxnLst/>
            <a:rect l="l" t="t" r="r" b="b"/>
            <a:pathLst>
              <a:path h="4698365">
                <a:moveTo>
                  <a:pt x="0" y="0"/>
                </a:moveTo>
                <a:lnTo>
                  <a:pt x="0" y="4697996"/>
                </a:lnTo>
              </a:path>
            </a:pathLst>
          </a:custGeom>
          <a:ln w="28575">
            <a:solidFill>
              <a:srgbClr val="000000"/>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
        <p:nvSpPr>
          <p:cNvPr id="17" name="Foliennummernplatzhalter 16"/>
          <p:cNvSpPr>
            <a:spLocks noGrp="1"/>
          </p:cNvSpPr>
          <p:nvPr>
            <p:ph type="sldNum" sz="quarter" idx="17"/>
          </p:nvPr>
        </p:nvSpPr>
        <p:spPr>
          <a:xfrm>
            <a:off x="11928648" y="6453187"/>
            <a:ext cx="263350" cy="404813"/>
          </a:xfrm>
          <a:prstGeom prst="rect">
            <a:avLst/>
          </a:prstGeom>
        </p:spPr>
        <p:txBody>
          <a:bodyPr lIns="0" tIns="0" rIns="0" bIns="0" anchor="ctr" anchorCtr="0"/>
          <a:lstStyle>
            <a:lvl1pPr algn="ctr">
              <a:defRPr sz="1100">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
        <p:nvSpPr>
          <p:cNvPr id="14" name="Textplatzhalter 15">
            <a:extLst>
              <a:ext uri="{FF2B5EF4-FFF2-40B4-BE49-F238E27FC236}">
                <a16:creationId xmlns:a16="http://schemas.microsoft.com/office/drawing/2014/main" id="{1A835BE2-55CD-2A46-97A5-3378A6C95F22}"/>
              </a:ext>
            </a:extLst>
          </p:cNvPr>
          <p:cNvSpPr>
            <a:spLocks noGrp="1"/>
          </p:cNvSpPr>
          <p:nvPr>
            <p:ph type="body" sz="quarter" idx="14" hasCustomPrompt="1"/>
          </p:nvPr>
        </p:nvSpPr>
        <p:spPr>
          <a:xfrm>
            <a:off x="1" y="244800"/>
            <a:ext cx="4799856" cy="641726"/>
          </a:xfrm>
          <a:solidFill>
            <a:schemeClr val="tx2"/>
          </a:solidFill>
          <a:effectLst>
            <a:outerShdw dist="27940" dir="5100000" algn="t" rotWithShape="0">
              <a:prstClr val="black"/>
            </a:outerShdw>
          </a:effectLst>
        </p:spPr>
        <p:txBody>
          <a:bodyPr wrap="square" lIns="262800" rIns="144000" bIns="208800">
            <a:spAutoFit/>
          </a:bodyPr>
          <a:lstStyle>
            <a:lvl1pPr algn="l">
              <a:lnSpc>
                <a:spcPct val="100000"/>
              </a:lnSpc>
              <a:spcBef>
                <a:spcPts val="0"/>
              </a:spcBef>
              <a:defRPr sz="2800" cap="all" spc="-70" baseline="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pPr lvl="0"/>
            <a:r>
              <a:rPr lang="de-DE" dirty="0" err="1"/>
              <a:t>KApitel</a:t>
            </a:r>
            <a:endParaRPr lang="de-DE" dirty="0"/>
          </a:p>
        </p:txBody>
      </p:sp>
    </p:spTree>
    <p:extLst>
      <p:ext uri="{BB962C8B-B14F-4D97-AF65-F5344CB8AC3E}">
        <p14:creationId xmlns:p14="http://schemas.microsoft.com/office/powerpoint/2010/main" val="317211311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_rels/slideMaster10.xml.rels><?xml version="1.0" encoding="UTF-8" standalone="yes"?>
<Relationships xmlns="http://schemas.openxmlformats.org/package/2006/relationships"><Relationship Id="rId8" Type="http://schemas.openxmlformats.org/officeDocument/2006/relationships/oleObject" Target="../embeddings/oleObject69.bin"/><Relationship Id="rId3" Type="http://schemas.openxmlformats.org/officeDocument/2006/relationships/slideLayout" Target="../slideLayouts/slideLayout62.xml"/><Relationship Id="rId7" Type="http://schemas.openxmlformats.org/officeDocument/2006/relationships/tags" Target="../tags/tag71.xml"/><Relationship Id="rId2" Type="http://schemas.openxmlformats.org/officeDocument/2006/relationships/slideLayout" Target="../slideLayouts/slideLayout61.xml"/><Relationship Id="rId1" Type="http://schemas.openxmlformats.org/officeDocument/2006/relationships/slideLayout" Target="../slideLayouts/slideLayout60.xml"/><Relationship Id="rId6" Type="http://schemas.openxmlformats.org/officeDocument/2006/relationships/theme" Target="../theme/theme10.xml"/><Relationship Id="rId5" Type="http://schemas.openxmlformats.org/officeDocument/2006/relationships/slideLayout" Target="../slideLayouts/slideLayout64.xml"/><Relationship Id="rId4" Type="http://schemas.openxmlformats.org/officeDocument/2006/relationships/slideLayout" Target="../slideLayouts/slideLayout63.xml"/><Relationship Id="rId9" Type="http://schemas.openxmlformats.org/officeDocument/2006/relationships/image" Target="../media/image1.emf"/></Relationships>
</file>

<file path=ppt/slideMasters/_rels/slideMaster11.xml.rels><?xml version="1.0" encoding="UTF-8" standalone="yes"?>
<Relationships xmlns="http://schemas.openxmlformats.org/package/2006/relationships"><Relationship Id="rId3" Type="http://schemas.openxmlformats.org/officeDocument/2006/relationships/theme" Target="../theme/theme11.xml"/><Relationship Id="rId2" Type="http://schemas.openxmlformats.org/officeDocument/2006/relationships/slideLayout" Target="../slideLayouts/slideLayout66.xml"/><Relationship Id="rId1" Type="http://schemas.openxmlformats.org/officeDocument/2006/relationships/slideLayout" Target="../slideLayouts/slideLayout65.xml"/><Relationship Id="rId6" Type="http://schemas.openxmlformats.org/officeDocument/2006/relationships/image" Target="../media/image1.emf"/><Relationship Id="rId5" Type="http://schemas.openxmlformats.org/officeDocument/2006/relationships/oleObject" Target="../embeddings/oleObject75.bin"/><Relationship Id="rId4" Type="http://schemas.openxmlformats.org/officeDocument/2006/relationships/tags" Target="../tags/tag77.xml"/></Relationships>
</file>

<file path=ppt/slideMasters/_rels/slideMaster12.xml.rels><?xml version="1.0" encoding="UTF-8" standalone="yes"?>
<Relationships xmlns="http://schemas.openxmlformats.org/package/2006/relationships"><Relationship Id="rId3" Type="http://schemas.openxmlformats.org/officeDocument/2006/relationships/theme" Target="../theme/theme12.xml"/><Relationship Id="rId2" Type="http://schemas.openxmlformats.org/officeDocument/2006/relationships/slideLayout" Target="../slideLayouts/slideLayout68.xml"/><Relationship Id="rId1" Type="http://schemas.openxmlformats.org/officeDocument/2006/relationships/slideLayout" Target="../slideLayouts/slideLayout67.xml"/><Relationship Id="rId6" Type="http://schemas.openxmlformats.org/officeDocument/2006/relationships/image" Target="../media/image1.emf"/><Relationship Id="rId5" Type="http://schemas.openxmlformats.org/officeDocument/2006/relationships/oleObject" Target="../embeddings/oleObject78.bin"/><Relationship Id="rId4" Type="http://schemas.openxmlformats.org/officeDocument/2006/relationships/tags" Target="../tags/tag80.xml"/></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oleObject" Target="../embeddings/oleObject81.bin"/><Relationship Id="rId3" Type="http://schemas.openxmlformats.org/officeDocument/2006/relationships/slideLayout" Target="../slideLayouts/slideLayout71.xml"/><Relationship Id="rId7" Type="http://schemas.openxmlformats.org/officeDocument/2006/relationships/slideLayout" Target="../slideLayouts/slideLayout75.xml"/><Relationship Id="rId12" Type="http://schemas.openxmlformats.org/officeDocument/2006/relationships/tags" Target="../tags/tag84.xml"/><Relationship Id="rId2" Type="http://schemas.openxmlformats.org/officeDocument/2006/relationships/slideLayout" Target="../slideLayouts/slideLayout70.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tags" Target="../tags/tag83.xml"/><Relationship Id="rId5" Type="http://schemas.openxmlformats.org/officeDocument/2006/relationships/slideLayout" Target="../slideLayouts/slideLayout73.xml"/><Relationship Id="rId10" Type="http://schemas.openxmlformats.org/officeDocument/2006/relationships/theme" Target="../theme/theme13.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image" Target="../media/image1.emf"/></Relationships>
</file>

<file path=ppt/slideMasters/_rels/slideMaster14.xml.rels><?xml version="1.0" encoding="UTF-8" standalone="yes"?>
<Relationships xmlns="http://schemas.openxmlformats.org/package/2006/relationships"><Relationship Id="rId8" Type="http://schemas.openxmlformats.org/officeDocument/2006/relationships/slideLayout" Target="../slideLayouts/slideLayout85.xml"/><Relationship Id="rId13" Type="http://schemas.openxmlformats.org/officeDocument/2006/relationships/image" Target="../media/image1.emf"/><Relationship Id="rId3" Type="http://schemas.openxmlformats.org/officeDocument/2006/relationships/slideLayout" Target="../slideLayouts/slideLayout80.xml"/><Relationship Id="rId7" Type="http://schemas.openxmlformats.org/officeDocument/2006/relationships/slideLayout" Target="../slideLayouts/slideLayout84.xml"/><Relationship Id="rId12" Type="http://schemas.openxmlformats.org/officeDocument/2006/relationships/oleObject" Target="../embeddings/oleObject90.bin"/><Relationship Id="rId2" Type="http://schemas.openxmlformats.org/officeDocument/2006/relationships/slideLayout" Target="../slideLayouts/slideLayout79.xml"/><Relationship Id="rId1" Type="http://schemas.openxmlformats.org/officeDocument/2006/relationships/slideLayout" Target="../slideLayouts/slideLayout78.xml"/><Relationship Id="rId6" Type="http://schemas.openxmlformats.org/officeDocument/2006/relationships/slideLayout" Target="../slideLayouts/slideLayout83.xml"/><Relationship Id="rId11" Type="http://schemas.openxmlformats.org/officeDocument/2006/relationships/tags" Target="../tags/tag96.xml"/><Relationship Id="rId5" Type="http://schemas.openxmlformats.org/officeDocument/2006/relationships/slideLayout" Target="../slideLayouts/slideLayout82.xml"/><Relationship Id="rId10" Type="http://schemas.openxmlformats.org/officeDocument/2006/relationships/tags" Target="../tags/tag95.xml"/><Relationship Id="rId4" Type="http://schemas.openxmlformats.org/officeDocument/2006/relationships/slideLayout" Target="../slideLayouts/slideLayout81.xml"/><Relationship Id="rId9" Type="http://schemas.openxmlformats.org/officeDocument/2006/relationships/theme" Target="../theme/theme14.xml"/></Relationships>
</file>

<file path=ppt/slideMasters/_rels/slideMaster15.xml.rels><?xml version="1.0" encoding="UTF-8" standalone="yes"?>
<Relationships xmlns="http://schemas.openxmlformats.org/package/2006/relationships"><Relationship Id="rId8" Type="http://schemas.openxmlformats.org/officeDocument/2006/relationships/slideLayout" Target="../slideLayouts/slideLayout93.xml"/><Relationship Id="rId13" Type="http://schemas.openxmlformats.org/officeDocument/2006/relationships/oleObject" Target="../embeddings/oleObject99.bin"/><Relationship Id="rId3" Type="http://schemas.openxmlformats.org/officeDocument/2006/relationships/slideLayout" Target="../slideLayouts/slideLayout88.xml"/><Relationship Id="rId7" Type="http://schemas.openxmlformats.org/officeDocument/2006/relationships/slideLayout" Target="../slideLayouts/slideLayout92.xml"/><Relationship Id="rId12" Type="http://schemas.openxmlformats.org/officeDocument/2006/relationships/tags" Target="../tags/tag107.xml"/><Relationship Id="rId2" Type="http://schemas.openxmlformats.org/officeDocument/2006/relationships/slideLayout" Target="../slideLayouts/slideLayout87.xml"/><Relationship Id="rId1" Type="http://schemas.openxmlformats.org/officeDocument/2006/relationships/slideLayout" Target="../slideLayouts/slideLayout86.xml"/><Relationship Id="rId6" Type="http://schemas.openxmlformats.org/officeDocument/2006/relationships/slideLayout" Target="../slideLayouts/slideLayout91.xml"/><Relationship Id="rId11" Type="http://schemas.openxmlformats.org/officeDocument/2006/relationships/tags" Target="../tags/tag106.xml"/><Relationship Id="rId5" Type="http://schemas.openxmlformats.org/officeDocument/2006/relationships/slideLayout" Target="../slideLayouts/slideLayout90.xml"/><Relationship Id="rId10" Type="http://schemas.openxmlformats.org/officeDocument/2006/relationships/theme" Target="../theme/theme15.xml"/><Relationship Id="rId4" Type="http://schemas.openxmlformats.org/officeDocument/2006/relationships/slideLayout" Target="../slideLayouts/slideLayout89.xml"/><Relationship Id="rId9" Type="http://schemas.openxmlformats.org/officeDocument/2006/relationships/slideLayout" Target="../slideLayouts/slideLayout94.xml"/><Relationship Id="rId14"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tags" Target="../tags/tag11.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image" Target="../media/image1.emf"/><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oleObject" Target="../embeddings/oleObject9.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oleObject" Target="../embeddings/oleObject21.bin"/><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tags" Target="../tags/tag23.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theme" Target="../theme/theme3.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 Id="rId14"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6.xml"/><Relationship Id="rId3" Type="http://schemas.openxmlformats.org/officeDocument/2006/relationships/slideLayout" Target="../slideLayouts/slideLayout31.xml"/><Relationship Id="rId7" Type="http://schemas.openxmlformats.org/officeDocument/2006/relationships/slideLayout" Target="../slideLayouts/slideLayout35.xml"/><Relationship Id="rId12" Type="http://schemas.openxmlformats.org/officeDocument/2006/relationships/image" Target="../media/image1.emf"/><Relationship Id="rId2" Type="http://schemas.openxmlformats.org/officeDocument/2006/relationships/slideLayout" Target="../slideLayouts/slideLayout30.xml"/><Relationship Id="rId1" Type="http://schemas.openxmlformats.org/officeDocument/2006/relationships/slideLayout" Target="../slideLayouts/slideLayout29.xml"/><Relationship Id="rId6" Type="http://schemas.openxmlformats.org/officeDocument/2006/relationships/slideLayout" Target="../slideLayouts/slideLayout34.xml"/><Relationship Id="rId11" Type="http://schemas.openxmlformats.org/officeDocument/2006/relationships/oleObject" Target="../embeddings/oleObject32.bin"/><Relationship Id="rId5" Type="http://schemas.openxmlformats.org/officeDocument/2006/relationships/slideLayout" Target="../slideLayouts/slideLayout33.xml"/><Relationship Id="rId10" Type="http://schemas.openxmlformats.org/officeDocument/2006/relationships/tags" Target="../tags/tag34.xml"/><Relationship Id="rId4" Type="http://schemas.openxmlformats.org/officeDocument/2006/relationships/slideLayout" Target="../slideLayouts/slideLayout32.xml"/><Relationship Id="rId9"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9.xml"/><Relationship Id="rId7" Type="http://schemas.openxmlformats.org/officeDocument/2006/relationships/oleObject" Target="../embeddings/oleObject41.bin"/><Relationship Id="rId2" Type="http://schemas.openxmlformats.org/officeDocument/2006/relationships/slideLayout" Target="../slideLayouts/slideLayout38.xml"/><Relationship Id="rId1" Type="http://schemas.openxmlformats.org/officeDocument/2006/relationships/slideLayout" Target="../slideLayouts/slideLayout37.xml"/><Relationship Id="rId6" Type="http://schemas.openxmlformats.org/officeDocument/2006/relationships/tags" Target="../tags/tag43.xml"/><Relationship Id="rId5" Type="http://schemas.openxmlformats.org/officeDocument/2006/relationships/theme" Target="../theme/theme5.xml"/><Relationship Id="rId4" Type="http://schemas.openxmlformats.org/officeDocument/2006/relationships/slideLayout" Target="../slideLayouts/slideLayout40.xml"/></Relationships>
</file>

<file path=ppt/slideMasters/_rels/slideMaster6.xml.rels><?xml version="1.0" encoding="UTF-8" standalone="yes"?>
<Relationships xmlns="http://schemas.openxmlformats.org/package/2006/relationships"><Relationship Id="rId8" Type="http://schemas.openxmlformats.org/officeDocument/2006/relationships/oleObject" Target="../embeddings/oleObject46.bin"/><Relationship Id="rId3" Type="http://schemas.openxmlformats.org/officeDocument/2006/relationships/slideLayout" Target="../slideLayouts/slideLayout43.xml"/><Relationship Id="rId7" Type="http://schemas.openxmlformats.org/officeDocument/2006/relationships/tags" Target="../tags/tag48.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theme" Target="../theme/theme6.xml"/><Relationship Id="rId5" Type="http://schemas.openxmlformats.org/officeDocument/2006/relationships/slideLayout" Target="../slideLayouts/slideLayout45.xml"/><Relationship Id="rId4" Type="http://schemas.openxmlformats.org/officeDocument/2006/relationships/slideLayout" Target="../slideLayouts/slideLayout44.xml"/><Relationship Id="rId9"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48.xml"/><Relationship Id="rId7" Type="http://schemas.openxmlformats.org/officeDocument/2006/relationships/oleObject" Target="../embeddings/oleObject52.bin"/><Relationship Id="rId2" Type="http://schemas.openxmlformats.org/officeDocument/2006/relationships/slideLayout" Target="../slideLayouts/slideLayout47.xml"/><Relationship Id="rId1" Type="http://schemas.openxmlformats.org/officeDocument/2006/relationships/slideLayout" Target="../slideLayouts/slideLayout46.xml"/><Relationship Id="rId6" Type="http://schemas.openxmlformats.org/officeDocument/2006/relationships/tags" Target="../tags/tag54.xml"/><Relationship Id="rId5" Type="http://schemas.openxmlformats.org/officeDocument/2006/relationships/theme" Target="../theme/theme7.xml"/><Relationship Id="rId4" Type="http://schemas.openxmlformats.org/officeDocument/2006/relationships/slideLayout" Target="../slideLayouts/slideLayout49.xml"/></Relationships>
</file>

<file path=ppt/slideMasters/_rels/slideMaster8.xml.rels><?xml version="1.0" encoding="UTF-8" standalone="yes"?>
<Relationships xmlns="http://schemas.openxmlformats.org/package/2006/relationships"><Relationship Id="rId8" Type="http://schemas.openxmlformats.org/officeDocument/2006/relationships/oleObject" Target="../embeddings/oleObject57.bin"/><Relationship Id="rId3" Type="http://schemas.openxmlformats.org/officeDocument/2006/relationships/slideLayout" Target="../slideLayouts/slideLayout52.xml"/><Relationship Id="rId7" Type="http://schemas.openxmlformats.org/officeDocument/2006/relationships/tags" Target="../tags/tag59.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theme" Target="../theme/theme8.xml"/><Relationship Id="rId5" Type="http://schemas.openxmlformats.org/officeDocument/2006/relationships/slideLayout" Target="../slideLayouts/slideLayout54.xml"/><Relationship Id="rId4" Type="http://schemas.openxmlformats.org/officeDocument/2006/relationships/slideLayout" Target="../slideLayouts/slideLayout53.xml"/><Relationship Id="rId9" Type="http://schemas.openxmlformats.org/officeDocument/2006/relationships/image" Target="../media/image1.emf"/></Relationships>
</file>

<file path=ppt/slideMasters/_rels/slideMaster9.xml.rels><?xml version="1.0" encoding="UTF-8" standalone="yes"?>
<Relationships xmlns="http://schemas.openxmlformats.org/package/2006/relationships"><Relationship Id="rId8" Type="http://schemas.openxmlformats.org/officeDocument/2006/relationships/oleObject" Target="../embeddings/oleObject63.bin"/><Relationship Id="rId3" Type="http://schemas.openxmlformats.org/officeDocument/2006/relationships/slideLayout" Target="../slideLayouts/slideLayout57.xml"/><Relationship Id="rId7" Type="http://schemas.openxmlformats.org/officeDocument/2006/relationships/tags" Target="../tags/tag65.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theme" Target="../theme/theme9.xml"/><Relationship Id="rId5" Type="http://schemas.openxmlformats.org/officeDocument/2006/relationships/slideLayout" Target="../slideLayouts/slideLayout59.xml"/><Relationship Id="rId4" Type="http://schemas.openxmlformats.org/officeDocument/2006/relationships/slideLayout" Target="../slideLayouts/slideLayout58.xml"/><Relationship Id="rId9" Type="http://schemas.openxmlformats.org/officeDocument/2006/relationships/image" Target="../media/image1.emf"/></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9"/>
            </p:custDataLst>
            <p:extLst>
              <p:ext uri="{D42A27DB-BD31-4B8C-83A1-F6EECF244321}">
                <p14:modId xmlns:p14="http://schemas.microsoft.com/office/powerpoint/2010/main" val="5729221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0" imgW="344" imgH="345" progId="TCLayout.ActiveDocument.1">
                  <p:embed/>
                </p:oleObj>
              </mc:Choice>
              <mc:Fallback>
                <p:oleObj name="think-cell Folie" r:id="rId10" imgW="344" imgH="345" progId="TCLayout.ActiveDocument.1">
                  <p:embed/>
                  <p:pic>
                    <p:nvPicPr>
                      <p:cNvPr id="8" name="Objekt 7" hidden="1"/>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Vier</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Drei</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Zwei Spalten</a:t>
            </a:r>
          </a:p>
        </p:txBody>
      </p:sp>
      <p:grpSp>
        <p:nvGrpSpPr>
          <p:cNvPr id="120" name="Gruppieren 119"/>
          <p:cNvGrpSpPr/>
          <p:nvPr/>
        </p:nvGrpSpPr>
        <p:grpSpPr>
          <a:xfrm>
            <a:off x="-276708" y="-835143"/>
            <a:ext cx="12205181" cy="7972555"/>
            <a:chOff x="-276708" y="-835143"/>
            <a:chExt cx="12205181" cy="7972555"/>
          </a:xfrm>
        </p:grpSpPr>
        <p:cxnSp>
          <p:nvCxnSpPr>
            <p:cNvPr id="24" name="Gerade Verbindung 23"/>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Gerade Verbindung 78"/>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Gerade Verbindung mit Pfeil 92"/>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4" name="Gerade Verbindung mit Pfeil 93"/>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5" name="Gerade Verbindung mit Pfeil 94"/>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6" name="Gerade Verbindung mit Pfeil 95"/>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7" name="Gerade Verbindung mit Pfeil 96"/>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8" name="Gerade Verbindung mit Pfeil 97"/>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9" name="Gerade Verbindung mit Pfeil 98"/>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2" name="Gerade Verbindung mit Pfeil 10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4" name="Gerade Verbindung mit Pfeil 103"/>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Gerade Verbindung 107"/>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9" name="Gerade Verbindung 108"/>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0" name="Gerade Verbindung 109"/>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1" name="Gerade Verbindung 110"/>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2" name="Gerade Verbindung 111"/>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3" name="Gerade Verbindung 112"/>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9" name="Gerade Verbindung 38"/>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feld 39"/>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Tabelle</a:t>
            </a:r>
            <a:r>
              <a:rPr lang="de-DE" sz="1200" baseline="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 </a:t>
            </a: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Vollflächig)</a:t>
            </a:r>
          </a:p>
        </p:txBody>
      </p:sp>
      <p:sp>
        <p:nvSpPr>
          <p:cNvPr id="41" name="object 4">
            <a:extLst>
              <a:ext uri="{FF2B5EF4-FFF2-40B4-BE49-F238E27FC236}">
                <a16:creationId xmlns:a16="http://schemas.microsoft.com/office/drawing/2014/main" id="{F1407FCD-A98D-8D4C-BAEA-A83B72042659}"/>
              </a:ext>
            </a:extLst>
          </p:cNvPr>
          <p:cNvSpPr/>
          <p:nvPr/>
        </p:nvSpPr>
        <p:spPr>
          <a:xfrm>
            <a:off x="0" y="899999"/>
            <a:ext cx="12192635" cy="0"/>
          </a:xfrm>
          <a:custGeom>
            <a:avLst/>
            <a:gdLst/>
            <a:ahLst/>
            <a:cxnLst/>
            <a:rect l="l" t="t" r="r" b="b"/>
            <a:pathLst>
              <a:path w="12192635">
                <a:moveTo>
                  <a:pt x="0" y="0"/>
                </a:moveTo>
                <a:lnTo>
                  <a:pt x="12192113" y="0"/>
                </a:lnTo>
              </a:path>
            </a:pathLst>
          </a:custGeom>
          <a:ln w="25400">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Tree>
    <p:extLst>
      <p:ext uri="{BB962C8B-B14F-4D97-AF65-F5344CB8AC3E}">
        <p14:creationId xmlns:p14="http://schemas.microsoft.com/office/powerpoint/2010/main" val="2418597041"/>
      </p:ext>
    </p:extLst>
  </p:cSld>
  <p:clrMap bg1="lt1" tx1="dk1" bg2="lt2" tx2="dk2" accent1="accent1" accent2="accent2" accent3="accent3" accent4="accent4" accent5="accent5" accent6="accent6" hlink="hlink" folHlink="folHlink"/>
  <p:sldLayoutIdLst>
    <p:sldLayoutId id="2147483796" r:id="rId1"/>
    <p:sldLayoutId id="2147483786" r:id="rId2"/>
    <p:sldLayoutId id="2147483929" r:id="rId3"/>
    <p:sldLayoutId id="2147483930" r:id="rId4"/>
    <p:sldLayoutId id="2147483931" r:id="rId5"/>
    <p:sldLayoutId id="2147483780" r:id="rId6"/>
    <p:sldLayoutId id="2147483968" r:id="rId7"/>
  </p:sldLayoutIdLst>
  <p:hf hdr="0" ftr="0" dt="0"/>
  <p:txStyles>
    <p:titleStyle>
      <a:lvl1pPr algn="l" defTabSz="914400" rtl="0" eaLnBrk="1" latinLnBrk="0" hangingPunct="1">
        <a:lnSpc>
          <a:spcPct val="100000"/>
        </a:lnSpc>
        <a:spcBef>
          <a:spcPct val="0"/>
        </a:spcBef>
        <a:buNone/>
        <a:defRPr sz="2800" kern="1200" cap="all" spc="-70" baseline="0">
          <a:solidFill>
            <a:schemeClr val="tx1"/>
          </a:solidFill>
          <a:latin typeface="GT America" panose="00000500000000000000" pitchFamily="2" charset="0"/>
          <a:ea typeface="+mj-ea"/>
          <a:cs typeface="GT America" panose="020B0604020202020204" pitchFamily="34" charset="0"/>
          <a:sym typeface="GT America" panose="00000500000000000000" pitchFamily="2" charset="0"/>
        </a:defRPr>
      </a:lvl1pPr>
    </p:titleStyle>
    <p:bodyStyle>
      <a:lvl1pPr marL="0" indent="0" algn="l" defTabSz="914400" rtl="0" eaLnBrk="1" latinLnBrk="0" hangingPunct="1">
        <a:lnSpc>
          <a:spcPct val="100000"/>
        </a:lnSpc>
        <a:spcBef>
          <a:spcPts val="1000"/>
        </a:spcBef>
        <a:buFont typeface="GT America" panose="020B0604020202020204" pitchFamily="34" charset="0"/>
        <a:buNone/>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5pPr>
      <a:lvl6pPr marL="25146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7"/>
            </p:custDataLst>
            <p:extLst>
              <p:ext uri="{D42A27DB-BD31-4B8C-83A1-F6EECF244321}">
                <p14:modId xmlns:p14="http://schemas.microsoft.com/office/powerpoint/2010/main" val="38857911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8" imgW="344" imgH="345" progId="TCLayout.ActiveDocument.1">
                  <p:embed/>
                </p:oleObj>
              </mc:Choice>
              <mc:Fallback>
                <p:oleObj name="think-cell Folie" r:id="rId8" imgW="344" imgH="345" progId="TCLayout.ActiveDocument.1">
                  <p:embed/>
                  <p:pic>
                    <p:nvPicPr>
                      <p:cNvPr id="8" name="Objekt 7"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Textfeld 3"/>
          <p:cNvSpPr txBox="1"/>
          <p:nvPr/>
        </p:nvSpPr>
        <p:spPr>
          <a:xfrm rot="16200000">
            <a:off x="8627637" y="3303909"/>
            <a:ext cx="6865200"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tx2"/>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2"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10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Vier</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Drei</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Zwei Spalten</a:t>
            </a:r>
          </a:p>
        </p:txBody>
      </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1" name="Gruppieren 40"/>
          <p:cNvGrpSpPr/>
          <p:nvPr/>
        </p:nvGrpSpPr>
        <p:grpSpPr>
          <a:xfrm>
            <a:off x="-276708" y="-835143"/>
            <a:ext cx="12205181" cy="7972555"/>
            <a:chOff x="-276708" y="-835143"/>
            <a:chExt cx="12205181" cy="7972555"/>
          </a:xfrm>
        </p:grpSpPr>
        <p:cxnSp>
          <p:nvCxnSpPr>
            <p:cNvPr id="42" name="Gerade Verbindung 41"/>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Gerade Verbindung mit Pfeil 46"/>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Gerade Verbindung mit Pfeil 47"/>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Gerade Verbindung mit Pfeil 48"/>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Gerade Verbindung mit Pfeil 50"/>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Gerade Verbindung mit Pfeil 5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Gerade Verbindung mit Pfeil 52"/>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64" name="Textfeld 63"/>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Tabelle</a:t>
            </a:r>
            <a:r>
              <a:rPr lang="de-DE" sz="1200" baseline="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 </a:t>
            </a: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Vollflächig)</a:t>
            </a:r>
          </a:p>
        </p:txBody>
      </p:sp>
    </p:spTree>
    <p:extLst>
      <p:ext uri="{BB962C8B-B14F-4D97-AF65-F5344CB8AC3E}">
        <p14:creationId xmlns:p14="http://schemas.microsoft.com/office/powerpoint/2010/main" val="13042183"/>
      </p:ext>
    </p:extLst>
  </p:cSld>
  <p:clrMap bg1="lt1" tx1="dk1" bg2="lt2" tx2="dk2" accent1="accent1" accent2="accent2" accent3="accent3" accent4="accent4" accent5="accent5" accent6="accent6" hlink="hlink" folHlink="folHlink"/>
  <p:sldLayoutIdLst>
    <p:sldLayoutId id="2147483829" r:id="rId1"/>
    <p:sldLayoutId id="2147483830" r:id="rId2"/>
    <p:sldLayoutId id="2147483880" r:id="rId3"/>
    <p:sldLayoutId id="2147483960" r:id="rId4"/>
    <p:sldLayoutId id="2147483903" r:id="rId5"/>
  </p:sldLayoutIdLst>
  <p:hf hdr="0" ftr="0" dt="0"/>
  <p:txStyles>
    <p:titleStyle>
      <a:lvl1pPr algn="l" defTabSz="914400" rtl="0" eaLnBrk="1" latinLnBrk="0" hangingPunct="1">
        <a:lnSpc>
          <a:spcPct val="100000"/>
        </a:lnSpc>
        <a:spcBef>
          <a:spcPct val="0"/>
        </a:spcBef>
        <a:buNone/>
        <a:defRPr sz="2800" kern="1200" cap="all" spc="-70" baseline="0">
          <a:solidFill>
            <a:schemeClr val="tx1"/>
          </a:solidFill>
          <a:latin typeface="GT America" panose="00000500000000000000" pitchFamily="2" charset="0"/>
          <a:ea typeface="+mj-ea"/>
          <a:cs typeface="GT America" panose="020B0604020202020204" pitchFamily="34" charset="0"/>
          <a:sym typeface="GT America" panose="00000500000000000000" pitchFamily="2" charset="0"/>
        </a:defRPr>
      </a:lvl1pPr>
    </p:titleStyle>
    <p:bodyStyle>
      <a:lvl1pPr marL="0" indent="0" algn="l" defTabSz="914400" rtl="0" eaLnBrk="1" latinLnBrk="0" hangingPunct="1">
        <a:lnSpc>
          <a:spcPct val="100000"/>
        </a:lnSpc>
        <a:spcBef>
          <a:spcPts val="1000"/>
        </a:spcBef>
        <a:buFont typeface="GT America" panose="020B0604020202020204" pitchFamily="34" charset="0"/>
        <a:buNone/>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5pPr>
      <a:lvl6pPr marL="25146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4"/>
            </p:custDataLst>
            <p:extLst>
              <p:ext uri="{D42A27DB-BD31-4B8C-83A1-F6EECF244321}">
                <p14:modId xmlns:p14="http://schemas.microsoft.com/office/powerpoint/2010/main" val="4538116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44" imgH="345" progId="TCLayout.ActiveDocument.1">
                  <p:embed/>
                </p:oleObj>
              </mc:Choice>
              <mc:Fallback>
                <p:oleObj name="think-cell Folie" r:id="rId5" imgW="344" imgH="345"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extfeld 3"/>
          <p:cNvSpPr txBox="1"/>
          <p:nvPr/>
        </p:nvSpPr>
        <p:spPr>
          <a:xfrm rot="16200000">
            <a:off x="8627637" y="3303909"/>
            <a:ext cx="6865200"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tx2"/>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2"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10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Vier</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Drei</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Zwei Spalten</a:t>
            </a:r>
          </a:p>
        </p:txBody>
      </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1" name="Gruppieren 40"/>
          <p:cNvGrpSpPr/>
          <p:nvPr/>
        </p:nvGrpSpPr>
        <p:grpSpPr>
          <a:xfrm>
            <a:off x="-276708" y="-835143"/>
            <a:ext cx="12205181" cy="7972555"/>
            <a:chOff x="-276708" y="-835143"/>
            <a:chExt cx="12205181" cy="7972555"/>
          </a:xfrm>
        </p:grpSpPr>
        <p:cxnSp>
          <p:nvCxnSpPr>
            <p:cNvPr id="42" name="Gerade Verbindung 41"/>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Gerade Verbindung mit Pfeil 46"/>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Gerade Verbindung mit Pfeil 47"/>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Gerade Verbindung mit Pfeil 48"/>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Gerade Verbindung mit Pfeil 50"/>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Gerade Verbindung mit Pfeil 5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Gerade Verbindung mit Pfeil 52"/>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64" name="Textfeld 63"/>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Tabelle</a:t>
            </a:r>
            <a:r>
              <a:rPr lang="de-DE" sz="1200" baseline="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 </a:t>
            </a: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Vollflächig)</a:t>
            </a:r>
          </a:p>
        </p:txBody>
      </p:sp>
    </p:spTree>
    <p:extLst>
      <p:ext uri="{BB962C8B-B14F-4D97-AF65-F5344CB8AC3E}">
        <p14:creationId xmlns:p14="http://schemas.microsoft.com/office/powerpoint/2010/main" val="229765323"/>
      </p:ext>
    </p:extLst>
  </p:cSld>
  <p:clrMap bg1="lt1" tx1="dk1" bg2="lt2" tx2="dk2" accent1="accent1" accent2="accent2" accent3="accent3" accent4="accent4" accent5="accent5" accent6="accent6" hlink="hlink" folHlink="folHlink"/>
  <p:sldLayoutIdLst>
    <p:sldLayoutId id="2147483886" r:id="rId1"/>
    <p:sldLayoutId id="2147483961" r:id="rId2"/>
  </p:sldLayoutIdLst>
  <p:hf hdr="0" ftr="0" dt="0"/>
  <p:txStyles>
    <p:titleStyle>
      <a:lvl1pPr algn="l" defTabSz="914400" rtl="0" eaLnBrk="1" latinLnBrk="0" hangingPunct="1">
        <a:lnSpc>
          <a:spcPct val="100000"/>
        </a:lnSpc>
        <a:spcBef>
          <a:spcPct val="0"/>
        </a:spcBef>
        <a:buNone/>
        <a:defRPr sz="2800" kern="1200" cap="all" spc="-70" baseline="0">
          <a:solidFill>
            <a:schemeClr val="tx1"/>
          </a:solidFill>
          <a:latin typeface="GT America" panose="00000500000000000000" pitchFamily="2" charset="0"/>
          <a:ea typeface="+mj-ea"/>
          <a:cs typeface="GT America" panose="020B0604020202020204" pitchFamily="34" charset="0"/>
          <a:sym typeface="GT America" panose="00000500000000000000" pitchFamily="2" charset="0"/>
        </a:defRPr>
      </a:lvl1pPr>
    </p:titleStyle>
    <p:bodyStyle>
      <a:lvl1pPr marL="0" indent="0" algn="l" defTabSz="914400" rtl="0" eaLnBrk="1" latinLnBrk="0" hangingPunct="1">
        <a:lnSpc>
          <a:spcPct val="100000"/>
        </a:lnSpc>
        <a:spcBef>
          <a:spcPts val="1000"/>
        </a:spcBef>
        <a:buFont typeface="GT America" panose="020B0604020202020204" pitchFamily="34" charset="0"/>
        <a:buNone/>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5pPr>
      <a:lvl6pPr marL="25146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4"/>
            </p:custDataLst>
            <p:extLst>
              <p:ext uri="{D42A27DB-BD31-4B8C-83A1-F6EECF244321}">
                <p14:modId xmlns:p14="http://schemas.microsoft.com/office/powerpoint/2010/main" val="181140435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44" imgH="345" progId="TCLayout.ActiveDocument.1">
                  <p:embed/>
                </p:oleObj>
              </mc:Choice>
              <mc:Fallback>
                <p:oleObj name="think-cell Folie" r:id="rId5" imgW="344" imgH="345" progId="TCLayout.ActiveDocument.1">
                  <p:embed/>
                  <p:pic>
                    <p:nvPicPr>
                      <p:cNvPr id="8" name="Objekt 7"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Textfeld 3"/>
          <p:cNvSpPr txBox="1"/>
          <p:nvPr/>
        </p:nvSpPr>
        <p:spPr>
          <a:xfrm rot="16200000">
            <a:off x="8627637" y="3303909"/>
            <a:ext cx="6865200"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tx2"/>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2"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10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Vier</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Drei</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Zwei Spalten</a:t>
            </a:r>
          </a:p>
        </p:txBody>
      </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1" name="Gruppieren 40"/>
          <p:cNvGrpSpPr/>
          <p:nvPr/>
        </p:nvGrpSpPr>
        <p:grpSpPr>
          <a:xfrm>
            <a:off x="-276708" y="-835143"/>
            <a:ext cx="12205181" cy="7972555"/>
            <a:chOff x="-276708" y="-835143"/>
            <a:chExt cx="12205181" cy="7972555"/>
          </a:xfrm>
        </p:grpSpPr>
        <p:cxnSp>
          <p:nvCxnSpPr>
            <p:cNvPr id="42" name="Gerade Verbindung 41"/>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Gerade Verbindung mit Pfeil 46"/>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Gerade Verbindung mit Pfeil 47"/>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Gerade Verbindung mit Pfeil 48"/>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Gerade Verbindung mit Pfeil 50"/>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Gerade Verbindung mit Pfeil 5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Gerade Verbindung mit Pfeil 52"/>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64" name="Textfeld 63"/>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Tabelle</a:t>
            </a:r>
            <a:r>
              <a:rPr lang="de-DE" sz="1200" baseline="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 </a:t>
            </a: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Vollflächig)</a:t>
            </a:r>
          </a:p>
        </p:txBody>
      </p:sp>
    </p:spTree>
    <p:extLst>
      <p:ext uri="{BB962C8B-B14F-4D97-AF65-F5344CB8AC3E}">
        <p14:creationId xmlns:p14="http://schemas.microsoft.com/office/powerpoint/2010/main" val="2320911355"/>
      </p:ext>
    </p:extLst>
  </p:cSld>
  <p:clrMap bg1="lt1" tx1="dk1" bg2="lt2" tx2="dk2" accent1="accent1" accent2="accent2" accent3="accent3" accent4="accent4" accent5="accent5" accent6="accent6" hlink="hlink" folHlink="folHlink"/>
  <p:sldLayoutIdLst>
    <p:sldLayoutId id="2147483962" r:id="rId1"/>
    <p:sldLayoutId id="2147483963" r:id="rId2"/>
  </p:sldLayoutIdLst>
  <p:hf hdr="0" ftr="0" dt="0"/>
  <p:txStyles>
    <p:titleStyle>
      <a:lvl1pPr algn="l" defTabSz="914400" rtl="0" eaLnBrk="1" latinLnBrk="0" hangingPunct="1">
        <a:lnSpc>
          <a:spcPct val="100000"/>
        </a:lnSpc>
        <a:spcBef>
          <a:spcPct val="0"/>
        </a:spcBef>
        <a:buNone/>
        <a:defRPr sz="2800" kern="1200" cap="all" spc="-70" baseline="0">
          <a:solidFill>
            <a:schemeClr val="tx1"/>
          </a:solidFill>
          <a:latin typeface="GT America" panose="00000500000000000000" pitchFamily="2" charset="0"/>
          <a:ea typeface="+mj-ea"/>
          <a:cs typeface="GT America" panose="020B0604020202020204" pitchFamily="34" charset="0"/>
          <a:sym typeface="GT America" panose="00000500000000000000" pitchFamily="2" charset="0"/>
        </a:defRPr>
      </a:lvl1pPr>
    </p:titleStyle>
    <p:bodyStyle>
      <a:lvl1pPr marL="0" indent="0" algn="l" defTabSz="914400" rtl="0" eaLnBrk="1" latinLnBrk="0" hangingPunct="1">
        <a:lnSpc>
          <a:spcPct val="100000"/>
        </a:lnSpc>
        <a:spcBef>
          <a:spcPts val="1000"/>
        </a:spcBef>
        <a:buFont typeface="GT America" panose="020B0604020202020204" pitchFamily="34" charset="0"/>
        <a:buNone/>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5pPr>
      <a:lvl6pPr marL="25146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3" imgW="344" imgH="345" progId="TCLayout.ActiveDocument.1">
                  <p:embed/>
                </p:oleObj>
              </mc:Choice>
              <mc:Fallback>
                <p:oleObj name="think-cell Folie" r:id="rId13" imgW="344" imgH="345" progId="TCLayout.ActiveDocument.1">
                  <p:embed/>
                  <p:pic>
                    <p:nvPicPr>
                      <p:cNvPr id="8" name="Objekt 7" hidden="1"/>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1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buFontTx/>
              <a:buNone/>
            </a:pPr>
            <a:endParaRPr lang="de-DE" sz="2800" b="0"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feld 3"/>
          <p:cNvSpPr txBox="1"/>
          <p:nvPr/>
        </p:nvSpPr>
        <p:spPr>
          <a:xfrm rot="16200000">
            <a:off x="8627637" y="3303909"/>
            <a:ext cx="6865200"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tx2"/>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2"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10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N›</a:t>
            </a:fld>
            <a:endParaRPr lang="de-DE" dirty="0"/>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Vier</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Drei</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Zwei Spalten</a:t>
            </a:r>
          </a:p>
        </p:txBody>
      </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1" name="Gruppieren 40"/>
          <p:cNvGrpSpPr/>
          <p:nvPr/>
        </p:nvGrpSpPr>
        <p:grpSpPr>
          <a:xfrm>
            <a:off x="-276708" y="-835143"/>
            <a:ext cx="12205181" cy="7972555"/>
            <a:chOff x="-276708" y="-835143"/>
            <a:chExt cx="12205181" cy="7972555"/>
          </a:xfrm>
        </p:grpSpPr>
        <p:cxnSp>
          <p:nvCxnSpPr>
            <p:cNvPr id="42" name="Gerade Verbindung 41"/>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Gerade Verbindung mit Pfeil 46"/>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Gerade Verbindung mit Pfeil 47"/>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Gerade Verbindung mit Pfeil 48"/>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Gerade Verbindung mit Pfeil 50"/>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Gerade Verbindung mit Pfeil 5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Gerade Verbindung mit Pfeil 52"/>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64" name="Textfeld 63"/>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Tabelle</a:t>
            </a:r>
            <a:r>
              <a:rPr lang="de-DE" sz="1200" baseline="0" noProof="0" dirty="0">
                <a:solidFill>
                  <a:srgbClr val="FF0000"/>
                </a:solidFill>
                <a:latin typeface="Arial" panose="020B0604020202020204" pitchFamily="34" charset="0"/>
                <a:cs typeface="Arial" panose="020B0604020202020204" pitchFamily="34" charset="0"/>
                <a:sym typeface="Arial" panose="020B0604020202020204" pitchFamily="34" charset="0"/>
              </a:rPr>
              <a:t> </a:t>
            </a: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Vollflächig)</a:t>
            </a:r>
          </a:p>
        </p:txBody>
      </p:sp>
    </p:spTree>
    <p:extLst>
      <p:ext uri="{BB962C8B-B14F-4D97-AF65-F5344CB8AC3E}">
        <p14:creationId xmlns:p14="http://schemas.microsoft.com/office/powerpoint/2010/main" val="252993784"/>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99" r:id="rId9"/>
  </p:sldLayoutIdLst>
  <p:hf sldNum="0" hdr="0" ftr="0"/>
  <p:txStyles>
    <p:titleStyle>
      <a:lvl1pPr algn="l" defTabSz="914400" rtl="0" eaLnBrk="1" latinLnBrk="0" hangingPunct="1">
        <a:lnSpc>
          <a:spcPct val="100000"/>
        </a:lnSpc>
        <a:spcBef>
          <a:spcPct val="0"/>
        </a:spcBef>
        <a:buNone/>
        <a:defRPr sz="2800" kern="1200" cap="all" spc="-70" baseline="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0"/>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2" imgW="344" imgH="345" progId="TCLayout.ActiveDocument.1">
                  <p:embed/>
                </p:oleObj>
              </mc:Choice>
              <mc:Fallback>
                <p:oleObj name="think-cell Folie" r:id="rId12" imgW="344" imgH="345" progId="TCLayout.ActiveDocument.1">
                  <p:embed/>
                  <p:pic>
                    <p:nvPicPr>
                      <p:cNvPr id="8" name="Objekt 7" hidden="1"/>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5" name="Rechteck 4" hidden="1"/>
          <p:cNvSpPr/>
          <p:nvPr>
            <p:custDataLst>
              <p:tags r:id="rId11"/>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buFontTx/>
              <a:buNone/>
            </a:pPr>
            <a:endParaRPr lang="de-DE" sz="2800" b="0"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4" name="Textfeld 3"/>
          <p:cNvSpPr txBox="1"/>
          <p:nvPr/>
        </p:nvSpPr>
        <p:spPr>
          <a:xfrm rot="16200000">
            <a:off x="8627637" y="3303909"/>
            <a:ext cx="6865200"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tx2"/>
              </a:solidFill>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extfeld 8"/>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Arial" panose="020B0604020202020204" pitchFamily="34" charset="0"/>
                <a:ea typeface="+mn-ea"/>
                <a:cs typeface="Arial" panose="020B0604020202020204" pitchFamily="34" charset="0"/>
                <a:sym typeface="Arial" panose="020B0604020202020204" pitchFamily="34" charset="0"/>
              </a:rPr>
              <a:t>© Rödl &amp; Partner </a:t>
            </a:r>
          </a:p>
        </p:txBody>
      </p:sp>
      <p:sp>
        <p:nvSpPr>
          <p:cNvPr id="2"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100">
                <a:solidFill>
                  <a:schemeClr val="tx1"/>
                </a:solidFill>
                <a:latin typeface="Arial" panose="020B0604020202020204" pitchFamily="34" charset="0"/>
                <a:cs typeface="Arial" panose="020B0604020202020204" pitchFamily="34" charset="0"/>
                <a:sym typeface="Arial" panose="020B0604020202020204" pitchFamily="34" charset="0"/>
              </a:defRPr>
            </a:lvl1pPr>
          </a:lstStyle>
          <a:p>
            <a:fld id="{4CFEB0D3-1EB3-4F08-8062-95FFB9749870}" type="slidenum">
              <a:rPr lang="de-DE" smtClean="0"/>
              <a:pPr/>
              <a:t>‹N›</a:t>
            </a:fld>
            <a:endParaRPr lang="de-DE" dirty="0"/>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Vier</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Drei</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Zwei Spalten</a:t>
            </a:r>
          </a:p>
        </p:txBody>
      </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1" name="Gruppieren 40"/>
          <p:cNvGrpSpPr/>
          <p:nvPr/>
        </p:nvGrpSpPr>
        <p:grpSpPr>
          <a:xfrm>
            <a:off x="-276708" y="-835143"/>
            <a:ext cx="12205181" cy="7972555"/>
            <a:chOff x="-276708" y="-835143"/>
            <a:chExt cx="12205181" cy="7972555"/>
          </a:xfrm>
        </p:grpSpPr>
        <p:cxnSp>
          <p:nvCxnSpPr>
            <p:cNvPr id="42" name="Gerade Verbindung 41"/>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Gerade Verbindung mit Pfeil 46"/>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Gerade Verbindung mit Pfeil 47"/>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Gerade Verbindung mit Pfeil 48"/>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Gerade Verbindung mit Pfeil 50"/>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Gerade Verbindung mit Pfeil 5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Gerade Verbindung mit Pfeil 52"/>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64" name="Textfeld 63"/>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Tabelle</a:t>
            </a:r>
            <a:r>
              <a:rPr lang="de-DE" sz="1200" baseline="0" noProof="0" dirty="0">
                <a:solidFill>
                  <a:srgbClr val="FF0000"/>
                </a:solidFill>
                <a:latin typeface="Arial" panose="020B0604020202020204" pitchFamily="34" charset="0"/>
                <a:cs typeface="Arial" panose="020B0604020202020204" pitchFamily="34" charset="0"/>
                <a:sym typeface="Arial" panose="020B0604020202020204" pitchFamily="34" charset="0"/>
              </a:rPr>
              <a:t> </a:t>
            </a: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Vollflächig)</a:t>
            </a:r>
          </a:p>
        </p:txBody>
      </p:sp>
    </p:spTree>
    <p:extLst>
      <p:ext uri="{BB962C8B-B14F-4D97-AF65-F5344CB8AC3E}">
        <p14:creationId xmlns:p14="http://schemas.microsoft.com/office/powerpoint/2010/main" val="847749085"/>
      </p:ext>
    </p:extLst>
  </p:cSld>
  <p:clrMap bg1="lt1" tx1="dk1" bg2="lt2" tx2="dk2" accent1="accent1" accent2="accent2" accent3="accent3" accent4="accent4" accent5="accent5" accent6="accent6" hlink="hlink" folHlink="folHlink"/>
  <p:sldLayoutIdLst>
    <p:sldLayoutId id="2147483979" r:id="rId1"/>
    <p:sldLayoutId id="2147483980" r:id="rId2"/>
    <p:sldLayoutId id="2147483981" r:id="rId3"/>
    <p:sldLayoutId id="2147483982" r:id="rId4"/>
    <p:sldLayoutId id="2147483983" r:id="rId5"/>
    <p:sldLayoutId id="2147483984" r:id="rId6"/>
    <p:sldLayoutId id="2147483985" r:id="rId7"/>
    <p:sldLayoutId id="2147483986" r:id="rId8"/>
  </p:sldLayoutIdLst>
  <p:hf sldNum="0" hdr="0" ftr="0"/>
  <p:txStyles>
    <p:titleStyle>
      <a:lvl1pPr algn="l" defTabSz="914400" rtl="0" eaLnBrk="1" latinLnBrk="0" hangingPunct="1">
        <a:lnSpc>
          <a:spcPct val="100000"/>
        </a:lnSpc>
        <a:spcBef>
          <a:spcPct val="0"/>
        </a:spcBef>
        <a:buNone/>
        <a:defRPr sz="2800" kern="1200" cap="all" spc="-70" baseline="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3" imgW="344" imgH="345" progId="TCLayout.ActiveDocument.1">
                  <p:embed/>
                </p:oleObj>
              </mc:Choice>
              <mc:Fallback>
                <p:oleObj name="think-cell Folie" r:id="rId13" imgW="344" imgH="345" progId="TCLayout.ActiveDocument.1">
                  <p:embed/>
                  <p:pic>
                    <p:nvPicPr>
                      <p:cNvPr id="8" name="Objekt 7" hidden="1"/>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Rechteck 3" hidden="1"/>
          <p:cNvSpPr/>
          <p:nvPr>
            <p:custDataLst>
              <p:tags r:id="rId12"/>
            </p:custDataLst>
          </p:nvPr>
        </p:nvSpPr>
        <p:spPr>
          <a:xfrm>
            <a:off x="0" y="0"/>
            <a:ext cx="158750" cy="15875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marL="0" lvl="0" indent="0" algn="l" eaLnBrk="1">
              <a:lnSpc>
                <a:spcPct val="100000"/>
              </a:lnSpc>
              <a:spcBef>
                <a:spcPct val="0"/>
              </a:spcBef>
              <a:spcAft>
                <a:spcPct val="0"/>
              </a:spcAft>
              <a:buFontTx/>
              <a:buNone/>
            </a:pPr>
            <a:endParaRPr lang="de-DE" sz="2800" b="0" i="0" baseline="0" dirty="0" err="1">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Vier</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Drei</a:t>
            </a:r>
            <a:r>
              <a:rPr lang="de-DE" sz="1200" baseline="0" noProof="0" dirty="0">
                <a:latin typeface="Arial" panose="020B0604020202020204" pitchFamily="34" charset="0"/>
                <a:cs typeface="Arial" panose="020B0604020202020204" pitchFamily="34" charset="0"/>
                <a:sym typeface="Arial" panose="020B0604020202020204" pitchFamily="34" charset="0"/>
              </a:rPr>
              <a:t> </a:t>
            </a:r>
            <a:r>
              <a:rPr lang="de-DE" sz="1200" noProof="0" dirty="0">
                <a:latin typeface="Arial" panose="020B0604020202020204" pitchFamily="34" charset="0"/>
                <a:cs typeface="Arial" panose="020B0604020202020204" pitchFamily="34" charset="0"/>
                <a:sym typeface="Arial" panose="020B0604020202020204" pitchFamily="34"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Arial" panose="020B0604020202020204" pitchFamily="34" charset="0"/>
                <a:cs typeface="Arial" panose="020B0604020202020204" pitchFamily="34" charset="0"/>
                <a:sym typeface="Arial" panose="020B0604020202020204" pitchFamily="34" charset="0"/>
              </a:rPr>
              <a:t>Zwei Spalten</a:t>
            </a:r>
          </a:p>
        </p:txBody>
      </p:sp>
      <p:grpSp>
        <p:nvGrpSpPr>
          <p:cNvPr id="120" name="Gruppieren 119"/>
          <p:cNvGrpSpPr/>
          <p:nvPr/>
        </p:nvGrpSpPr>
        <p:grpSpPr>
          <a:xfrm>
            <a:off x="-276708" y="-835143"/>
            <a:ext cx="12205181" cy="7972555"/>
            <a:chOff x="-276708" y="-835143"/>
            <a:chExt cx="12205181" cy="7972555"/>
          </a:xfrm>
        </p:grpSpPr>
        <p:cxnSp>
          <p:nvCxnSpPr>
            <p:cNvPr id="24" name="Gerade Verbindung 23"/>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Gerade Verbindung 78"/>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Gerade Verbindung mit Pfeil 92"/>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4" name="Gerade Verbindung mit Pfeil 93"/>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5" name="Gerade Verbindung mit Pfeil 94"/>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6" name="Gerade Verbindung mit Pfeil 95"/>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7" name="Gerade Verbindung mit Pfeil 96"/>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8" name="Gerade Verbindung mit Pfeil 97"/>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9" name="Gerade Verbindung mit Pfeil 98"/>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2" name="Gerade Verbindung mit Pfeil 10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4" name="Gerade Verbindung mit Pfeil 103"/>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Gerade Verbindung 107"/>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9" name="Gerade Verbindung 108"/>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0" name="Gerade Verbindung 109"/>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1" name="Gerade Verbindung 110"/>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2" name="Gerade Verbindung 111"/>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3" name="Gerade Verbindung 112"/>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9" name="Gerade Verbindung 38"/>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feld 39"/>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Tabelle</a:t>
            </a:r>
            <a:r>
              <a:rPr lang="de-DE" sz="1200" baseline="0" noProof="0" dirty="0">
                <a:solidFill>
                  <a:srgbClr val="FF0000"/>
                </a:solidFill>
                <a:latin typeface="Arial" panose="020B0604020202020204" pitchFamily="34" charset="0"/>
                <a:cs typeface="Arial" panose="020B0604020202020204" pitchFamily="34" charset="0"/>
                <a:sym typeface="Arial" panose="020B0604020202020204" pitchFamily="34" charset="0"/>
              </a:rPr>
              <a:t> </a:t>
            </a:r>
            <a:r>
              <a:rPr lang="de-DE" sz="1200" noProof="0" dirty="0">
                <a:solidFill>
                  <a:srgbClr val="FF0000"/>
                </a:solidFill>
                <a:latin typeface="Arial" panose="020B0604020202020204" pitchFamily="34" charset="0"/>
                <a:cs typeface="Arial" panose="020B0604020202020204" pitchFamily="34" charset="0"/>
                <a:sym typeface="Arial" panose="020B0604020202020204" pitchFamily="34" charset="0"/>
              </a:rPr>
              <a:t>(Vollflächig)</a:t>
            </a:r>
          </a:p>
        </p:txBody>
      </p:sp>
      <p:sp>
        <p:nvSpPr>
          <p:cNvPr id="41" name="object 4">
            <a:extLst>
              <a:ext uri="{FF2B5EF4-FFF2-40B4-BE49-F238E27FC236}">
                <a16:creationId xmlns:a16="http://schemas.microsoft.com/office/drawing/2014/main" id="{F1407FCD-A98D-8D4C-BAEA-A83B72042659}"/>
              </a:ext>
            </a:extLst>
          </p:cNvPr>
          <p:cNvSpPr/>
          <p:nvPr/>
        </p:nvSpPr>
        <p:spPr>
          <a:xfrm>
            <a:off x="0" y="899999"/>
            <a:ext cx="12192635" cy="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Arial" panose="020B0604020202020204" pitchFamily="34" charset="0"/>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452466733"/>
      </p:ext>
    </p:extLst>
  </p:cSld>
  <p:clrMap bg1="lt1" tx1="dk1" bg2="lt2" tx2="dk2" accent1="accent1" accent2="accent2" accent3="accent3" accent4="accent4" accent5="accent5" accent6="accent6" hlink="hlink" folHlink="folHlink"/>
  <p:sldLayoutIdLst>
    <p:sldLayoutId id="2147483988" r:id="rId1"/>
    <p:sldLayoutId id="2147483989" r:id="rId2"/>
    <p:sldLayoutId id="2147483990" r:id="rId3"/>
    <p:sldLayoutId id="2147483991" r:id="rId4"/>
    <p:sldLayoutId id="2147483992" r:id="rId5"/>
    <p:sldLayoutId id="2147483993" r:id="rId6"/>
    <p:sldLayoutId id="2147483994" r:id="rId7"/>
    <p:sldLayoutId id="2147483995" r:id="rId8"/>
    <p:sldLayoutId id="2147483996" r:id="rId9"/>
  </p:sldLayoutIdLst>
  <p:hf sldNum="0" hdr="0" ftr="0"/>
  <p:txStyles>
    <p:titleStyle>
      <a:lvl1pPr algn="l" defTabSz="914400" rtl="0" eaLnBrk="1" latinLnBrk="0" hangingPunct="1">
        <a:lnSpc>
          <a:spcPct val="100000"/>
        </a:lnSpc>
        <a:spcBef>
          <a:spcPct val="0"/>
        </a:spcBef>
        <a:buNone/>
        <a:defRPr sz="2800" kern="1200" cap="all" spc="-70" baseline="0">
          <a:solidFill>
            <a:schemeClr val="tx1"/>
          </a:solidFill>
          <a:latin typeface="Arial" panose="020B0604020202020204" pitchFamily="34" charset="0"/>
          <a:ea typeface="+mj-ea"/>
          <a:cs typeface="Arial" panose="020B0604020202020204" pitchFamily="34" charset="0"/>
          <a:sym typeface="Arial" panose="020B0604020202020204" pitchFamily="34" charset="0"/>
        </a:defRPr>
      </a:lvl1pPr>
    </p:titleStyle>
    <p:body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Arial" panose="020B0604020202020204" pitchFamily="34" charset="0"/>
          <a:ea typeface="+mn-ea"/>
          <a:cs typeface="Arial" panose="020B0604020202020204" pitchFamily="34" charset="0"/>
          <a:sym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3"/>
            </p:custDataLst>
            <p:extLst>
              <p:ext uri="{D42A27DB-BD31-4B8C-83A1-F6EECF244321}">
                <p14:modId xmlns:p14="http://schemas.microsoft.com/office/powerpoint/2010/main" val="152475929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4" imgW="344" imgH="345" progId="TCLayout.ActiveDocument.1">
                  <p:embed/>
                </p:oleObj>
              </mc:Choice>
              <mc:Fallback>
                <p:oleObj name="think-cell Folie" r:id="rId14" imgW="344" imgH="345" progId="TCLayout.ActiveDocument.1">
                  <p:embed/>
                  <p:pic>
                    <p:nvPicPr>
                      <p:cNvPr id="8" name="Objekt 7" hidden="1"/>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Vier</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Drei</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Zwei Spalten</a:t>
            </a:r>
          </a:p>
        </p:txBody>
      </p:sp>
      <p:grpSp>
        <p:nvGrpSpPr>
          <p:cNvPr id="120" name="Gruppieren 119"/>
          <p:cNvGrpSpPr/>
          <p:nvPr/>
        </p:nvGrpSpPr>
        <p:grpSpPr>
          <a:xfrm>
            <a:off x="-276708" y="-835143"/>
            <a:ext cx="12205181" cy="7972555"/>
            <a:chOff x="-276708" y="-835143"/>
            <a:chExt cx="12205181" cy="7972555"/>
          </a:xfrm>
        </p:grpSpPr>
        <p:cxnSp>
          <p:nvCxnSpPr>
            <p:cNvPr id="24" name="Gerade Verbindung 23"/>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Gerade Verbindung 24"/>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9" name="Gerade Verbindung 78"/>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3" name="Gerade Verbindung mit Pfeil 92"/>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4" name="Gerade Verbindung mit Pfeil 93"/>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5" name="Gerade Verbindung mit Pfeil 94"/>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6" name="Gerade Verbindung mit Pfeil 95"/>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7" name="Gerade Verbindung mit Pfeil 96"/>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8" name="Gerade Verbindung mit Pfeil 97"/>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99" name="Gerade Verbindung mit Pfeil 98"/>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2" name="Gerade Verbindung mit Pfeil 10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4" name="Gerade Verbindung mit Pfeil 103"/>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08" name="Gerade Verbindung 107"/>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09" name="Gerade Verbindung 108"/>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0" name="Gerade Verbindung 109"/>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1" name="Gerade Verbindung 110"/>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2" name="Gerade Verbindung 111"/>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3" name="Gerade Verbindung 112"/>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39" name="Gerade Verbindung 38"/>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0" name="Textfeld 39"/>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Tabelle</a:t>
            </a:r>
            <a:r>
              <a:rPr lang="de-DE" sz="1200" baseline="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 </a:t>
            </a: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Vollflächig)</a:t>
            </a:r>
          </a:p>
        </p:txBody>
      </p:sp>
      <p:sp>
        <p:nvSpPr>
          <p:cNvPr id="41" name="object 4">
            <a:extLst>
              <a:ext uri="{FF2B5EF4-FFF2-40B4-BE49-F238E27FC236}">
                <a16:creationId xmlns:a16="http://schemas.microsoft.com/office/drawing/2014/main" id="{F1407FCD-A98D-8D4C-BAEA-A83B72042659}"/>
              </a:ext>
            </a:extLst>
          </p:cNvPr>
          <p:cNvSpPr/>
          <p:nvPr/>
        </p:nvSpPr>
        <p:spPr>
          <a:xfrm>
            <a:off x="0" y="899999"/>
            <a:ext cx="12192635" cy="0"/>
          </a:xfrm>
          <a:custGeom>
            <a:avLst/>
            <a:gdLst/>
            <a:ahLst/>
            <a:cxnLst/>
            <a:rect l="l" t="t" r="r" b="b"/>
            <a:pathLst>
              <a:path w="12192635">
                <a:moveTo>
                  <a:pt x="0" y="0"/>
                </a:moveTo>
                <a:lnTo>
                  <a:pt x="12192113" y="0"/>
                </a:lnTo>
              </a:path>
            </a:pathLst>
          </a:custGeom>
          <a:ln w="28575">
            <a:solidFill>
              <a:schemeClr val="tx1"/>
            </a:solidFill>
          </a:ln>
        </p:spPr>
        <p:txBody>
          <a:bodyPr wrap="square" lIns="0" tIns="0" rIns="0" bIns="0" rtlCol="0"/>
          <a:lstStyle/>
          <a:p>
            <a:endParaRPr dirty="0">
              <a:latin typeface="GT America" panose="00000500000000000000" pitchFamily="2" charset="0"/>
              <a:cs typeface="GT America" panose="020B0604020202020204" pitchFamily="34" charset="0"/>
              <a:sym typeface="GT America" panose="00000500000000000000" pitchFamily="2" charset="0"/>
            </a:endParaRPr>
          </a:p>
        </p:txBody>
      </p:sp>
    </p:spTree>
    <p:extLst>
      <p:ext uri="{BB962C8B-B14F-4D97-AF65-F5344CB8AC3E}">
        <p14:creationId xmlns:p14="http://schemas.microsoft.com/office/powerpoint/2010/main" val="1498326898"/>
      </p:ext>
    </p:extLst>
  </p:cSld>
  <p:clrMap bg1="lt1" tx1="dk1" bg2="lt2" tx2="dk2" accent1="accent1" accent2="accent2" accent3="accent3" accent4="accent4" accent5="accent5" accent6="accent6" hlink="hlink" folHlink="folHlink"/>
  <p:sldLayoutIdLst>
    <p:sldLayoutId id="2147483933" r:id="rId1"/>
    <p:sldLayoutId id="2147483934" r:id="rId2"/>
    <p:sldLayoutId id="2147483935" r:id="rId3"/>
    <p:sldLayoutId id="2147483950" r:id="rId4"/>
    <p:sldLayoutId id="2147483936" r:id="rId5"/>
    <p:sldLayoutId id="2147483956" r:id="rId6"/>
    <p:sldLayoutId id="2147483937" r:id="rId7"/>
    <p:sldLayoutId id="2147483952" r:id="rId8"/>
    <p:sldLayoutId id="2147483998" r:id="rId9"/>
    <p:sldLayoutId id="2147484004" r:id="rId10"/>
    <p:sldLayoutId id="2147484005" r:id="rId11"/>
  </p:sldLayoutIdLst>
  <p:hf hdr="0" ftr="0" dt="0"/>
  <p:txStyles>
    <p:titleStyle>
      <a:lvl1pPr algn="l" defTabSz="914400" rtl="0" eaLnBrk="1" latinLnBrk="0" hangingPunct="1">
        <a:lnSpc>
          <a:spcPct val="100000"/>
        </a:lnSpc>
        <a:spcBef>
          <a:spcPct val="0"/>
        </a:spcBef>
        <a:buNone/>
        <a:defRPr sz="2800" kern="1200" cap="all" spc="-70" baseline="0">
          <a:solidFill>
            <a:schemeClr val="tx1"/>
          </a:solidFill>
          <a:latin typeface="GT America" panose="00000500000000000000" pitchFamily="2" charset="0"/>
          <a:ea typeface="+mj-ea"/>
          <a:cs typeface="GT America" panose="020B0604020202020204" pitchFamily="34" charset="0"/>
          <a:sym typeface="GT America" panose="00000500000000000000" pitchFamily="2" charset="0"/>
        </a:defRPr>
      </a:lvl1pPr>
    </p:titleStyle>
    <p:bodyStyle>
      <a:lvl1pPr marL="0" indent="0" algn="l" defTabSz="914400" rtl="0" eaLnBrk="1" latinLnBrk="0" hangingPunct="1">
        <a:lnSpc>
          <a:spcPct val="100000"/>
        </a:lnSpc>
        <a:spcBef>
          <a:spcPts val="1000"/>
        </a:spcBef>
        <a:buFont typeface="GT America" panose="020B0604020202020204" pitchFamily="34" charset="0"/>
        <a:buNone/>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5pPr>
      <a:lvl6pPr marL="25146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2"/>
            </p:custDataLst>
            <p:extLst>
              <p:ext uri="{D42A27DB-BD31-4B8C-83A1-F6EECF244321}">
                <p14:modId xmlns:p14="http://schemas.microsoft.com/office/powerpoint/2010/main" val="15001207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3" imgW="344" imgH="345" progId="TCLayout.ActiveDocument.1">
                  <p:embed/>
                </p:oleObj>
              </mc:Choice>
              <mc:Fallback>
                <p:oleObj name="think-cell Folie" r:id="rId13" imgW="344" imgH="345" progId="TCLayout.ActiveDocument.1">
                  <p:embed/>
                  <p:pic>
                    <p:nvPicPr>
                      <p:cNvPr id="8" name="Objekt 7" hidden="1"/>
                      <p:cNvPicPr/>
                      <p:nvPr/>
                    </p:nvPicPr>
                    <p:blipFill>
                      <a:blip r:embed="rId14"/>
                      <a:stretch>
                        <a:fillRect/>
                      </a:stretch>
                    </p:blipFill>
                    <p:spPr>
                      <a:xfrm>
                        <a:off x="1588" y="1588"/>
                        <a:ext cx="1588" cy="1588"/>
                      </a:xfrm>
                      <a:prstGeom prst="rect">
                        <a:avLst/>
                      </a:prstGeom>
                    </p:spPr>
                  </p:pic>
                </p:oleObj>
              </mc:Fallback>
            </mc:AlternateContent>
          </a:graphicData>
        </a:graphic>
      </p:graphicFrame>
      <p:sp>
        <p:nvSpPr>
          <p:cNvPr id="4" name="Textfeld 3"/>
          <p:cNvSpPr txBox="1"/>
          <p:nvPr/>
        </p:nvSpPr>
        <p:spPr>
          <a:xfrm rot="16200000">
            <a:off x="8627637" y="3303909"/>
            <a:ext cx="6865200"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tx2"/>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2"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10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Vier</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Drei</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Zwei Spalten</a:t>
            </a:r>
          </a:p>
        </p:txBody>
      </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1" name="Gruppieren 40"/>
          <p:cNvGrpSpPr/>
          <p:nvPr/>
        </p:nvGrpSpPr>
        <p:grpSpPr>
          <a:xfrm>
            <a:off x="-276708" y="-835143"/>
            <a:ext cx="12205181" cy="7972555"/>
            <a:chOff x="-276708" y="-835143"/>
            <a:chExt cx="12205181" cy="7972555"/>
          </a:xfrm>
        </p:grpSpPr>
        <p:cxnSp>
          <p:nvCxnSpPr>
            <p:cNvPr id="42" name="Gerade Verbindung 41"/>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Gerade Verbindung mit Pfeil 46"/>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Gerade Verbindung mit Pfeil 47"/>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Gerade Verbindung mit Pfeil 48"/>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Gerade Verbindung mit Pfeil 50"/>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Gerade Verbindung mit Pfeil 5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Gerade Verbindung mit Pfeil 52"/>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64" name="Textfeld 63"/>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Tabelle</a:t>
            </a:r>
            <a:r>
              <a:rPr lang="de-DE" sz="1200" baseline="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 </a:t>
            </a: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Vollflächig)</a:t>
            </a:r>
          </a:p>
        </p:txBody>
      </p:sp>
    </p:spTree>
    <p:extLst>
      <p:ext uri="{BB962C8B-B14F-4D97-AF65-F5344CB8AC3E}">
        <p14:creationId xmlns:p14="http://schemas.microsoft.com/office/powerpoint/2010/main" val="2534330190"/>
      </p:ext>
    </p:extLst>
  </p:cSld>
  <p:clrMap bg1="lt1" tx1="dk1" bg2="lt2" tx2="dk2" accent1="accent1" accent2="accent2" accent3="accent3" accent4="accent4" accent5="accent5" accent6="accent6" hlink="hlink" folHlink="folHlink"/>
  <p:sldLayoutIdLst>
    <p:sldLayoutId id="2147483938" r:id="rId1"/>
    <p:sldLayoutId id="2147483939" r:id="rId2"/>
    <p:sldLayoutId id="2147483940" r:id="rId3"/>
    <p:sldLayoutId id="2147483948" r:id="rId4"/>
    <p:sldLayoutId id="2147483941" r:id="rId5"/>
    <p:sldLayoutId id="2147483955" r:id="rId6"/>
    <p:sldLayoutId id="2147483942" r:id="rId7"/>
    <p:sldLayoutId id="2147483951" r:id="rId8"/>
    <p:sldLayoutId id="2147484000" r:id="rId9"/>
    <p:sldLayoutId id="2147484002" r:id="rId10"/>
  </p:sldLayoutIdLst>
  <p:hf hdr="0" ftr="0" dt="0"/>
  <p:txStyles>
    <p:titleStyle>
      <a:lvl1pPr algn="l" defTabSz="914400" rtl="0" eaLnBrk="1" latinLnBrk="0" hangingPunct="1">
        <a:lnSpc>
          <a:spcPct val="100000"/>
        </a:lnSpc>
        <a:spcBef>
          <a:spcPct val="0"/>
        </a:spcBef>
        <a:buNone/>
        <a:defRPr sz="2800" kern="1200" cap="all" spc="-70" baseline="0">
          <a:solidFill>
            <a:schemeClr val="tx1"/>
          </a:solidFill>
          <a:latin typeface="GT America" panose="00000500000000000000" pitchFamily="2" charset="0"/>
          <a:ea typeface="+mj-ea"/>
          <a:cs typeface="GT America" panose="020B0604020202020204" pitchFamily="34" charset="0"/>
          <a:sym typeface="GT America" panose="00000500000000000000" pitchFamily="2" charset="0"/>
        </a:defRPr>
      </a:lvl1pPr>
    </p:titleStyle>
    <p:bodyStyle>
      <a:lvl1pPr marL="0" indent="0" algn="l" defTabSz="914400" rtl="0" eaLnBrk="1" latinLnBrk="0" hangingPunct="1">
        <a:lnSpc>
          <a:spcPct val="100000"/>
        </a:lnSpc>
        <a:spcBef>
          <a:spcPts val="1000"/>
        </a:spcBef>
        <a:buFont typeface="GT America" panose="020B0604020202020204" pitchFamily="34" charset="0"/>
        <a:buNone/>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5pPr>
      <a:lvl6pPr marL="25146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10"/>
            </p:custDataLst>
            <p:extLst>
              <p:ext uri="{D42A27DB-BD31-4B8C-83A1-F6EECF244321}">
                <p14:modId xmlns:p14="http://schemas.microsoft.com/office/powerpoint/2010/main" val="19803229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1" imgW="344" imgH="345" progId="TCLayout.ActiveDocument.1">
                  <p:embed/>
                </p:oleObj>
              </mc:Choice>
              <mc:Fallback>
                <p:oleObj name="think-cell Folie" r:id="rId11" imgW="344" imgH="345" progId="TCLayout.ActiveDocument.1">
                  <p:embed/>
                  <p:pic>
                    <p:nvPicPr>
                      <p:cNvPr id="8" name="Objekt 7" hidden="1"/>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Textfeld 3"/>
          <p:cNvSpPr txBox="1"/>
          <p:nvPr/>
        </p:nvSpPr>
        <p:spPr>
          <a:xfrm rot="16200000">
            <a:off x="8627637" y="3303909"/>
            <a:ext cx="6865200"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tx2"/>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2"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10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Vier</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Drei</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Zwei Spalten</a:t>
            </a:r>
          </a:p>
        </p:txBody>
      </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1" name="Gruppieren 40"/>
          <p:cNvGrpSpPr/>
          <p:nvPr/>
        </p:nvGrpSpPr>
        <p:grpSpPr>
          <a:xfrm>
            <a:off x="-276708" y="-835143"/>
            <a:ext cx="12205181" cy="7972555"/>
            <a:chOff x="-276708" y="-835143"/>
            <a:chExt cx="12205181" cy="7972555"/>
          </a:xfrm>
        </p:grpSpPr>
        <p:cxnSp>
          <p:nvCxnSpPr>
            <p:cNvPr id="42" name="Gerade Verbindung 41"/>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Gerade Verbindung mit Pfeil 46"/>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Gerade Verbindung mit Pfeil 47"/>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Gerade Verbindung mit Pfeil 48"/>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Gerade Verbindung mit Pfeil 50"/>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Gerade Verbindung mit Pfeil 5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Gerade Verbindung mit Pfeil 52"/>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64" name="Textfeld 63"/>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Tabelle</a:t>
            </a:r>
            <a:r>
              <a:rPr lang="de-DE" sz="1200" baseline="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 </a:t>
            </a: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Vollflächig)</a:t>
            </a:r>
          </a:p>
        </p:txBody>
      </p:sp>
    </p:spTree>
    <p:extLst>
      <p:ext uri="{BB962C8B-B14F-4D97-AF65-F5344CB8AC3E}">
        <p14:creationId xmlns:p14="http://schemas.microsoft.com/office/powerpoint/2010/main" val="1226072421"/>
      </p:ext>
    </p:extLst>
  </p:cSld>
  <p:clrMap bg1="lt1" tx1="dk1" bg2="lt2" tx2="dk2" accent1="accent1" accent2="accent2" accent3="accent3" accent4="accent4" accent5="accent5" accent6="accent6" hlink="hlink" folHlink="folHlink"/>
  <p:sldLayoutIdLst>
    <p:sldLayoutId id="2147483943" r:id="rId1"/>
    <p:sldLayoutId id="2147483944" r:id="rId2"/>
    <p:sldLayoutId id="2147483964" r:id="rId3"/>
    <p:sldLayoutId id="2147483945" r:id="rId4"/>
    <p:sldLayoutId id="2147483949" r:id="rId5"/>
    <p:sldLayoutId id="2147483946" r:id="rId6"/>
    <p:sldLayoutId id="2147483954" r:id="rId7"/>
    <p:sldLayoutId id="2147483947" r:id="rId8"/>
  </p:sldLayoutIdLst>
  <p:hf hdr="0" ftr="0" dt="0"/>
  <p:txStyles>
    <p:titleStyle>
      <a:lvl1pPr algn="l" defTabSz="914400" rtl="0" eaLnBrk="1" latinLnBrk="0" hangingPunct="1">
        <a:lnSpc>
          <a:spcPct val="100000"/>
        </a:lnSpc>
        <a:spcBef>
          <a:spcPct val="0"/>
        </a:spcBef>
        <a:buNone/>
        <a:defRPr sz="2800" kern="1200" cap="all" spc="-70" baseline="0">
          <a:solidFill>
            <a:schemeClr val="tx1"/>
          </a:solidFill>
          <a:latin typeface="GT America" panose="00000500000000000000" pitchFamily="2" charset="0"/>
          <a:ea typeface="+mj-ea"/>
          <a:cs typeface="GT America" panose="020B0604020202020204" pitchFamily="34" charset="0"/>
          <a:sym typeface="GT America" panose="00000500000000000000" pitchFamily="2" charset="0"/>
        </a:defRPr>
      </a:lvl1pPr>
    </p:titleStyle>
    <p:bodyStyle>
      <a:lvl1pPr marL="0" indent="0" algn="l" defTabSz="914400" rtl="0" eaLnBrk="1" latinLnBrk="0" hangingPunct="1">
        <a:lnSpc>
          <a:spcPct val="100000"/>
        </a:lnSpc>
        <a:spcBef>
          <a:spcPts val="1000"/>
        </a:spcBef>
        <a:buFont typeface="GT America" panose="020B0604020202020204" pitchFamily="34" charset="0"/>
        <a:buNone/>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5pPr>
      <a:lvl6pPr marL="25146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6"/>
            </p:custDataLst>
            <p:extLst>
              <p:ext uri="{D42A27DB-BD31-4B8C-83A1-F6EECF244321}">
                <p14:modId xmlns:p14="http://schemas.microsoft.com/office/powerpoint/2010/main" val="2049024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344" imgH="345" progId="TCLayout.ActiveDocument.1">
                  <p:embed/>
                </p:oleObj>
              </mc:Choice>
              <mc:Fallback>
                <p:oleObj name="think-cell Folie" r:id="rId7" imgW="344" imgH="345" progId="TCLayout.ActiveDocument.1">
                  <p:embed/>
                  <p:pic>
                    <p:nvPicPr>
                      <p:cNvPr id="8" name="Objekt 7"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feld 3"/>
          <p:cNvSpPr txBox="1"/>
          <p:nvPr/>
        </p:nvSpPr>
        <p:spPr>
          <a:xfrm rot="16200000">
            <a:off x="8627636" y="3293636"/>
            <a:ext cx="6865200"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accent5"/>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33" name="Textfeld 32"/>
          <p:cNvSpPr txBox="1"/>
          <p:nvPr/>
        </p:nvSpPr>
        <p:spPr>
          <a:xfrm>
            <a:off x="-974192" y="960180"/>
            <a:ext cx="696840"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Vier</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Drei</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Zwei Spalten</a:t>
            </a:r>
          </a:p>
        </p:txBody>
      </p:sp>
      <p:sp>
        <p:nvSpPr>
          <p:cNvPr id="36" name="Textfeld 35"/>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2" name="Titelplatzhalter 1"/>
          <p:cNvSpPr>
            <a:spLocks noGrp="1"/>
          </p:cNvSpPr>
          <p:nvPr>
            <p:ph type="title"/>
          </p:nvPr>
        </p:nvSpPr>
        <p:spPr>
          <a:xfrm>
            <a:off x="263352" y="260350"/>
            <a:ext cx="11448000" cy="395288"/>
          </a:xfrm>
          <a:prstGeom prst="rect">
            <a:avLst/>
          </a:prstGeom>
        </p:spPr>
        <p:txBody>
          <a:bodyPr vert="horz" lIns="0" tIns="0" rIns="0" bIns="0" rtlCol="0" anchor="ctr">
            <a:noAutofit/>
          </a:bodyPr>
          <a:lstStyle/>
          <a:p>
            <a:pPr lvl="0"/>
            <a:r>
              <a:rPr lang="de-DE" dirty="0"/>
              <a:t>Titelmasterformat durch Klicken bearbeiten</a:t>
            </a:r>
          </a:p>
        </p:txBody>
      </p:sp>
      <p:sp>
        <p:nvSpPr>
          <p:cNvPr id="37"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10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grpSp>
        <p:nvGrpSpPr>
          <p:cNvPr id="61" name="Gruppieren 60"/>
          <p:cNvGrpSpPr/>
          <p:nvPr/>
        </p:nvGrpSpPr>
        <p:grpSpPr>
          <a:xfrm>
            <a:off x="-276708" y="-835143"/>
            <a:ext cx="12205181" cy="7972555"/>
            <a:chOff x="-276708" y="-835143"/>
            <a:chExt cx="12205181" cy="7972555"/>
          </a:xfrm>
        </p:grpSpPr>
        <p:cxnSp>
          <p:nvCxnSpPr>
            <p:cNvPr id="62" name="Gerade Verbindung 61"/>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4" name="Gerade Verbindung 63"/>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5" name="Gerade Verbindung mit Pfeil 64"/>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6" name="Gerade Verbindung mit Pfeil 65"/>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7" name="Gerade Verbindung mit Pfeil 66"/>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8" name="Gerade Verbindung mit Pfeil 67"/>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69" name="Gerade Verbindung mit Pfeil 68"/>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0" name="Gerade Verbindung mit Pfeil 69"/>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1" name="Gerade Verbindung mit Pfeil 70"/>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2" name="Gerade Verbindung mit Pfeil 7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3" name="Gerade Verbindung mit Pfeil 72"/>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74" name="Gerade Verbindung 73"/>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5" name="Gerade Verbindung 74"/>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6" name="Gerade Verbindung 75"/>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7" name="Gerade Verbindung 76"/>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8" name="Gerade Verbindung 77"/>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79" name="Gerade Verbindung 78"/>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80" name="Gerade Verbindung 79"/>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81" name="Gerade Verbindung 80"/>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82" name="Gerade Verbindung 81"/>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83" name="Gerade Verbindung 82"/>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84" name="Textfeld 83"/>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Tabelle</a:t>
            </a:r>
            <a:r>
              <a:rPr lang="de-DE" sz="1200" baseline="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 </a:t>
            </a: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Vollflächig)</a:t>
            </a:r>
          </a:p>
        </p:txBody>
      </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49431596"/>
      </p:ext>
    </p:extLst>
  </p:cSld>
  <p:clrMap bg1="lt1" tx1="dk1" bg2="lt2" tx2="dk2" accent1="accent1" accent2="accent2" accent3="accent3" accent4="accent4" accent5="accent5" accent6="accent6" hlink="hlink" folHlink="folHlink"/>
  <p:sldLayoutIdLst>
    <p:sldLayoutId id="2147483727" r:id="rId1"/>
    <p:sldLayoutId id="2147483740" r:id="rId2"/>
    <p:sldLayoutId id="2147483765" r:id="rId3"/>
    <p:sldLayoutId id="2147483730" r:id="rId4"/>
  </p:sldLayoutIdLst>
  <p:hf hdr="0" ftr="0" dt="0"/>
  <p:txStyles>
    <p:titleStyle>
      <a:lvl1pPr algn="l" defTabSz="914400" rtl="0" eaLnBrk="1" latinLnBrk="0" hangingPunct="1">
        <a:lnSpc>
          <a:spcPct val="100000"/>
        </a:lnSpc>
        <a:spcBef>
          <a:spcPct val="0"/>
        </a:spcBef>
        <a:buNone/>
        <a:defRPr lang="de-DE" sz="2800" kern="1200" cap="all" spc="-70" baseline="0" dirty="0" smtClean="0">
          <a:solidFill>
            <a:schemeClr val="tx1"/>
          </a:solidFill>
          <a:latin typeface="GT America" panose="00000500000000000000" pitchFamily="2" charset="0"/>
          <a:ea typeface="+mj-ea"/>
          <a:cs typeface="GT America" panose="020B0604020202020204" pitchFamily="34" charset="0"/>
          <a:sym typeface="GT America" panose="00000500000000000000" pitchFamily="2" charset="0"/>
        </a:defRPr>
      </a:lvl1pPr>
    </p:titleStyle>
    <p:bodyStyle>
      <a:lvl1pPr marL="0" indent="0" algn="l" defTabSz="914400" rtl="0" eaLnBrk="1" latinLnBrk="0" hangingPunct="1">
        <a:lnSpc>
          <a:spcPct val="100000"/>
        </a:lnSpc>
        <a:spcBef>
          <a:spcPts val="1000"/>
        </a:spcBef>
        <a:buFont typeface="GT America" panose="020B0604020202020204" pitchFamily="34" charset="0"/>
        <a:buNone/>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1pPr>
      <a:lvl2pPr marL="216000" indent="-216000" algn="l" defTabSz="914400" rtl="0" eaLnBrk="1" latinLnBrk="0" hangingPunct="1">
        <a:lnSpc>
          <a:spcPct val="100000"/>
        </a:lnSpc>
        <a:spcBef>
          <a:spcPts val="500"/>
        </a:spcBef>
        <a:buFont typeface="GT America"/>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2pPr>
      <a:lvl3pPr marL="432000" indent="-216000" algn="l" defTabSz="914400" rtl="0" eaLnBrk="1" latinLnBrk="0" hangingPunct="1">
        <a:lnSpc>
          <a:spcPct val="100000"/>
        </a:lnSpc>
        <a:spcBef>
          <a:spcPts val="500"/>
        </a:spcBef>
        <a:buFont typeface="GT America"/>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3pPr>
      <a:lvl4pPr marL="648000" indent="-216000" algn="l" defTabSz="914400" rtl="0" eaLnBrk="1" latinLnBrk="0" hangingPunct="1">
        <a:lnSpc>
          <a:spcPct val="100000"/>
        </a:lnSpc>
        <a:spcBef>
          <a:spcPts val="500"/>
        </a:spcBef>
        <a:buFont typeface="GT America"/>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4pPr>
      <a:lvl5pPr marL="864000" indent="-216000" algn="l" defTabSz="914400" rtl="0" eaLnBrk="1" latinLnBrk="0" hangingPunct="1">
        <a:lnSpc>
          <a:spcPct val="100000"/>
        </a:lnSpc>
        <a:spcBef>
          <a:spcPts val="500"/>
        </a:spcBef>
        <a:buFont typeface="GT America"/>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5pPr>
      <a:lvl6pPr marL="25146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7"/>
            </p:custDataLst>
            <p:extLst>
              <p:ext uri="{D42A27DB-BD31-4B8C-83A1-F6EECF244321}">
                <p14:modId xmlns:p14="http://schemas.microsoft.com/office/powerpoint/2010/main" val="38833167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8" imgW="344" imgH="345" progId="TCLayout.ActiveDocument.1">
                  <p:embed/>
                </p:oleObj>
              </mc:Choice>
              <mc:Fallback>
                <p:oleObj name="think-cell Folie" r:id="rId8" imgW="344" imgH="345" progId="TCLayout.ActiveDocument.1">
                  <p:embed/>
                  <p:pic>
                    <p:nvPicPr>
                      <p:cNvPr id="8" name="Objekt 7"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Textfeld 3"/>
          <p:cNvSpPr txBox="1"/>
          <p:nvPr/>
        </p:nvSpPr>
        <p:spPr>
          <a:xfrm rot="16200000">
            <a:off x="8627637" y="3303909"/>
            <a:ext cx="6865200"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tx2"/>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2"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10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Vier</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Drei</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Zwei Spalten</a:t>
            </a:r>
          </a:p>
        </p:txBody>
      </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1" name="Gruppieren 40"/>
          <p:cNvGrpSpPr/>
          <p:nvPr/>
        </p:nvGrpSpPr>
        <p:grpSpPr>
          <a:xfrm>
            <a:off x="-276708" y="-835143"/>
            <a:ext cx="12205181" cy="7972555"/>
            <a:chOff x="-276708" y="-835143"/>
            <a:chExt cx="12205181" cy="7972555"/>
          </a:xfrm>
        </p:grpSpPr>
        <p:cxnSp>
          <p:nvCxnSpPr>
            <p:cNvPr id="42" name="Gerade Verbindung 41"/>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Gerade Verbindung mit Pfeil 46"/>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Gerade Verbindung mit Pfeil 47"/>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Gerade Verbindung mit Pfeil 48"/>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Gerade Verbindung mit Pfeil 50"/>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Gerade Verbindung mit Pfeil 5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Gerade Verbindung mit Pfeil 52"/>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64" name="Textfeld 63"/>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Tabelle</a:t>
            </a:r>
            <a:r>
              <a:rPr lang="de-DE" sz="1200" baseline="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 </a:t>
            </a: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Vollflächig)</a:t>
            </a:r>
          </a:p>
        </p:txBody>
      </p:sp>
    </p:spTree>
    <p:extLst>
      <p:ext uri="{BB962C8B-B14F-4D97-AF65-F5344CB8AC3E}">
        <p14:creationId xmlns:p14="http://schemas.microsoft.com/office/powerpoint/2010/main" val="4030343054"/>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62" r:id="rId3"/>
    <p:sldLayoutId id="2147483953" r:id="rId4"/>
    <p:sldLayoutId id="2147483900" r:id="rId5"/>
  </p:sldLayoutIdLst>
  <p:hf hdr="0" ftr="0" dt="0"/>
  <p:txStyles>
    <p:titleStyle>
      <a:lvl1pPr algn="l" defTabSz="914400" rtl="0" eaLnBrk="1" latinLnBrk="0" hangingPunct="1">
        <a:lnSpc>
          <a:spcPct val="100000"/>
        </a:lnSpc>
        <a:spcBef>
          <a:spcPct val="0"/>
        </a:spcBef>
        <a:buNone/>
        <a:defRPr sz="2800" kern="1200" cap="all" spc="-70" baseline="0">
          <a:solidFill>
            <a:schemeClr val="tx1"/>
          </a:solidFill>
          <a:latin typeface="GT America" panose="00000500000000000000" pitchFamily="2" charset="0"/>
          <a:ea typeface="+mj-ea"/>
          <a:cs typeface="GT America" panose="020B0604020202020204" pitchFamily="34" charset="0"/>
          <a:sym typeface="GT America" panose="00000500000000000000" pitchFamily="2" charset="0"/>
        </a:defRPr>
      </a:lvl1pPr>
    </p:titleStyle>
    <p:bodyStyle>
      <a:lvl1pPr marL="0" indent="0" algn="l" defTabSz="914400" rtl="0" eaLnBrk="1" latinLnBrk="0" hangingPunct="1">
        <a:lnSpc>
          <a:spcPct val="100000"/>
        </a:lnSpc>
        <a:spcBef>
          <a:spcPts val="1000"/>
        </a:spcBef>
        <a:buFont typeface="GT America" panose="020B0604020202020204" pitchFamily="34" charset="0"/>
        <a:buNone/>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5pPr>
      <a:lvl6pPr marL="25146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6"/>
            </p:custDataLst>
            <p:extLst>
              <p:ext uri="{D42A27DB-BD31-4B8C-83A1-F6EECF244321}">
                <p14:modId xmlns:p14="http://schemas.microsoft.com/office/powerpoint/2010/main" val="16582699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7" imgW="344" imgH="345" progId="TCLayout.ActiveDocument.1">
                  <p:embed/>
                </p:oleObj>
              </mc:Choice>
              <mc:Fallback>
                <p:oleObj name="think-cell Folie" r:id="rId7" imgW="344" imgH="345" progId="TCLayout.ActiveDocument.1">
                  <p:embed/>
                  <p:pic>
                    <p:nvPicPr>
                      <p:cNvPr id="8" name="Objekt 7" hidden="1"/>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4" name="Textfeld 3"/>
          <p:cNvSpPr txBox="1"/>
          <p:nvPr/>
        </p:nvSpPr>
        <p:spPr>
          <a:xfrm rot="16200000">
            <a:off x="8627637" y="3303909"/>
            <a:ext cx="6865200"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tx2"/>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2"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10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Vier</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Drei</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Zwei Spalten</a:t>
            </a:r>
          </a:p>
        </p:txBody>
      </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1" name="Gruppieren 40"/>
          <p:cNvGrpSpPr/>
          <p:nvPr/>
        </p:nvGrpSpPr>
        <p:grpSpPr>
          <a:xfrm>
            <a:off x="-276708" y="-835143"/>
            <a:ext cx="12205181" cy="7972555"/>
            <a:chOff x="-276708" y="-835143"/>
            <a:chExt cx="12205181" cy="7972555"/>
          </a:xfrm>
        </p:grpSpPr>
        <p:cxnSp>
          <p:nvCxnSpPr>
            <p:cNvPr id="42" name="Gerade Verbindung 41"/>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Gerade Verbindung mit Pfeil 46"/>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Gerade Verbindung mit Pfeil 47"/>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Gerade Verbindung mit Pfeil 48"/>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Gerade Verbindung mit Pfeil 50"/>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Gerade Verbindung mit Pfeil 5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Gerade Verbindung mit Pfeil 52"/>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64" name="Textfeld 63"/>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Tabelle</a:t>
            </a:r>
            <a:r>
              <a:rPr lang="de-DE" sz="1200" baseline="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 </a:t>
            </a: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Vollflächig)</a:t>
            </a:r>
          </a:p>
        </p:txBody>
      </p:sp>
    </p:spTree>
    <p:extLst>
      <p:ext uri="{BB962C8B-B14F-4D97-AF65-F5344CB8AC3E}">
        <p14:creationId xmlns:p14="http://schemas.microsoft.com/office/powerpoint/2010/main" val="139150295"/>
      </p:ext>
    </p:extLst>
  </p:cSld>
  <p:clrMap bg1="lt1" tx1="dk1" bg2="lt2" tx2="dk2" accent1="accent1" accent2="accent2" accent3="accent3" accent4="accent4" accent5="accent5" accent6="accent6" hlink="hlink" folHlink="folHlink"/>
  <p:sldLayoutIdLst>
    <p:sldLayoutId id="2147483817" r:id="rId1"/>
    <p:sldLayoutId id="2147483818" r:id="rId2"/>
    <p:sldLayoutId id="2147483868" r:id="rId3"/>
    <p:sldLayoutId id="2147483957" r:id="rId4"/>
  </p:sldLayoutIdLst>
  <p:hf hdr="0" ftr="0" dt="0"/>
  <p:txStyles>
    <p:titleStyle>
      <a:lvl1pPr algn="l" defTabSz="914400" rtl="0" eaLnBrk="1" latinLnBrk="0" hangingPunct="1">
        <a:lnSpc>
          <a:spcPct val="100000"/>
        </a:lnSpc>
        <a:spcBef>
          <a:spcPct val="0"/>
        </a:spcBef>
        <a:buNone/>
        <a:defRPr sz="2800" kern="1200" cap="all" spc="-70" baseline="0">
          <a:solidFill>
            <a:schemeClr val="tx1"/>
          </a:solidFill>
          <a:latin typeface="GT America" panose="00000500000000000000" pitchFamily="2" charset="0"/>
          <a:ea typeface="+mj-ea"/>
          <a:cs typeface="GT America" panose="020B0604020202020204" pitchFamily="34" charset="0"/>
          <a:sym typeface="GT America" panose="00000500000000000000" pitchFamily="2" charset="0"/>
        </a:defRPr>
      </a:lvl1pPr>
    </p:titleStyle>
    <p:bodyStyle>
      <a:lvl1pPr marL="0" indent="0" algn="l" defTabSz="914400" rtl="0" eaLnBrk="1" latinLnBrk="0" hangingPunct="1">
        <a:lnSpc>
          <a:spcPct val="100000"/>
        </a:lnSpc>
        <a:spcBef>
          <a:spcPts val="1000"/>
        </a:spcBef>
        <a:buFont typeface="GT America" panose="020B0604020202020204" pitchFamily="34" charset="0"/>
        <a:buNone/>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5pPr>
      <a:lvl6pPr marL="25146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7"/>
            </p:custDataLst>
            <p:extLst>
              <p:ext uri="{D42A27DB-BD31-4B8C-83A1-F6EECF244321}">
                <p14:modId xmlns:p14="http://schemas.microsoft.com/office/powerpoint/2010/main" val="387969652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8" imgW="344" imgH="345" progId="TCLayout.ActiveDocument.1">
                  <p:embed/>
                </p:oleObj>
              </mc:Choice>
              <mc:Fallback>
                <p:oleObj name="think-cell Folie" r:id="rId8" imgW="344" imgH="345" progId="TCLayout.ActiveDocument.1">
                  <p:embed/>
                  <p:pic>
                    <p:nvPicPr>
                      <p:cNvPr id="8" name="Objekt 7"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Textfeld 3"/>
          <p:cNvSpPr txBox="1"/>
          <p:nvPr/>
        </p:nvSpPr>
        <p:spPr>
          <a:xfrm rot="16200000">
            <a:off x="8627637" y="3303909"/>
            <a:ext cx="6865200"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tx2"/>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2"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10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Vier</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Drei</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Zwei Spalten</a:t>
            </a:r>
          </a:p>
        </p:txBody>
      </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1" name="Gruppieren 40"/>
          <p:cNvGrpSpPr/>
          <p:nvPr/>
        </p:nvGrpSpPr>
        <p:grpSpPr>
          <a:xfrm>
            <a:off x="-276708" y="-835143"/>
            <a:ext cx="12205181" cy="7972555"/>
            <a:chOff x="-276708" y="-835143"/>
            <a:chExt cx="12205181" cy="7972555"/>
          </a:xfrm>
        </p:grpSpPr>
        <p:cxnSp>
          <p:nvCxnSpPr>
            <p:cNvPr id="42" name="Gerade Verbindung 41"/>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Gerade Verbindung mit Pfeil 46"/>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Gerade Verbindung mit Pfeil 47"/>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Gerade Verbindung mit Pfeil 48"/>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Gerade Verbindung mit Pfeil 50"/>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Gerade Verbindung mit Pfeil 5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Gerade Verbindung mit Pfeil 52"/>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64" name="Textfeld 63"/>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Tabelle</a:t>
            </a:r>
            <a:r>
              <a:rPr lang="de-DE" sz="1200" baseline="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 </a:t>
            </a: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Vollflächig)</a:t>
            </a:r>
          </a:p>
        </p:txBody>
      </p:sp>
    </p:spTree>
    <p:extLst>
      <p:ext uri="{BB962C8B-B14F-4D97-AF65-F5344CB8AC3E}">
        <p14:creationId xmlns:p14="http://schemas.microsoft.com/office/powerpoint/2010/main" val="997539305"/>
      </p:ext>
    </p:extLst>
  </p:cSld>
  <p:clrMap bg1="lt1" tx1="dk1" bg2="lt2" tx2="dk2" accent1="accent1" accent2="accent2" accent3="accent3" accent4="accent4" accent5="accent5" accent6="accent6" hlink="hlink" folHlink="folHlink"/>
  <p:sldLayoutIdLst>
    <p:sldLayoutId id="2147483823" r:id="rId1"/>
    <p:sldLayoutId id="2147483824" r:id="rId2"/>
    <p:sldLayoutId id="2147483874" r:id="rId3"/>
    <p:sldLayoutId id="2147483958" r:id="rId4"/>
    <p:sldLayoutId id="2147483902" r:id="rId5"/>
  </p:sldLayoutIdLst>
  <p:hf hdr="0" ftr="0" dt="0"/>
  <p:txStyles>
    <p:titleStyle>
      <a:lvl1pPr algn="l" defTabSz="914400" rtl="0" eaLnBrk="1" latinLnBrk="0" hangingPunct="1">
        <a:lnSpc>
          <a:spcPct val="100000"/>
        </a:lnSpc>
        <a:spcBef>
          <a:spcPct val="0"/>
        </a:spcBef>
        <a:buNone/>
        <a:defRPr sz="2800" kern="1200" cap="all" spc="-70" baseline="0">
          <a:solidFill>
            <a:schemeClr val="tx1"/>
          </a:solidFill>
          <a:latin typeface="GT America" panose="00000500000000000000" pitchFamily="2" charset="0"/>
          <a:ea typeface="+mj-ea"/>
          <a:cs typeface="GT America" panose="020B0604020202020204" pitchFamily="34" charset="0"/>
          <a:sym typeface="GT America" panose="00000500000000000000" pitchFamily="2" charset="0"/>
        </a:defRPr>
      </a:lvl1pPr>
    </p:titleStyle>
    <p:bodyStyle>
      <a:lvl1pPr marL="0" indent="0" algn="l" defTabSz="914400" rtl="0" eaLnBrk="1" latinLnBrk="0" hangingPunct="1">
        <a:lnSpc>
          <a:spcPct val="100000"/>
        </a:lnSpc>
        <a:spcBef>
          <a:spcPts val="1000"/>
        </a:spcBef>
        <a:buFont typeface="GT America" panose="020B0604020202020204" pitchFamily="34" charset="0"/>
        <a:buNone/>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5pPr>
      <a:lvl6pPr marL="25146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kt 7" hidden="1"/>
          <p:cNvGraphicFramePr>
            <a:graphicFrameLocks noChangeAspect="1"/>
          </p:cNvGraphicFramePr>
          <p:nvPr>
            <p:custDataLst>
              <p:tags r:id="rId7"/>
            </p:custDataLst>
            <p:extLst>
              <p:ext uri="{D42A27DB-BD31-4B8C-83A1-F6EECF244321}">
                <p14:modId xmlns:p14="http://schemas.microsoft.com/office/powerpoint/2010/main" val="1566690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8" imgW="344" imgH="345" progId="TCLayout.ActiveDocument.1">
                  <p:embed/>
                </p:oleObj>
              </mc:Choice>
              <mc:Fallback>
                <p:oleObj name="think-cell Folie" r:id="rId8" imgW="344" imgH="345" progId="TCLayout.ActiveDocument.1">
                  <p:embed/>
                  <p:pic>
                    <p:nvPicPr>
                      <p:cNvPr id="8" name="Objekt 7" hidden="1"/>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4" name="Textfeld 3"/>
          <p:cNvSpPr txBox="1"/>
          <p:nvPr/>
        </p:nvSpPr>
        <p:spPr>
          <a:xfrm rot="16200000">
            <a:off x="8627637" y="3303909"/>
            <a:ext cx="6865200" cy="263527"/>
          </a:xfrm>
          <a:prstGeom prst="rect">
            <a:avLst/>
          </a:prstGeom>
          <a:solidFill>
            <a:schemeClr val="bg2"/>
          </a:solidFill>
        </p:spPr>
        <p:txBody>
          <a:bodyPr wrap="none" lIns="0" tIns="0" rIns="108000" bIns="0" rtlCol="0" anchor="ctr" anchorCtr="1">
            <a:noAutofit/>
          </a:bodyPr>
          <a:lstStyle/>
          <a:p>
            <a:pPr marL="0" algn="r" defTabSz="914400" rtl="0" eaLnBrk="1" latinLnBrk="0" hangingPunct="1"/>
            <a:endParaRPr lang="de-DE" sz="800" kern="1200" spc="-30" baseline="0" dirty="0">
              <a:solidFill>
                <a:schemeClr val="tx2"/>
              </a:solidFill>
              <a:latin typeface="GT America" panose="00000500000000000000" pitchFamily="2" charset="0"/>
              <a:ea typeface="+mn-ea"/>
              <a:cs typeface="GT America" panose="020B0604020202020204" pitchFamily="34" charset="0"/>
              <a:sym typeface="GT America" panose="00000500000000000000" pitchFamily="2" charset="0"/>
            </a:endParaRPr>
          </a:p>
        </p:txBody>
      </p:sp>
      <p:sp>
        <p:nvSpPr>
          <p:cNvPr id="9" name="Textfeld 8"/>
          <p:cNvSpPr txBox="1"/>
          <p:nvPr/>
        </p:nvSpPr>
        <p:spPr>
          <a:xfrm rot="16200000">
            <a:off x="11605877" y="322597"/>
            <a:ext cx="908719" cy="263527"/>
          </a:xfrm>
          <a:prstGeom prst="rect">
            <a:avLst/>
          </a:prstGeom>
          <a:noFill/>
        </p:spPr>
        <p:txBody>
          <a:bodyPr wrap="none" lIns="0" tIns="0" rIns="108000" bIns="0" rtlCol="0" anchor="ctr" anchorCtr="1">
            <a:noAutofit/>
          </a:bodyPr>
          <a:lstStyle/>
          <a:p>
            <a:pPr marL="0" algn="r" defTabSz="914400" rtl="0" eaLnBrk="1" latinLnBrk="0" hangingPunct="1"/>
            <a:r>
              <a:rPr lang="de-DE" sz="800" kern="1200" spc="-30" baseline="0" dirty="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rPr>
              <a:t>© Rödl &amp; Partner </a:t>
            </a:r>
          </a:p>
        </p:txBody>
      </p:sp>
      <p:sp>
        <p:nvSpPr>
          <p:cNvPr id="2" name="Titelplatzhalter 1"/>
          <p:cNvSpPr>
            <a:spLocks noGrp="1"/>
          </p:cNvSpPr>
          <p:nvPr>
            <p:ph type="title"/>
          </p:nvPr>
        </p:nvSpPr>
        <p:spPr>
          <a:xfrm>
            <a:off x="263525" y="260648"/>
            <a:ext cx="11447923" cy="396000"/>
          </a:xfrm>
          <a:prstGeom prst="rect">
            <a:avLst/>
          </a:prstGeom>
        </p:spPr>
        <p:txBody>
          <a:bodyPr vert="horz" lIns="0" tIns="0" rIns="0" bIns="0" rtlCol="0" anchor="ctr">
            <a:noAutofit/>
          </a:bodyPr>
          <a:lstStyle/>
          <a:p>
            <a:r>
              <a:rPr lang="de-DE" noProof="0" dirty="0"/>
              <a:t>Titelmasterformat durch Klicken bearbeiten</a:t>
            </a:r>
          </a:p>
        </p:txBody>
      </p:sp>
      <p:sp>
        <p:nvSpPr>
          <p:cNvPr id="3" name="Textplatzhalter 2"/>
          <p:cNvSpPr>
            <a:spLocks noGrp="1"/>
          </p:cNvSpPr>
          <p:nvPr>
            <p:ph type="body" idx="1"/>
          </p:nvPr>
        </p:nvSpPr>
        <p:spPr>
          <a:xfrm>
            <a:off x="263525" y="1052512"/>
            <a:ext cx="11448000" cy="5400675"/>
          </a:xfrm>
          <a:prstGeom prst="rect">
            <a:avLst/>
          </a:prstGeom>
        </p:spPr>
        <p:txBody>
          <a:bodyPr vert="horz" lIns="0" tIns="0" rIns="0" bIns="0" rtlCol="0">
            <a:noAutofit/>
          </a:bodyPr>
          <a:lstStyle/>
          <a:p>
            <a:pPr lvl="0"/>
            <a:r>
              <a:rPr lang="de-DE" noProof="0" dirty="0"/>
              <a:t>Formatvorlagen des Textmasters bearbeiten</a:t>
            </a:r>
          </a:p>
          <a:p>
            <a:pPr lvl="1"/>
            <a:r>
              <a:rPr lang="de-DE" noProof="0" dirty="0"/>
              <a:t>Zweite Ebene</a:t>
            </a:r>
          </a:p>
          <a:p>
            <a:pPr lvl="2"/>
            <a:r>
              <a:rPr lang="de-DE" noProof="0" dirty="0"/>
              <a:t>Dritte Ebene</a:t>
            </a:r>
          </a:p>
          <a:p>
            <a:pPr lvl="3"/>
            <a:r>
              <a:rPr lang="de-DE" noProof="0" dirty="0"/>
              <a:t>Vierte Ebene</a:t>
            </a:r>
          </a:p>
          <a:p>
            <a:pPr lvl="4"/>
            <a:r>
              <a:rPr lang="de-DE" noProof="0" dirty="0"/>
              <a:t>Fünfte Ebene</a:t>
            </a:r>
          </a:p>
        </p:txBody>
      </p:sp>
      <p:sp>
        <p:nvSpPr>
          <p:cNvPr id="6" name="Foliennummernplatzhalter 5"/>
          <p:cNvSpPr>
            <a:spLocks noGrp="1"/>
          </p:cNvSpPr>
          <p:nvPr>
            <p:ph type="sldNum" sz="quarter" idx="4"/>
          </p:nvPr>
        </p:nvSpPr>
        <p:spPr>
          <a:xfrm>
            <a:off x="11928648" y="6453187"/>
            <a:ext cx="263350" cy="404813"/>
          </a:xfrm>
          <a:prstGeom prst="rect">
            <a:avLst/>
          </a:prstGeom>
          <a:noFill/>
        </p:spPr>
        <p:txBody>
          <a:bodyPr vert="horz" lIns="0" tIns="0" rIns="0" bIns="0" rtlCol="0" anchor="ctr"/>
          <a:lstStyle>
            <a:lvl1pPr algn="ctr">
              <a:defRPr sz="1100">
                <a:solidFill>
                  <a:schemeClr val="tx1"/>
                </a:solidFill>
                <a:latin typeface="GT America" panose="00000500000000000000" pitchFamily="2" charset="0"/>
                <a:cs typeface="GT America" panose="020B0604020202020204" pitchFamily="34" charset="0"/>
                <a:sym typeface="GT America" panose="00000500000000000000" pitchFamily="2" charset="0"/>
              </a:defRPr>
            </a:lvl1pPr>
          </a:lstStyle>
          <a:p>
            <a:fld id="{4CFEB0D3-1EB3-4F08-8062-95FFB9749870}" type="slidenum">
              <a:rPr lang="de-DE" smtClean="0"/>
              <a:pPr/>
              <a:t>‹N›</a:t>
            </a:fld>
            <a:endParaRPr lang="de-DE" dirty="0"/>
          </a:p>
        </p:txBody>
      </p:sp>
      <p:sp>
        <p:nvSpPr>
          <p:cNvPr id="33" name="Textfeld 32"/>
          <p:cNvSpPr txBox="1"/>
          <p:nvPr/>
        </p:nvSpPr>
        <p:spPr>
          <a:xfrm>
            <a:off x="-974191" y="960180"/>
            <a:ext cx="69683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Textbox</a:t>
            </a:r>
          </a:p>
        </p:txBody>
      </p:sp>
      <p:sp>
        <p:nvSpPr>
          <p:cNvPr id="100" name="Textfeld 99"/>
          <p:cNvSpPr txBox="1"/>
          <p:nvPr/>
        </p:nvSpPr>
        <p:spPr>
          <a:xfrm>
            <a:off x="-1014869" y="-381635"/>
            <a:ext cx="990189"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Vier</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1" name="Textfeld 100"/>
          <p:cNvSpPr txBox="1"/>
          <p:nvPr/>
        </p:nvSpPr>
        <p:spPr>
          <a:xfrm>
            <a:off x="-1032502" y="-618555"/>
            <a:ext cx="1007822"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Drei</a:t>
            </a:r>
            <a:r>
              <a:rPr lang="de-DE" sz="1200" baseline="0" noProof="0" dirty="0">
                <a:latin typeface="GT America" panose="00000500000000000000" pitchFamily="2" charset="0"/>
                <a:cs typeface="GT America" panose="020B0604020202020204" pitchFamily="34" charset="0"/>
                <a:sym typeface="GT America" panose="00000500000000000000" pitchFamily="2" charset="0"/>
              </a:rPr>
              <a:t> </a:t>
            </a:r>
            <a:r>
              <a:rPr lang="de-DE" sz="1200" noProof="0" dirty="0">
                <a:latin typeface="GT America" panose="00000500000000000000" pitchFamily="2" charset="0"/>
                <a:cs typeface="GT America" panose="020B0604020202020204" pitchFamily="34" charset="0"/>
                <a:sym typeface="GT America" panose="00000500000000000000" pitchFamily="2" charset="0"/>
              </a:rPr>
              <a:t>Spalten</a:t>
            </a:r>
          </a:p>
        </p:txBody>
      </p:sp>
      <p:sp>
        <p:nvSpPr>
          <p:cNvPr id="105" name="Textfeld 104"/>
          <p:cNvSpPr txBox="1"/>
          <p:nvPr/>
        </p:nvSpPr>
        <p:spPr>
          <a:xfrm>
            <a:off x="-1067768" y="-855476"/>
            <a:ext cx="1043088" cy="184666"/>
          </a:xfrm>
          <a:prstGeom prst="rect">
            <a:avLst/>
          </a:prstGeom>
          <a:noFill/>
        </p:spPr>
        <p:txBody>
          <a:bodyPr wrap="none" lIns="72000" tIns="0" rIns="72000" bIns="0" rtlCol="0" anchor="ctr">
            <a:spAutoFit/>
          </a:bodyPr>
          <a:lstStyle/>
          <a:p>
            <a:pPr algn="r"/>
            <a:r>
              <a:rPr lang="de-DE" sz="1200" noProof="0" dirty="0">
                <a:latin typeface="GT America" panose="00000500000000000000" pitchFamily="2" charset="0"/>
                <a:cs typeface="GT America" panose="020B0604020202020204" pitchFamily="34" charset="0"/>
                <a:sym typeface="GT America" panose="00000500000000000000" pitchFamily="2" charset="0"/>
              </a:rPr>
              <a:t>Zwei Spalten</a:t>
            </a:r>
          </a:p>
        </p:txBody>
      </p:sp>
      <p:cxnSp>
        <p:nvCxnSpPr>
          <p:cNvPr id="38" name="Gerade Verbindung 37"/>
          <p:cNvCxnSpPr/>
          <p:nvPr/>
        </p:nvCxnSpPr>
        <p:spPr>
          <a:xfrm>
            <a:off x="11712624"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nvGrpSpPr>
          <p:cNvPr id="41" name="Gruppieren 40"/>
          <p:cNvGrpSpPr/>
          <p:nvPr/>
        </p:nvGrpSpPr>
        <p:grpSpPr>
          <a:xfrm>
            <a:off x="-276708" y="-835143"/>
            <a:ext cx="12205181" cy="7972555"/>
            <a:chOff x="-276708" y="-835143"/>
            <a:chExt cx="12205181" cy="7972555"/>
          </a:xfrm>
        </p:grpSpPr>
        <p:cxnSp>
          <p:nvCxnSpPr>
            <p:cNvPr id="42" name="Gerade Verbindung 41"/>
            <p:cNvCxnSpPr/>
            <p:nvPr userDrawn="1"/>
          </p:nvCxnSpPr>
          <p:spPr>
            <a:xfrm rot="5400000" flipV="1">
              <a:off x="-204708" y="980735"/>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a:xfrm rot="5400000" flipV="1">
              <a:off x="-204708" y="6381336"/>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a:xfrm>
              <a:off x="259147" y="6993412"/>
              <a:ext cx="0" cy="14400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mit Pfeil 44"/>
            <p:cNvCxnSpPr/>
            <p:nvPr userDrawn="1"/>
          </p:nvCxnSpPr>
          <p:spPr>
            <a:xfrm>
              <a:off x="263525"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6" name="Gerade Verbindung mit Pfeil 45"/>
            <p:cNvCxnSpPr/>
            <p:nvPr userDrawn="1"/>
          </p:nvCxnSpPr>
          <p:spPr>
            <a:xfrm>
              <a:off x="4259684" y="-526222"/>
              <a:ext cx="3457154"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Gerade Verbindung mit Pfeil 46"/>
            <p:cNvCxnSpPr/>
            <p:nvPr userDrawn="1"/>
          </p:nvCxnSpPr>
          <p:spPr>
            <a:xfrm>
              <a:off x="8220124" y="-526222"/>
              <a:ext cx="3492500"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Gerade Verbindung mit Pfeil 47"/>
            <p:cNvCxnSpPr/>
            <p:nvPr userDrawn="1"/>
          </p:nvCxnSpPr>
          <p:spPr>
            <a:xfrm>
              <a:off x="263525"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49" name="Gerade Verbindung mit Pfeil 48"/>
            <p:cNvCxnSpPr/>
            <p:nvPr userDrawn="1"/>
          </p:nvCxnSpPr>
          <p:spPr>
            <a:xfrm>
              <a:off x="3251200"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0" name="Gerade Verbindung mit Pfeil 49"/>
            <p:cNvCxnSpPr/>
            <p:nvPr userDrawn="1"/>
          </p:nvCxnSpPr>
          <p:spPr>
            <a:xfrm>
              <a:off x="6240462"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Gerade Verbindung mit Pfeil 50"/>
            <p:cNvCxnSpPr/>
            <p:nvPr userDrawn="1"/>
          </p:nvCxnSpPr>
          <p:spPr>
            <a:xfrm>
              <a:off x="9228186" y="-289302"/>
              <a:ext cx="2484438"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2" name="Gerade Verbindung mit Pfeil 51"/>
            <p:cNvCxnSpPr/>
            <p:nvPr userDrawn="1"/>
          </p:nvCxnSpPr>
          <p:spPr>
            <a:xfrm>
              <a:off x="263525" y="-763143"/>
              <a:ext cx="5472113"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3" name="Gerade Verbindung mit Pfeil 52"/>
            <p:cNvCxnSpPr/>
            <p:nvPr userDrawn="1"/>
          </p:nvCxnSpPr>
          <p:spPr>
            <a:xfrm>
              <a:off x="6240463" y="-763143"/>
              <a:ext cx="5472161" cy="0"/>
            </a:xfrm>
            <a:prstGeom prst="straightConnector1">
              <a:avLst/>
            </a:prstGeom>
            <a:ln w="3175">
              <a:solidFill>
                <a:schemeClr val="tx1"/>
              </a:solidFill>
              <a:headEnd type="triangl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a:xfrm>
              <a:off x="2999272"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a:xfrm>
              <a:off x="5987988"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a:xfrm>
              <a:off x="8976320" y="-36130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a:xfrm>
              <a:off x="796820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a:xfrm>
              <a:off x="4007768" y="-598222"/>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9" name="Gerade Verbindung 58"/>
            <p:cNvCxnSpPr/>
            <p:nvPr userDrawn="1"/>
          </p:nvCxnSpPr>
          <p:spPr>
            <a:xfrm>
              <a:off x="5987988" y="-835143"/>
              <a:ext cx="0" cy="144000"/>
            </a:xfrm>
            <a:prstGeom prst="line">
              <a:avLst/>
            </a:prstGeom>
            <a:ln w="28575">
              <a:solidFill>
                <a:schemeClr val="tx2"/>
              </a:solidFill>
            </a:ln>
          </p:spPr>
          <p:style>
            <a:lnRef idx="1">
              <a:schemeClr val="accent1"/>
            </a:lnRef>
            <a:fillRef idx="0">
              <a:schemeClr val="accent1"/>
            </a:fillRef>
            <a:effectRef idx="0">
              <a:schemeClr val="accent1"/>
            </a:effectRef>
            <a:fontRef idx="minor">
              <a:schemeClr val="tx1"/>
            </a:fontRef>
          </p:style>
        </p:cxnSp>
        <p:cxnSp>
          <p:nvCxnSpPr>
            <p:cNvPr id="60" name="Gerade Verbindung 59"/>
            <p:cNvCxnSpPr/>
            <p:nvPr userDrawn="1"/>
          </p:nvCxnSpPr>
          <p:spPr>
            <a:xfrm rot="5400000" flipV="1">
              <a:off x="-204708" y="826746"/>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1" name="Gerade Verbindung 60"/>
            <p:cNvCxnSpPr/>
            <p:nvPr userDrawn="1"/>
          </p:nvCxnSpPr>
          <p:spPr>
            <a:xfrm rot="5400000" flipV="1">
              <a:off x="-204708" y="6785999"/>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2" name="Gerade Verbindung 61"/>
            <p:cNvCxnSpPr/>
            <p:nvPr userDrawn="1"/>
          </p:nvCxnSpPr>
          <p:spPr>
            <a:xfrm rot="10800000" flipV="1">
              <a:off x="11928473"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cxnSp>
          <p:nvCxnSpPr>
            <p:cNvPr id="63" name="Gerade Verbindung 62"/>
            <p:cNvCxnSpPr/>
            <p:nvPr userDrawn="1"/>
          </p:nvCxnSpPr>
          <p:spPr>
            <a:xfrm rot="10800000" flipV="1">
              <a:off x="0" y="-361302"/>
              <a:ext cx="0" cy="144000"/>
            </a:xfrm>
            <a:prstGeom prst="line">
              <a:avLst/>
            </a:prstGeom>
            <a:ln w="19050">
              <a:solidFill>
                <a:srgbClr val="FF0000"/>
              </a:solidFill>
            </a:ln>
          </p:spPr>
          <p:style>
            <a:lnRef idx="1">
              <a:schemeClr val="accent1"/>
            </a:lnRef>
            <a:fillRef idx="0">
              <a:schemeClr val="accent1"/>
            </a:fillRef>
            <a:effectRef idx="0">
              <a:schemeClr val="accent1"/>
            </a:effectRef>
            <a:fontRef idx="minor">
              <a:schemeClr val="tx1"/>
            </a:fontRef>
          </p:style>
        </p:cxnSp>
      </p:grpSp>
      <p:sp>
        <p:nvSpPr>
          <p:cNvPr id="64" name="Textfeld 63"/>
          <p:cNvSpPr txBox="1"/>
          <p:nvPr/>
        </p:nvSpPr>
        <p:spPr>
          <a:xfrm>
            <a:off x="-1791723" y="799523"/>
            <a:ext cx="1514371" cy="184666"/>
          </a:xfrm>
          <a:prstGeom prst="rect">
            <a:avLst/>
          </a:prstGeom>
          <a:noFill/>
        </p:spPr>
        <p:txBody>
          <a:bodyPr wrap="none" lIns="72000" tIns="0" rIns="72000" bIns="0" rtlCol="0" anchor="ctr">
            <a:spAutoFit/>
          </a:bodyPr>
          <a:lstStyle/>
          <a:p>
            <a:pPr algn="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Tabelle</a:t>
            </a:r>
            <a:r>
              <a:rPr lang="de-DE" sz="1200" baseline="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 </a:t>
            </a:r>
            <a:r>
              <a:rPr lang="de-DE" sz="1200" noProof="0" dirty="0">
                <a:solidFill>
                  <a:srgbClr val="FF0000"/>
                </a:solidFill>
                <a:latin typeface="GT America" panose="00000500000000000000" pitchFamily="2" charset="0"/>
                <a:cs typeface="GT America" panose="020B0604020202020204" pitchFamily="34" charset="0"/>
                <a:sym typeface="GT America" panose="00000500000000000000" pitchFamily="2" charset="0"/>
              </a:rPr>
              <a:t>(Vollflächig)</a:t>
            </a:r>
          </a:p>
        </p:txBody>
      </p:sp>
    </p:spTree>
    <p:extLst>
      <p:ext uri="{BB962C8B-B14F-4D97-AF65-F5344CB8AC3E}">
        <p14:creationId xmlns:p14="http://schemas.microsoft.com/office/powerpoint/2010/main" val="2504631358"/>
      </p:ext>
    </p:extLst>
  </p:cSld>
  <p:clrMap bg1="lt1" tx1="dk1" bg2="lt2" tx2="dk2" accent1="accent1" accent2="accent2" accent3="accent3" accent4="accent4" accent5="accent5" accent6="accent6" hlink="hlink" folHlink="folHlink"/>
  <p:sldLayoutIdLst>
    <p:sldLayoutId id="2147483847" r:id="rId1"/>
    <p:sldLayoutId id="2147483848" r:id="rId2"/>
    <p:sldLayoutId id="2147483959" r:id="rId3"/>
    <p:sldLayoutId id="2147483898" r:id="rId4"/>
    <p:sldLayoutId id="2147483905" r:id="rId5"/>
  </p:sldLayoutIdLst>
  <p:hf hdr="0" ftr="0" dt="0"/>
  <p:txStyles>
    <p:titleStyle>
      <a:lvl1pPr algn="l" defTabSz="914400" rtl="0" eaLnBrk="1" latinLnBrk="0" hangingPunct="1">
        <a:lnSpc>
          <a:spcPct val="100000"/>
        </a:lnSpc>
        <a:spcBef>
          <a:spcPct val="0"/>
        </a:spcBef>
        <a:buNone/>
        <a:defRPr sz="2800" kern="1200" cap="all" spc="-70" baseline="0">
          <a:solidFill>
            <a:schemeClr val="tx1"/>
          </a:solidFill>
          <a:latin typeface="GT America" panose="00000500000000000000" pitchFamily="2" charset="0"/>
          <a:ea typeface="+mj-ea"/>
          <a:cs typeface="GT America" panose="020B0604020202020204" pitchFamily="34" charset="0"/>
          <a:sym typeface="GT America" panose="00000500000000000000" pitchFamily="2" charset="0"/>
        </a:defRPr>
      </a:lvl1pPr>
    </p:titleStyle>
    <p:bodyStyle>
      <a:lvl1pPr marL="0" indent="0" algn="l" defTabSz="914400" rtl="0" eaLnBrk="1" latinLnBrk="0" hangingPunct="1">
        <a:lnSpc>
          <a:spcPct val="100000"/>
        </a:lnSpc>
        <a:spcBef>
          <a:spcPts val="1000"/>
        </a:spcBef>
        <a:buFont typeface="GT America" panose="020B0604020202020204" pitchFamily="34" charset="0"/>
        <a:buNone/>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5pPr>
      <a:lvl6pPr marL="25146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4.jpeg"/><Relationship Id="rId2" Type="http://schemas.openxmlformats.org/officeDocument/2006/relationships/slideLayout" Target="../slideLayouts/slideLayout3.xml"/><Relationship Id="rId1" Type="http://schemas.openxmlformats.org/officeDocument/2006/relationships/tags" Target="../tags/tag118.x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109.bin"/></Relationships>
</file>

<file path=ppt/slides/_rels/slide10.xml.rels><?xml version="1.0" encoding="UTF-8" standalone="yes"?>
<Relationships xmlns="http://schemas.openxmlformats.org/package/2006/relationships"><Relationship Id="rId3" Type="http://schemas.openxmlformats.org/officeDocument/2006/relationships/diagramLayout" Target="../diagrams/layout6.xml"/><Relationship Id="rId7" Type="http://schemas.openxmlformats.org/officeDocument/2006/relationships/image" Target="../media/image9.jpg"/><Relationship Id="rId2" Type="http://schemas.openxmlformats.org/officeDocument/2006/relationships/diagramData" Target="../diagrams/data6.xml"/><Relationship Id="rId1" Type="http://schemas.openxmlformats.org/officeDocument/2006/relationships/slideLayout" Target="../slideLayouts/slideLayout10.xml"/><Relationship Id="rId6" Type="http://schemas.microsoft.com/office/2007/relationships/diagramDrawing" Target="../diagrams/drawing6.xml"/><Relationship Id="rId5" Type="http://schemas.openxmlformats.org/officeDocument/2006/relationships/diagramColors" Target="../diagrams/colors6.xml"/><Relationship Id="rId4" Type="http://schemas.openxmlformats.org/officeDocument/2006/relationships/diagramQuickStyle" Target="../diagrams/quickStyle6.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7.xml"/><Relationship Id="rId7" Type="http://schemas.microsoft.com/office/2007/relationships/diagramDrawing" Target="../diagrams/drawing7.xml"/><Relationship Id="rId2" Type="http://schemas.openxmlformats.org/officeDocument/2006/relationships/image" Target="../media/image10.jpeg"/><Relationship Id="rId1" Type="http://schemas.openxmlformats.org/officeDocument/2006/relationships/slideLayout" Target="../slideLayouts/slideLayout10.xml"/><Relationship Id="rId6" Type="http://schemas.openxmlformats.org/officeDocument/2006/relationships/diagramColors" Target="../diagrams/colors7.xml"/><Relationship Id="rId5" Type="http://schemas.openxmlformats.org/officeDocument/2006/relationships/diagramQuickStyle" Target="../diagrams/quickStyle7.xml"/><Relationship Id="rId4" Type="http://schemas.openxmlformats.org/officeDocument/2006/relationships/diagramLayout" Target="../diagrams/layout7.xml"/></Relationships>
</file>

<file path=ppt/slides/_rels/slide12.xml.rels><?xml version="1.0" encoding="UTF-8" standalone="yes"?>
<Relationships xmlns="http://schemas.openxmlformats.org/package/2006/relationships"><Relationship Id="rId3" Type="http://schemas.openxmlformats.org/officeDocument/2006/relationships/diagramLayout" Target="../diagrams/layout8.xml"/><Relationship Id="rId7" Type="http://schemas.openxmlformats.org/officeDocument/2006/relationships/image" Target="../media/image11.jpg"/><Relationship Id="rId2" Type="http://schemas.openxmlformats.org/officeDocument/2006/relationships/diagramData" Target="../diagrams/data8.xml"/><Relationship Id="rId1" Type="http://schemas.openxmlformats.org/officeDocument/2006/relationships/slideLayout" Target="../slideLayouts/slideLayout10.xml"/><Relationship Id="rId6" Type="http://schemas.microsoft.com/office/2007/relationships/diagramDrawing" Target="../diagrams/drawing8.xml"/><Relationship Id="rId5" Type="http://schemas.openxmlformats.org/officeDocument/2006/relationships/diagramColors" Target="../diagrams/colors8.xml"/><Relationship Id="rId4" Type="http://schemas.openxmlformats.org/officeDocument/2006/relationships/diagramQuickStyle" Target="../diagrams/quickStyle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14.xml.rels><?xml version="1.0" encoding="UTF-8" standalone="yes"?>
<Relationships xmlns="http://schemas.openxmlformats.org/package/2006/relationships"><Relationship Id="rId3" Type="http://schemas.openxmlformats.org/officeDocument/2006/relationships/diagramData" Target="../diagrams/data9.xml"/><Relationship Id="rId7" Type="http://schemas.microsoft.com/office/2007/relationships/diagramDrawing" Target="../diagrams/drawing9.xml"/><Relationship Id="rId2" Type="http://schemas.openxmlformats.org/officeDocument/2006/relationships/image" Target="../media/image12.jpg"/><Relationship Id="rId1" Type="http://schemas.openxmlformats.org/officeDocument/2006/relationships/slideLayout" Target="../slideLayouts/slideLayout10.xml"/><Relationship Id="rId6" Type="http://schemas.openxmlformats.org/officeDocument/2006/relationships/diagramColors" Target="../diagrams/colors9.xml"/><Relationship Id="rId5" Type="http://schemas.openxmlformats.org/officeDocument/2006/relationships/diagramQuickStyle" Target="../diagrams/quickStyle9.xml"/><Relationship Id="rId4" Type="http://schemas.openxmlformats.org/officeDocument/2006/relationships/diagramLayout" Target="../diagrams/layout9.xml"/></Relationships>
</file>

<file path=ppt/slides/_rels/slide15.xml.rels><?xml version="1.0" encoding="UTF-8" standalone="yes"?>
<Relationships xmlns="http://schemas.openxmlformats.org/package/2006/relationships"><Relationship Id="rId3" Type="http://schemas.openxmlformats.org/officeDocument/2006/relationships/hyperlink" Target="https://www.pexels.com/photo/barcode-cellphone-close-up-coded-278430/" TargetMode="External"/><Relationship Id="rId2" Type="http://schemas.openxmlformats.org/officeDocument/2006/relationships/image" Target="../media/image13.jpg"/><Relationship Id="rId1" Type="http://schemas.openxmlformats.org/officeDocument/2006/relationships/slideLayout" Target="../slideLayouts/slideLayout8.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7.xml"/><Relationship Id="rId1" Type="http://schemas.openxmlformats.org/officeDocument/2006/relationships/tags" Target="../tags/tag119.xml"/><Relationship Id="rId6" Type="http://schemas.openxmlformats.org/officeDocument/2006/relationships/image" Target="../media/image5.png"/><Relationship Id="rId5" Type="http://schemas.openxmlformats.org/officeDocument/2006/relationships/image" Target="../media/image1.emf"/><Relationship Id="rId4" Type="http://schemas.openxmlformats.org/officeDocument/2006/relationships/oleObject" Target="../embeddings/oleObject110.bin"/></Relationships>
</file>

<file path=ppt/slides/_rels/slide20.xml.rels><?xml version="1.0" encoding="UTF-8" standalone="yes"?>
<Relationships xmlns="http://schemas.openxmlformats.org/package/2006/relationships"><Relationship Id="rId3" Type="http://schemas.openxmlformats.org/officeDocument/2006/relationships/hyperlink" Target="https://pixnio.com/it/oggetti/filo-cucire/cucito-thread-sartoriale-colorato" TargetMode="External"/><Relationship Id="rId2" Type="http://schemas.openxmlformats.org/officeDocument/2006/relationships/image" Target="../media/image14.jpg"/><Relationship Id="rId1" Type="http://schemas.openxmlformats.org/officeDocument/2006/relationships/slideLayout" Target="../slideLayouts/slideLayout8.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6.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Layout" Target="../slideLayouts/slideLayout8.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Layout" Target="../slideLayouts/slideLayout8.xml"/><Relationship Id="rId4" Type="http://schemas.openxmlformats.org/officeDocument/2006/relationships/hyperlink" Target="https://svgsilh.com/es/8bc34a/image/296798.html" TargetMode="External"/></Relationships>
</file>

<file path=ppt/slides/_rels/slide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18.xml"/></Relationships>
</file>

<file path=ppt/slides/_rels/slide3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8" Type="http://schemas.openxmlformats.org/officeDocument/2006/relationships/image" Target="../media/image20.jpg"/><Relationship Id="rId3" Type="http://schemas.openxmlformats.org/officeDocument/2006/relationships/slideLayout" Target="../slideLayouts/slideLayout17.xml"/><Relationship Id="rId7" Type="http://schemas.openxmlformats.org/officeDocument/2006/relationships/image" Target="../media/image19.jpg"/><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image" Target="../media/image1.emf"/><Relationship Id="rId5" Type="http://schemas.openxmlformats.org/officeDocument/2006/relationships/oleObject" Target="../embeddings/oleObject111.bin"/><Relationship Id="rId4" Type="http://schemas.openxmlformats.org/officeDocument/2006/relationships/notesSlide" Target="../notesSlides/notesSlide3.xml"/><Relationship Id="rId9" Type="http://schemas.openxmlformats.org/officeDocument/2006/relationships/image" Target="../media/image21.jpg"/></Relationships>
</file>

<file path=ppt/slides/_rels/slide34.xml.rels><?xml version="1.0" encoding="UTF-8" standalone="yes"?>
<Relationships xmlns="http://schemas.openxmlformats.org/package/2006/relationships"><Relationship Id="rId3" Type="http://schemas.openxmlformats.org/officeDocument/2006/relationships/slideLayout" Target="../slideLayouts/slideLayout94.xml"/><Relationship Id="rId7" Type="http://schemas.openxmlformats.org/officeDocument/2006/relationships/image" Target="../media/image2.emf"/><Relationship Id="rId2" Type="http://schemas.openxmlformats.org/officeDocument/2006/relationships/tags" Target="../tags/tag123.xml"/><Relationship Id="rId1" Type="http://schemas.openxmlformats.org/officeDocument/2006/relationships/tags" Target="../tags/tag122.xml"/><Relationship Id="rId6" Type="http://schemas.openxmlformats.org/officeDocument/2006/relationships/image" Target="../media/image1.emf"/><Relationship Id="rId5" Type="http://schemas.openxmlformats.org/officeDocument/2006/relationships/oleObject" Target="../embeddings/oleObject112.bin"/><Relationship Id="rId4" Type="http://schemas.openxmlformats.org/officeDocument/2006/relationships/notesSlide" Target="../notesSlides/notesSlide4.xml"/></Relationships>
</file>

<file path=ppt/slides/_rels/slide35.xml.rels><?xml version="1.0" encoding="UTF-8" standalone="yes"?>
<Relationships xmlns="http://schemas.openxmlformats.org/package/2006/relationships"><Relationship Id="rId8" Type="http://schemas.openxmlformats.org/officeDocument/2006/relationships/tags" Target="../tags/tag131.xml"/><Relationship Id="rId13" Type="http://schemas.openxmlformats.org/officeDocument/2006/relationships/tags" Target="../tags/tag136.xml"/><Relationship Id="rId18" Type="http://schemas.openxmlformats.org/officeDocument/2006/relationships/tags" Target="../tags/tag141.xml"/><Relationship Id="rId3" Type="http://schemas.openxmlformats.org/officeDocument/2006/relationships/tags" Target="../tags/tag126.xml"/><Relationship Id="rId21" Type="http://schemas.openxmlformats.org/officeDocument/2006/relationships/image" Target="../media/image2.emf"/><Relationship Id="rId7" Type="http://schemas.openxmlformats.org/officeDocument/2006/relationships/tags" Target="../tags/tag130.xml"/><Relationship Id="rId12" Type="http://schemas.openxmlformats.org/officeDocument/2006/relationships/tags" Target="../tags/tag135.xml"/><Relationship Id="rId17" Type="http://schemas.openxmlformats.org/officeDocument/2006/relationships/tags" Target="../tags/tag140.xml"/><Relationship Id="rId2" Type="http://schemas.openxmlformats.org/officeDocument/2006/relationships/tags" Target="../tags/tag125.xml"/><Relationship Id="rId16" Type="http://schemas.openxmlformats.org/officeDocument/2006/relationships/tags" Target="../tags/tag139.xml"/><Relationship Id="rId20" Type="http://schemas.openxmlformats.org/officeDocument/2006/relationships/slideLayout" Target="../slideLayouts/slideLayout87.xml"/><Relationship Id="rId1" Type="http://schemas.openxmlformats.org/officeDocument/2006/relationships/tags" Target="../tags/tag124.xml"/><Relationship Id="rId6" Type="http://schemas.openxmlformats.org/officeDocument/2006/relationships/tags" Target="../tags/tag129.xml"/><Relationship Id="rId11" Type="http://schemas.openxmlformats.org/officeDocument/2006/relationships/tags" Target="../tags/tag134.xml"/><Relationship Id="rId5" Type="http://schemas.openxmlformats.org/officeDocument/2006/relationships/tags" Target="../tags/tag128.xml"/><Relationship Id="rId15" Type="http://schemas.openxmlformats.org/officeDocument/2006/relationships/tags" Target="../tags/tag138.xml"/><Relationship Id="rId10" Type="http://schemas.openxmlformats.org/officeDocument/2006/relationships/tags" Target="../tags/tag133.xml"/><Relationship Id="rId19" Type="http://schemas.openxmlformats.org/officeDocument/2006/relationships/tags" Target="../tags/tag142.xml"/><Relationship Id="rId4" Type="http://schemas.openxmlformats.org/officeDocument/2006/relationships/tags" Target="../tags/tag127.xml"/><Relationship Id="rId9" Type="http://schemas.openxmlformats.org/officeDocument/2006/relationships/tags" Target="../tags/tag132.xml"/><Relationship Id="rId14" Type="http://schemas.openxmlformats.org/officeDocument/2006/relationships/tags" Target="../tags/tag137.xml"/><Relationship Id="rId22" Type="http://schemas.openxmlformats.org/officeDocument/2006/relationships/slide" Target="slide3.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10.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image" Target="../media/image7.jpg"/><Relationship Id="rId1" Type="http://schemas.openxmlformats.org/officeDocument/2006/relationships/slideLayout" Target="../slideLayouts/slideLayout10.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6.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10.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7.xml.rels><?xml version="1.0" encoding="UTF-8" standalone="yes"?>
<Relationships xmlns="http://schemas.openxmlformats.org/package/2006/relationships"><Relationship Id="rId3" Type="http://schemas.openxmlformats.org/officeDocument/2006/relationships/diagramLayout" Target="../diagrams/layout4.xml"/><Relationship Id="rId2" Type="http://schemas.openxmlformats.org/officeDocument/2006/relationships/diagramData" Target="../diagrams/data4.xml"/><Relationship Id="rId1" Type="http://schemas.openxmlformats.org/officeDocument/2006/relationships/slideLayout" Target="../slideLayouts/slideLayout10.xml"/><Relationship Id="rId6" Type="http://schemas.microsoft.com/office/2007/relationships/diagramDrawing" Target="../diagrams/drawing4.xml"/><Relationship Id="rId5" Type="http://schemas.openxmlformats.org/officeDocument/2006/relationships/diagramColors" Target="../diagrams/colors4.xml"/><Relationship Id="rId4" Type="http://schemas.openxmlformats.org/officeDocument/2006/relationships/diagramQuickStyle" Target="../diagrams/quickStyle4.xml"/></Relationships>
</file>

<file path=ppt/slides/_rels/slide8.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diagramLayout" Target="../diagrams/layout5.xml"/><Relationship Id="rId2" Type="http://schemas.openxmlformats.org/officeDocument/2006/relationships/diagramData" Target="../diagrams/data5.xml"/><Relationship Id="rId1" Type="http://schemas.openxmlformats.org/officeDocument/2006/relationships/slideLayout" Target="../slideLayouts/slideLayout10.xml"/><Relationship Id="rId6" Type="http://schemas.microsoft.com/office/2007/relationships/diagramDrawing" Target="../diagrams/drawing5.xml"/><Relationship Id="rId5" Type="http://schemas.openxmlformats.org/officeDocument/2006/relationships/diagramColors" Target="../diagrams/colors5.xml"/><Relationship Id="rId4" Type="http://schemas.openxmlformats.org/officeDocument/2006/relationships/diagramQuickStyle" Target="../diagrams/quickStyle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6" name="Objekt 5"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Textplatzhalter 2"/>
          <p:cNvSpPr>
            <a:spLocks noGrp="1"/>
          </p:cNvSpPr>
          <p:nvPr>
            <p:ph type="body" sz="quarter" idx="13"/>
          </p:nvPr>
        </p:nvSpPr>
        <p:spPr/>
        <p:txBody>
          <a:bodyPr/>
          <a:lstStyle/>
          <a:p>
            <a:r>
              <a:rPr lang="de-DE" dirty="0"/>
              <a:t>Milano, 12 </a:t>
            </a:r>
            <a:r>
              <a:rPr lang="de-DE" dirty="0" err="1"/>
              <a:t>febbraio</a:t>
            </a:r>
            <a:r>
              <a:rPr lang="de-DE" dirty="0"/>
              <a:t> 2025</a:t>
            </a:r>
          </a:p>
        </p:txBody>
      </p:sp>
      <p:sp>
        <p:nvSpPr>
          <p:cNvPr id="4" name="Textplatzhalter 3"/>
          <p:cNvSpPr>
            <a:spLocks noGrp="1"/>
          </p:cNvSpPr>
          <p:nvPr>
            <p:ph type="body" sz="quarter" idx="14"/>
          </p:nvPr>
        </p:nvSpPr>
        <p:spPr>
          <a:xfrm>
            <a:off x="3175" y="944724"/>
            <a:ext cx="6017619" cy="2769989"/>
          </a:xfrm>
        </p:spPr>
        <p:txBody>
          <a:bodyPr/>
          <a:lstStyle/>
          <a:p>
            <a:r>
              <a:rPr lang="it-IT" sz="3600" dirty="0">
                <a:solidFill>
                  <a:srgbClr val="000000"/>
                </a:solidFill>
                <a:effectLst/>
                <a:latin typeface="+mj-lt"/>
                <a:ea typeface="Times New Roman" panose="02020603050405020304" pitchFamily="18" charset="0"/>
              </a:rPr>
              <a:t>Verso un modello di economia circolare: </a:t>
            </a:r>
          </a:p>
          <a:p>
            <a:r>
              <a:rPr lang="it-IT" sz="3600" dirty="0">
                <a:solidFill>
                  <a:srgbClr val="000000"/>
                </a:solidFill>
                <a:effectLst/>
                <a:latin typeface="+mj-lt"/>
                <a:ea typeface="Times New Roman" panose="02020603050405020304" pitchFamily="18" charset="0"/>
              </a:rPr>
              <a:t>il Regolamento (UE) 2024/1781 e il </a:t>
            </a:r>
            <a:r>
              <a:rPr lang="it-IT" sz="3600" dirty="0" err="1">
                <a:solidFill>
                  <a:srgbClr val="000000"/>
                </a:solidFill>
                <a:effectLst/>
                <a:latin typeface="+mj-lt"/>
                <a:ea typeface="Times New Roman" panose="02020603050405020304" pitchFamily="18" charset="0"/>
              </a:rPr>
              <a:t>digital</a:t>
            </a:r>
            <a:r>
              <a:rPr lang="it-IT" sz="3600" dirty="0">
                <a:solidFill>
                  <a:srgbClr val="000000"/>
                </a:solidFill>
                <a:effectLst/>
                <a:latin typeface="+mj-lt"/>
                <a:ea typeface="Times New Roman" panose="02020603050405020304" pitchFamily="18" charset="0"/>
              </a:rPr>
              <a:t> product </a:t>
            </a:r>
            <a:r>
              <a:rPr lang="it-IT" sz="3600" dirty="0" err="1">
                <a:solidFill>
                  <a:srgbClr val="000000"/>
                </a:solidFill>
                <a:effectLst/>
                <a:latin typeface="+mj-lt"/>
                <a:ea typeface="Times New Roman" panose="02020603050405020304" pitchFamily="18" charset="0"/>
              </a:rPr>
              <a:t>passport</a:t>
            </a:r>
            <a:endParaRPr lang="de-DE" sz="3600" dirty="0">
              <a:latin typeface="+mj-lt"/>
            </a:endParaRPr>
          </a:p>
        </p:txBody>
      </p:sp>
      <p:pic>
        <p:nvPicPr>
          <p:cNvPr id="1026" name="Picture 2" descr="L'evoluzione del mercato unico digitale attraverso il digital services act  - Office Advice">
            <a:extLst>
              <a:ext uri="{FF2B5EF4-FFF2-40B4-BE49-F238E27FC236}">
                <a16:creationId xmlns:a16="http://schemas.microsoft.com/office/drawing/2014/main" id="{6120B207-B840-A8F9-8069-37CE93C553F7}"/>
              </a:ext>
            </a:extLst>
          </p:cNvPr>
          <p:cNvPicPr>
            <a:picLocks noGrp="1" noChangeAspect="1" noChangeArrowheads="1"/>
          </p:cNvPicPr>
          <p:nvPr>
            <p:ph type="pic" sz="quarter" idx="17"/>
          </p:nvPr>
        </p:nvPicPr>
        <p:blipFill>
          <a:blip r:embed="rId6">
            <a:extLst>
              <a:ext uri="{28A0092B-C50C-407E-A947-70E740481C1C}">
                <a14:useLocalDpi xmlns:a14="http://schemas.microsoft.com/office/drawing/2010/main" val="0"/>
              </a:ext>
            </a:extLst>
          </a:blip>
          <a:srcRect l="16576" r="16576"/>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pic>
        <p:nvPicPr>
          <p:cNvPr id="5" name="Segnaposto immagine 17">
            <a:extLst>
              <a:ext uri="{FF2B5EF4-FFF2-40B4-BE49-F238E27FC236}">
                <a16:creationId xmlns:a16="http://schemas.microsoft.com/office/drawing/2014/main" id="{F90700A9-85CD-18DD-74C3-3731DED93E9D}"/>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b="-23"/>
          <a:stretch/>
        </p:blipFill>
        <p:spPr>
          <a:xfrm>
            <a:off x="6043200" y="9525"/>
            <a:ext cx="6148800" cy="6858000"/>
          </a:xfrm>
          <a:prstGeom prst="rect">
            <a:avLst/>
          </a:prstGeom>
          <a:solidFill>
            <a:schemeClr val="bg2"/>
          </a:solidFill>
        </p:spPr>
      </p:pic>
      <p:pic>
        <p:nvPicPr>
          <p:cNvPr id="7" name="Segnaposto immagine 17">
            <a:extLst>
              <a:ext uri="{FF2B5EF4-FFF2-40B4-BE49-F238E27FC236}">
                <a16:creationId xmlns:a16="http://schemas.microsoft.com/office/drawing/2014/main" id="{D52C10B6-8D2F-BC94-D787-9E3C501744CE}"/>
              </a:ext>
            </a:extLst>
          </p:cNvPr>
          <p:cNvPicPr>
            <a:picLocks noChangeAspect="1"/>
          </p:cNvPicPr>
          <p:nvPr/>
        </p:nvPicPr>
        <p:blipFill rotWithShape="1">
          <a:blip r:embed="rId7" cstate="hqprint">
            <a:extLst>
              <a:ext uri="{28A0092B-C50C-407E-A947-70E740481C1C}">
                <a14:useLocalDpi xmlns:a14="http://schemas.microsoft.com/office/drawing/2010/main"/>
              </a:ext>
            </a:extLst>
          </a:blip>
          <a:srcRect b="-23"/>
          <a:stretch/>
        </p:blipFill>
        <p:spPr>
          <a:xfrm>
            <a:off x="6020794" y="9525"/>
            <a:ext cx="6148800" cy="6858000"/>
          </a:xfrm>
          <a:prstGeom prst="rect">
            <a:avLst/>
          </a:prstGeom>
          <a:solidFill>
            <a:schemeClr val="bg2"/>
          </a:solidFill>
        </p:spPr>
      </p:pic>
    </p:spTree>
    <p:extLst>
      <p:ext uri="{BB962C8B-B14F-4D97-AF65-F5344CB8AC3E}">
        <p14:creationId xmlns:p14="http://schemas.microsoft.com/office/powerpoint/2010/main" val="29489053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458BD4E-3F48-D059-9DDF-9257610EDFAA}"/>
            </a:ext>
          </a:extLst>
        </p:cNvPr>
        <p:cNvGrpSpPr/>
        <p:nvPr/>
      </p:nvGrpSpPr>
      <p:grpSpPr>
        <a:xfrm>
          <a:off x="0" y="0"/>
          <a:ext cx="0" cy="0"/>
          <a:chOff x="0" y="0"/>
          <a:chExt cx="0" cy="0"/>
        </a:xfrm>
      </p:grpSpPr>
      <p:sp>
        <p:nvSpPr>
          <p:cNvPr id="2" name="Titolo 1">
            <a:extLst>
              <a:ext uri="{FF2B5EF4-FFF2-40B4-BE49-F238E27FC236}">
                <a16:creationId xmlns:a16="http://schemas.microsoft.com/office/drawing/2014/main" id="{7EEBCF1E-D5E7-538E-9409-FB44EB5C86D5}"/>
              </a:ext>
            </a:extLst>
          </p:cNvPr>
          <p:cNvSpPr>
            <a:spLocks noGrp="1"/>
          </p:cNvSpPr>
          <p:nvPr>
            <p:ph type="title"/>
          </p:nvPr>
        </p:nvSpPr>
        <p:spPr/>
        <p:txBody>
          <a:bodyPr/>
          <a:lstStyle/>
          <a:p>
            <a:r>
              <a:rPr lang="it-IT" dirty="0"/>
              <a:t>REQUISITI DI PROGETTAZIONE ECOCOMPATIBILE</a:t>
            </a:r>
          </a:p>
        </p:txBody>
      </p:sp>
      <p:sp>
        <p:nvSpPr>
          <p:cNvPr id="3" name="Segnaposto numero diapositiva 2">
            <a:extLst>
              <a:ext uri="{FF2B5EF4-FFF2-40B4-BE49-F238E27FC236}">
                <a16:creationId xmlns:a16="http://schemas.microsoft.com/office/drawing/2014/main" id="{5F7BFCCB-8F17-7593-58AB-3278428122CC}"/>
              </a:ext>
            </a:extLst>
          </p:cNvPr>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4CFEB0D3-1EB3-4F08-8062-95FFB9749870}" type="slidenum">
              <a:rPr kumimoji="0" lang="de-DE" sz="1100" b="0" i="0" u="none" strike="noStrike" kern="1200" cap="none" spc="0" normalizeH="0" baseline="0" noProof="0" smtClean="0">
                <a:ln>
                  <a:noFill/>
                </a:ln>
                <a:solidFill>
                  <a:prstClr val="black"/>
                </a:solidFill>
                <a:effectLst/>
                <a:uLnTx/>
                <a:uFillTx/>
                <a:latin typeface="GT America" panose="00000500000000000000" pitchFamily="2" charset="0"/>
                <a:ea typeface="+mn-ea"/>
                <a:sym typeface="GT America" panose="00000500000000000000"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10</a:t>
            </a:fld>
            <a:endParaRPr kumimoji="0" lang="de-DE" sz="1100" b="0" i="0" u="none" strike="noStrike" kern="1200" cap="none" spc="0" normalizeH="0" baseline="0" noProof="0" dirty="0">
              <a:ln>
                <a:noFill/>
              </a:ln>
              <a:solidFill>
                <a:prstClr val="black"/>
              </a:solidFill>
              <a:effectLst/>
              <a:uLnTx/>
              <a:uFillTx/>
              <a:latin typeface="GT America" panose="00000500000000000000" pitchFamily="2" charset="0"/>
              <a:ea typeface="+mn-ea"/>
              <a:sym typeface="GT America" panose="00000500000000000000" pitchFamily="2" charset="0"/>
            </a:endParaRPr>
          </a:p>
        </p:txBody>
      </p:sp>
      <p:sp>
        <p:nvSpPr>
          <p:cNvPr id="5" name="Segnaposto testo 2">
            <a:extLst>
              <a:ext uri="{FF2B5EF4-FFF2-40B4-BE49-F238E27FC236}">
                <a16:creationId xmlns:a16="http://schemas.microsoft.com/office/drawing/2014/main" id="{DA0089E6-AD87-B8F9-EA4F-7A7062F7BD6C}"/>
              </a:ext>
            </a:extLst>
          </p:cNvPr>
          <p:cNvSpPr txBox="1">
            <a:spLocks/>
          </p:cNvSpPr>
          <p:nvPr/>
        </p:nvSpPr>
        <p:spPr>
          <a:xfrm>
            <a:off x="375596" y="1030942"/>
            <a:ext cx="11336978" cy="5566410"/>
          </a:xfrm>
          <a:prstGeom prst="rect">
            <a:avLst/>
          </a:prstGeom>
        </p:spPr>
        <p:txBody>
          <a:bodyPr vert="horz" lIns="0" tIns="0" rIns="0" bIns="0" rtlCol="0">
            <a:normAutofit/>
          </a:bodyPr>
          <a:lstStyle>
            <a:lvl1pPr marL="0" indent="0" algn="l" defTabSz="914400" rtl="0" eaLnBrk="1" latinLnBrk="0" hangingPunct="1">
              <a:lnSpc>
                <a:spcPct val="100000"/>
              </a:lnSpc>
              <a:spcBef>
                <a:spcPts val="1000"/>
              </a:spcBef>
              <a:buFont typeface="GT America" panose="020B0604020202020204" pitchFamily="34" charset="0"/>
              <a:buNone/>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5pPr>
            <a:lvl6pPr marL="25146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9pPr>
          </a:lstStyle>
          <a:p>
            <a:pPr marR="0" lvl="0" algn="just" defTabSz="914400" rtl="0" eaLnBrk="1" fontAlgn="auto" latinLnBrk="0" hangingPunct="1">
              <a:lnSpc>
                <a:spcPct val="100000"/>
              </a:lnSpc>
              <a:spcBef>
                <a:spcPts val="1000"/>
              </a:spcBef>
              <a:spcAft>
                <a:spcPts val="0"/>
              </a:spcAft>
              <a:buClr>
                <a:srgbClr val="002060"/>
              </a:buClr>
              <a:buSzTx/>
              <a:tabLst/>
              <a:defRPr/>
            </a:pPr>
            <a:endParaRPr kumimoji="0" lang="it-IT" sz="2200" b="0" i="0" u="none" strike="noStrike" kern="1200" cap="none" spc="0" normalizeH="0" baseline="0" noProof="0" dirty="0">
              <a:ln>
                <a:noFill/>
              </a:ln>
              <a:solidFill>
                <a:prstClr val="black"/>
              </a:solidFill>
              <a:effectLst/>
              <a:uLnTx/>
              <a:uFillTx/>
              <a:latin typeface="GT America" panose="00000500000000000000" pitchFamily="2" charset="0"/>
              <a:ea typeface="+mn-ea"/>
              <a:sym typeface="GT America" panose="00000500000000000000" pitchFamily="2" charset="0"/>
            </a:endParaRPr>
          </a:p>
          <a:p>
            <a:pPr marL="285750" marR="0" lvl="0" indent="-285750" algn="just" defTabSz="914400" rtl="0" eaLnBrk="1" fontAlgn="auto" latinLnBrk="0" hangingPunct="1">
              <a:lnSpc>
                <a:spcPct val="100000"/>
              </a:lnSpc>
              <a:spcBef>
                <a:spcPts val="1000"/>
              </a:spcBef>
              <a:spcAft>
                <a:spcPts val="0"/>
              </a:spcAft>
              <a:buClr>
                <a:srgbClr val="002060"/>
              </a:buClr>
              <a:buSzTx/>
              <a:buFont typeface="Wingdings" panose="05000000000000000000" pitchFamily="2" charset="2"/>
              <a:buChar char="Ø"/>
              <a:tabLst/>
              <a:defRPr/>
            </a:pPr>
            <a:endParaRPr kumimoji="0" lang="it-IT" sz="2200" b="0" i="0" u="none" strike="noStrike" kern="1200" cap="none" spc="0" normalizeH="0" baseline="0" noProof="0" dirty="0">
              <a:ln>
                <a:noFill/>
              </a:ln>
              <a:solidFill>
                <a:prstClr val="black"/>
              </a:solidFill>
              <a:effectLst/>
              <a:uLnTx/>
              <a:uFillTx/>
              <a:latin typeface="GT America" panose="00000500000000000000" pitchFamily="2" charset="0"/>
              <a:ea typeface="+mn-ea"/>
              <a:sym typeface="GT America" panose="00000500000000000000" pitchFamily="2" charset="0"/>
            </a:endParaRPr>
          </a:p>
          <a:p>
            <a:pPr marL="0" marR="0" lvl="0" indent="0" algn="just" defTabSz="914400" rtl="0" eaLnBrk="1" fontAlgn="auto" latinLnBrk="0" hangingPunct="1">
              <a:lnSpc>
                <a:spcPct val="100000"/>
              </a:lnSpc>
              <a:spcBef>
                <a:spcPts val="1000"/>
              </a:spcBef>
              <a:spcAft>
                <a:spcPts val="0"/>
              </a:spcAft>
              <a:buClr>
                <a:srgbClr val="002060"/>
              </a:buClr>
              <a:buSzTx/>
              <a:buFont typeface="GT America" panose="020B0604020202020204" pitchFamily="34" charset="0"/>
              <a:buNone/>
              <a:tabLst/>
              <a:defRPr/>
            </a:pPr>
            <a:endParaRPr kumimoji="0" lang="it-IT" sz="2200" b="0" i="0" u="none" strike="noStrike" kern="1200" cap="none" spc="0" normalizeH="0" baseline="0" noProof="0" dirty="0">
              <a:ln>
                <a:noFill/>
              </a:ln>
              <a:solidFill>
                <a:prstClr val="black"/>
              </a:solidFill>
              <a:effectLst/>
              <a:uLnTx/>
              <a:uFillTx/>
              <a:latin typeface="GT America" panose="00000500000000000000" pitchFamily="2" charset="0"/>
              <a:ea typeface="+mn-ea"/>
              <a:sym typeface="GT America" panose="00000500000000000000" pitchFamily="2" charset="0"/>
            </a:endParaRPr>
          </a:p>
        </p:txBody>
      </p:sp>
      <p:graphicFrame>
        <p:nvGraphicFramePr>
          <p:cNvPr id="6" name="Diagramma 5">
            <a:extLst>
              <a:ext uri="{FF2B5EF4-FFF2-40B4-BE49-F238E27FC236}">
                <a16:creationId xmlns:a16="http://schemas.microsoft.com/office/drawing/2014/main" id="{CE5222C5-E1ED-4EFC-4CAA-BB14FE74B5AE}"/>
              </a:ext>
            </a:extLst>
          </p:cNvPr>
          <p:cNvGraphicFramePr/>
          <p:nvPr>
            <p:extLst>
              <p:ext uri="{D42A27DB-BD31-4B8C-83A1-F6EECF244321}">
                <p14:modId xmlns:p14="http://schemas.microsoft.com/office/powerpoint/2010/main" val="3118983372"/>
              </p:ext>
            </p:extLst>
          </p:nvPr>
        </p:nvGraphicFramePr>
        <p:xfrm>
          <a:off x="427511" y="967293"/>
          <a:ext cx="11336978" cy="569370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11" name="Immagine 10" descr="Immagine che contiene schizzo, disegno, simbolo, clipart&#10;&#10;Descrizione generata automaticamente">
            <a:extLst>
              <a:ext uri="{FF2B5EF4-FFF2-40B4-BE49-F238E27FC236}">
                <a16:creationId xmlns:a16="http://schemas.microsoft.com/office/drawing/2014/main" id="{3A656BFA-494E-27E5-F123-F57174A891AB}"/>
              </a:ext>
            </a:extLst>
          </p:cNvPr>
          <p:cNvPicPr>
            <a:picLocks noChangeAspect="1"/>
          </p:cNvPicPr>
          <p:nvPr/>
        </p:nvPicPr>
        <p:blipFill>
          <a:blip r:embed="rId7"/>
          <a:stretch>
            <a:fillRect/>
          </a:stretch>
        </p:blipFill>
        <p:spPr>
          <a:xfrm>
            <a:off x="5620696" y="4067174"/>
            <a:ext cx="950608" cy="949696"/>
          </a:xfrm>
          <a:prstGeom prst="rect">
            <a:avLst/>
          </a:prstGeom>
        </p:spPr>
      </p:pic>
    </p:spTree>
    <p:extLst>
      <p:ext uri="{BB962C8B-B14F-4D97-AF65-F5344CB8AC3E}">
        <p14:creationId xmlns:p14="http://schemas.microsoft.com/office/powerpoint/2010/main" val="22672256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B491A02-3D2D-9622-F196-35472BD615C5}"/>
              </a:ext>
            </a:extLst>
          </p:cNvPr>
          <p:cNvSpPr>
            <a:spLocks noGrp="1"/>
          </p:cNvSpPr>
          <p:nvPr>
            <p:ph type="title"/>
          </p:nvPr>
        </p:nvSpPr>
        <p:spPr/>
        <p:txBody>
          <a:bodyPr/>
          <a:lstStyle/>
          <a:p>
            <a:r>
              <a:rPr lang="it-IT" dirty="0"/>
              <a:t>SOGGETTI INTERESSATI</a:t>
            </a:r>
          </a:p>
        </p:txBody>
      </p:sp>
      <p:sp>
        <p:nvSpPr>
          <p:cNvPr id="3" name="Segnaposto numero diapositiva 2">
            <a:extLst>
              <a:ext uri="{FF2B5EF4-FFF2-40B4-BE49-F238E27FC236}">
                <a16:creationId xmlns:a16="http://schemas.microsoft.com/office/drawing/2014/main" id="{CD2618E4-D850-3581-9040-04AACC4EC554}"/>
              </a:ext>
            </a:extLst>
          </p:cNvPr>
          <p:cNvSpPr>
            <a:spLocks noGrp="1"/>
          </p:cNvSpPr>
          <p:nvPr>
            <p:ph type="sldNum" sz="quarter" idx="10"/>
          </p:nvPr>
        </p:nvSpPr>
        <p:spPr/>
        <p:txBody>
          <a:bodyPr/>
          <a:lstStyle/>
          <a:p>
            <a:pPr algn="ctr"/>
            <a:fld id="{4CFEB0D3-1EB3-4F08-8062-95FFB9749870}" type="slidenum">
              <a:rPr lang="de-DE" smtClean="0"/>
              <a:pPr algn="ctr"/>
              <a:t>11</a:t>
            </a:fld>
            <a:endParaRPr lang="de-DE" dirty="0"/>
          </a:p>
        </p:txBody>
      </p:sp>
      <p:pic>
        <p:nvPicPr>
          <p:cNvPr id="2050" name="Picture 2">
            <a:extLst>
              <a:ext uri="{FF2B5EF4-FFF2-40B4-BE49-F238E27FC236}">
                <a16:creationId xmlns:a16="http://schemas.microsoft.com/office/drawing/2014/main" id="{8550D94A-2DBB-30DD-5CAF-DD4099F1B4AC}"/>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73009" y="2124075"/>
            <a:ext cx="2298277" cy="4531518"/>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Diagramma 5">
            <a:extLst>
              <a:ext uri="{FF2B5EF4-FFF2-40B4-BE49-F238E27FC236}">
                <a16:creationId xmlns:a16="http://schemas.microsoft.com/office/drawing/2014/main" id="{2F604B47-267C-3E0D-2EFA-D7F99A3533CB}"/>
              </a:ext>
            </a:extLst>
          </p:cNvPr>
          <p:cNvGraphicFramePr/>
          <p:nvPr>
            <p:extLst>
              <p:ext uri="{D42A27DB-BD31-4B8C-83A1-F6EECF244321}">
                <p14:modId xmlns:p14="http://schemas.microsoft.com/office/powerpoint/2010/main" val="3891460010"/>
              </p:ext>
            </p:extLst>
          </p:nvPr>
        </p:nvGraphicFramePr>
        <p:xfrm>
          <a:off x="2581275" y="2190750"/>
          <a:ext cx="8879960" cy="426032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CasellaDiTesto 3">
            <a:extLst>
              <a:ext uri="{FF2B5EF4-FFF2-40B4-BE49-F238E27FC236}">
                <a16:creationId xmlns:a16="http://schemas.microsoft.com/office/drawing/2014/main" id="{C9B30851-5974-9B05-95D7-DE1D4F0CD82D}"/>
              </a:ext>
            </a:extLst>
          </p:cNvPr>
          <p:cNvSpPr txBox="1"/>
          <p:nvPr/>
        </p:nvSpPr>
        <p:spPr>
          <a:xfrm>
            <a:off x="457200" y="1242453"/>
            <a:ext cx="11004036" cy="677108"/>
          </a:xfrm>
          <a:prstGeom prst="rect">
            <a:avLst/>
          </a:prstGeom>
          <a:noFill/>
        </p:spPr>
        <p:txBody>
          <a:bodyPr wrap="square" lIns="0" tIns="0" rIns="0" bIns="0" rtlCol="0">
            <a:spAutoFit/>
          </a:bodyPr>
          <a:lstStyle/>
          <a:p>
            <a:pPr marL="342900" indent="-342900" algn="just">
              <a:spcBef>
                <a:spcPts val="1000"/>
              </a:spcBef>
              <a:buClr>
                <a:srgbClr val="002060"/>
              </a:buClr>
              <a:buFont typeface="Wingdings" panose="05000000000000000000" pitchFamily="2" charset="2"/>
              <a:buChar char="Ø"/>
              <a:defRPr/>
            </a:pPr>
            <a:r>
              <a:rPr lang="it-IT" sz="2200" dirty="0">
                <a:solidFill>
                  <a:prstClr val="black"/>
                </a:solidFill>
                <a:latin typeface="GT America" panose="00000500000000000000" pitchFamily="2" charset="0"/>
                <a:sym typeface="GT America" panose="00000500000000000000" pitchFamily="2" charset="0"/>
              </a:rPr>
              <a:t>Destinatari del Regolamento ESPR sono </a:t>
            </a:r>
            <a:r>
              <a:rPr lang="it-IT" sz="2200" b="1" dirty="0">
                <a:solidFill>
                  <a:prstClr val="black"/>
                </a:solidFill>
                <a:latin typeface="GT America" panose="00000500000000000000" pitchFamily="2" charset="0"/>
                <a:sym typeface="GT America" panose="00000500000000000000" pitchFamily="2" charset="0"/>
              </a:rPr>
              <a:t>tutti gli operatori economici </a:t>
            </a:r>
            <a:r>
              <a:rPr lang="it-IT" sz="2200" dirty="0">
                <a:solidFill>
                  <a:prstClr val="black"/>
                </a:solidFill>
                <a:latin typeface="GT America" panose="00000500000000000000" pitchFamily="2" charset="0"/>
                <a:sym typeface="GT America" panose="00000500000000000000" pitchFamily="2" charset="0"/>
              </a:rPr>
              <a:t>che intervengono nella catena di fornitura e distribuzione dei prodotti. </a:t>
            </a:r>
          </a:p>
        </p:txBody>
      </p:sp>
    </p:spTree>
    <p:extLst>
      <p:ext uri="{BB962C8B-B14F-4D97-AF65-F5344CB8AC3E}">
        <p14:creationId xmlns:p14="http://schemas.microsoft.com/office/powerpoint/2010/main" val="14470120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B491A02-3D2D-9622-F196-35472BD615C5}"/>
              </a:ext>
            </a:extLst>
          </p:cNvPr>
          <p:cNvSpPr>
            <a:spLocks noGrp="1"/>
          </p:cNvSpPr>
          <p:nvPr>
            <p:ph type="title"/>
          </p:nvPr>
        </p:nvSpPr>
        <p:spPr/>
        <p:txBody>
          <a:bodyPr/>
          <a:lstStyle/>
          <a:p>
            <a:r>
              <a:rPr lang="it-IT" dirty="0"/>
              <a:t>SANZIONI</a:t>
            </a:r>
          </a:p>
        </p:txBody>
      </p:sp>
      <p:sp>
        <p:nvSpPr>
          <p:cNvPr id="3" name="Segnaposto numero diapositiva 2">
            <a:extLst>
              <a:ext uri="{FF2B5EF4-FFF2-40B4-BE49-F238E27FC236}">
                <a16:creationId xmlns:a16="http://schemas.microsoft.com/office/drawing/2014/main" id="{CD2618E4-D850-3581-9040-04AACC4EC554}"/>
              </a:ext>
            </a:extLst>
          </p:cNvPr>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4CFEB0D3-1EB3-4F08-8062-95FFB9749870}" type="slidenum">
              <a:rPr kumimoji="0" lang="de-DE" sz="1100" b="0" i="0" u="none" strike="noStrike" kern="1200" cap="none" spc="0" normalizeH="0" baseline="0" noProof="0" smtClean="0">
                <a:ln>
                  <a:noFill/>
                </a:ln>
                <a:solidFill>
                  <a:prstClr val="black"/>
                </a:solidFill>
                <a:effectLst/>
                <a:uLnTx/>
                <a:uFillTx/>
                <a:latin typeface="GT America" panose="00000500000000000000" pitchFamily="2" charset="0"/>
                <a:ea typeface="+mn-ea"/>
                <a:sym typeface="GT America" panose="00000500000000000000"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12</a:t>
            </a:fld>
            <a:endParaRPr kumimoji="0" lang="de-DE" sz="1100" b="0" i="0" u="none" strike="noStrike" kern="1200" cap="none" spc="0" normalizeH="0" baseline="0" noProof="0" dirty="0">
              <a:ln>
                <a:noFill/>
              </a:ln>
              <a:solidFill>
                <a:prstClr val="black"/>
              </a:solidFill>
              <a:effectLst/>
              <a:uLnTx/>
              <a:uFillTx/>
              <a:latin typeface="GT America" panose="00000500000000000000" pitchFamily="2" charset="0"/>
              <a:ea typeface="+mn-ea"/>
              <a:sym typeface="GT America" panose="00000500000000000000" pitchFamily="2" charset="0"/>
            </a:endParaRPr>
          </a:p>
        </p:txBody>
      </p:sp>
      <p:sp>
        <p:nvSpPr>
          <p:cNvPr id="5" name="Segnaposto testo 2">
            <a:extLst>
              <a:ext uri="{FF2B5EF4-FFF2-40B4-BE49-F238E27FC236}">
                <a16:creationId xmlns:a16="http://schemas.microsoft.com/office/drawing/2014/main" id="{03DD842F-7773-6781-8EFA-3DFFA8E126A1}"/>
              </a:ext>
            </a:extLst>
          </p:cNvPr>
          <p:cNvSpPr txBox="1">
            <a:spLocks/>
          </p:cNvSpPr>
          <p:nvPr/>
        </p:nvSpPr>
        <p:spPr>
          <a:xfrm>
            <a:off x="263525" y="783292"/>
            <a:ext cx="11364440" cy="1531283"/>
          </a:xfrm>
          <a:prstGeom prst="rect">
            <a:avLst/>
          </a:prstGeom>
        </p:spPr>
        <p:txBody>
          <a:bodyPr vert="horz" lIns="0" tIns="0" rIns="0" bIns="0" rtlCol="0">
            <a:normAutofit/>
          </a:bodyPr>
          <a:lstStyle>
            <a:lvl1pPr marL="0" indent="0" algn="l" defTabSz="914400" rtl="0" eaLnBrk="1" latinLnBrk="0" hangingPunct="1">
              <a:lnSpc>
                <a:spcPct val="100000"/>
              </a:lnSpc>
              <a:spcBef>
                <a:spcPts val="1000"/>
              </a:spcBef>
              <a:buFont typeface="GT America" panose="020B0604020202020204" pitchFamily="34" charset="0"/>
              <a:buNone/>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5pPr>
            <a:lvl6pPr marL="25146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9pPr>
          </a:lstStyle>
          <a:p>
            <a:pPr marL="342900" marR="0" lvl="0" indent="-342900" algn="just" defTabSz="914400" rtl="0" eaLnBrk="1" fontAlgn="auto" latinLnBrk="0" hangingPunct="1">
              <a:lnSpc>
                <a:spcPct val="100000"/>
              </a:lnSpc>
              <a:spcBef>
                <a:spcPts val="1000"/>
              </a:spcBef>
              <a:spcAft>
                <a:spcPts val="0"/>
              </a:spcAft>
              <a:buClr>
                <a:srgbClr val="002060"/>
              </a:buClr>
              <a:buSzTx/>
              <a:buFont typeface="Wingdings" panose="05000000000000000000" pitchFamily="2" charset="2"/>
              <a:buChar char="Ø"/>
              <a:tabLst/>
              <a:defRPr/>
            </a:pPr>
            <a:endParaRPr lang="it-IT" sz="2200" dirty="0">
              <a:solidFill>
                <a:prstClr val="black"/>
              </a:solidFill>
            </a:endParaRPr>
          </a:p>
          <a:p>
            <a:pPr marL="342900" marR="0" lvl="0" indent="-342900" algn="just" defTabSz="914400" rtl="0" eaLnBrk="1" fontAlgn="auto" latinLnBrk="0" hangingPunct="1">
              <a:lnSpc>
                <a:spcPct val="100000"/>
              </a:lnSpc>
              <a:spcBef>
                <a:spcPts val="1000"/>
              </a:spcBef>
              <a:spcAft>
                <a:spcPts val="0"/>
              </a:spcAft>
              <a:buClr>
                <a:srgbClr val="002060"/>
              </a:buClr>
              <a:buSzTx/>
              <a:buFont typeface="Wingdings" panose="05000000000000000000" pitchFamily="2" charset="2"/>
              <a:buChar char="Ø"/>
              <a:tabLst/>
              <a:defRPr/>
            </a:pPr>
            <a:r>
              <a:rPr lang="it-IT" sz="2200" dirty="0">
                <a:solidFill>
                  <a:prstClr val="black"/>
                </a:solidFill>
              </a:rPr>
              <a:t>Quali conseguenze per gli operatori economici i</a:t>
            </a:r>
            <a:r>
              <a:rPr kumimoji="0" lang="it-IT" sz="2200" b="0" i="0" u="none" strike="noStrike" kern="1200" cap="none" spc="0" normalizeH="0" baseline="0" noProof="0" dirty="0">
                <a:ln>
                  <a:noFill/>
                </a:ln>
                <a:solidFill>
                  <a:prstClr val="black"/>
                </a:solidFill>
                <a:effectLst/>
                <a:uLnTx/>
                <a:uFillTx/>
                <a:latin typeface="GT America" panose="00000500000000000000" pitchFamily="2" charset="0"/>
                <a:ea typeface="+mn-ea"/>
                <a:sym typeface="GT America" panose="00000500000000000000" pitchFamily="2" charset="0"/>
              </a:rPr>
              <a:t>n caso di </a:t>
            </a:r>
            <a:r>
              <a:rPr kumimoji="0" lang="it-IT" sz="2200" b="1" i="0" u="none" strike="noStrike" kern="1200" cap="none" spc="0" normalizeH="0" baseline="0" noProof="0" dirty="0">
                <a:ln>
                  <a:noFill/>
                </a:ln>
                <a:solidFill>
                  <a:prstClr val="black"/>
                </a:solidFill>
                <a:effectLst/>
                <a:uLnTx/>
                <a:uFillTx/>
                <a:latin typeface="GT America" panose="00000500000000000000" pitchFamily="2" charset="0"/>
                <a:ea typeface="+mn-ea"/>
                <a:sym typeface="GT America" panose="00000500000000000000" pitchFamily="2" charset="0"/>
              </a:rPr>
              <a:t>inosservanza degli obblighi </a:t>
            </a:r>
            <a:r>
              <a:rPr kumimoji="0" lang="it-IT" sz="2200" b="0" i="0" u="none" strike="noStrike" kern="1200" cap="none" spc="0" normalizeH="0" baseline="0" noProof="0" dirty="0">
                <a:ln>
                  <a:noFill/>
                </a:ln>
                <a:solidFill>
                  <a:prstClr val="black"/>
                </a:solidFill>
                <a:effectLst/>
                <a:uLnTx/>
                <a:uFillTx/>
                <a:latin typeface="GT America" panose="00000500000000000000" pitchFamily="2" charset="0"/>
                <a:ea typeface="+mn-ea"/>
                <a:sym typeface="GT America" panose="00000500000000000000" pitchFamily="2" charset="0"/>
              </a:rPr>
              <a:t>prescritti dal Regolamento e </a:t>
            </a:r>
            <a:r>
              <a:rPr kumimoji="0" lang="it-IT" sz="2200" b="1" i="0" u="none" strike="noStrike" kern="1200" cap="none" spc="0" normalizeH="0" baseline="0" noProof="0" dirty="0">
                <a:ln>
                  <a:noFill/>
                </a:ln>
                <a:solidFill>
                  <a:prstClr val="black"/>
                </a:solidFill>
                <a:effectLst/>
                <a:uLnTx/>
                <a:uFillTx/>
                <a:latin typeface="GT America" panose="00000500000000000000" pitchFamily="2" charset="0"/>
                <a:ea typeface="+mn-ea"/>
                <a:sym typeface="GT America" panose="00000500000000000000" pitchFamily="2" charset="0"/>
              </a:rPr>
              <a:t>mancata conformità </a:t>
            </a:r>
            <a:r>
              <a:rPr kumimoji="0" lang="it-IT" sz="2200" b="0" i="0" u="none" strike="noStrike" kern="1200" cap="none" spc="0" normalizeH="0" baseline="0" noProof="0" dirty="0">
                <a:ln>
                  <a:noFill/>
                </a:ln>
                <a:solidFill>
                  <a:prstClr val="black"/>
                </a:solidFill>
                <a:effectLst/>
                <a:uLnTx/>
                <a:uFillTx/>
                <a:latin typeface="GT America" panose="00000500000000000000" pitchFamily="2" charset="0"/>
                <a:ea typeface="+mn-ea"/>
                <a:sym typeface="GT America" panose="00000500000000000000" pitchFamily="2" charset="0"/>
              </a:rPr>
              <a:t>di un prodotto ai requisiti di progettazione ecocompatibile?</a:t>
            </a:r>
          </a:p>
          <a:p>
            <a:pPr marL="285750" marR="0" lvl="0" indent="-285750" algn="just" defTabSz="914400" rtl="0" eaLnBrk="1" fontAlgn="auto" latinLnBrk="0" hangingPunct="1">
              <a:lnSpc>
                <a:spcPct val="100000"/>
              </a:lnSpc>
              <a:spcBef>
                <a:spcPts val="1000"/>
              </a:spcBef>
              <a:spcAft>
                <a:spcPts val="0"/>
              </a:spcAft>
              <a:buClr>
                <a:srgbClr val="002060"/>
              </a:buClr>
              <a:buSzTx/>
              <a:buFont typeface="Wingdings" panose="05000000000000000000" pitchFamily="2" charset="2"/>
              <a:buChar char="Ø"/>
              <a:tabLst/>
              <a:defRPr/>
            </a:pPr>
            <a:endParaRPr kumimoji="0" lang="it-IT" sz="2200" b="0" i="0" u="none" strike="noStrike" kern="1200" cap="none" spc="0" normalizeH="0" baseline="0" noProof="0" dirty="0">
              <a:ln>
                <a:noFill/>
              </a:ln>
              <a:solidFill>
                <a:prstClr val="black"/>
              </a:solidFill>
              <a:effectLst/>
              <a:uLnTx/>
              <a:uFillTx/>
              <a:latin typeface="GT America" panose="00000500000000000000" pitchFamily="2" charset="0"/>
              <a:ea typeface="+mn-ea"/>
              <a:sym typeface="GT America" panose="00000500000000000000" pitchFamily="2" charset="0"/>
            </a:endParaRPr>
          </a:p>
          <a:p>
            <a:pPr marL="0" marR="0" lvl="0" indent="0" algn="just" defTabSz="914400" rtl="0" eaLnBrk="1" fontAlgn="auto" latinLnBrk="0" hangingPunct="1">
              <a:lnSpc>
                <a:spcPct val="100000"/>
              </a:lnSpc>
              <a:spcBef>
                <a:spcPts val="1000"/>
              </a:spcBef>
              <a:spcAft>
                <a:spcPts val="0"/>
              </a:spcAft>
              <a:buClr>
                <a:srgbClr val="002060"/>
              </a:buClr>
              <a:buSzTx/>
              <a:buFont typeface="GT America" panose="020B0604020202020204" pitchFamily="34" charset="0"/>
              <a:buNone/>
              <a:tabLst/>
              <a:defRPr/>
            </a:pPr>
            <a:endParaRPr kumimoji="0" lang="it-IT" sz="2200" b="0" i="0" u="none" strike="noStrike" kern="1200" cap="none" spc="0" normalizeH="0" baseline="0" noProof="0" dirty="0">
              <a:ln>
                <a:noFill/>
              </a:ln>
              <a:solidFill>
                <a:prstClr val="black"/>
              </a:solidFill>
              <a:effectLst/>
              <a:uLnTx/>
              <a:uFillTx/>
              <a:latin typeface="GT America" panose="00000500000000000000" pitchFamily="2" charset="0"/>
              <a:ea typeface="+mn-ea"/>
              <a:sym typeface="GT America" panose="00000500000000000000" pitchFamily="2" charset="0"/>
            </a:endParaRPr>
          </a:p>
        </p:txBody>
      </p:sp>
      <p:graphicFrame>
        <p:nvGraphicFramePr>
          <p:cNvPr id="7" name="Diagramma 6">
            <a:extLst>
              <a:ext uri="{FF2B5EF4-FFF2-40B4-BE49-F238E27FC236}">
                <a16:creationId xmlns:a16="http://schemas.microsoft.com/office/drawing/2014/main" id="{DC34FCDE-B2BB-5257-1C71-AF219BB6B6B9}"/>
              </a:ext>
            </a:extLst>
          </p:cNvPr>
          <p:cNvGraphicFramePr/>
          <p:nvPr>
            <p:extLst>
              <p:ext uri="{D42A27DB-BD31-4B8C-83A1-F6EECF244321}">
                <p14:modId xmlns:p14="http://schemas.microsoft.com/office/powerpoint/2010/main" val="1204557087"/>
              </p:ext>
            </p:extLst>
          </p:nvPr>
        </p:nvGraphicFramePr>
        <p:xfrm>
          <a:off x="1054894" y="2199595"/>
          <a:ext cx="10082213" cy="395131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pic>
        <p:nvPicPr>
          <p:cNvPr id="8" name="Immagine 7">
            <a:extLst>
              <a:ext uri="{FF2B5EF4-FFF2-40B4-BE49-F238E27FC236}">
                <a16:creationId xmlns:a16="http://schemas.microsoft.com/office/drawing/2014/main" id="{D86B651D-9C35-55E4-2F55-EF4E1AA70BF9}"/>
              </a:ext>
            </a:extLst>
          </p:cNvPr>
          <p:cNvPicPr>
            <a:picLocks noChangeAspect="1"/>
          </p:cNvPicPr>
          <p:nvPr/>
        </p:nvPicPr>
        <p:blipFill>
          <a:blip r:embed="rId7"/>
          <a:stretch>
            <a:fillRect/>
          </a:stretch>
        </p:blipFill>
        <p:spPr>
          <a:xfrm>
            <a:off x="9333557" y="5259537"/>
            <a:ext cx="2444749" cy="1396056"/>
          </a:xfrm>
          <a:prstGeom prst="rect">
            <a:avLst/>
          </a:prstGeom>
        </p:spPr>
      </p:pic>
    </p:spTree>
    <p:extLst>
      <p:ext uri="{BB962C8B-B14F-4D97-AF65-F5344CB8AC3E}">
        <p14:creationId xmlns:p14="http://schemas.microsoft.com/office/powerpoint/2010/main" val="302545707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B491A02-3D2D-9622-F196-35472BD615C5}"/>
              </a:ext>
            </a:extLst>
          </p:cNvPr>
          <p:cNvSpPr>
            <a:spLocks noGrp="1"/>
          </p:cNvSpPr>
          <p:nvPr>
            <p:ph type="title"/>
          </p:nvPr>
        </p:nvSpPr>
        <p:spPr/>
        <p:txBody>
          <a:bodyPr/>
          <a:lstStyle/>
          <a:p>
            <a:r>
              <a:rPr lang="it-IT" dirty="0"/>
              <a:t>IMPATTI E IMPLICAZIONI PRATICHE PER LE IMPRESE</a:t>
            </a:r>
          </a:p>
        </p:txBody>
      </p:sp>
      <p:sp>
        <p:nvSpPr>
          <p:cNvPr id="3" name="Segnaposto numero diapositiva 2">
            <a:extLst>
              <a:ext uri="{FF2B5EF4-FFF2-40B4-BE49-F238E27FC236}">
                <a16:creationId xmlns:a16="http://schemas.microsoft.com/office/drawing/2014/main" id="{CD2618E4-D850-3581-9040-04AACC4EC554}"/>
              </a:ext>
            </a:extLst>
          </p:cNvPr>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4CFEB0D3-1EB3-4F08-8062-95FFB9749870}" type="slidenum">
              <a:rPr kumimoji="0" lang="de-DE" sz="1100" b="0" i="0" u="none" strike="noStrike" kern="1200" cap="none" spc="0" normalizeH="0" baseline="0" noProof="0" smtClean="0">
                <a:ln>
                  <a:noFill/>
                </a:ln>
                <a:solidFill>
                  <a:prstClr val="black"/>
                </a:solidFill>
                <a:effectLst/>
                <a:uLnTx/>
                <a:uFillTx/>
                <a:latin typeface="GT America" panose="00000500000000000000" pitchFamily="2" charset="0"/>
                <a:ea typeface="+mn-ea"/>
                <a:sym typeface="GT America" panose="00000500000000000000"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13</a:t>
            </a:fld>
            <a:endParaRPr kumimoji="0" lang="de-DE" sz="1100" b="0" i="0" u="none" strike="noStrike" kern="1200" cap="none" spc="0" normalizeH="0" baseline="0" noProof="0" dirty="0">
              <a:ln>
                <a:noFill/>
              </a:ln>
              <a:solidFill>
                <a:prstClr val="black"/>
              </a:solidFill>
              <a:effectLst/>
              <a:uLnTx/>
              <a:uFillTx/>
              <a:latin typeface="GT America" panose="00000500000000000000" pitchFamily="2" charset="0"/>
              <a:ea typeface="+mn-ea"/>
              <a:sym typeface="GT America" panose="00000500000000000000" pitchFamily="2" charset="0"/>
            </a:endParaRPr>
          </a:p>
        </p:txBody>
      </p:sp>
      <p:sp>
        <p:nvSpPr>
          <p:cNvPr id="5" name="Segnaposto testo 2">
            <a:extLst>
              <a:ext uri="{FF2B5EF4-FFF2-40B4-BE49-F238E27FC236}">
                <a16:creationId xmlns:a16="http://schemas.microsoft.com/office/drawing/2014/main" id="{03DD842F-7773-6781-8EFA-3DFFA8E126A1}"/>
              </a:ext>
            </a:extLst>
          </p:cNvPr>
          <p:cNvSpPr txBox="1">
            <a:spLocks/>
          </p:cNvSpPr>
          <p:nvPr/>
        </p:nvSpPr>
        <p:spPr>
          <a:xfrm>
            <a:off x="1128071" y="5358235"/>
            <a:ext cx="11336978" cy="1703294"/>
          </a:xfrm>
          <a:prstGeom prst="rect">
            <a:avLst/>
          </a:prstGeom>
        </p:spPr>
        <p:txBody>
          <a:bodyPr vert="horz" lIns="0" tIns="0" rIns="0" bIns="0" rtlCol="0">
            <a:normAutofit/>
          </a:bodyPr>
          <a:lstStyle>
            <a:lvl1pPr marL="0" indent="0" algn="l" defTabSz="914400" rtl="0" eaLnBrk="1" latinLnBrk="0" hangingPunct="1">
              <a:lnSpc>
                <a:spcPct val="100000"/>
              </a:lnSpc>
              <a:spcBef>
                <a:spcPts val="1000"/>
              </a:spcBef>
              <a:buFont typeface="GT America" panose="020B0604020202020204" pitchFamily="34" charset="0"/>
              <a:buNone/>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5pPr>
            <a:lvl6pPr marL="25146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9pPr>
          </a:lstStyle>
          <a:p>
            <a:pPr marL="342900" marR="0" lvl="0" indent="-342900" algn="just" defTabSz="914400" rtl="0" eaLnBrk="1" fontAlgn="auto" latinLnBrk="0" hangingPunct="1">
              <a:lnSpc>
                <a:spcPct val="100000"/>
              </a:lnSpc>
              <a:spcBef>
                <a:spcPts val="1000"/>
              </a:spcBef>
              <a:spcAft>
                <a:spcPts val="0"/>
              </a:spcAft>
              <a:buClr>
                <a:srgbClr val="002060"/>
              </a:buClr>
              <a:buSzTx/>
              <a:buFont typeface="Wingdings" panose="05000000000000000000" pitchFamily="2" charset="2"/>
              <a:buChar char="Ø"/>
              <a:tabLst/>
              <a:defRPr/>
            </a:pPr>
            <a:endParaRPr kumimoji="0" lang="it-IT" sz="2200" b="0" i="0" u="none" strike="noStrike" kern="1200" cap="none" spc="0" normalizeH="0" baseline="0" noProof="0" dirty="0">
              <a:ln>
                <a:noFill/>
              </a:ln>
              <a:solidFill>
                <a:prstClr val="black"/>
              </a:solidFill>
              <a:effectLst/>
              <a:uLnTx/>
              <a:uFillTx/>
              <a:latin typeface="GT America" panose="00000500000000000000" pitchFamily="2" charset="0"/>
              <a:ea typeface="+mn-ea"/>
              <a:sym typeface="GT America" panose="00000500000000000000" pitchFamily="2" charset="0"/>
            </a:endParaRPr>
          </a:p>
          <a:p>
            <a:pPr marL="342900" marR="0" lvl="0" indent="-342900" algn="just" defTabSz="914400" rtl="0" eaLnBrk="1" fontAlgn="auto" latinLnBrk="0" hangingPunct="1">
              <a:lnSpc>
                <a:spcPct val="100000"/>
              </a:lnSpc>
              <a:spcBef>
                <a:spcPts val="1000"/>
              </a:spcBef>
              <a:spcAft>
                <a:spcPts val="0"/>
              </a:spcAft>
              <a:buClr>
                <a:srgbClr val="002060"/>
              </a:buClr>
              <a:buSzTx/>
              <a:buFont typeface="Wingdings" panose="05000000000000000000" pitchFamily="2" charset="2"/>
              <a:buChar char="Ø"/>
              <a:tabLst/>
              <a:defRPr/>
            </a:pPr>
            <a:endParaRPr kumimoji="0" lang="it-IT" sz="2200" b="0" i="0" u="none" strike="noStrike" kern="1200" cap="none" spc="0" normalizeH="0" baseline="0" noProof="0" dirty="0">
              <a:ln>
                <a:noFill/>
              </a:ln>
              <a:solidFill>
                <a:prstClr val="black"/>
              </a:solidFill>
              <a:effectLst/>
              <a:uLnTx/>
              <a:uFillTx/>
              <a:latin typeface="GT America" panose="00000500000000000000" pitchFamily="2" charset="0"/>
              <a:ea typeface="+mn-ea"/>
              <a:sym typeface="GT America" panose="00000500000000000000" pitchFamily="2" charset="0"/>
            </a:endParaRPr>
          </a:p>
          <a:p>
            <a:pPr marL="0" marR="0" lvl="0" indent="0" algn="just" defTabSz="914400" rtl="0" eaLnBrk="1" fontAlgn="auto" latinLnBrk="0" hangingPunct="1">
              <a:lnSpc>
                <a:spcPct val="100000"/>
              </a:lnSpc>
              <a:spcBef>
                <a:spcPts val="1000"/>
              </a:spcBef>
              <a:spcAft>
                <a:spcPts val="0"/>
              </a:spcAft>
              <a:buClr>
                <a:srgbClr val="002060"/>
              </a:buClr>
              <a:buSzTx/>
              <a:buFont typeface="GT America" panose="020B0604020202020204" pitchFamily="34" charset="0"/>
              <a:buNone/>
              <a:tabLst/>
              <a:defRPr/>
            </a:pPr>
            <a:r>
              <a:rPr kumimoji="0" lang="it-IT" sz="2200" b="0" i="0" u="none" strike="noStrike" kern="1200" cap="none" spc="0" normalizeH="0" baseline="0" noProof="0" dirty="0">
                <a:ln>
                  <a:noFill/>
                </a:ln>
                <a:solidFill>
                  <a:prstClr val="black"/>
                </a:solidFill>
                <a:effectLst/>
                <a:uLnTx/>
                <a:uFillTx/>
                <a:latin typeface="GT America" panose="00000500000000000000" pitchFamily="2" charset="0"/>
                <a:ea typeface="+mn-ea"/>
                <a:sym typeface="GT America" panose="00000500000000000000" pitchFamily="2" charset="0"/>
              </a:rPr>
              <a:t> </a:t>
            </a:r>
          </a:p>
        </p:txBody>
      </p:sp>
      <p:sp>
        <p:nvSpPr>
          <p:cNvPr id="19" name="Ovale 18">
            <a:extLst>
              <a:ext uri="{FF2B5EF4-FFF2-40B4-BE49-F238E27FC236}">
                <a16:creationId xmlns:a16="http://schemas.microsoft.com/office/drawing/2014/main" id="{288468B8-955A-E66D-7EBC-F60369796E3E}"/>
              </a:ext>
            </a:extLst>
          </p:cNvPr>
          <p:cNvSpPr/>
          <p:nvPr/>
        </p:nvSpPr>
        <p:spPr>
          <a:xfrm>
            <a:off x="291164" y="2461652"/>
            <a:ext cx="3360446" cy="3186500"/>
          </a:xfrm>
          <a:prstGeom prst="ellipse">
            <a:avLst/>
          </a:prstGeom>
          <a:solidFill>
            <a:schemeClr val="accent2">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prstClr val="black"/>
                </a:solidFill>
                <a:effectLst/>
                <a:uLnTx/>
                <a:uFillTx/>
                <a:latin typeface="GT America"/>
                <a:ea typeface="+mn-ea"/>
                <a:cs typeface="+mn-cs"/>
              </a:rPr>
              <a:t>Implementazione di </a:t>
            </a:r>
            <a:r>
              <a:rPr kumimoji="0" lang="it-IT" sz="1800" b="1" i="0" u="none" strike="noStrike" kern="1200" cap="none" spc="0" normalizeH="0" baseline="0" noProof="0" dirty="0">
                <a:ln>
                  <a:noFill/>
                </a:ln>
                <a:solidFill>
                  <a:prstClr val="black"/>
                </a:solidFill>
                <a:effectLst/>
                <a:uLnTx/>
                <a:uFillTx/>
                <a:latin typeface="GT America"/>
                <a:ea typeface="+mn-ea"/>
                <a:cs typeface="+mn-cs"/>
              </a:rPr>
              <a:t>sistemi di raccolta dati su invenduto e ciclo di vita </a:t>
            </a:r>
            <a:r>
              <a:rPr kumimoji="0" lang="it-IT" sz="1800" b="0" i="0" u="none" strike="noStrike" kern="1200" cap="none" spc="0" normalizeH="0" baseline="0" noProof="0" dirty="0">
                <a:ln>
                  <a:noFill/>
                </a:ln>
                <a:solidFill>
                  <a:prstClr val="black"/>
                </a:solidFill>
                <a:effectLst/>
                <a:uLnTx/>
                <a:uFillTx/>
                <a:latin typeface="GT America"/>
                <a:ea typeface="+mn-ea"/>
                <a:cs typeface="+mn-cs"/>
              </a:rPr>
              <a:t>dei prodotti</a:t>
            </a:r>
          </a:p>
        </p:txBody>
      </p:sp>
      <p:sp>
        <p:nvSpPr>
          <p:cNvPr id="20" name="Ovale 19">
            <a:extLst>
              <a:ext uri="{FF2B5EF4-FFF2-40B4-BE49-F238E27FC236}">
                <a16:creationId xmlns:a16="http://schemas.microsoft.com/office/drawing/2014/main" id="{2150A35D-9C24-AC12-C01B-F95EF7BB73D2}"/>
              </a:ext>
            </a:extLst>
          </p:cNvPr>
          <p:cNvSpPr/>
          <p:nvPr/>
        </p:nvSpPr>
        <p:spPr>
          <a:xfrm>
            <a:off x="4307826" y="2436934"/>
            <a:ext cx="3360446" cy="3186500"/>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prstClr val="black"/>
                </a:solidFill>
                <a:effectLst/>
                <a:uLnTx/>
                <a:uFillTx/>
                <a:latin typeface="GT America"/>
                <a:ea typeface="+mn-ea"/>
                <a:cs typeface="+mn-cs"/>
              </a:rPr>
              <a:t>Adeguamento dei </a:t>
            </a:r>
            <a:r>
              <a:rPr kumimoji="0" lang="it-IT" sz="1800" b="1" i="0" u="none" strike="noStrike" kern="1200" cap="none" spc="0" normalizeH="0" baseline="0" noProof="0" dirty="0">
                <a:ln>
                  <a:noFill/>
                </a:ln>
                <a:solidFill>
                  <a:prstClr val="black"/>
                </a:solidFill>
                <a:effectLst/>
                <a:uLnTx/>
                <a:uFillTx/>
                <a:latin typeface="GT America"/>
                <a:ea typeface="+mn-ea"/>
                <a:cs typeface="+mn-cs"/>
              </a:rPr>
              <a:t>processi interni </a:t>
            </a:r>
            <a:r>
              <a:rPr kumimoji="0" lang="it-IT" sz="1800" b="0" i="0" u="none" strike="noStrike" kern="1200" cap="none" spc="0" normalizeH="0" baseline="0" noProof="0" dirty="0">
                <a:ln>
                  <a:noFill/>
                </a:ln>
                <a:solidFill>
                  <a:prstClr val="black"/>
                </a:solidFill>
                <a:effectLst/>
                <a:uLnTx/>
                <a:uFillTx/>
                <a:latin typeface="GT America"/>
                <a:ea typeface="+mn-ea"/>
                <a:cs typeface="+mn-cs"/>
              </a:rPr>
              <a:t>per garantire conformità ai nuovi obblighi di progettazione e divulgazione</a:t>
            </a:r>
          </a:p>
        </p:txBody>
      </p:sp>
      <p:sp>
        <p:nvSpPr>
          <p:cNvPr id="22" name="Ovale 21">
            <a:extLst>
              <a:ext uri="{FF2B5EF4-FFF2-40B4-BE49-F238E27FC236}">
                <a16:creationId xmlns:a16="http://schemas.microsoft.com/office/drawing/2014/main" id="{031AF3A3-E329-07E4-B67A-6F3F44BAA99C}"/>
              </a:ext>
            </a:extLst>
          </p:cNvPr>
          <p:cNvSpPr/>
          <p:nvPr/>
        </p:nvSpPr>
        <p:spPr>
          <a:xfrm>
            <a:off x="8322161" y="2461652"/>
            <a:ext cx="3360446" cy="3149126"/>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800" b="0" i="0" u="none" strike="noStrike" kern="1200" cap="none" spc="0" normalizeH="0" baseline="0" noProof="0" dirty="0">
                <a:ln>
                  <a:noFill/>
                </a:ln>
                <a:solidFill>
                  <a:prstClr val="black"/>
                </a:solidFill>
                <a:effectLst/>
                <a:uLnTx/>
                <a:uFillTx/>
                <a:latin typeface="GT America"/>
                <a:ea typeface="+mn-ea"/>
                <a:cs typeface="+mn-cs"/>
              </a:rPr>
              <a:t>Adozione di </a:t>
            </a:r>
            <a:r>
              <a:rPr kumimoji="0" lang="it-IT" sz="1800" b="1" i="0" u="none" strike="noStrike" kern="1200" cap="none" spc="0" normalizeH="0" baseline="0" noProof="0" dirty="0">
                <a:ln>
                  <a:noFill/>
                </a:ln>
                <a:solidFill>
                  <a:prstClr val="black"/>
                </a:solidFill>
                <a:effectLst/>
                <a:uLnTx/>
                <a:uFillTx/>
                <a:latin typeface="GT America"/>
                <a:ea typeface="+mn-ea"/>
                <a:cs typeface="+mn-cs"/>
              </a:rPr>
              <a:t>soluzioni tecnologiche </a:t>
            </a:r>
            <a:r>
              <a:rPr kumimoji="0" lang="it-IT" sz="1800" b="0" i="0" u="none" strike="noStrike" kern="1200" cap="none" spc="0" normalizeH="0" baseline="0" noProof="0" dirty="0">
                <a:ln>
                  <a:noFill/>
                </a:ln>
                <a:solidFill>
                  <a:prstClr val="black"/>
                </a:solidFill>
                <a:effectLst/>
                <a:uLnTx/>
                <a:uFillTx/>
                <a:latin typeface="GT America"/>
                <a:ea typeface="+mn-ea"/>
                <a:cs typeface="+mn-cs"/>
              </a:rPr>
              <a:t>per facilitare l’introduzione del DPP e la raccolta dei dati necessari all’adempimento dei nuovi obblighi</a:t>
            </a:r>
          </a:p>
        </p:txBody>
      </p:sp>
      <p:sp>
        <p:nvSpPr>
          <p:cNvPr id="25" name="CasellaDiTesto 24">
            <a:extLst>
              <a:ext uri="{FF2B5EF4-FFF2-40B4-BE49-F238E27FC236}">
                <a16:creationId xmlns:a16="http://schemas.microsoft.com/office/drawing/2014/main" id="{7BD08BC5-4DD6-5656-8398-C0D6D95B381E}"/>
              </a:ext>
            </a:extLst>
          </p:cNvPr>
          <p:cNvSpPr txBox="1"/>
          <p:nvPr/>
        </p:nvSpPr>
        <p:spPr>
          <a:xfrm>
            <a:off x="263524" y="1186458"/>
            <a:ext cx="11254179" cy="430887"/>
          </a:xfrm>
          <a:prstGeom prst="rect">
            <a:avLst/>
          </a:prstGeom>
          <a:noFill/>
        </p:spPr>
        <p:txBody>
          <a:bodyPr wrap="square">
            <a:spAutoFit/>
          </a:bodyPr>
          <a:lstStyle/>
          <a:p>
            <a:pPr marL="0" marR="0" lvl="0" indent="0" algn="just" defTabSz="914400" rtl="0" eaLnBrk="1" fontAlgn="auto" latinLnBrk="0" hangingPunct="1">
              <a:lnSpc>
                <a:spcPct val="100000"/>
              </a:lnSpc>
              <a:spcBef>
                <a:spcPts val="0"/>
              </a:spcBef>
              <a:spcAft>
                <a:spcPts val="0"/>
              </a:spcAft>
              <a:buClr>
                <a:srgbClr val="002060"/>
              </a:buClr>
              <a:buSzTx/>
              <a:buFontTx/>
              <a:buNone/>
              <a:tabLst/>
              <a:defRPr/>
            </a:pPr>
            <a:r>
              <a:rPr kumimoji="0" lang="it-IT" sz="2200" b="0" i="0" u="none" strike="noStrike" kern="1200" cap="none" spc="0" normalizeH="0" baseline="0" noProof="0" dirty="0">
                <a:ln>
                  <a:noFill/>
                </a:ln>
                <a:solidFill>
                  <a:prstClr val="black"/>
                </a:solidFill>
                <a:effectLst/>
                <a:uLnTx/>
                <a:uFillTx/>
                <a:latin typeface="GT America" panose="00000500000000000000" pitchFamily="2" charset="0"/>
                <a:ea typeface="+mn-ea"/>
                <a:cs typeface="+mn-cs"/>
                <a:sym typeface="GT America" panose="00000500000000000000" pitchFamily="2" charset="0"/>
              </a:rPr>
              <a:t>Il Regolamento ESPR pone sfide importanti:</a:t>
            </a:r>
          </a:p>
        </p:txBody>
      </p:sp>
    </p:spTree>
    <p:extLst>
      <p:ext uri="{BB962C8B-B14F-4D97-AF65-F5344CB8AC3E}">
        <p14:creationId xmlns:p14="http://schemas.microsoft.com/office/powerpoint/2010/main" val="419084845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DAB9DA7-7E12-A00A-235D-CCC82063CEE3}"/>
            </a:ext>
          </a:extLst>
        </p:cNvPr>
        <p:cNvGrpSpPr/>
        <p:nvPr/>
      </p:nvGrpSpPr>
      <p:grpSpPr>
        <a:xfrm>
          <a:off x="0" y="0"/>
          <a:ext cx="0" cy="0"/>
          <a:chOff x="0" y="0"/>
          <a:chExt cx="0" cy="0"/>
        </a:xfrm>
      </p:grpSpPr>
      <p:sp>
        <p:nvSpPr>
          <p:cNvPr id="2" name="Titolo 1">
            <a:extLst>
              <a:ext uri="{FF2B5EF4-FFF2-40B4-BE49-F238E27FC236}">
                <a16:creationId xmlns:a16="http://schemas.microsoft.com/office/drawing/2014/main" id="{CA66CADA-1B2F-2524-66D2-130EA6C1A421}"/>
              </a:ext>
            </a:extLst>
          </p:cNvPr>
          <p:cNvSpPr>
            <a:spLocks noGrp="1"/>
          </p:cNvSpPr>
          <p:nvPr>
            <p:ph type="title"/>
          </p:nvPr>
        </p:nvSpPr>
        <p:spPr/>
        <p:txBody>
          <a:bodyPr/>
          <a:lstStyle/>
          <a:p>
            <a:r>
              <a:rPr lang="it-IT" dirty="0"/>
              <a:t>Quali azioni intraprendere in concreto?</a:t>
            </a:r>
          </a:p>
        </p:txBody>
      </p:sp>
      <p:sp>
        <p:nvSpPr>
          <p:cNvPr id="3" name="Segnaposto numero diapositiva 2">
            <a:extLst>
              <a:ext uri="{FF2B5EF4-FFF2-40B4-BE49-F238E27FC236}">
                <a16:creationId xmlns:a16="http://schemas.microsoft.com/office/drawing/2014/main" id="{C9E56DD3-0A38-4E5D-1A92-5ADA5B8D5D40}"/>
              </a:ext>
            </a:extLst>
          </p:cNvPr>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4CFEB0D3-1EB3-4F08-8062-95FFB9749870}" type="slidenum">
              <a:rPr kumimoji="0" lang="de-DE" sz="1100" b="0" i="0" u="none" strike="noStrike" kern="1200" cap="none" spc="0" normalizeH="0" baseline="0" noProof="0" smtClean="0">
                <a:ln>
                  <a:noFill/>
                </a:ln>
                <a:solidFill>
                  <a:prstClr val="black"/>
                </a:solidFill>
                <a:effectLst/>
                <a:uLnTx/>
                <a:uFillTx/>
                <a:latin typeface="GT America" panose="00000500000000000000" pitchFamily="2" charset="0"/>
                <a:ea typeface="+mn-ea"/>
                <a:sym typeface="GT America" panose="00000500000000000000"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14</a:t>
            </a:fld>
            <a:endParaRPr kumimoji="0" lang="de-DE" sz="1100" b="0" i="0" u="none" strike="noStrike" kern="1200" cap="none" spc="0" normalizeH="0" baseline="0" noProof="0" dirty="0">
              <a:ln>
                <a:noFill/>
              </a:ln>
              <a:solidFill>
                <a:prstClr val="black"/>
              </a:solidFill>
              <a:effectLst/>
              <a:uLnTx/>
              <a:uFillTx/>
              <a:latin typeface="GT America" panose="00000500000000000000" pitchFamily="2" charset="0"/>
              <a:ea typeface="+mn-ea"/>
              <a:sym typeface="GT America" panose="00000500000000000000" pitchFamily="2" charset="0"/>
            </a:endParaRPr>
          </a:p>
        </p:txBody>
      </p:sp>
      <p:sp>
        <p:nvSpPr>
          <p:cNvPr id="5" name="Segnaposto testo 2">
            <a:extLst>
              <a:ext uri="{FF2B5EF4-FFF2-40B4-BE49-F238E27FC236}">
                <a16:creationId xmlns:a16="http://schemas.microsoft.com/office/drawing/2014/main" id="{3D4B619B-B112-D0AA-6B85-994F5648BC0E}"/>
              </a:ext>
            </a:extLst>
          </p:cNvPr>
          <p:cNvSpPr txBox="1">
            <a:spLocks/>
          </p:cNvSpPr>
          <p:nvPr/>
        </p:nvSpPr>
        <p:spPr>
          <a:xfrm>
            <a:off x="1128071" y="5358235"/>
            <a:ext cx="11336978" cy="1703294"/>
          </a:xfrm>
          <a:prstGeom prst="rect">
            <a:avLst/>
          </a:prstGeom>
        </p:spPr>
        <p:txBody>
          <a:bodyPr vert="horz" lIns="0" tIns="0" rIns="0" bIns="0" rtlCol="0">
            <a:normAutofit/>
          </a:bodyPr>
          <a:lstStyle>
            <a:lvl1pPr marL="0" indent="0" algn="l" defTabSz="914400" rtl="0" eaLnBrk="1" latinLnBrk="0" hangingPunct="1">
              <a:lnSpc>
                <a:spcPct val="100000"/>
              </a:lnSpc>
              <a:spcBef>
                <a:spcPts val="1000"/>
              </a:spcBef>
              <a:buFont typeface="GT America" panose="020B0604020202020204" pitchFamily="34" charset="0"/>
              <a:buNone/>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5pPr>
            <a:lvl6pPr marL="25146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9pPr>
          </a:lstStyle>
          <a:p>
            <a:pPr marL="342900" marR="0" lvl="0" indent="-342900" algn="just" defTabSz="914400" rtl="0" eaLnBrk="1" fontAlgn="auto" latinLnBrk="0" hangingPunct="1">
              <a:lnSpc>
                <a:spcPct val="100000"/>
              </a:lnSpc>
              <a:spcBef>
                <a:spcPts val="1000"/>
              </a:spcBef>
              <a:spcAft>
                <a:spcPts val="0"/>
              </a:spcAft>
              <a:buClr>
                <a:srgbClr val="002060"/>
              </a:buClr>
              <a:buSzTx/>
              <a:buFont typeface="Wingdings" panose="05000000000000000000" pitchFamily="2" charset="2"/>
              <a:buChar char="Ø"/>
              <a:tabLst/>
              <a:defRPr/>
            </a:pPr>
            <a:endParaRPr kumimoji="0" lang="it-IT" sz="2200" b="0" i="0" u="none" strike="noStrike" kern="1200" cap="none" spc="0" normalizeH="0" baseline="0" noProof="0" dirty="0">
              <a:ln>
                <a:noFill/>
              </a:ln>
              <a:solidFill>
                <a:prstClr val="black"/>
              </a:solidFill>
              <a:effectLst/>
              <a:uLnTx/>
              <a:uFillTx/>
              <a:latin typeface="GT America" panose="00000500000000000000" pitchFamily="2" charset="0"/>
              <a:ea typeface="+mn-ea"/>
              <a:sym typeface="GT America" panose="00000500000000000000" pitchFamily="2" charset="0"/>
            </a:endParaRPr>
          </a:p>
          <a:p>
            <a:pPr marL="342900" marR="0" lvl="0" indent="-342900" algn="just" defTabSz="914400" rtl="0" eaLnBrk="1" fontAlgn="auto" latinLnBrk="0" hangingPunct="1">
              <a:lnSpc>
                <a:spcPct val="100000"/>
              </a:lnSpc>
              <a:spcBef>
                <a:spcPts val="1000"/>
              </a:spcBef>
              <a:spcAft>
                <a:spcPts val="0"/>
              </a:spcAft>
              <a:buClr>
                <a:srgbClr val="002060"/>
              </a:buClr>
              <a:buSzTx/>
              <a:buFont typeface="Wingdings" panose="05000000000000000000" pitchFamily="2" charset="2"/>
              <a:buChar char="Ø"/>
              <a:tabLst/>
              <a:defRPr/>
            </a:pPr>
            <a:endParaRPr kumimoji="0" lang="it-IT" sz="2200" b="0" i="0" u="none" strike="noStrike" kern="1200" cap="none" spc="0" normalizeH="0" baseline="0" noProof="0" dirty="0">
              <a:ln>
                <a:noFill/>
              </a:ln>
              <a:solidFill>
                <a:prstClr val="black"/>
              </a:solidFill>
              <a:effectLst/>
              <a:uLnTx/>
              <a:uFillTx/>
              <a:latin typeface="GT America" panose="00000500000000000000" pitchFamily="2" charset="0"/>
              <a:ea typeface="+mn-ea"/>
              <a:sym typeface="GT America" panose="00000500000000000000" pitchFamily="2" charset="0"/>
            </a:endParaRPr>
          </a:p>
          <a:p>
            <a:pPr marL="0" marR="0" lvl="0" indent="0" algn="just" defTabSz="914400" rtl="0" eaLnBrk="1" fontAlgn="auto" latinLnBrk="0" hangingPunct="1">
              <a:lnSpc>
                <a:spcPct val="100000"/>
              </a:lnSpc>
              <a:spcBef>
                <a:spcPts val="1000"/>
              </a:spcBef>
              <a:spcAft>
                <a:spcPts val="0"/>
              </a:spcAft>
              <a:buClr>
                <a:srgbClr val="002060"/>
              </a:buClr>
              <a:buSzTx/>
              <a:buFont typeface="GT America" panose="020B0604020202020204" pitchFamily="34" charset="0"/>
              <a:buNone/>
              <a:tabLst/>
              <a:defRPr/>
            </a:pPr>
            <a:r>
              <a:rPr kumimoji="0" lang="it-IT" sz="2200" b="0" i="0" u="none" strike="noStrike" kern="1200" cap="none" spc="0" normalizeH="0" baseline="0" noProof="0" dirty="0">
                <a:ln>
                  <a:noFill/>
                </a:ln>
                <a:solidFill>
                  <a:prstClr val="black"/>
                </a:solidFill>
                <a:effectLst/>
                <a:uLnTx/>
                <a:uFillTx/>
                <a:latin typeface="GT America" panose="00000500000000000000" pitchFamily="2" charset="0"/>
                <a:ea typeface="+mn-ea"/>
                <a:sym typeface="GT America" panose="00000500000000000000" pitchFamily="2" charset="0"/>
              </a:rPr>
              <a:t> </a:t>
            </a:r>
          </a:p>
        </p:txBody>
      </p:sp>
      <p:pic>
        <p:nvPicPr>
          <p:cNvPr id="15" name="Immagine 14">
            <a:extLst>
              <a:ext uri="{FF2B5EF4-FFF2-40B4-BE49-F238E27FC236}">
                <a16:creationId xmlns:a16="http://schemas.microsoft.com/office/drawing/2014/main" id="{82704637-7A92-14A8-195A-A574D63CA150}"/>
              </a:ext>
            </a:extLst>
          </p:cNvPr>
          <p:cNvPicPr>
            <a:picLocks noChangeAspect="1"/>
          </p:cNvPicPr>
          <p:nvPr/>
        </p:nvPicPr>
        <p:blipFill>
          <a:blip r:embed="rId2"/>
          <a:srcRect/>
          <a:stretch/>
        </p:blipFill>
        <p:spPr>
          <a:xfrm>
            <a:off x="0" y="3010814"/>
            <a:ext cx="2008335" cy="1585372"/>
          </a:xfrm>
          <a:prstGeom prst="rect">
            <a:avLst/>
          </a:prstGeom>
        </p:spPr>
      </p:pic>
      <p:graphicFrame>
        <p:nvGraphicFramePr>
          <p:cNvPr id="16" name="Diagramma 15">
            <a:extLst>
              <a:ext uri="{FF2B5EF4-FFF2-40B4-BE49-F238E27FC236}">
                <a16:creationId xmlns:a16="http://schemas.microsoft.com/office/drawing/2014/main" id="{89D90E98-29FA-FFA2-F58E-2911CBD3A251}"/>
              </a:ext>
            </a:extLst>
          </p:cNvPr>
          <p:cNvGraphicFramePr/>
          <p:nvPr>
            <p:extLst>
              <p:ext uri="{D42A27DB-BD31-4B8C-83A1-F6EECF244321}">
                <p14:modId xmlns:p14="http://schemas.microsoft.com/office/powerpoint/2010/main" val="4199948401"/>
              </p:ext>
            </p:extLst>
          </p:nvPr>
        </p:nvGraphicFramePr>
        <p:xfrm>
          <a:off x="2133600" y="1009650"/>
          <a:ext cx="9521997" cy="558770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45821465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0F7F660-0BC0-F381-C054-499FB3DFF06E}"/>
            </a:ext>
          </a:extLst>
        </p:cNvPr>
        <p:cNvGrpSpPr/>
        <p:nvPr/>
      </p:nvGrpSpPr>
      <p:grpSpPr>
        <a:xfrm>
          <a:off x="0" y="0"/>
          <a:ext cx="0" cy="0"/>
          <a:chOff x="0" y="0"/>
          <a:chExt cx="0" cy="0"/>
        </a:xfrm>
      </p:grpSpPr>
      <p:sp>
        <p:nvSpPr>
          <p:cNvPr id="3" name="Segnaposto numero diapositiva 2">
            <a:extLst>
              <a:ext uri="{FF2B5EF4-FFF2-40B4-BE49-F238E27FC236}">
                <a16:creationId xmlns:a16="http://schemas.microsoft.com/office/drawing/2014/main" id="{A12F2110-05CE-4892-627A-E3B59E7BE1FD}"/>
              </a:ext>
            </a:extLst>
          </p:cNvPr>
          <p:cNvSpPr>
            <a:spLocks noGrp="1"/>
          </p:cNvSpPr>
          <p:nvPr>
            <p:ph type="sldNum" sz="quarter" idx="17"/>
          </p:nvPr>
        </p:nvSpPr>
        <p:spPr/>
        <p:txBody>
          <a:bodyPr/>
          <a:lstStyle/>
          <a:p>
            <a:fld id="{4CFEB0D3-1EB3-4F08-8062-95FFB9749870}" type="slidenum">
              <a:rPr lang="de-DE" smtClean="0"/>
              <a:pPr/>
              <a:t>15</a:t>
            </a:fld>
            <a:endParaRPr lang="de-DE" dirty="0"/>
          </a:p>
        </p:txBody>
      </p:sp>
      <p:sp>
        <p:nvSpPr>
          <p:cNvPr id="4" name="Segnaposto testo 3">
            <a:extLst>
              <a:ext uri="{FF2B5EF4-FFF2-40B4-BE49-F238E27FC236}">
                <a16:creationId xmlns:a16="http://schemas.microsoft.com/office/drawing/2014/main" id="{CA8B227A-C6BB-7050-B6CE-3266CF1BB060}"/>
              </a:ext>
            </a:extLst>
          </p:cNvPr>
          <p:cNvSpPr>
            <a:spLocks noGrp="1"/>
          </p:cNvSpPr>
          <p:nvPr>
            <p:ph type="body" sz="quarter" idx="14"/>
          </p:nvPr>
        </p:nvSpPr>
        <p:spPr>
          <a:xfrm>
            <a:off x="1" y="244800"/>
            <a:ext cx="4799856" cy="1934388"/>
          </a:xfrm>
        </p:spPr>
        <p:txBody>
          <a:bodyPr/>
          <a:lstStyle/>
          <a:p>
            <a:r>
              <a:rPr lang="it-IT" dirty="0"/>
              <a:t>2	</a:t>
            </a:r>
            <a:r>
              <a:rPr lang="de-DE" sz="2800" b="0" dirty="0">
                <a:solidFill>
                  <a:schemeClr val="tx1"/>
                </a:solidFill>
                <a:latin typeface="+mn-lt"/>
                <a:cs typeface="Arial" panose="020B0604020202020204" pitchFamily="34" charset="0"/>
                <a:sym typeface="Arial" panose="020B0604020202020204" pitchFamily="34" charset="0"/>
              </a:rPr>
              <a:t>Il </a:t>
            </a:r>
            <a:r>
              <a:rPr lang="de-DE" sz="2800" b="0" i="1" dirty="0">
                <a:solidFill>
                  <a:schemeClr val="tx1"/>
                </a:solidFill>
                <a:latin typeface="+mn-lt"/>
                <a:cs typeface="Arial" panose="020B0604020202020204" pitchFamily="34" charset="0"/>
                <a:sym typeface="Arial" panose="020B0604020202020204" pitchFamily="34" charset="0"/>
              </a:rPr>
              <a:t>Digital </a:t>
            </a:r>
            <a:r>
              <a:rPr lang="de-DE" sz="2800" b="0" i="1" dirty="0" err="1">
                <a:solidFill>
                  <a:schemeClr val="tx1"/>
                </a:solidFill>
                <a:latin typeface="+mn-lt"/>
                <a:cs typeface="Arial" panose="020B0604020202020204" pitchFamily="34" charset="0"/>
                <a:sym typeface="Arial" panose="020B0604020202020204" pitchFamily="34" charset="0"/>
              </a:rPr>
              <a:t>Product</a:t>
            </a:r>
            <a:r>
              <a:rPr lang="de-DE" sz="2800" b="0" i="1" dirty="0">
                <a:solidFill>
                  <a:schemeClr val="tx1"/>
                </a:solidFill>
                <a:latin typeface="+mn-lt"/>
                <a:cs typeface="Arial" panose="020B0604020202020204" pitchFamily="34" charset="0"/>
                <a:sym typeface="Arial" panose="020B0604020202020204" pitchFamily="34" charset="0"/>
              </a:rPr>
              <a:t> </a:t>
            </a:r>
            <a:r>
              <a:rPr lang="de-DE" sz="2800" b="0" i="1" dirty="0" err="1">
                <a:solidFill>
                  <a:schemeClr val="tx1"/>
                </a:solidFill>
                <a:latin typeface="+mn-lt"/>
                <a:cs typeface="Arial" panose="020B0604020202020204" pitchFamily="34" charset="0"/>
                <a:sym typeface="Arial" panose="020B0604020202020204" pitchFamily="34" charset="0"/>
              </a:rPr>
              <a:t>Passport</a:t>
            </a:r>
            <a:r>
              <a:rPr lang="de-DE" sz="2800" b="0" i="1" dirty="0">
                <a:solidFill>
                  <a:schemeClr val="tx1"/>
                </a:solidFill>
                <a:latin typeface="+mn-lt"/>
                <a:cs typeface="Arial" panose="020B0604020202020204" pitchFamily="34" charset="0"/>
                <a:sym typeface="Arial" panose="020B0604020202020204" pitchFamily="34" charset="0"/>
              </a:rPr>
              <a:t>  </a:t>
            </a:r>
            <a:r>
              <a:rPr lang="de-DE" dirty="0" err="1">
                <a:latin typeface="+mn-lt"/>
                <a:cs typeface="Arial" panose="020B0604020202020204" pitchFamily="34" charset="0"/>
                <a:sym typeface="Arial" panose="020B0604020202020204" pitchFamily="34" charset="0"/>
              </a:rPr>
              <a:t>nell‘ambito</a:t>
            </a:r>
            <a:r>
              <a:rPr lang="de-DE" dirty="0">
                <a:latin typeface="+mn-lt"/>
                <a:cs typeface="Arial" panose="020B0604020202020204" pitchFamily="34" charset="0"/>
                <a:sym typeface="Arial" panose="020B0604020202020204" pitchFamily="34" charset="0"/>
              </a:rPr>
              <a:t> del </a:t>
            </a:r>
            <a:r>
              <a:rPr lang="de-DE" dirty="0" err="1">
                <a:latin typeface="+mn-lt"/>
                <a:cs typeface="Arial" panose="020B0604020202020204" pitchFamily="34" charset="0"/>
                <a:sym typeface="Arial" panose="020B0604020202020204" pitchFamily="34" charset="0"/>
              </a:rPr>
              <a:t>regolamento</a:t>
            </a:r>
            <a:r>
              <a:rPr lang="de-DE" dirty="0">
                <a:latin typeface="+mn-lt"/>
                <a:cs typeface="Arial" panose="020B0604020202020204" pitchFamily="34" charset="0"/>
                <a:sym typeface="Arial" panose="020B0604020202020204" pitchFamily="34" charset="0"/>
              </a:rPr>
              <a:t> (UE) n. 2024/1781</a:t>
            </a:r>
            <a:endParaRPr lang="it-IT" dirty="0"/>
          </a:p>
        </p:txBody>
      </p:sp>
      <p:pic>
        <p:nvPicPr>
          <p:cNvPr id="18" name="Segnaposto immagine 17" descr="Immagine che contiene Cellulare, gadget, Dispositivo portatile per comunicazioni, Dispositivo elettronico&#10;&#10;Descrizione generata automaticamente">
            <a:extLst>
              <a:ext uri="{FF2B5EF4-FFF2-40B4-BE49-F238E27FC236}">
                <a16:creationId xmlns:a16="http://schemas.microsoft.com/office/drawing/2014/main" id="{0242BF6F-568B-80F0-8ED1-9D9168B98408}"/>
              </a:ext>
            </a:extLst>
          </p:cNvPr>
          <p:cNvPicPr>
            <a:picLocks noGrp="1" noChangeAspect="1"/>
          </p:cNvPicPr>
          <p:nvPr>
            <p:ph type="pic" sz="quarter" idx="16"/>
          </p:nvPr>
        </p:nvPicPr>
        <p:blipFill>
          <a:blip r:embed="rId2">
            <a:extLst>
              <a:ext uri="{837473B0-CC2E-450A-ABE3-18F120FF3D39}">
                <a1611:picAttrSrcUrl xmlns:a1611="http://schemas.microsoft.com/office/drawing/2016/11/main" r:id="rId3"/>
              </a:ext>
            </a:extLst>
          </a:blip>
          <a:srcRect l="22362" r="22362"/>
          <a:stretch>
            <a:fillRect/>
          </a:stretch>
        </p:blipFill>
        <p:spPr/>
      </p:pic>
    </p:spTree>
    <p:extLst>
      <p:ext uri="{BB962C8B-B14F-4D97-AF65-F5344CB8AC3E}">
        <p14:creationId xmlns:p14="http://schemas.microsoft.com/office/powerpoint/2010/main" val="288097451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4D8EA7F-0CB5-D0FC-0521-00998B718E51}"/>
            </a:ext>
          </a:extLst>
        </p:cNvPr>
        <p:cNvGrpSpPr/>
        <p:nvPr/>
      </p:nvGrpSpPr>
      <p:grpSpPr>
        <a:xfrm>
          <a:off x="0" y="0"/>
          <a:ext cx="0" cy="0"/>
          <a:chOff x="0" y="0"/>
          <a:chExt cx="0" cy="0"/>
        </a:xfrm>
      </p:grpSpPr>
      <p:sp>
        <p:nvSpPr>
          <p:cNvPr id="2" name="Titolo 1">
            <a:extLst>
              <a:ext uri="{FF2B5EF4-FFF2-40B4-BE49-F238E27FC236}">
                <a16:creationId xmlns:a16="http://schemas.microsoft.com/office/drawing/2014/main" id="{6BD8AD83-2986-9C21-ACB6-C67253A825B2}"/>
              </a:ext>
            </a:extLst>
          </p:cNvPr>
          <p:cNvSpPr>
            <a:spLocks noGrp="1"/>
          </p:cNvSpPr>
          <p:nvPr>
            <p:ph type="title"/>
          </p:nvPr>
        </p:nvSpPr>
        <p:spPr/>
        <p:txBody>
          <a:bodyPr/>
          <a:lstStyle/>
          <a:p>
            <a:r>
              <a:rPr lang="it-IT" dirty="0"/>
              <a:t>DEFINIZIONE DI PASSAPORTO DIGITALE DEL PRODOTTO</a:t>
            </a:r>
          </a:p>
        </p:txBody>
      </p:sp>
      <p:sp>
        <p:nvSpPr>
          <p:cNvPr id="3" name="CasellaDiTesto 2">
            <a:extLst>
              <a:ext uri="{FF2B5EF4-FFF2-40B4-BE49-F238E27FC236}">
                <a16:creationId xmlns:a16="http://schemas.microsoft.com/office/drawing/2014/main" id="{047CB3F9-1636-80F5-635D-438E9C0AB3C8}"/>
              </a:ext>
            </a:extLst>
          </p:cNvPr>
          <p:cNvSpPr txBox="1"/>
          <p:nvPr/>
        </p:nvSpPr>
        <p:spPr>
          <a:xfrm>
            <a:off x="652021" y="1390724"/>
            <a:ext cx="9268156" cy="7661072"/>
          </a:xfrm>
          <a:prstGeom prst="rect">
            <a:avLst/>
          </a:prstGeom>
          <a:noFill/>
        </p:spPr>
        <p:txBody>
          <a:bodyPr wrap="square" lIns="0" tIns="0" rIns="0" bIns="0" rtlCol="0">
            <a:spAutoFit/>
          </a:bodyPr>
          <a:lstStyle/>
          <a:p>
            <a:pPr algn="just">
              <a:lnSpc>
                <a:spcPct val="150000"/>
              </a:lnSpc>
              <a:spcBef>
                <a:spcPts val="500"/>
              </a:spcBef>
              <a:buClr>
                <a:srgbClr val="00838A"/>
              </a:buClr>
            </a:pPr>
            <a:r>
              <a:rPr lang="it-IT" sz="2400" b="1" dirty="0"/>
              <a:t>Definizione di «Passaporto Digitale di Prodotto» ai sensi dell’art. 2, n. 28) del Regolamento (UE) n. 2024/1781</a:t>
            </a:r>
            <a:r>
              <a:rPr lang="it-IT" sz="2400" dirty="0"/>
              <a:t>:</a:t>
            </a:r>
          </a:p>
          <a:p>
            <a:pPr algn="just">
              <a:lnSpc>
                <a:spcPct val="150000"/>
              </a:lnSpc>
              <a:spcBef>
                <a:spcPts val="500"/>
              </a:spcBef>
              <a:buClr>
                <a:srgbClr val="00838A"/>
              </a:buClr>
            </a:pPr>
            <a:endParaRPr lang="it-IT" sz="2400" b="1" dirty="0"/>
          </a:p>
          <a:p>
            <a:pPr algn="just">
              <a:lnSpc>
                <a:spcPct val="150000"/>
              </a:lnSpc>
              <a:spcBef>
                <a:spcPts val="500"/>
              </a:spcBef>
              <a:buClr>
                <a:srgbClr val="00838A"/>
              </a:buClr>
            </a:pPr>
            <a:r>
              <a:rPr lang="it-IT" sz="2400" dirty="0"/>
              <a:t>«</a:t>
            </a:r>
            <a:r>
              <a:rPr lang="it-IT" sz="2400" b="1" u="sng" dirty="0"/>
              <a:t>l’insieme di dati specifici sul prodotto</a:t>
            </a:r>
            <a:r>
              <a:rPr lang="it-IT" sz="2400" b="1" dirty="0"/>
              <a:t> </a:t>
            </a:r>
            <a:r>
              <a:rPr lang="it-IT" sz="2400" dirty="0"/>
              <a:t>che include le </a:t>
            </a:r>
            <a:r>
              <a:rPr lang="it-IT" sz="2400" u="sng" dirty="0"/>
              <a:t>informazioni indicate nell'atto delegato pertinente adottato a norma dell'articolo 4</a:t>
            </a:r>
            <a:r>
              <a:rPr lang="it-IT" sz="2400" dirty="0"/>
              <a:t> ed è </a:t>
            </a:r>
            <a:r>
              <a:rPr lang="it-IT" sz="2400" b="1" dirty="0"/>
              <a:t>accessibile elettronicamente per mezzo di un supporto dati</a:t>
            </a:r>
            <a:r>
              <a:rPr lang="it-IT" sz="2400" dirty="0"/>
              <a:t> in conformità del capo III»</a:t>
            </a:r>
          </a:p>
          <a:p>
            <a:pPr algn="just">
              <a:lnSpc>
                <a:spcPct val="150000"/>
              </a:lnSpc>
              <a:spcBef>
                <a:spcPts val="500"/>
              </a:spcBef>
              <a:buClr>
                <a:srgbClr val="00838A"/>
              </a:buClr>
            </a:pPr>
            <a:endParaRPr lang="it-IT" sz="2400" dirty="0"/>
          </a:p>
          <a:p>
            <a:pPr algn="just">
              <a:lnSpc>
                <a:spcPct val="150000"/>
              </a:lnSpc>
              <a:spcBef>
                <a:spcPts val="500"/>
              </a:spcBef>
              <a:buClr>
                <a:srgbClr val="00838A"/>
              </a:buClr>
            </a:pPr>
            <a:endParaRPr lang="it-IT" sz="2400" dirty="0"/>
          </a:p>
          <a:p>
            <a:pPr algn="just">
              <a:lnSpc>
                <a:spcPct val="150000"/>
              </a:lnSpc>
              <a:spcBef>
                <a:spcPts val="500"/>
              </a:spcBef>
              <a:buClr>
                <a:srgbClr val="00838A"/>
              </a:buClr>
            </a:pPr>
            <a:endParaRPr lang="it-IT" sz="1600" dirty="0"/>
          </a:p>
          <a:p>
            <a:pPr algn="just">
              <a:lnSpc>
                <a:spcPct val="150000"/>
              </a:lnSpc>
              <a:spcBef>
                <a:spcPts val="500"/>
              </a:spcBef>
              <a:buClr>
                <a:srgbClr val="00838A"/>
              </a:buClr>
            </a:pPr>
            <a:endParaRPr lang="it-IT" sz="1600" dirty="0"/>
          </a:p>
          <a:p>
            <a:pPr algn="just">
              <a:spcBef>
                <a:spcPts val="500"/>
              </a:spcBef>
              <a:buClr>
                <a:srgbClr val="00838A"/>
              </a:buClr>
            </a:pPr>
            <a:endParaRPr lang="it-IT" sz="1600" dirty="0"/>
          </a:p>
          <a:p>
            <a:pPr algn="just">
              <a:spcBef>
                <a:spcPts val="500"/>
              </a:spcBef>
              <a:buClr>
                <a:srgbClr val="00838A"/>
              </a:buClr>
            </a:pPr>
            <a:endParaRPr lang="it-IT" sz="1600" dirty="0"/>
          </a:p>
          <a:p>
            <a:pPr>
              <a:spcBef>
                <a:spcPts val="500"/>
              </a:spcBef>
              <a:buClr>
                <a:srgbClr val="00838A"/>
              </a:buClr>
            </a:pPr>
            <a:endParaRPr lang="it-IT" sz="1600" dirty="0"/>
          </a:p>
          <a:p>
            <a:pPr>
              <a:spcBef>
                <a:spcPts val="500"/>
              </a:spcBef>
              <a:buClr>
                <a:srgbClr val="00838A"/>
              </a:buClr>
            </a:pPr>
            <a:endParaRPr lang="it-IT" sz="1600" dirty="0"/>
          </a:p>
          <a:p>
            <a:pPr algn="just">
              <a:spcBef>
                <a:spcPts val="500"/>
              </a:spcBef>
              <a:buClr>
                <a:srgbClr val="00838A"/>
              </a:buClr>
            </a:pPr>
            <a:endParaRPr lang="it-IT" sz="1600" b="1" dirty="0"/>
          </a:p>
        </p:txBody>
      </p:sp>
    </p:spTree>
    <p:extLst>
      <p:ext uri="{BB962C8B-B14F-4D97-AF65-F5344CB8AC3E}">
        <p14:creationId xmlns:p14="http://schemas.microsoft.com/office/powerpoint/2010/main" val="424298859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E2AC2CF-AADD-FC4B-4715-8909D7A389BF}"/>
            </a:ext>
          </a:extLst>
        </p:cNvPr>
        <p:cNvGrpSpPr/>
        <p:nvPr/>
      </p:nvGrpSpPr>
      <p:grpSpPr>
        <a:xfrm>
          <a:off x="0" y="0"/>
          <a:ext cx="0" cy="0"/>
          <a:chOff x="0" y="0"/>
          <a:chExt cx="0" cy="0"/>
        </a:xfrm>
      </p:grpSpPr>
      <p:sp>
        <p:nvSpPr>
          <p:cNvPr id="2" name="Titolo 1">
            <a:extLst>
              <a:ext uri="{FF2B5EF4-FFF2-40B4-BE49-F238E27FC236}">
                <a16:creationId xmlns:a16="http://schemas.microsoft.com/office/drawing/2014/main" id="{6A8EA0F5-5161-75D7-1C65-3F409756E331}"/>
              </a:ext>
            </a:extLst>
          </p:cNvPr>
          <p:cNvSpPr>
            <a:spLocks noGrp="1"/>
          </p:cNvSpPr>
          <p:nvPr>
            <p:ph type="title"/>
          </p:nvPr>
        </p:nvSpPr>
        <p:spPr/>
        <p:txBody>
          <a:bodyPr/>
          <a:lstStyle/>
          <a:p>
            <a:r>
              <a:rPr lang="it-IT" dirty="0"/>
              <a:t>QUALI ATTI DELEGATI?</a:t>
            </a:r>
          </a:p>
        </p:txBody>
      </p:sp>
      <p:sp>
        <p:nvSpPr>
          <p:cNvPr id="3" name="CasellaDiTesto 2">
            <a:extLst>
              <a:ext uri="{FF2B5EF4-FFF2-40B4-BE49-F238E27FC236}">
                <a16:creationId xmlns:a16="http://schemas.microsoft.com/office/drawing/2014/main" id="{587DFA5E-F152-D0D1-E106-0441673F3745}"/>
              </a:ext>
            </a:extLst>
          </p:cNvPr>
          <p:cNvSpPr txBox="1"/>
          <p:nvPr/>
        </p:nvSpPr>
        <p:spPr>
          <a:xfrm>
            <a:off x="652021" y="1226132"/>
            <a:ext cx="9268156" cy="7863691"/>
          </a:xfrm>
          <a:prstGeom prst="rect">
            <a:avLst/>
          </a:prstGeom>
          <a:noFill/>
        </p:spPr>
        <p:txBody>
          <a:bodyPr wrap="square" lIns="0" tIns="0" rIns="0" bIns="0" rtlCol="0">
            <a:spAutoFit/>
          </a:bodyPr>
          <a:lstStyle/>
          <a:p>
            <a:pPr algn="just">
              <a:spcBef>
                <a:spcPts val="500"/>
              </a:spcBef>
              <a:buClr>
                <a:srgbClr val="00838A"/>
              </a:buClr>
            </a:pPr>
            <a:r>
              <a:rPr lang="it-IT" sz="1600" dirty="0"/>
              <a:t>Il Regolamento (UE) n. 2024/1781 conferisce alla Commissione il </a:t>
            </a:r>
            <a:r>
              <a:rPr lang="it-IT" sz="1600" b="1" dirty="0"/>
              <a:t>potere di adottare atti delegati</a:t>
            </a:r>
            <a:r>
              <a:rPr lang="it-IT" sz="1600" dirty="0"/>
              <a:t> al fine di </a:t>
            </a:r>
            <a:r>
              <a:rPr lang="it-IT" sz="1600" b="1" u="sng" dirty="0"/>
              <a:t>integrare il regolamento</a:t>
            </a:r>
            <a:r>
              <a:rPr lang="it-IT" sz="1600" dirty="0"/>
              <a:t>.</a:t>
            </a:r>
          </a:p>
          <a:p>
            <a:pPr algn="just">
              <a:spcBef>
                <a:spcPts val="500"/>
              </a:spcBef>
              <a:buClr>
                <a:srgbClr val="00838A"/>
              </a:buClr>
            </a:pPr>
            <a:r>
              <a:rPr lang="it-IT" sz="1600" dirty="0"/>
              <a:t>Tra le altre cose, anche gli </a:t>
            </a:r>
            <a:r>
              <a:rPr lang="it-IT" sz="1600" b="1" dirty="0"/>
              <a:t>obblighi di informazione</a:t>
            </a:r>
            <a:r>
              <a:rPr lang="it-IT" sz="1600" dirty="0"/>
              <a:t> saranno specificati negli </a:t>
            </a:r>
            <a:r>
              <a:rPr lang="it-IT" sz="1600" b="1" dirty="0"/>
              <a:t>atti delegati alla Commissione</a:t>
            </a:r>
            <a:r>
              <a:rPr lang="it-IT" sz="1600" dirty="0"/>
              <a:t>.</a:t>
            </a:r>
          </a:p>
          <a:p>
            <a:pPr algn="just">
              <a:spcBef>
                <a:spcPts val="500"/>
              </a:spcBef>
              <a:buClr>
                <a:srgbClr val="00838A"/>
              </a:buClr>
            </a:pPr>
            <a:endParaRPr lang="it-IT" sz="1600" dirty="0"/>
          </a:p>
          <a:p>
            <a:pPr algn="just">
              <a:spcBef>
                <a:spcPts val="500"/>
              </a:spcBef>
              <a:buClr>
                <a:srgbClr val="00838A"/>
              </a:buClr>
            </a:pPr>
            <a:r>
              <a:rPr lang="it-IT" sz="1600" dirty="0"/>
              <a:t>Il Regolamento stabilisce che la Commissione dovrà adottare un </a:t>
            </a:r>
            <a:r>
              <a:rPr lang="it-IT" sz="1600" b="1" dirty="0"/>
              <a:t>piano di lavoro</a:t>
            </a:r>
            <a:r>
              <a:rPr lang="it-IT" sz="1600" dirty="0"/>
              <a:t> con un </a:t>
            </a:r>
            <a:r>
              <a:rPr lang="it-IT" sz="1600" b="1" dirty="0"/>
              <a:t>elenco di prodotti che devono avere la priorità negli atti delegati che dovranno essere adottati</a:t>
            </a:r>
            <a:r>
              <a:rPr lang="it-IT" sz="1600" dirty="0"/>
              <a:t>.</a:t>
            </a:r>
          </a:p>
          <a:p>
            <a:pPr algn="just">
              <a:spcBef>
                <a:spcPts val="500"/>
              </a:spcBef>
              <a:buClr>
                <a:srgbClr val="00838A"/>
              </a:buClr>
            </a:pPr>
            <a:endParaRPr lang="it-IT" sz="1600" dirty="0"/>
          </a:p>
          <a:p>
            <a:pPr algn="just">
              <a:spcBef>
                <a:spcPts val="500"/>
              </a:spcBef>
              <a:buClr>
                <a:srgbClr val="00838A"/>
              </a:buClr>
            </a:pPr>
            <a:r>
              <a:rPr lang="it-IT" sz="1600" dirty="0"/>
              <a:t>Nello specifico, </a:t>
            </a:r>
            <a:r>
              <a:rPr lang="it-IT" sz="1600" b="1" dirty="0"/>
              <a:t>entro il 19 aprile 2025 la Commissione dovrà elaborare un piano di lavoro, dando priorità ai seguenti gruppi di prodotti:</a:t>
            </a:r>
          </a:p>
          <a:p>
            <a:pPr marL="285750" indent="-285750" algn="l">
              <a:buFont typeface="Wingdings" panose="05000000000000000000" pitchFamily="2" charset="2"/>
              <a:buChar char="Ø"/>
            </a:pPr>
            <a:r>
              <a:rPr lang="it-IT" sz="1600" b="0" i="0" dirty="0">
                <a:solidFill>
                  <a:srgbClr val="242424"/>
                </a:solidFill>
                <a:effectLst/>
                <a:latin typeface="Segoe UI" panose="020B0502040204020203" pitchFamily="34" charset="0"/>
              </a:rPr>
              <a:t>Ferro e acciaio</a:t>
            </a:r>
          </a:p>
          <a:p>
            <a:pPr marL="285750" indent="-285750" algn="l">
              <a:buFont typeface="Wingdings" panose="05000000000000000000" pitchFamily="2" charset="2"/>
              <a:buChar char="Ø"/>
            </a:pPr>
            <a:r>
              <a:rPr lang="it-IT" sz="1600" b="0" i="0" dirty="0">
                <a:solidFill>
                  <a:srgbClr val="242424"/>
                </a:solidFill>
                <a:effectLst/>
                <a:latin typeface="Segoe UI" panose="020B0502040204020203" pitchFamily="34" charset="0"/>
              </a:rPr>
              <a:t>Alluminio</a:t>
            </a:r>
          </a:p>
          <a:p>
            <a:pPr marL="285750" indent="-285750" algn="l">
              <a:buFont typeface="Wingdings" panose="05000000000000000000" pitchFamily="2" charset="2"/>
              <a:buChar char="Ø"/>
            </a:pPr>
            <a:r>
              <a:rPr lang="it-IT" sz="1600" b="0" i="0" dirty="0">
                <a:solidFill>
                  <a:srgbClr val="242424"/>
                </a:solidFill>
                <a:effectLst/>
                <a:latin typeface="Segoe UI" panose="020B0502040204020203" pitchFamily="34" charset="0"/>
              </a:rPr>
              <a:t>Prodotti tessili, in particolare indumenti e calzature</a:t>
            </a:r>
          </a:p>
          <a:p>
            <a:pPr marL="285750" indent="-285750" algn="l">
              <a:buFont typeface="Wingdings" panose="05000000000000000000" pitchFamily="2" charset="2"/>
              <a:buChar char="Ø"/>
            </a:pPr>
            <a:r>
              <a:rPr lang="it-IT" sz="1600" b="0" i="0" dirty="0">
                <a:solidFill>
                  <a:srgbClr val="242424"/>
                </a:solidFill>
                <a:effectLst/>
                <a:latin typeface="Segoe UI" panose="020B0502040204020203" pitchFamily="34" charset="0"/>
              </a:rPr>
              <a:t>Mobilio, compresi i materassi</a:t>
            </a:r>
          </a:p>
          <a:p>
            <a:pPr marL="285750" indent="-285750" algn="l">
              <a:buFont typeface="Wingdings" panose="05000000000000000000" pitchFamily="2" charset="2"/>
              <a:buChar char="Ø"/>
            </a:pPr>
            <a:r>
              <a:rPr lang="it-IT" sz="1600" b="0" i="0" dirty="0">
                <a:solidFill>
                  <a:srgbClr val="242424"/>
                </a:solidFill>
                <a:effectLst/>
                <a:latin typeface="Segoe UI" panose="020B0502040204020203" pitchFamily="34" charset="0"/>
              </a:rPr>
              <a:t>Pneumatici</a:t>
            </a:r>
          </a:p>
          <a:p>
            <a:pPr marL="285750" indent="-285750" algn="l">
              <a:buFont typeface="Wingdings" panose="05000000000000000000" pitchFamily="2" charset="2"/>
              <a:buChar char="Ø"/>
            </a:pPr>
            <a:r>
              <a:rPr lang="it-IT" sz="1600" b="0" i="0" dirty="0">
                <a:solidFill>
                  <a:srgbClr val="242424"/>
                </a:solidFill>
                <a:effectLst/>
                <a:latin typeface="Segoe UI" panose="020B0502040204020203" pitchFamily="34" charset="0"/>
              </a:rPr>
              <a:t>Detergenti</a:t>
            </a:r>
          </a:p>
          <a:p>
            <a:pPr marL="285750" indent="-285750" algn="l">
              <a:buFont typeface="Wingdings" panose="05000000000000000000" pitchFamily="2" charset="2"/>
              <a:buChar char="Ø"/>
            </a:pPr>
            <a:r>
              <a:rPr lang="it-IT" sz="1600" b="0" i="0" dirty="0">
                <a:solidFill>
                  <a:srgbClr val="242424"/>
                </a:solidFill>
                <a:effectLst/>
                <a:latin typeface="Segoe UI" panose="020B0502040204020203" pitchFamily="34" charset="0"/>
              </a:rPr>
              <a:t>Vernici</a:t>
            </a:r>
          </a:p>
          <a:p>
            <a:pPr marL="285750" indent="-285750" algn="l">
              <a:buFont typeface="Wingdings" panose="05000000000000000000" pitchFamily="2" charset="2"/>
              <a:buChar char="Ø"/>
            </a:pPr>
            <a:r>
              <a:rPr lang="it-IT" sz="1600" b="0" i="0" dirty="0">
                <a:solidFill>
                  <a:srgbClr val="242424"/>
                </a:solidFill>
                <a:effectLst/>
                <a:latin typeface="Segoe UI" panose="020B0502040204020203" pitchFamily="34" charset="0"/>
              </a:rPr>
              <a:t>Lubrificanti</a:t>
            </a:r>
          </a:p>
          <a:p>
            <a:pPr marL="285750" indent="-285750" algn="l">
              <a:buFont typeface="Wingdings" panose="05000000000000000000" pitchFamily="2" charset="2"/>
              <a:buChar char="Ø"/>
            </a:pPr>
            <a:r>
              <a:rPr lang="it-IT" sz="1600" b="0" i="0" dirty="0">
                <a:solidFill>
                  <a:srgbClr val="242424"/>
                </a:solidFill>
                <a:effectLst/>
                <a:latin typeface="Segoe UI" panose="020B0502040204020203" pitchFamily="34" charset="0"/>
              </a:rPr>
              <a:t>Sostanze chimiche</a:t>
            </a:r>
          </a:p>
          <a:p>
            <a:pPr marL="285750" indent="-285750" algn="l">
              <a:buFont typeface="Wingdings" panose="05000000000000000000" pitchFamily="2" charset="2"/>
              <a:buChar char="Ø"/>
            </a:pPr>
            <a:r>
              <a:rPr lang="it-IT" sz="1600" b="0" i="0" dirty="0">
                <a:solidFill>
                  <a:srgbClr val="242424"/>
                </a:solidFill>
                <a:effectLst/>
                <a:latin typeface="Segoe UI" panose="020B0502040204020203" pitchFamily="34" charset="0"/>
              </a:rPr>
              <a:t>Prodotti connessi all'energia (ai quali si applica anche la normativa sulla </a:t>
            </a:r>
            <a:r>
              <a:rPr lang="it-IT" sz="1600" b="0" i="0" u="sng" dirty="0">
                <a:solidFill>
                  <a:srgbClr val="242424"/>
                </a:solidFill>
                <a:effectLst/>
                <a:latin typeface="Segoe UI" panose="020B0502040204020203" pitchFamily="34" charset="0"/>
              </a:rPr>
              <a:t>etichettatura energetica</a:t>
            </a:r>
            <a:r>
              <a:rPr lang="it-IT" sz="1600" b="0" i="0" dirty="0">
                <a:solidFill>
                  <a:srgbClr val="242424"/>
                </a:solidFill>
                <a:effectLst/>
                <a:latin typeface="Segoe UI" panose="020B0502040204020203" pitchFamily="34" charset="0"/>
              </a:rPr>
              <a:t>)</a:t>
            </a:r>
          </a:p>
          <a:p>
            <a:pPr marL="285750" indent="-285750" algn="l">
              <a:buFont typeface="Wingdings" panose="05000000000000000000" pitchFamily="2" charset="2"/>
              <a:buChar char="Ø"/>
            </a:pPr>
            <a:r>
              <a:rPr lang="it-IT" sz="1600" b="0" i="0" dirty="0">
                <a:solidFill>
                  <a:srgbClr val="242424"/>
                </a:solidFill>
                <a:effectLst/>
                <a:latin typeface="Segoe UI" panose="020B0502040204020203" pitchFamily="34" charset="0"/>
              </a:rPr>
              <a:t>Prodotti della tecnologia dell'informazione e della comunicazione e altri prodotti elettronici</a:t>
            </a:r>
          </a:p>
          <a:p>
            <a:pPr marL="285750" indent="-285750" algn="just">
              <a:lnSpc>
                <a:spcPct val="150000"/>
              </a:lnSpc>
              <a:spcBef>
                <a:spcPts val="500"/>
              </a:spcBef>
              <a:buClr>
                <a:srgbClr val="00838A"/>
              </a:buClr>
              <a:buFont typeface="Arial" panose="020B0604020202020204" pitchFamily="34" charset="0"/>
              <a:buChar char="•"/>
            </a:pPr>
            <a:endParaRPr lang="it-IT" sz="1400" dirty="0"/>
          </a:p>
          <a:p>
            <a:pPr algn="just">
              <a:lnSpc>
                <a:spcPct val="150000"/>
              </a:lnSpc>
              <a:spcBef>
                <a:spcPts val="500"/>
              </a:spcBef>
              <a:buClr>
                <a:srgbClr val="00838A"/>
              </a:buClr>
            </a:pPr>
            <a:endParaRPr lang="it-IT" sz="1600" dirty="0"/>
          </a:p>
          <a:p>
            <a:pPr algn="just">
              <a:spcBef>
                <a:spcPts val="500"/>
              </a:spcBef>
              <a:buClr>
                <a:srgbClr val="00838A"/>
              </a:buClr>
            </a:pPr>
            <a:endParaRPr lang="it-IT" sz="1600" dirty="0"/>
          </a:p>
          <a:p>
            <a:pPr algn="just">
              <a:spcBef>
                <a:spcPts val="500"/>
              </a:spcBef>
              <a:buClr>
                <a:srgbClr val="00838A"/>
              </a:buClr>
            </a:pPr>
            <a:endParaRPr lang="it-IT" sz="1600" dirty="0"/>
          </a:p>
          <a:p>
            <a:pPr>
              <a:spcBef>
                <a:spcPts val="500"/>
              </a:spcBef>
              <a:buClr>
                <a:srgbClr val="00838A"/>
              </a:buClr>
            </a:pPr>
            <a:endParaRPr lang="it-IT" sz="1600" dirty="0"/>
          </a:p>
          <a:p>
            <a:pPr>
              <a:spcBef>
                <a:spcPts val="500"/>
              </a:spcBef>
              <a:buClr>
                <a:srgbClr val="00838A"/>
              </a:buClr>
            </a:pPr>
            <a:endParaRPr lang="it-IT" sz="1600" dirty="0"/>
          </a:p>
          <a:p>
            <a:pPr algn="just">
              <a:spcBef>
                <a:spcPts val="500"/>
              </a:spcBef>
              <a:buClr>
                <a:srgbClr val="00838A"/>
              </a:buClr>
            </a:pPr>
            <a:endParaRPr lang="it-IT" sz="1600" b="1" dirty="0"/>
          </a:p>
        </p:txBody>
      </p:sp>
    </p:spTree>
    <p:extLst>
      <p:ext uri="{BB962C8B-B14F-4D97-AF65-F5344CB8AC3E}">
        <p14:creationId xmlns:p14="http://schemas.microsoft.com/office/powerpoint/2010/main" val="131566157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6D38EF8-E213-F2CF-D705-675A23F8EBF1}"/>
            </a:ext>
          </a:extLst>
        </p:cNvPr>
        <p:cNvGrpSpPr/>
        <p:nvPr/>
      </p:nvGrpSpPr>
      <p:grpSpPr>
        <a:xfrm>
          <a:off x="0" y="0"/>
          <a:ext cx="0" cy="0"/>
          <a:chOff x="0" y="0"/>
          <a:chExt cx="0" cy="0"/>
        </a:xfrm>
      </p:grpSpPr>
      <p:sp>
        <p:nvSpPr>
          <p:cNvPr id="2" name="Titolo 1">
            <a:extLst>
              <a:ext uri="{FF2B5EF4-FFF2-40B4-BE49-F238E27FC236}">
                <a16:creationId xmlns:a16="http://schemas.microsoft.com/office/drawing/2014/main" id="{7E4E57CC-51A7-1DEB-3C8C-8B882C42ACB6}"/>
              </a:ext>
            </a:extLst>
          </p:cNvPr>
          <p:cNvSpPr>
            <a:spLocks noGrp="1"/>
          </p:cNvSpPr>
          <p:nvPr>
            <p:ph type="title"/>
          </p:nvPr>
        </p:nvSpPr>
        <p:spPr/>
        <p:txBody>
          <a:bodyPr/>
          <a:lstStyle/>
          <a:p>
            <a:r>
              <a:rPr lang="it-IT" dirty="0"/>
              <a:t>IL SUPPORTO DATI</a:t>
            </a:r>
          </a:p>
        </p:txBody>
      </p:sp>
      <p:sp>
        <p:nvSpPr>
          <p:cNvPr id="3" name="CasellaDiTesto 2">
            <a:extLst>
              <a:ext uri="{FF2B5EF4-FFF2-40B4-BE49-F238E27FC236}">
                <a16:creationId xmlns:a16="http://schemas.microsoft.com/office/drawing/2014/main" id="{C19E2D18-7897-2D78-4E21-56A43D4E79CE}"/>
              </a:ext>
            </a:extLst>
          </p:cNvPr>
          <p:cNvSpPr txBox="1"/>
          <p:nvPr/>
        </p:nvSpPr>
        <p:spPr>
          <a:xfrm>
            <a:off x="652021" y="1390724"/>
            <a:ext cx="9268156" cy="5999078"/>
          </a:xfrm>
          <a:prstGeom prst="rect">
            <a:avLst/>
          </a:prstGeom>
          <a:noFill/>
        </p:spPr>
        <p:txBody>
          <a:bodyPr wrap="square" lIns="0" tIns="0" rIns="0" bIns="0" rtlCol="0">
            <a:spAutoFit/>
          </a:bodyPr>
          <a:lstStyle/>
          <a:p>
            <a:pPr algn="just">
              <a:lnSpc>
                <a:spcPct val="150000"/>
              </a:lnSpc>
              <a:spcBef>
                <a:spcPts val="500"/>
              </a:spcBef>
              <a:buClr>
                <a:srgbClr val="00838A"/>
              </a:buClr>
            </a:pPr>
            <a:r>
              <a:rPr lang="it-IT" sz="1600" b="1" dirty="0"/>
              <a:t>Di cosa si tratta?</a:t>
            </a:r>
          </a:p>
          <a:p>
            <a:pPr marL="285750" indent="-285750" algn="just">
              <a:lnSpc>
                <a:spcPct val="150000"/>
              </a:lnSpc>
              <a:spcBef>
                <a:spcPts val="500"/>
              </a:spcBef>
              <a:buClr>
                <a:srgbClr val="00838A"/>
              </a:buClr>
              <a:buFont typeface="Wingdings" panose="05000000000000000000" pitchFamily="2" charset="2"/>
              <a:buChar char="à"/>
            </a:pPr>
            <a:r>
              <a:rPr lang="it-IT" sz="1600" dirty="0">
                <a:sym typeface="Wingdings" panose="05000000000000000000" pitchFamily="2" charset="2"/>
              </a:rPr>
              <a:t>«</a:t>
            </a:r>
            <a:r>
              <a:rPr lang="it-IT" sz="1600" b="1" i="1" u="sng" dirty="0">
                <a:sym typeface="Wingdings" panose="05000000000000000000" pitchFamily="2" charset="2"/>
              </a:rPr>
              <a:t>il codice a barre lineare, simbolo bidimensionale o altro mezzo di identificazione automatica e raccolta dei dati leggibile da dispositivo</a:t>
            </a:r>
            <a:r>
              <a:rPr lang="it-IT" sz="1600" dirty="0">
                <a:sym typeface="Wingdings" panose="05000000000000000000" pitchFamily="2" charset="2"/>
              </a:rPr>
              <a:t>»</a:t>
            </a:r>
          </a:p>
          <a:p>
            <a:pPr marL="285750" indent="-285750" algn="just">
              <a:lnSpc>
                <a:spcPct val="150000"/>
              </a:lnSpc>
              <a:spcBef>
                <a:spcPts val="500"/>
              </a:spcBef>
              <a:buClr>
                <a:srgbClr val="00838A"/>
              </a:buClr>
              <a:buFont typeface="Wingdings" panose="05000000000000000000" pitchFamily="2" charset="2"/>
              <a:buChar char="à"/>
            </a:pPr>
            <a:endParaRPr lang="it-IT" sz="1600" b="1" i="1" u="sng" dirty="0">
              <a:sym typeface="Wingdings" panose="05000000000000000000" pitchFamily="2" charset="2"/>
            </a:endParaRPr>
          </a:p>
          <a:p>
            <a:pPr algn="just">
              <a:lnSpc>
                <a:spcPct val="150000"/>
              </a:lnSpc>
              <a:spcBef>
                <a:spcPts val="500"/>
              </a:spcBef>
              <a:buClr>
                <a:srgbClr val="00838A"/>
              </a:buClr>
            </a:pPr>
            <a:r>
              <a:rPr lang="it-IT" sz="1600" dirty="0">
                <a:sym typeface="Wingdings" panose="05000000000000000000" pitchFamily="2" charset="2"/>
              </a:rPr>
              <a:t>Dovrà essere </a:t>
            </a:r>
            <a:r>
              <a:rPr lang="it-IT" sz="1600" b="1" u="sng" dirty="0">
                <a:sym typeface="Wingdings" panose="05000000000000000000" pitchFamily="2" charset="2"/>
              </a:rPr>
              <a:t>fisicamente presente sul prodotto, sul suo imballaggio o sulla documentazione che accompagna il prodotto</a:t>
            </a:r>
            <a:r>
              <a:rPr lang="it-IT" sz="1600" dirty="0">
                <a:sym typeface="Wingdings" panose="05000000000000000000" pitchFamily="2" charset="2"/>
              </a:rPr>
              <a:t>.</a:t>
            </a:r>
          </a:p>
          <a:p>
            <a:pPr algn="just">
              <a:lnSpc>
                <a:spcPct val="150000"/>
              </a:lnSpc>
              <a:spcBef>
                <a:spcPts val="500"/>
              </a:spcBef>
              <a:buClr>
                <a:srgbClr val="00838A"/>
              </a:buClr>
            </a:pPr>
            <a:endParaRPr lang="it-IT" sz="1600" dirty="0">
              <a:sym typeface="Wingdings" panose="05000000000000000000" pitchFamily="2" charset="2"/>
            </a:endParaRPr>
          </a:p>
          <a:p>
            <a:pPr algn="just">
              <a:lnSpc>
                <a:spcPct val="150000"/>
              </a:lnSpc>
              <a:spcBef>
                <a:spcPts val="500"/>
              </a:spcBef>
              <a:buClr>
                <a:srgbClr val="00838A"/>
              </a:buClr>
            </a:pPr>
            <a:r>
              <a:rPr lang="it-IT" sz="1600" dirty="0">
                <a:sym typeface="Wingdings" panose="05000000000000000000" pitchFamily="2" charset="2"/>
              </a:rPr>
              <a:t>L’</a:t>
            </a:r>
            <a:r>
              <a:rPr lang="it-IT" sz="1600" b="1" dirty="0">
                <a:sym typeface="Wingdings" panose="05000000000000000000" pitchFamily="2" charset="2"/>
              </a:rPr>
              <a:t>operatore economico che immette il prodotto in circolazione </a:t>
            </a:r>
            <a:r>
              <a:rPr lang="it-IT" sz="1600" dirty="0">
                <a:sym typeface="Wingdings" panose="05000000000000000000" pitchFamily="2" charset="2"/>
              </a:rPr>
              <a:t>dovrà </a:t>
            </a:r>
            <a:r>
              <a:rPr lang="it-IT" sz="1600" b="1" u="sng" dirty="0">
                <a:sym typeface="Wingdings" panose="05000000000000000000" pitchFamily="2" charset="2"/>
              </a:rPr>
              <a:t>fornire ai rivenditori e ai fornitori di mercati </a:t>
            </a:r>
            <a:r>
              <a:rPr lang="it-IT" sz="1600" b="1" i="1" u="sng" dirty="0">
                <a:sym typeface="Wingdings" panose="05000000000000000000" pitchFamily="2" charset="2"/>
              </a:rPr>
              <a:t>online </a:t>
            </a:r>
            <a:r>
              <a:rPr lang="it-IT" sz="1600" b="1" u="sng" dirty="0">
                <a:sym typeface="Wingdings" panose="05000000000000000000" pitchFamily="2" charset="2"/>
              </a:rPr>
              <a:t>una copia digitale di supporto dati per consentire loro di rendere il supporto dati accessibile ai clienti</a:t>
            </a:r>
            <a:r>
              <a:rPr lang="it-IT" sz="1600" dirty="0">
                <a:sym typeface="Wingdings" panose="05000000000000000000" pitchFamily="2" charset="2"/>
              </a:rPr>
              <a:t>.</a:t>
            </a:r>
            <a:endParaRPr lang="it-IT" sz="1600" dirty="0"/>
          </a:p>
          <a:p>
            <a:pPr algn="just">
              <a:lnSpc>
                <a:spcPct val="150000"/>
              </a:lnSpc>
              <a:spcBef>
                <a:spcPts val="500"/>
              </a:spcBef>
              <a:buClr>
                <a:srgbClr val="00838A"/>
              </a:buClr>
            </a:pPr>
            <a:endParaRPr lang="it-IT" sz="1600" dirty="0"/>
          </a:p>
          <a:p>
            <a:pPr algn="just">
              <a:spcBef>
                <a:spcPts val="500"/>
              </a:spcBef>
              <a:buClr>
                <a:srgbClr val="00838A"/>
              </a:buClr>
            </a:pPr>
            <a:endParaRPr lang="it-IT" sz="1600" dirty="0"/>
          </a:p>
          <a:p>
            <a:pPr algn="just">
              <a:spcBef>
                <a:spcPts val="500"/>
              </a:spcBef>
              <a:buClr>
                <a:srgbClr val="00838A"/>
              </a:buClr>
            </a:pPr>
            <a:endParaRPr lang="it-IT" sz="1600" dirty="0"/>
          </a:p>
          <a:p>
            <a:pPr>
              <a:spcBef>
                <a:spcPts val="500"/>
              </a:spcBef>
              <a:buClr>
                <a:srgbClr val="00838A"/>
              </a:buClr>
            </a:pPr>
            <a:endParaRPr lang="it-IT" sz="1600" dirty="0"/>
          </a:p>
          <a:p>
            <a:pPr>
              <a:spcBef>
                <a:spcPts val="500"/>
              </a:spcBef>
              <a:buClr>
                <a:srgbClr val="00838A"/>
              </a:buClr>
            </a:pPr>
            <a:endParaRPr lang="it-IT" sz="1600" dirty="0"/>
          </a:p>
          <a:p>
            <a:pPr algn="just">
              <a:spcBef>
                <a:spcPts val="500"/>
              </a:spcBef>
              <a:buClr>
                <a:srgbClr val="00838A"/>
              </a:buClr>
            </a:pPr>
            <a:endParaRPr lang="it-IT" sz="1600" b="1" dirty="0"/>
          </a:p>
        </p:txBody>
      </p:sp>
    </p:spTree>
    <p:extLst>
      <p:ext uri="{BB962C8B-B14F-4D97-AF65-F5344CB8AC3E}">
        <p14:creationId xmlns:p14="http://schemas.microsoft.com/office/powerpoint/2010/main" val="3299787607"/>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FA9AD67-ECF5-E918-F20C-A64CB3DDE3B9}"/>
            </a:ext>
          </a:extLst>
        </p:cNvPr>
        <p:cNvGrpSpPr/>
        <p:nvPr/>
      </p:nvGrpSpPr>
      <p:grpSpPr>
        <a:xfrm>
          <a:off x="0" y="0"/>
          <a:ext cx="0" cy="0"/>
          <a:chOff x="0" y="0"/>
          <a:chExt cx="0" cy="0"/>
        </a:xfrm>
      </p:grpSpPr>
      <p:sp>
        <p:nvSpPr>
          <p:cNvPr id="2" name="Titolo 1">
            <a:extLst>
              <a:ext uri="{FF2B5EF4-FFF2-40B4-BE49-F238E27FC236}">
                <a16:creationId xmlns:a16="http://schemas.microsoft.com/office/drawing/2014/main" id="{3A178C6B-FEB5-42BE-5AF0-5F29252C59D3}"/>
              </a:ext>
            </a:extLst>
          </p:cNvPr>
          <p:cNvSpPr>
            <a:spLocks noGrp="1"/>
          </p:cNvSpPr>
          <p:nvPr>
            <p:ph type="title"/>
          </p:nvPr>
        </p:nvSpPr>
        <p:spPr/>
        <p:txBody>
          <a:bodyPr/>
          <a:lstStyle/>
          <a:p>
            <a:r>
              <a:rPr lang="it-IT" dirty="0"/>
              <a:t>CONTENUTO DEL PASSAPORTO DIGITALE DEL PRODOTTO</a:t>
            </a:r>
          </a:p>
        </p:txBody>
      </p:sp>
      <p:sp>
        <p:nvSpPr>
          <p:cNvPr id="3" name="CasellaDiTesto 2">
            <a:extLst>
              <a:ext uri="{FF2B5EF4-FFF2-40B4-BE49-F238E27FC236}">
                <a16:creationId xmlns:a16="http://schemas.microsoft.com/office/drawing/2014/main" id="{283DEC12-D19E-6CD5-9404-116A06AC5C8A}"/>
              </a:ext>
            </a:extLst>
          </p:cNvPr>
          <p:cNvSpPr txBox="1"/>
          <p:nvPr/>
        </p:nvSpPr>
        <p:spPr>
          <a:xfrm>
            <a:off x="652021" y="1390724"/>
            <a:ext cx="9268156" cy="6942926"/>
          </a:xfrm>
          <a:prstGeom prst="rect">
            <a:avLst/>
          </a:prstGeom>
          <a:noFill/>
        </p:spPr>
        <p:txBody>
          <a:bodyPr wrap="square" lIns="0" tIns="0" rIns="0" bIns="0" rtlCol="0">
            <a:spAutoFit/>
          </a:bodyPr>
          <a:lstStyle/>
          <a:p>
            <a:pPr marL="285750" indent="-285750" algn="l">
              <a:lnSpc>
                <a:spcPct val="150000"/>
              </a:lnSpc>
              <a:buFont typeface="Wingdings" panose="05000000000000000000" pitchFamily="2" charset="2"/>
              <a:buChar char="Ø"/>
            </a:pPr>
            <a:r>
              <a:rPr lang="it-IT" sz="1400" dirty="0">
                <a:solidFill>
                  <a:srgbClr val="242424"/>
                </a:solidFill>
                <a:latin typeface="Segoe UI" panose="020B0502040204020203" pitchFamily="34" charset="0"/>
              </a:rPr>
              <a:t>Le c.d. «</a:t>
            </a:r>
            <a:r>
              <a:rPr lang="it-IT" sz="1400" b="1" dirty="0">
                <a:solidFill>
                  <a:srgbClr val="242424"/>
                </a:solidFill>
                <a:latin typeface="Segoe UI" panose="020B0502040204020203" pitchFamily="34" charset="0"/>
              </a:rPr>
              <a:t>i</a:t>
            </a:r>
            <a:r>
              <a:rPr lang="it-IT" sz="1400" b="1" i="0" dirty="0">
                <a:solidFill>
                  <a:srgbClr val="242424"/>
                </a:solidFill>
                <a:effectLst/>
                <a:latin typeface="Segoe UI" panose="020B0502040204020203" pitchFamily="34" charset="0"/>
              </a:rPr>
              <a:t>nformazioni necessarie</a:t>
            </a:r>
            <a:r>
              <a:rPr lang="it-IT" sz="1400" i="0" dirty="0">
                <a:solidFill>
                  <a:srgbClr val="242424"/>
                </a:solidFill>
                <a:effectLst/>
                <a:latin typeface="Segoe UI" panose="020B0502040204020203" pitchFamily="34" charset="0"/>
              </a:rPr>
              <a:t>», che saranno individuate nei </a:t>
            </a:r>
            <a:r>
              <a:rPr lang="it-IT" sz="1400" i="0" u="sng" dirty="0">
                <a:solidFill>
                  <a:srgbClr val="242424"/>
                </a:solidFill>
                <a:effectLst/>
                <a:latin typeface="Segoe UI" panose="020B0502040204020203" pitchFamily="34" charset="0"/>
              </a:rPr>
              <a:t>successivi atti delegati adottati dalla Commissione</a:t>
            </a:r>
            <a:r>
              <a:rPr lang="it-IT" sz="1400" b="0" i="0" dirty="0">
                <a:solidFill>
                  <a:srgbClr val="242424"/>
                </a:solidFill>
                <a:effectLst/>
                <a:latin typeface="Segoe UI" panose="020B0502040204020203" pitchFamily="34" charset="0"/>
              </a:rPr>
              <a:t>.</a:t>
            </a:r>
          </a:p>
          <a:p>
            <a:pPr marL="285750" indent="-285750" algn="l">
              <a:lnSpc>
                <a:spcPct val="150000"/>
              </a:lnSpc>
              <a:buFont typeface="Wingdings" panose="05000000000000000000" pitchFamily="2" charset="2"/>
              <a:buChar char="Ø"/>
            </a:pPr>
            <a:r>
              <a:rPr lang="it-IT" sz="1400" b="1" i="0" dirty="0">
                <a:solidFill>
                  <a:srgbClr val="242424"/>
                </a:solidFill>
                <a:effectLst/>
                <a:latin typeface="Segoe UI" panose="020B0502040204020203" pitchFamily="34" charset="0"/>
              </a:rPr>
              <a:t>Identificativo univoco del prodotto</a:t>
            </a:r>
            <a:r>
              <a:rPr lang="it-IT" sz="1400" b="1" dirty="0">
                <a:solidFill>
                  <a:srgbClr val="242424"/>
                </a:solidFill>
                <a:latin typeface="Segoe UI" panose="020B0502040204020203" pitchFamily="34" charset="0"/>
              </a:rPr>
              <a:t> </a:t>
            </a:r>
            <a:r>
              <a:rPr lang="it-IT" sz="1400" i="1" dirty="0">
                <a:solidFill>
                  <a:srgbClr val="242424"/>
                </a:solidFill>
                <a:latin typeface="Segoe UI" panose="020B0502040204020203" pitchFamily="34" charset="0"/>
              </a:rPr>
              <a:t>(i.e. </a:t>
            </a:r>
            <a:r>
              <a:rPr lang="it-IT" sz="1400" dirty="0">
                <a:solidFill>
                  <a:srgbClr val="242424"/>
                </a:solidFill>
                <a:latin typeface="Segoe UI" panose="020B0502040204020203" pitchFamily="34" charset="0"/>
              </a:rPr>
              <a:t>la «stringa univoca di caratteri che identifica un prodotto e consente il collegamento via </a:t>
            </a:r>
            <a:r>
              <a:rPr lang="it-IT" sz="1400" i="1" dirty="0">
                <a:solidFill>
                  <a:srgbClr val="242424"/>
                </a:solidFill>
                <a:latin typeface="Segoe UI" panose="020B0502040204020203" pitchFamily="34" charset="0"/>
              </a:rPr>
              <a:t>web</a:t>
            </a:r>
            <a:r>
              <a:rPr lang="it-IT" sz="1400" dirty="0">
                <a:solidFill>
                  <a:srgbClr val="242424"/>
                </a:solidFill>
                <a:latin typeface="Segoe UI" panose="020B0502040204020203" pitchFamily="34" charset="0"/>
              </a:rPr>
              <a:t> al passaporto digitale di prodotto»)</a:t>
            </a:r>
            <a:r>
              <a:rPr lang="it-IT" sz="1400" b="0" i="1" dirty="0">
                <a:solidFill>
                  <a:srgbClr val="242424"/>
                </a:solidFill>
                <a:effectLst/>
                <a:latin typeface="Segoe UI" panose="020B0502040204020203" pitchFamily="34" charset="0"/>
              </a:rPr>
              <a:t>.</a:t>
            </a:r>
          </a:p>
          <a:p>
            <a:pPr marL="285750" indent="-285750" algn="l">
              <a:lnSpc>
                <a:spcPct val="150000"/>
              </a:lnSpc>
              <a:buFont typeface="Wingdings" panose="05000000000000000000" pitchFamily="2" charset="2"/>
              <a:buChar char="Ø"/>
            </a:pPr>
            <a:r>
              <a:rPr lang="it-IT" sz="1400" b="0" i="0" dirty="0">
                <a:solidFill>
                  <a:srgbClr val="242424"/>
                </a:solidFill>
                <a:effectLst/>
                <a:latin typeface="Segoe UI" panose="020B0502040204020203" pitchFamily="34" charset="0"/>
              </a:rPr>
              <a:t>Codice GTIN (Global Trade </a:t>
            </a:r>
            <a:r>
              <a:rPr lang="it-IT" sz="1400" b="0" i="0" dirty="0" err="1">
                <a:solidFill>
                  <a:srgbClr val="242424"/>
                </a:solidFill>
                <a:effectLst/>
                <a:latin typeface="Segoe UI" panose="020B0502040204020203" pitchFamily="34" charset="0"/>
              </a:rPr>
              <a:t>Identification</a:t>
            </a:r>
            <a:r>
              <a:rPr lang="it-IT" sz="1400" b="0" i="0" dirty="0">
                <a:solidFill>
                  <a:srgbClr val="242424"/>
                </a:solidFill>
                <a:effectLst/>
                <a:latin typeface="Segoe UI" panose="020B0502040204020203" pitchFamily="34" charset="0"/>
              </a:rPr>
              <a:t> </a:t>
            </a:r>
            <a:r>
              <a:rPr lang="it-IT" sz="1400" b="0" i="0" dirty="0" err="1">
                <a:solidFill>
                  <a:srgbClr val="242424"/>
                </a:solidFill>
                <a:effectLst/>
                <a:latin typeface="Segoe UI" panose="020B0502040204020203" pitchFamily="34" charset="0"/>
              </a:rPr>
              <a:t>Number</a:t>
            </a:r>
            <a:r>
              <a:rPr lang="it-IT" sz="1400" b="0" i="0" dirty="0">
                <a:solidFill>
                  <a:srgbClr val="242424"/>
                </a:solidFill>
                <a:effectLst/>
                <a:latin typeface="Segoe UI" panose="020B0502040204020203" pitchFamily="34" charset="0"/>
              </a:rPr>
              <a:t>).</a:t>
            </a:r>
          </a:p>
          <a:p>
            <a:pPr marL="285750" indent="-285750" algn="l">
              <a:lnSpc>
                <a:spcPct val="150000"/>
              </a:lnSpc>
              <a:buFont typeface="Wingdings" panose="05000000000000000000" pitchFamily="2" charset="2"/>
              <a:buChar char="Ø"/>
            </a:pPr>
            <a:r>
              <a:rPr lang="it-IT" sz="1400" b="0" i="0" dirty="0">
                <a:solidFill>
                  <a:srgbClr val="242424"/>
                </a:solidFill>
                <a:effectLst/>
                <a:latin typeface="Segoe UI" panose="020B0502040204020203" pitchFamily="34" charset="0"/>
              </a:rPr>
              <a:t>Codici pertinenti delle merci (es. codice TARIC).</a:t>
            </a:r>
          </a:p>
          <a:p>
            <a:pPr marL="285750" indent="-285750" algn="l">
              <a:lnSpc>
                <a:spcPct val="150000"/>
              </a:lnSpc>
              <a:buFont typeface="Wingdings" panose="05000000000000000000" pitchFamily="2" charset="2"/>
              <a:buChar char="Ø"/>
            </a:pPr>
            <a:r>
              <a:rPr lang="it-IT" sz="1400" b="1" i="0" dirty="0">
                <a:solidFill>
                  <a:srgbClr val="242424"/>
                </a:solidFill>
                <a:effectLst/>
                <a:latin typeface="Segoe UI" panose="020B0502040204020203" pitchFamily="34" charset="0"/>
              </a:rPr>
              <a:t>Documentazione di conformità </a:t>
            </a:r>
            <a:r>
              <a:rPr lang="it-IT" sz="1400" b="0" i="0" dirty="0">
                <a:solidFill>
                  <a:srgbClr val="242424"/>
                </a:solidFill>
                <a:effectLst/>
                <a:latin typeface="Segoe UI" panose="020B0502040204020203" pitchFamily="34" charset="0"/>
              </a:rPr>
              <a:t>(dichiarazione di conformità, documentazione tecnica, certificati di conformità).</a:t>
            </a:r>
          </a:p>
          <a:p>
            <a:pPr marL="285750" indent="-285750" algn="l">
              <a:lnSpc>
                <a:spcPct val="150000"/>
              </a:lnSpc>
              <a:buFont typeface="Wingdings" panose="05000000000000000000" pitchFamily="2" charset="2"/>
              <a:buChar char="Ø"/>
            </a:pPr>
            <a:r>
              <a:rPr lang="it-IT" sz="1400" b="1" i="0" dirty="0">
                <a:solidFill>
                  <a:srgbClr val="242424"/>
                </a:solidFill>
                <a:effectLst/>
                <a:latin typeface="Segoe UI" panose="020B0502040204020203" pitchFamily="34" charset="0"/>
              </a:rPr>
              <a:t>Manuali utente, istruzioni, avvertenze o informazioni sulla sicurezza</a:t>
            </a:r>
            <a:r>
              <a:rPr lang="it-IT" sz="1400" b="0" i="0" dirty="0">
                <a:solidFill>
                  <a:srgbClr val="242424"/>
                </a:solidFill>
                <a:effectLst/>
                <a:latin typeface="Segoe UI" panose="020B0502040204020203" pitchFamily="34" charset="0"/>
              </a:rPr>
              <a:t>.</a:t>
            </a:r>
          </a:p>
          <a:p>
            <a:pPr marL="285750" indent="-285750" algn="l">
              <a:lnSpc>
                <a:spcPct val="150000"/>
              </a:lnSpc>
              <a:buFont typeface="Wingdings" panose="05000000000000000000" pitchFamily="2" charset="2"/>
              <a:buChar char="Ø"/>
            </a:pPr>
            <a:r>
              <a:rPr lang="it-IT" sz="1400" b="0" i="0" dirty="0">
                <a:solidFill>
                  <a:srgbClr val="242424"/>
                </a:solidFill>
                <a:effectLst/>
                <a:latin typeface="Segoe UI" panose="020B0502040204020203" pitchFamily="34" charset="0"/>
              </a:rPr>
              <a:t>Informazioni sul fabbricante (identificativo univoco dell'operatore).</a:t>
            </a:r>
          </a:p>
          <a:p>
            <a:pPr marL="285750" indent="-285750" algn="l">
              <a:lnSpc>
                <a:spcPct val="150000"/>
              </a:lnSpc>
              <a:buFont typeface="Wingdings" panose="05000000000000000000" pitchFamily="2" charset="2"/>
              <a:buChar char="Ø"/>
            </a:pPr>
            <a:r>
              <a:rPr lang="it-IT" sz="1400" b="0" i="0" dirty="0">
                <a:solidFill>
                  <a:srgbClr val="242424"/>
                </a:solidFill>
                <a:effectLst/>
                <a:latin typeface="Segoe UI" panose="020B0502040204020203" pitchFamily="34" charset="0"/>
              </a:rPr>
              <a:t>Identificativi univoci degli operatori e dei siti.</a:t>
            </a:r>
          </a:p>
          <a:p>
            <a:pPr marL="285750" indent="-285750" algn="l">
              <a:lnSpc>
                <a:spcPct val="150000"/>
              </a:lnSpc>
              <a:buFont typeface="Wingdings" panose="05000000000000000000" pitchFamily="2" charset="2"/>
              <a:buChar char="Ø"/>
            </a:pPr>
            <a:r>
              <a:rPr lang="it-IT" sz="1400" b="0" i="0" dirty="0">
                <a:solidFill>
                  <a:srgbClr val="242424"/>
                </a:solidFill>
                <a:effectLst/>
                <a:latin typeface="Segoe UI" panose="020B0502040204020203" pitchFamily="34" charset="0"/>
              </a:rPr>
              <a:t>Nome e recapiti dell'operatore economico responsabile.</a:t>
            </a:r>
          </a:p>
          <a:p>
            <a:pPr marL="285750" indent="-285750" algn="l">
              <a:lnSpc>
                <a:spcPct val="150000"/>
              </a:lnSpc>
              <a:buFont typeface="Wingdings" panose="05000000000000000000" pitchFamily="2" charset="2"/>
              <a:buChar char="Ø"/>
            </a:pPr>
            <a:r>
              <a:rPr lang="it-IT" sz="1400" b="0" i="0" dirty="0">
                <a:solidFill>
                  <a:srgbClr val="242424"/>
                </a:solidFill>
                <a:effectLst/>
                <a:latin typeface="Segoe UI" panose="020B0502040204020203" pitchFamily="34" charset="0"/>
              </a:rPr>
              <a:t>Riferimento del </a:t>
            </a:r>
            <a:r>
              <a:rPr lang="it-IT" sz="1400" b="1" i="0" dirty="0">
                <a:solidFill>
                  <a:srgbClr val="242424"/>
                </a:solidFill>
                <a:effectLst/>
                <a:latin typeface="Segoe UI" panose="020B0502040204020203" pitchFamily="34" charset="0"/>
              </a:rPr>
              <a:t>fornitore di servizi di passaporto digitale di prodotto</a:t>
            </a:r>
            <a:r>
              <a:rPr lang="it-IT" sz="1400" i="0" dirty="0">
                <a:solidFill>
                  <a:srgbClr val="242424"/>
                </a:solidFill>
                <a:effectLst/>
                <a:latin typeface="Segoe UI" panose="020B0502040204020203" pitchFamily="34" charset="0"/>
              </a:rPr>
              <a:t> (definito come </a:t>
            </a:r>
            <a:r>
              <a:rPr lang="it-IT" sz="1400" i="1" dirty="0">
                <a:solidFill>
                  <a:srgbClr val="242424"/>
                </a:solidFill>
                <a:effectLst/>
                <a:latin typeface="Segoe UI" panose="020B0502040204020203" pitchFamily="34" charset="0"/>
              </a:rPr>
              <a:t>«persona fisica o giuridica che è un terzo indipendente, autorizzato dall'operatore economico che immette il prodotto sul mercato o lo mette in servizio, che tratta i dati del passaporto digitale di prodotto per tale prodotto al fine di metterli a disposizione degli operatori economici e di altri soggetti interessati</a:t>
            </a:r>
            <a:r>
              <a:rPr lang="it-IT" sz="1400" dirty="0">
                <a:solidFill>
                  <a:srgbClr val="242424"/>
                </a:solidFill>
                <a:effectLst/>
                <a:latin typeface="Segoe UI" panose="020B0502040204020203" pitchFamily="34" charset="0"/>
              </a:rPr>
              <a:t>»)</a:t>
            </a:r>
            <a:endParaRPr lang="it-IT" sz="1400" dirty="0"/>
          </a:p>
          <a:p>
            <a:pPr algn="just">
              <a:lnSpc>
                <a:spcPct val="150000"/>
              </a:lnSpc>
              <a:spcBef>
                <a:spcPts val="500"/>
              </a:spcBef>
              <a:buClr>
                <a:srgbClr val="00838A"/>
              </a:buClr>
            </a:pPr>
            <a:endParaRPr lang="it-IT" sz="1600" dirty="0"/>
          </a:p>
          <a:p>
            <a:pPr algn="just">
              <a:lnSpc>
                <a:spcPct val="150000"/>
              </a:lnSpc>
              <a:spcBef>
                <a:spcPts val="500"/>
              </a:spcBef>
              <a:buClr>
                <a:srgbClr val="00838A"/>
              </a:buClr>
            </a:pPr>
            <a:endParaRPr lang="it-IT" sz="1600" dirty="0"/>
          </a:p>
          <a:p>
            <a:pPr algn="just">
              <a:spcBef>
                <a:spcPts val="500"/>
              </a:spcBef>
              <a:buClr>
                <a:srgbClr val="00838A"/>
              </a:buClr>
            </a:pPr>
            <a:endParaRPr lang="it-IT" sz="1600" dirty="0"/>
          </a:p>
          <a:p>
            <a:pPr algn="just">
              <a:spcBef>
                <a:spcPts val="500"/>
              </a:spcBef>
              <a:buClr>
                <a:srgbClr val="00838A"/>
              </a:buClr>
            </a:pPr>
            <a:endParaRPr lang="it-IT" sz="1600" dirty="0"/>
          </a:p>
          <a:p>
            <a:pPr>
              <a:spcBef>
                <a:spcPts val="500"/>
              </a:spcBef>
              <a:buClr>
                <a:srgbClr val="00838A"/>
              </a:buClr>
            </a:pPr>
            <a:endParaRPr lang="it-IT" sz="1600" dirty="0"/>
          </a:p>
          <a:p>
            <a:pPr>
              <a:spcBef>
                <a:spcPts val="500"/>
              </a:spcBef>
              <a:buClr>
                <a:srgbClr val="00838A"/>
              </a:buClr>
            </a:pPr>
            <a:endParaRPr lang="it-IT" sz="1600" dirty="0"/>
          </a:p>
          <a:p>
            <a:pPr algn="just">
              <a:spcBef>
                <a:spcPts val="500"/>
              </a:spcBef>
              <a:buClr>
                <a:srgbClr val="00838A"/>
              </a:buClr>
            </a:pPr>
            <a:endParaRPr lang="it-IT" sz="1600" b="1" dirty="0"/>
          </a:p>
        </p:txBody>
      </p:sp>
    </p:spTree>
    <p:extLst>
      <p:ext uri="{BB962C8B-B14F-4D97-AF65-F5344CB8AC3E}">
        <p14:creationId xmlns:p14="http://schemas.microsoft.com/office/powerpoint/2010/main" val="30268201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44" imgH="345" progId="TCLayout.ActiveDocument.1">
                  <p:embed/>
                </p:oleObj>
              </mc:Choice>
              <mc:Fallback>
                <p:oleObj name="think-cell Folie" r:id="rId4" imgW="344" imgH="345" progId="TCLayout.ActiveDocument.1">
                  <p:embed/>
                  <p:pic>
                    <p:nvPicPr>
                      <p:cNvPr id="4" name="Objek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el 1"/>
          <p:cNvSpPr>
            <a:spLocks noGrp="1"/>
          </p:cNvSpPr>
          <p:nvPr>
            <p:ph type="title"/>
          </p:nvPr>
        </p:nvSpPr>
        <p:spPr/>
        <p:txBody>
          <a:bodyPr/>
          <a:lstStyle/>
          <a:p>
            <a:r>
              <a:rPr lang="en-GB" dirty="0">
                <a:latin typeface="+mj-lt"/>
              </a:rPr>
              <a:t>AGENDA</a:t>
            </a:r>
          </a:p>
        </p:txBody>
      </p:sp>
      <p:graphicFrame>
        <p:nvGraphicFramePr>
          <p:cNvPr id="3" name="Tabelle 2">
            <a:extLst>
              <a:ext uri="{FF2B5EF4-FFF2-40B4-BE49-F238E27FC236}">
                <a16:creationId xmlns:a16="http://schemas.microsoft.com/office/drawing/2014/main" id="{567EB4C9-C3BF-E74A-83B0-82AD7AE5B438}"/>
              </a:ext>
            </a:extLst>
          </p:cNvPr>
          <p:cNvGraphicFramePr>
            <a:graphicFrameLocks noGrp="1"/>
          </p:cNvGraphicFramePr>
          <p:nvPr>
            <p:extLst>
              <p:ext uri="{D42A27DB-BD31-4B8C-83A1-F6EECF244321}">
                <p14:modId xmlns:p14="http://schemas.microsoft.com/office/powerpoint/2010/main" val="570063582"/>
              </p:ext>
            </p:extLst>
          </p:nvPr>
        </p:nvGraphicFramePr>
        <p:xfrm>
          <a:off x="2258" y="899998"/>
          <a:ext cx="5985792" cy="2368800"/>
        </p:xfrm>
        <a:graphic>
          <a:graphicData uri="http://schemas.openxmlformats.org/drawingml/2006/table">
            <a:tbl>
              <a:tblPr firstRow="1" bandRow="1">
                <a:tableStyleId>{5C22544A-7EE6-4342-B048-85BDC9FD1C3A}</a:tableStyleId>
              </a:tblPr>
              <a:tblGrid>
                <a:gridCol w="549126">
                  <a:extLst>
                    <a:ext uri="{9D8B030D-6E8A-4147-A177-3AD203B41FA5}">
                      <a16:colId xmlns:a16="http://schemas.microsoft.com/office/drawing/2014/main" val="916588324"/>
                    </a:ext>
                  </a:extLst>
                </a:gridCol>
                <a:gridCol w="5436666">
                  <a:extLst>
                    <a:ext uri="{9D8B030D-6E8A-4147-A177-3AD203B41FA5}">
                      <a16:colId xmlns:a16="http://schemas.microsoft.com/office/drawing/2014/main" val="1632248091"/>
                    </a:ext>
                  </a:extLst>
                </a:gridCol>
              </a:tblGrid>
              <a:tr h="0">
                <a:tc>
                  <a:txBody>
                    <a:bodyPr/>
                    <a:lstStyle/>
                    <a:p>
                      <a:r>
                        <a:rPr lang="en-GB" sz="2400" b="0" dirty="0">
                          <a:solidFill>
                            <a:schemeClr val="tx1"/>
                          </a:solidFill>
                          <a:latin typeface="Arial" panose="020B0604020202020204" pitchFamily="34" charset="0"/>
                          <a:cs typeface="Arial" panose="020B0604020202020204" pitchFamily="34" charset="0"/>
                          <a:sym typeface="Arial" panose="020B0604020202020204" pitchFamily="34" charset="0"/>
                        </a:rPr>
                        <a:t>1</a:t>
                      </a:r>
                    </a:p>
                  </a:txBody>
                  <a:tcPr marL="252000" marT="108000" marB="72000" anchor="ctr">
                    <a:lnL w="12700" cmpd="sng">
                      <a:noFill/>
                    </a:lnL>
                    <a:lnR w="12700" cmpd="sng">
                      <a:noFill/>
                    </a:lnR>
                    <a:lnT w="12700" cmpd="sng">
                      <a:noFill/>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7313" indent="0"/>
                      <a:r>
                        <a:rPr lang="de-DE" sz="2400" b="0" dirty="0">
                          <a:solidFill>
                            <a:schemeClr val="tx1"/>
                          </a:solidFill>
                          <a:latin typeface="+mn-lt"/>
                          <a:cs typeface="Arial" panose="020B0604020202020204" pitchFamily="34" charset="0"/>
                          <a:sym typeface="Arial" panose="020B0604020202020204" pitchFamily="34" charset="0"/>
                        </a:rPr>
                        <a:t>Il </a:t>
                      </a:r>
                      <a:r>
                        <a:rPr lang="de-DE" sz="2400" b="0" dirty="0" err="1">
                          <a:solidFill>
                            <a:schemeClr val="tx1"/>
                          </a:solidFill>
                          <a:latin typeface="+mn-lt"/>
                          <a:cs typeface="Arial" panose="020B0604020202020204" pitchFamily="34" charset="0"/>
                          <a:sym typeface="Arial" panose="020B0604020202020204" pitchFamily="34" charset="0"/>
                        </a:rPr>
                        <a:t>Regolamento</a:t>
                      </a:r>
                      <a:r>
                        <a:rPr lang="de-DE" sz="2400" b="0" dirty="0">
                          <a:solidFill>
                            <a:schemeClr val="tx1"/>
                          </a:solidFill>
                          <a:latin typeface="+mn-lt"/>
                          <a:cs typeface="Arial" panose="020B0604020202020204" pitchFamily="34" charset="0"/>
                          <a:sym typeface="Arial" panose="020B0604020202020204" pitchFamily="34" charset="0"/>
                        </a:rPr>
                        <a:t> (UE) 2024/1781: le </a:t>
                      </a:r>
                      <a:r>
                        <a:rPr lang="de-DE" sz="2400" b="0" dirty="0" err="1">
                          <a:solidFill>
                            <a:schemeClr val="tx1"/>
                          </a:solidFill>
                          <a:latin typeface="+mn-lt"/>
                          <a:cs typeface="Arial" panose="020B0604020202020204" pitchFamily="34" charset="0"/>
                          <a:sym typeface="Arial" panose="020B0604020202020204" pitchFamily="34" charset="0"/>
                        </a:rPr>
                        <a:t>principali</a:t>
                      </a:r>
                      <a:r>
                        <a:rPr lang="de-DE" sz="2400" b="0" dirty="0">
                          <a:solidFill>
                            <a:schemeClr val="tx1"/>
                          </a:solidFill>
                          <a:latin typeface="+mn-lt"/>
                          <a:cs typeface="Arial" panose="020B0604020202020204" pitchFamily="34" charset="0"/>
                          <a:sym typeface="Arial" panose="020B0604020202020204" pitchFamily="34" charset="0"/>
                        </a:rPr>
                        <a:t> </a:t>
                      </a:r>
                      <a:r>
                        <a:rPr lang="de-DE" sz="2400" b="0" dirty="0" err="1">
                          <a:solidFill>
                            <a:schemeClr val="tx1"/>
                          </a:solidFill>
                          <a:latin typeface="+mn-lt"/>
                          <a:cs typeface="Arial" panose="020B0604020202020204" pitchFamily="34" charset="0"/>
                          <a:sym typeface="Arial" panose="020B0604020202020204" pitchFamily="34" charset="0"/>
                        </a:rPr>
                        <a:t>novità</a:t>
                      </a:r>
                      <a:r>
                        <a:rPr lang="de-DE" sz="2400" b="0" dirty="0">
                          <a:solidFill>
                            <a:schemeClr val="tx1"/>
                          </a:solidFill>
                          <a:latin typeface="+mn-lt"/>
                          <a:cs typeface="Arial" panose="020B0604020202020204" pitchFamily="34" charset="0"/>
                          <a:sym typeface="Arial" panose="020B0604020202020204" pitchFamily="34" charset="0"/>
                        </a:rPr>
                        <a:t> e </a:t>
                      </a:r>
                      <a:r>
                        <a:rPr lang="de-DE" sz="2400" b="0" dirty="0" err="1">
                          <a:solidFill>
                            <a:schemeClr val="tx1"/>
                          </a:solidFill>
                          <a:latin typeface="+mn-lt"/>
                          <a:cs typeface="Arial" panose="020B0604020202020204" pitchFamily="34" charset="0"/>
                          <a:sym typeface="Arial" panose="020B0604020202020204" pitchFamily="34" charset="0"/>
                        </a:rPr>
                        <a:t>l‘ambito</a:t>
                      </a:r>
                      <a:r>
                        <a:rPr lang="de-DE" sz="2400" b="0" dirty="0">
                          <a:solidFill>
                            <a:schemeClr val="tx1"/>
                          </a:solidFill>
                          <a:latin typeface="+mn-lt"/>
                          <a:cs typeface="Arial" panose="020B0604020202020204" pitchFamily="34" charset="0"/>
                          <a:sym typeface="Arial" panose="020B0604020202020204" pitchFamily="34" charset="0"/>
                        </a:rPr>
                        <a:t> di </a:t>
                      </a:r>
                      <a:r>
                        <a:rPr lang="de-DE" sz="2400" b="0" dirty="0" err="1">
                          <a:solidFill>
                            <a:schemeClr val="tx1"/>
                          </a:solidFill>
                          <a:latin typeface="+mn-lt"/>
                          <a:cs typeface="Arial" panose="020B0604020202020204" pitchFamily="34" charset="0"/>
                          <a:sym typeface="Arial" panose="020B0604020202020204" pitchFamily="34" charset="0"/>
                        </a:rPr>
                        <a:t>applicazione</a:t>
                      </a:r>
                      <a:endParaRPr lang="de-DE" sz="2400" b="0" dirty="0">
                        <a:solidFill>
                          <a:schemeClr val="tx1"/>
                        </a:solidFill>
                        <a:latin typeface="+mn-lt"/>
                        <a:cs typeface="Arial" panose="020B0604020202020204" pitchFamily="34" charset="0"/>
                        <a:sym typeface="Arial" panose="020B0604020202020204" pitchFamily="34" charset="0"/>
                      </a:endParaRPr>
                    </a:p>
                  </a:txBody>
                  <a:tcPr marL="0" marT="108000" marB="72000" anchor="ctr">
                    <a:lnL w="12700" cmpd="sng">
                      <a:noFill/>
                    </a:lnL>
                    <a:lnR w="12700" cmpd="sng">
                      <a:noFill/>
                    </a:lnR>
                    <a:lnT w="12700" cmpd="sng">
                      <a:noFill/>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4560052"/>
                  </a:ext>
                </a:extLst>
              </a:tr>
              <a:tr h="0">
                <a:tc>
                  <a:txBody>
                    <a:bodyPr/>
                    <a:lstStyle/>
                    <a:p>
                      <a:r>
                        <a:rPr lang="de-DE" sz="2400" b="0" i="0" u="none" strike="noStrike" kern="1200" baseline="0" dirty="0">
                          <a:solidFill>
                            <a:schemeClr val="dk1"/>
                          </a:solidFill>
                          <a:latin typeface="Arial" panose="020B0604020202020204" pitchFamily="34" charset="0"/>
                          <a:ea typeface="+mn-ea"/>
                          <a:cs typeface="Arial" panose="020B0604020202020204" pitchFamily="34" charset="0"/>
                          <a:sym typeface="Arial" panose="020B0604020202020204" pitchFamily="34" charset="0"/>
                        </a:rPr>
                        <a:t>2</a:t>
                      </a:r>
                      <a:endParaRPr lang="de-DE" sz="2400" b="0" dirty="0">
                        <a:solidFill>
                          <a:schemeClr val="tx1"/>
                        </a:solidFill>
                        <a:latin typeface="Arial" panose="020B0604020202020204" pitchFamily="34" charset="0"/>
                        <a:cs typeface="Arial" panose="020B0604020202020204" pitchFamily="34" charset="0"/>
                        <a:sym typeface="Arial" panose="020B0604020202020204" pitchFamily="34" charset="0"/>
                      </a:endParaRPr>
                    </a:p>
                  </a:txBody>
                  <a:tcPr marL="252000" marT="108000" marB="72000" anchor="ctr">
                    <a:lnL w="12700" cmpd="sng">
                      <a:noFill/>
                    </a:lnL>
                    <a:lnR w="12700" cmpd="sng">
                      <a:noFill/>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7313" indent="0"/>
                      <a:r>
                        <a:rPr lang="de-DE" sz="2400" b="0" dirty="0">
                          <a:solidFill>
                            <a:schemeClr val="tx1"/>
                          </a:solidFill>
                          <a:latin typeface="+mn-lt"/>
                          <a:cs typeface="Arial" panose="020B0604020202020204" pitchFamily="34" charset="0"/>
                          <a:sym typeface="Arial" panose="020B0604020202020204" pitchFamily="34" charset="0"/>
                        </a:rPr>
                        <a:t>Il </a:t>
                      </a:r>
                      <a:r>
                        <a:rPr lang="de-DE" sz="2400" b="0" i="1" dirty="0">
                          <a:solidFill>
                            <a:schemeClr val="tx1"/>
                          </a:solidFill>
                          <a:latin typeface="+mn-lt"/>
                          <a:cs typeface="Arial" panose="020B0604020202020204" pitchFamily="34" charset="0"/>
                          <a:sym typeface="Arial" panose="020B0604020202020204" pitchFamily="34" charset="0"/>
                        </a:rPr>
                        <a:t>Digital </a:t>
                      </a:r>
                      <a:r>
                        <a:rPr lang="de-DE" sz="2400" b="0" i="1" dirty="0" err="1">
                          <a:solidFill>
                            <a:schemeClr val="tx1"/>
                          </a:solidFill>
                          <a:latin typeface="+mn-lt"/>
                          <a:cs typeface="Arial" panose="020B0604020202020204" pitchFamily="34" charset="0"/>
                          <a:sym typeface="Arial" panose="020B0604020202020204" pitchFamily="34" charset="0"/>
                        </a:rPr>
                        <a:t>Product</a:t>
                      </a:r>
                      <a:r>
                        <a:rPr lang="de-DE" sz="2400" b="0" i="1" dirty="0">
                          <a:solidFill>
                            <a:schemeClr val="tx1"/>
                          </a:solidFill>
                          <a:latin typeface="+mn-lt"/>
                          <a:cs typeface="Arial" panose="020B0604020202020204" pitchFamily="34" charset="0"/>
                          <a:sym typeface="Arial" panose="020B0604020202020204" pitchFamily="34" charset="0"/>
                        </a:rPr>
                        <a:t> </a:t>
                      </a:r>
                      <a:r>
                        <a:rPr lang="de-DE" sz="2400" b="0" i="1" dirty="0" err="1">
                          <a:solidFill>
                            <a:schemeClr val="tx1"/>
                          </a:solidFill>
                          <a:latin typeface="+mn-lt"/>
                          <a:cs typeface="Arial" panose="020B0604020202020204" pitchFamily="34" charset="0"/>
                          <a:sym typeface="Arial" panose="020B0604020202020204" pitchFamily="34" charset="0"/>
                        </a:rPr>
                        <a:t>Passport</a:t>
                      </a:r>
                      <a:r>
                        <a:rPr lang="de-DE" sz="2400" b="0" i="1" dirty="0">
                          <a:solidFill>
                            <a:schemeClr val="tx1"/>
                          </a:solidFill>
                          <a:latin typeface="+mn-lt"/>
                          <a:cs typeface="Arial" panose="020B0604020202020204" pitchFamily="34" charset="0"/>
                          <a:sym typeface="Arial" panose="020B0604020202020204" pitchFamily="34" charset="0"/>
                        </a:rPr>
                        <a:t> </a:t>
                      </a:r>
                      <a:endParaRPr lang="de-DE" sz="2400" b="0" dirty="0">
                        <a:solidFill>
                          <a:schemeClr val="tx1"/>
                        </a:solidFill>
                        <a:latin typeface="+mn-lt"/>
                        <a:cs typeface="Arial" panose="020B0604020202020204" pitchFamily="34" charset="0"/>
                        <a:sym typeface="Arial" panose="020B0604020202020204" pitchFamily="34" charset="0"/>
                      </a:endParaRPr>
                    </a:p>
                  </a:txBody>
                  <a:tcPr marL="0" marT="108000" marB="72000" anchor="ctr">
                    <a:lnL w="12700" cmpd="sng">
                      <a:noFill/>
                    </a:lnL>
                    <a:lnR w="12700" cmpd="sng">
                      <a:noFill/>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49930951"/>
                  </a:ext>
                </a:extLst>
              </a:tr>
              <a:tr h="0">
                <a:tc>
                  <a:txBody>
                    <a:bodyPr/>
                    <a:lstStyle/>
                    <a:p>
                      <a:r>
                        <a:rPr lang="de-DE" sz="2400" b="0" i="0" u="none" strike="noStrike" kern="1200" baseline="0" dirty="0">
                          <a:solidFill>
                            <a:schemeClr val="dk1"/>
                          </a:solidFill>
                          <a:latin typeface="Arial" panose="020B0604020202020204" pitchFamily="34" charset="0"/>
                          <a:ea typeface="+mn-ea"/>
                          <a:cs typeface="Arial" panose="020B0604020202020204" pitchFamily="34" charset="0"/>
                          <a:sym typeface="Arial" panose="020B0604020202020204" pitchFamily="34" charset="0"/>
                        </a:rPr>
                        <a:t>3</a:t>
                      </a:r>
                      <a:endParaRPr lang="de-DE" sz="2400" b="0" dirty="0">
                        <a:solidFill>
                          <a:schemeClr val="tx1"/>
                        </a:solidFill>
                        <a:latin typeface="Arial" panose="020B0604020202020204" pitchFamily="34" charset="0"/>
                        <a:cs typeface="Arial" panose="020B0604020202020204" pitchFamily="34" charset="0"/>
                        <a:sym typeface="Arial" panose="020B0604020202020204" pitchFamily="34" charset="0"/>
                      </a:endParaRPr>
                    </a:p>
                  </a:txBody>
                  <a:tcPr marL="252000" marT="108000" marB="72000" anchor="ctr">
                    <a:lnL w="12700" cmpd="sng">
                      <a:noFill/>
                    </a:lnL>
                    <a:lnR w="12700" cmpd="sng">
                      <a:noFill/>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87313" indent="0"/>
                      <a:r>
                        <a:rPr lang="de-DE" sz="2400" b="0" dirty="0" err="1">
                          <a:solidFill>
                            <a:schemeClr val="tx1"/>
                          </a:solidFill>
                          <a:latin typeface="+mn-lt"/>
                          <a:cs typeface="Arial" panose="020B0604020202020204" pitchFamily="34" charset="0"/>
                          <a:sym typeface="Arial" panose="020B0604020202020204" pitchFamily="34" charset="0"/>
                        </a:rPr>
                        <a:t>Contatti</a:t>
                      </a:r>
                      <a:endParaRPr lang="de-DE" sz="2400" b="0" dirty="0">
                        <a:solidFill>
                          <a:schemeClr val="tx1"/>
                        </a:solidFill>
                        <a:latin typeface="+mn-lt"/>
                        <a:cs typeface="Arial" panose="020B0604020202020204" pitchFamily="34" charset="0"/>
                        <a:sym typeface="Arial" panose="020B0604020202020204" pitchFamily="34" charset="0"/>
                      </a:endParaRPr>
                    </a:p>
                  </a:txBody>
                  <a:tcPr marL="0" marT="108000" marB="72000" anchor="ctr">
                    <a:lnL w="12700" cmpd="sng">
                      <a:noFill/>
                    </a:lnL>
                    <a:lnR w="12700" cmpd="sng">
                      <a:noFill/>
                    </a:lnR>
                    <a:lnT w="19050" cap="flat" cmpd="sng" algn="ctr">
                      <a:solidFill>
                        <a:schemeClr val="tx1"/>
                      </a:solid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667343194"/>
                  </a:ext>
                </a:extLst>
              </a:tr>
            </a:tbl>
          </a:graphicData>
        </a:graphic>
      </p:graphicFrame>
      <p:pic>
        <p:nvPicPr>
          <p:cNvPr id="7" name="Immagine 6">
            <a:extLst>
              <a:ext uri="{FF2B5EF4-FFF2-40B4-BE49-F238E27FC236}">
                <a16:creationId xmlns:a16="http://schemas.microsoft.com/office/drawing/2014/main" id="{35F658C9-C80B-3C13-1B23-5B6575A4055F}"/>
              </a:ext>
            </a:extLst>
          </p:cNvPr>
          <p:cNvPicPr>
            <a:picLocks noChangeAspect="1"/>
          </p:cNvPicPr>
          <p:nvPr/>
        </p:nvPicPr>
        <p:blipFill>
          <a:blip r:embed="rId6"/>
          <a:stretch>
            <a:fillRect/>
          </a:stretch>
        </p:blipFill>
        <p:spPr>
          <a:xfrm>
            <a:off x="5988050" y="899997"/>
            <a:ext cx="6203950" cy="5985801"/>
          </a:xfrm>
          <a:prstGeom prst="rect">
            <a:avLst/>
          </a:prstGeom>
        </p:spPr>
      </p:pic>
    </p:spTree>
    <p:extLst>
      <p:ext uri="{BB962C8B-B14F-4D97-AF65-F5344CB8AC3E}">
        <p14:creationId xmlns:p14="http://schemas.microsoft.com/office/powerpoint/2010/main" val="71804814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CCA3ACDD-009B-8E49-F770-1AE30E10A833}"/>
            </a:ext>
          </a:extLst>
        </p:cNvPr>
        <p:cNvGrpSpPr/>
        <p:nvPr/>
      </p:nvGrpSpPr>
      <p:grpSpPr>
        <a:xfrm>
          <a:off x="0" y="0"/>
          <a:ext cx="0" cy="0"/>
          <a:chOff x="0" y="0"/>
          <a:chExt cx="0" cy="0"/>
        </a:xfrm>
      </p:grpSpPr>
      <p:sp>
        <p:nvSpPr>
          <p:cNvPr id="3" name="Segnaposto numero diapositiva 2">
            <a:extLst>
              <a:ext uri="{FF2B5EF4-FFF2-40B4-BE49-F238E27FC236}">
                <a16:creationId xmlns:a16="http://schemas.microsoft.com/office/drawing/2014/main" id="{F7AFDFF7-6BD5-A07E-11CD-5D2F545FA46A}"/>
              </a:ext>
            </a:extLst>
          </p:cNvPr>
          <p:cNvSpPr>
            <a:spLocks noGrp="1"/>
          </p:cNvSpPr>
          <p:nvPr>
            <p:ph type="sldNum" sz="quarter" idx="17"/>
          </p:nvPr>
        </p:nvSpPr>
        <p:spPr/>
        <p:txBody>
          <a:bodyPr/>
          <a:lstStyle/>
          <a:p>
            <a:fld id="{4CFEB0D3-1EB3-4F08-8062-95FFB9749870}" type="slidenum">
              <a:rPr lang="de-DE" smtClean="0"/>
              <a:pPr/>
              <a:t>20</a:t>
            </a:fld>
            <a:endParaRPr lang="de-DE" dirty="0"/>
          </a:p>
        </p:txBody>
      </p:sp>
      <p:sp>
        <p:nvSpPr>
          <p:cNvPr id="4" name="Segnaposto testo 3">
            <a:extLst>
              <a:ext uri="{FF2B5EF4-FFF2-40B4-BE49-F238E27FC236}">
                <a16:creationId xmlns:a16="http://schemas.microsoft.com/office/drawing/2014/main" id="{A4E4C5B1-7DF7-7609-4498-63C145418458}"/>
              </a:ext>
            </a:extLst>
          </p:cNvPr>
          <p:cNvSpPr>
            <a:spLocks noGrp="1"/>
          </p:cNvSpPr>
          <p:nvPr>
            <p:ph type="body" sz="quarter" idx="14"/>
          </p:nvPr>
        </p:nvSpPr>
        <p:spPr>
          <a:xfrm>
            <a:off x="1" y="244800"/>
            <a:ext cx="4799856" cy="2180609"/>
          </a:xfrm>
        </p:spPr>
        <p:txBody>
          <a:bodyPr/>
          <a:lstStyle/>
          <a:p>
            <a:r>
              <a:rPr lang="it-IT" sz="3200" dirty="0"/>
              <a:t>Il passaporto digitale del prodotto nel settore tessile</a:t>
            </a:r>
          </a:p>
        </p:txBody>
      </p:sp>
      <p:pic>
        <p:nvPicPr>
          <p:cNvPr id="6" name="Segnaposto immagine 5" descr="Immagine che contiene colori, modello, textile, fibra&#10;&#10;Descrizione generata automaticamente">
            <a:extLst>
              <a:ext uri="{FF2B5EF4-FFF2-40B4-BE49-F238E27FC236}">
                <a16:creationId xmlns:a16="http://schemas.microsoft.com/office/drawing/2014/main" id="{A9FF379D-FEE8-317E-BAA3-C5B12BBAF33B}"/>
              </a:ext>
            </a:extLst>
          </p:cNvPr>
          <p:cNvPicPr>
            <a:picLocks noGrp="1" noChangeAspect="1"/>
          </p:cNvPicPr>
          <p:nvPr>
            <p:ph type="pic" sz="quarter" idx="16"/>
          </p:nvPr>
        </p:nvPicPr>
        <p:blipFill>
          <a:blip r:embed="rId2">
            <a:extLst>
              <a:ext uri="{837473B0-CC2E-450A-ABE3-18F120FF3D39}">
                <a1611:picAttrSrcUrl xmlns:a1611="http://schemas.microsoft.com/office/drawing/2016/11/main" r:id="rId3"/>
              </a:ext>
            </a:extLst>
          </a:blip>
          <a:srcRect l="15448" r="15448"/>
          <a:stretch>
            <a:fillRect/>
          </a:stretch>
        </p:blipFill>
        <p:spPr/>
      </p:pic>
    </p:spTree>
    <p:extLst>
      <p:ext uri="{BB962C8B-B14F-4D97-AF65-F5344CB8AC3E}">
        <p14:creationId xmlns:p14="http://schemas.microsoft.com/office/powerpoint/2010/main" val="83829194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777D282D-BBDC-485D-A122-4D6975C25EFC}"/>
              </a:ext>
            </a:extLst>
          </p:cNvPr>
          <p:cNvSpPr>
            <a:spLocks noGrp="1"/>
          </p:cNvSpPr>
          <p:nvPr>
            <p:ph type="title"/>
          </p:nvPr>
        </p:nvSpPr>
        <p:spPr/>
        <p:txBody>
          <a:bodyPr/>
          <a:lstStyle/>
          <a:p>
            <a:r>
              <a:rPr lang="it-IT" dirty="0"/>
              <a:t>IL PASSAPORTO DIGITALE DEL PRODOTTO NEL SETTORE TESSILE</a:t>
            </a:r>
          </a:p>
        </p:txBody>
      </p:sp>
      <p:sp>
        <p:nvSpPr>
          <p:cNvPr id="3" name="CasellaDiTesto 2">
            <a:extLst>
              <a:ext uri="{FF2B5EF4-FFF2-40B4-BE49-F238E27FC236}">
                <a16:creationId xmlns:a16="http://schemas.microsoft.com/office/drawing/2014/main" id="{2C1FEC20-AE3C-89FF-BB66-4CF0EE812657}"/>
              </a:ext>
            </a:extLst>
          </p:cNvPr>
          <p:cNvSpPr txBox="1"/>
          <p:nvPr/>
        </p:nvSpPr>
        <p:spPr>
          <a:xfrm>
            <a:off x="652020" y="2124519"/>
            <a:ext cx="10887959" cy="3777957"/>
          </a:xfrm>
          <a:prstGeom prst="rect">
            <a:avLst/>
          </a:prstGeom>
          <a:noFill/>
        </p:spPr>
        <p:txBody>
          <a:bodyPr wrap="square" lIns="0" tIns="0" rIns="0" bIns="0" rtlCol="0">
            <a:spAutoFit/>
          </a:bodyPr>
          <a:lstStyle/>
          <a:p>
            <a:pPr>
              <a:spcBef>
                <a:spcPts val="500"/>
              </a:spcBef>
              <a:buClr>
                <a:srgbClr val="5A6AA8"/>
              </a:buClr>
            </a:pPr>
            <a:r>
              <a:rPr lang="it-IT" sz="2000" dirty="0"/>
              <a:t>Il settore tessile e, più in generale, la c.d. «</a:t>
            </a:r>
            <a:r>
              <a:rPr lang="it-IT" sz="2000" i="1" dirty="0"/>
              <a:t>fashion </a:t>
            </a:r>
            <a:r>
              <a:rPr lang="it-IT" sz="2000" i="1" dirty="0" err="1"/>
              <a:t>industry</a:t>
            </a:r>
            <a:r>
              <a:rPr lang="it-IT" sz="2000" dirty="0"/>
              <a:t>», stanno affrontando una triplice sfida:</a:t>
            </a:r>
          </a:p>
          <a:p>
            <a:pPr>
              <a:spcBef>
                <a:spcPts val="500"/>
              </a:spcBef>
              <a:buClr>
                <a:srgbClr val="5A6AA8"/>
              </a:buClr>
            </a:pPr>
            <a:endParaRPr lang="it-IT" sz="2000" dirty="0"/>
          </a:p>
          <a:p>
            <a:pPr marL="285750" indent="-285750">
              <a:spcBef>
                <a:spcPts val="500"/>
              </a:spcBef>
              <a:buClr>
                <a:srgbClr val="5A6AA8"/>
              </a:buClr>
              <a:buFont typeface="Wingdings" panose="05000000000000000000" pitchFamily="2" charset="2"/>
              <a:buChar char="Ø"/>
            </a:pPr>
            <a:r>
              <a:rPr lang="it-IT" sz="2000" b="1" dirty="0"/>
              <a:t>SFIDA ECOLOGICA</a:t>
            </a:r>
          </a:p>
          <a:p>
            <a:pPr marL="285750" indent="-285750">
              <a:spcBef>
                <a:spcPts val="500"/>
              </a:spcBef>
              <a:buClr>
                <a:srgbClr val="5A6AA8"/>
              </a:buClr>
              <a:buFont typeface="Wingdings" panose="05000000000000000000" pitchFamily="2" charset="2"/>
              <a:buChar char="Ø"/>
            </a:pPr>
            <a:endParaRPr lang="it-IT" sz="2000" dirty="0"/>
          </a:p>
          <a:p>
            <a:pPr marL="285750" indent="-285750">
              <a:spcBef>
                <a:spcPts val="500"/>
              </a:spcBef>
              <a:buClr>
                <a:srgbClr val="5A6AA8"/>
              </a:buClr>
              <a:buFont typeface="Wingdings" panose="05000000000000000000" pitchFamily="2" charset="2"/>
              <a:buChar char="Ø"/>
            </a:pPr>
            <a:r>
              <a:rPr lang="it-IT" sz="2000" b="1" dirty="0"/>
              <a:t>SFIDA ECONOMICA</a:t>
            </a:r>
          </a:p>
          <a:p>
            <a:pPr marL="285750" indent="-285750">
              <a:spcBef>
                <a:spcPts val="500"/>
              </a:spcBef>
              <a:buClr>
                <a:srgbClr val="5A6AA8"/>
              </a:buClr>
              <a:buFont typeface="Wingdings" panose="05000000000000000000" pitchFamily="2" charset="2"/>
              <a:buChar char="Ø"/>
            </a:pPr>
            <a:endParaRPr lang="it-IT" sz="2000" kern="1200" dirty="0">
              <a:latin typeface="+mn-lt"/>
              <a:ea typeface="+mn-ea"/>
              <a:cs typeface="+mn-cs"/>
            </a:endParaRPr>
          </a:p>
          <a:p>
            <a:pPr marL="285750" indent="-285750">
              <a:spcBef>
                <a:spcPts val="500"/>
              </a:spcBef>
              <a:buClr>
                <a:srgbClr val="5A6AA8"/>
              </a:buClr>
              <a:buFont typeface="Wingdings" panose="05000000000000000000" pitchFamily="2" charset="2"/>
              <a:buChar char="Ø"/>
            </a:pPr>
            <a:r>
              <a:rPr lang="it-IT" sz="2000" b="1" kern="1200" dirty="0">
                <a:latin typeface="+mn-lt"/>
                <a:ea typeface="+mn-ea"/>
                <a:cs typeface="+mn-cs"/>
              </a:rPr>
              <a:t>SFIDA SOCIALE</a:t>
            </a:r>
          </a:p>
          <a:p>
            <a:pPr marL="216000" indent="-216000" algn="l" defTabSz="914400" rtl="0" eaLnBrk="1" latinLnBrk="0" hangingPunct="1">
              <a:spcBef>
                <a:spcPts val="500"/>
              </a:spcBef>
              <a:buFontTx/>
              <a:buChar char="–"/>
            </a:pPr>
            <a:endParaRPr lang="it-IT" sz="1600" dirty="0">
              <a:solidFill>
                <a:schemeClr val="tx2"/>
              </a:solidFill>
            </a:endParaRPr>
          </a:p>
          <a:p>
            <a:pPr algn="l" defTabSz="914400" rtl="0" eaLnBrk="1" latinLnBrk="0" hangingPunct="1">
              <a:spcBef>
                <a:spcPts val="500"/>
              </a:spcBef>
            </a:pPr>
            <a:endParaRPr lang="it-IT" sz="1600" dirty="0">
              <a:solidFill>
                <a:schemeClr val="tx2"/>
              </a:solidFill>
            </a:endParaRPr>
          </a:p>
          <a:p>
            <a:pPr marL="216000" indent="-216000" algn="l" defTabSz="914400" rtl="0" eaLnBrk="1" latinLnBrk="0" hangingPunct="1">
              <a:spcBef>
                <a:spcPts val="500"/>
              </a:spcBef>
              <a:buFontTx/>
              <a:buChar char="–"/>
            </a:pPr>
            <a:endParaRPr lang="it-IT" sz="1600" kern="1200" dirty="0">
              <a:solidFill>
                <a:schemeClr val="tx2"/>
              </a:solidFill>
              <a:latin typeface="+mn-lt"/>
              <a:ea typeface="+mn-ea"/>
              <a:cs typeface="+mn-cs"/>
            </a:endParaRPr>
          </a:p>
        </p:txBody>
      </p:sp>
    </p:spTree>
    <p:extLst>
      <p:ext uri="{BB962C8B-B14F-4D97-AF65-F5344CB8AC3E}">
        <p14:creationId xmlns:p14="http://schemas.microsoft.com/office/powerpoint/2010/main" val="1491893231"/>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ttangolo 5">
            <a:extLst>
              <a:ext uri="{FF2B5EF4-FFF2-40B4-BE49-F238E27FC236}">
                <a16:creationId xmlns:a16="http://schemas.microsoft.com/office/drawing/2014/main" id="{C4EAEFC0-3B06-5848-DD8B-8069ED3645C1}"/>
              </a:ext>
            </a:extLst>
          </p:cNvPr>
          <p:cNvSpPr/>
          <p:nvPr/>
        </p:nvSpPr>
        <p:spPr>
          <a:xfrm>
            <a:off x="652020" y="1325636"/>
            <a:ext cx="4653405" cy="396000"/>
          </a:xfrm>
          <a:prstGeom prst="rect">
            <a:avLst/>
          </a:prstGeom>
          <a:solidFill>
            <a:srgbClr val="0083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6000" indent="-216000" algn="l">
              <a:buFontTx/>
              <a:buChar char="–"/>
            </a:pPr>
            <a:endParaRPr lang="it-IT" sz="1600" dirty="0" err="1">
              <a:solidFill>
                <a:schemeClr val="tx1"/>
              </a:solidFill>
            </a:endParaRPr>
          </a:p>
        </p:txBody>
      </p:sp>
      <p:sp>
        <p:nvSpPr>
          <p:cNvPr id="2" name="Titolo 1">
            <a:extLst>
              <a:ext uri="{FF2B5EF4-FFF2-40B4-BE49-F238E27FC236}">
                <a16:creationId xmlns:a16="http://schemas.microsoft.com/office/drawing/2014/main" id="{777D282D-BBDC-485D-A122-4D6975C25EFC}"/>
              </a:ext>
            </a:extLst>
          </p:cNvPr>
          <p:cNvSpPr>
            <a:spLocks noGrp="1"/>
          </p:cNvSpPr>
          <p:nvPr>
            <p:ph type="title"/>
          </p:nvPr>
        </p:nvSpPr>
        <p:spPr/>
        <p:txBody>
          <a:bodyPr/>
          <a:lstStyle/>
          <a:p>
            <a:r>
              <a:rPr lang="it-IT" dirty="0"/>
              <a:t>IL PASSAPORTO DIGITALE DEL PRODOTTO NEL SETTORE TESSILE</a:t>
            </a:r>
          </a:p>
        </p:txBody>
      </p:sp>
      <p:sp>
        <p:nvSpPr>
          <p:cNvPr id="3" name="CasellaDiTesto 2">
            <a:extLst>
              <a:ext uri="{FF2B5EF4-FFF2-40B4-BE49-F238E27FC236}">
                <a16:creationId xmlns:a16="http://schemas.microsoft.com/office/drawing/2014/main" id="{2C1FEC20-AE3C-89FF-BB66-4CF0EE812657}"/>
              </a:ext>
            </a:extLst>
          </p:cNvPr>
          <p:cNvSpPr txBox="1"/>
          <p:nvPr/>
        </p:nvSpPr>
        <p:spPr>
          <a:xfrm>
            <a:off x="652020" y="1986147"/>
            <a:ext cx="10887959" cy="3595856"/>
          </a:xfrm>
          <a:prstGeom prst="rect">
            <a:avLst/>
          </a:prstGeom>
          <a:noFill/>
        </p:spPr>
        <p:txBody>
          <a:bodyPr wrap="square" lIns="0" tIns="0" rIns="0" bIns="0" rtlCol="0">
            <a:spAutoFit/>
          </a:bodyPr>
          <a:lstStyle/>
          <a:p>
            <a:pPr>
              <a:spcBef>
                <a:spcPts val="500"/>
              </a:spcBef>
              <a:buClr>
                <a:srgbClr val="00838A"/>
              </a:buClr>
            </a:pPr>
            <a:r>
              <a:rPr lang="it-IT" sz="1600" dirty="0"/>
              <a:t>La c.d. «</a:t>
            </a:r>
            <a:r>
              <a:rPr lang="it-IT" sz="1600" i="1" dirty="0"/>
              <a:t>supply chain</a:t>
            </a:r>
            <a:r>
              <a:rPr lang="it-IT" sz="1600" dirty="0"/>
              <a:t>» del settore tessile è estremamente complessa e coinvolge molteplici attori:</a:t>
            </a:r>
          </a:p>
          <a:p>
            <a:pPr>
              <a:spcBef>
                <a:spcPts val="500"/>
              </a:spcBef>
              <a:buClr>
                <a:srgbClr val="00838A"/>
              </a:buClr>
            </a:pPr>
            <a:endParaRPr lang="it-IT" sz="1600" dirty="0"/>
          </a:p>
          <a:p>
            <a:pPr marL="285750" indent="-285750">
              <a:spcBef>
                <a:spcPts val="500"/>
              </a:spcBef>
              <a:buClr>
                <a:srgbClr val="00838A"/>
              </a:buClr>
              <a:buFont typeface="Wingdings" panose="05000000000000000000" pitchFamily="2" charset="2"/>
              <a:buChar char="Ø"/>
            </a:pPr>
            <a:r>
              <a:rPr lang="it-IT" sz="1600" dirty="0"/>
              <a:t>Produttori di materie prime (es. fibre);</a:t>
            </a:r>
          </a:p>
          <a:p>
            <a:pPr marL="285750" indent="-285750">
              <a:spcBef>
                <a:spcPts val="500"/>
              </a:spcBef>
              <a:buClr>
                <a:srgbClr val="00838A"/>
              </a:buClr>
              <a:buFont typeface="Wingdings" panose="05000000000000000000" pitchFamily="2" charset="2"/>
              <a:buChar char="Ø"/>
            </a:pPr>
            <a:r>
              <a:rPr lang="it-IT" sz="1600" dirty="0"/>
              <a:t>Produttori che trasformano le materie prime in filati;</a:t>
            </a:r>
          </a:p>
          <a:p>
            <a:pPr marL="285750" indent="-285750">
              <a:spcBef>
                <a:spcPts val="500"/>
              </a:spcBef>
              <a:buClr>
                <a:srgbClr val="00838A"/>
              </a:buClr>
              <a:buFont typeface="Wingdings" panose="05000000000000000000" pitchFamily="2" charset="2"/>
              <a:buChar char="Ø"/>
            </a:pPr>
            <a:r>
              <a:rPr lang="it-IT" sz="1600" dirty="0"/>
              <a:t>Produttori che trasformano i filati in tessuto;</a:t>
            </a:r>
          </a:p>
          <a:p>
            <a:pPr marL="285750" indent="-285750">
              <a:spcBef>
                <a:spcPts val="500"/>
              </a:spcBef>
              <a:buClr>
                <a:srgbClr val="00838A"/>
              </a:buClr>
              <a:buFont typeface="Wingdings" panose="05000000000000000000" pitchFamily="2" charset="2"/>
              <a:buChar char="Ø"/>
            </a:pPr>
            <a:r>
              <a:rPr lang="it-IT" sz="1600" dirty="0"/>
              <a:t>Produttori che assemblano il capo d’abbigliamento finito;</a:t>
            </a:r>
          </a:p>
          <a:p>
            <a:pPr marL="285750" indent="-285750">
              <a:spcBef>
                <a:spcPts val="500"/>
              </a:spcBef>
              <a:buClr>
                <a:srgbClr val="00838A"/>
              </a:buClr>
              <a:buFont typeface="Wingdings" panose="05000000000000000000" pitchFamily="2" charset="2"/>
              <a:buChar char="Ø"/>
            </a:pPr>
            <a:r>
              <a:rPr lang="it-IT" sz="1600" dirty="0"/>
              <a:t>Venditori, sia </a:t>
            </a:r>
            <a:r>
              <a:rPr lang="it-IT" sz="1600" i="1" dirty="0"/>
              <a:t>online </a:t>
            </a:r>
            <a:r>
              <a:rPr lang="it-IT" sz="1600" dirty="0"/>
              <a:t>che nei negozi fisici</a:t>
            </a:r>
            <a:endParaRPr lang="it-IT" sz="1600" dirty="0">
              <a:solidFill>
                <a:schemeClr val="tx2"/>
              </a:solidFill>
            </a:endParaRPr>
          </a:p>
          <a:p>
            <a:pPr algn="l" defTabSz="914400" rtl="0" eaLnBrk="1" latinLnBrk="0" hangingPunct="1">
              <a:spcBef>
                <a:spcPts val="500"/>
              </a:spcBef>
            </a:pPr>
            <a:endParaRPr lang="it-IT" sz="1600" dirty="0">
              <a:solidFill>
                <a:schemeClr val="tx2"/>
              </a:solidFill>
            </a:endParaRPr>
          </a:p>
          <a:p>
            <a:pPr algn="l" defTabSz="914400" rtl="0" eaLnBrk="1" latinLnBrk="0" hangingPunct="1">
              <a:spcBef>
                <a:spcPts val="500"/>
              </a:spcBef>
            </a:pPr>
            <a:r>
              <a:rPr lang="it-IT" sz="1600" dirty="0"/>
              <a:t>Conseguentemente, tracciare la c.d. «</a:t>
            </a:r>
            <a:r>
              <a:rPr lang="it-IT" sz="1600" i="1" dirty="0"/>
              <a:t>supply chain</a:t>
            </a:r>
            <a:r>
              <a:rPr lang="it-IT" sz="1600" dirty="0"/>
              <a:t>» di un prodotto tessile presenta </a:t>
            </a:r>
            <a:r>
              <a:rPr lang="it-IT" sz="1600" b="1" dirty="0"/>
              <a:t>notevoli difficoltà</a:t>
            </a:r>
            <a:r>
              <a:rPr lang="it-IT" sz="1600" dirty="0"/>
              <a:t>, in quanto vi è la concreta possibilità che vi siano </a:t>
            </a:r>
            <a:r>
              <a:rPr lang="it-IT" sz="1600" u="sng" dirty="0"/>
              <a:t>prodotti identici</a:t>
            </a:r>
            <a:r>
              <a:rPr lang="it-IT" sz="1600" dirty="0"/>
              <a:t> aventi:</a:t>
            </a:r>
          </a:p>
          <a:p>
            <a:pPr algn="l" defTabSz="914400" rtl="0" eaLnBrk="1" latinLnBrk="0" hangingPunct="1">
              <a:spcBef>
                <a:spcPts val="500"/>
              </a:spcBef>
            </a:pPr>
            <a:r>
              <a:rPr lang="it-IT" sz="1600" dirty="0"/>
              <a:t>- il medesimo codice a barre;</a:t>
            </a:r>
          </a:p>
          <a:p>
            <a:pPr algn="l" defTabSz="914400" rtl="0" eaLnBrk="1" latinLnBrk="0" hangingPunct="1">
              <a:spcBef>
                <a:spcPts val="500"/>
              </a:spcBef>
            </a:pPr>
            <a:r>
              <a:rPr lang="it-IT" sz="1600" dirty="0"/>
              <a:t>- differenti materie prime, produzione in diversi stabilimenti, differente impronta ambientale</a:t>
            </a:r>
          </a:p>
        </p:txBody>
      </p:sp>
      <p:sp>
        <p:nvSpPr>
          <p:cNvPr id="5" name="CasellaDiTesto 4">
            <a:extLst>
              <a:ext uri="{FF2B5EF4-FFF2-40B4-BE49-F238E27FC236}">
                <a16:creationId xmlns:a16="http://schemas.microsoft.com/office/drawing/2014/main" id="{78959158-1E5A-8241-FE0E-AF12C9AB5709}"/>
              </a:ext>
            </a:extLst>
          </p:cNvPr>
          <p:cNvSpPr txBox="1"/>
          <p:nvPr/>
        </p:nvSpPr>
        <p:spPr>
          <a:xfrm>
            <a:off x="652020" y="1325636"/>
            <a:ext cx="6994186" cy="369332"/>
          </a:xfrm>
          <a:prstGeom prst="rect">
            <a:avLst/>
          </a:prstGeom>
          <a:noFill/>
        </p:spPr>
        <p:txBody>
          <a:bodyPr wrap="square">
            <a:spAutoFit/>
          </a:bodyPr>
          <a:lstStyle/>
          <a:p>
            <a:r>
              <a:rPr lang="it-IT" dirty="0">
                <a:solidFill>
                  <a:schemeClr val="bg1"/>
                </a:solidFill>
              </a:rPr>
              <a:t>LA </a:t>
            </a:r>
            <a:r>
              <a:rPr lang="it-IT" i="1" dirty="0">
                <a:solidFill>
                  <a:schemeClr val="bg1"/>
                </a:solidFill>
              </a:rPr>
              <a:t>SUPPLY CHAIN </a:t>
            </a:r>
            <a:r>
              <a:rPr lang="it-IT" dirty="0">
                <a:solidFill>
                  <a:schemeClr val="bg1"/>
                </a:solidFill>
              </a:rPr>
              <a:t>NEL SETTORE TESSILE</a:t>
            </a:r>
          </a:p>
        </p:txBody>
      </p:sp>
    </p:spTree>
    <p:extLst>
      <p:ext uri="{BB962C8B-B14F-4D97-AF65-F5344CB8AC3E}">
        <p14:creationId xmlns:p14="http://schemas.microsoft.com/office/powerpoint/2010/main" val="103734370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ttangolo 5">
            <a:extLst>
              <a:ext uri="{FF2B5EF4-FFF2-40B4-BE49-F238E27FC236}">
                <a16:creationId xmlns:a16="http://schemas.microsoft.com/office/drawing/2014/main" id="{C4EAEFC0-3B06-5848-DD8B-8069ED3645C1}"/>
              </a:ext>
            </a:extLst>
          </p:cNvPr>
          <p:cNvSpPr/>
          <p:nvPr/>
        </p:nvSpPr>
        <p:spPr>
          <a:xfrm>
            <a:off x="652020" y="1325636"/>
            <a:ext cx="5443980" cy="396000"/>
          </a:xfrm>
          <a:prstGeom prst="rect">
            <a:avLst/>
          </a:prstGeom>
          <a:solidFill>
            <a:srgbClr val="0083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6000" indent="-216000" algn="l">
              <a:buFontTx/>
              <a:buChar char="–"/>
            </a:pPr>
            <a:endParaRPr lang="it-IT" sz="1600" dirty="0" err="1">
              <a:solidFill>
                <a:schemeClr val="tx1"/>
              </a:solidFill>
            </a:endParaRPr>
          </a:p>
        </p:txBody>
      </p:sp>
      <p:sp>
        <p:nvSpPr>
          <p:cNvPr id="2" name="Titolo 1">
            <a:extLst>
              <a:ext uri="{FF2B5EF4-FFF2-40B4-BE49-F238E27FC236}">
                <a16:creationId xmlns:a16="http://schemas.microsoft.com/office/drawing/2014/main" id="{777D282D-BBDC-485D-A122-4D6975C25EFC}"/>
              </a:ext>
            </a:extLst>
          </p:cNvPr>
          <p:cNvSpPr>
            <a:spLocks noGrp="1"/>
          </p:cNvSpPr>
          <p:nvPr>
            <p:ph type="title"/>
          </p:nvPr>
        </p:nvSpPr>
        <p:spPr/>
        <p:txBody>
          <a:bodyPr/>
          <a:lstStyle/>
          <a:p>
            <a:r>
              <a:rPr lang="it-IT" dirty="0"/>
              <a:t>IL PASSAPORTO DIGITALE DEL PRODOTTO NEL SETTORE TESSILE</a:t>
            </a:r>
          </a:p>
        </p:txBody>
      </p:sp>
      <p:sp>
        <p:nvSpPr>
          <p:cNvPr id="3" name="CasellaDiTesto 2">
            <a:extLst>
              <a:ext uri="{FF2B5EF4-FFF2-40B4-BE49-F238E27FC236}">
                <a16:creationId xmlns:a16="http://schemas.microsoft.com/office/drawing/2014/main" id="{2C1FEC20-AE3C-89FF-BB66-4CF0EE812657}"/>
              </a:ext>
            </a:extLst>
          </p:cNvPr>
          <p:cNvSpPr txBox="1"/>
          <p:nvPr/>
        </p:nvSpPr>
        <p:spPr>
          <a:xfrm>
            <a:off x="652020" y="1986147"/>
            <a:ext cx="10887959" cy="4809009"/>
          </a:xfrm>
          <a:prstGeom prst="rect">
            <a:avLst/>
          </a:prstGeom>
          <a:noFill/>
        </p:spPr>
        <p:txBody>
          <a:bodyPr wrap="square" lIns="0" tIns="0" rIns="0" bIns="0" rtlCol="0">
            <a:spAutoFit/>
          </a:bodyPr>
          <a:lstStyle/>
          <a:p>
            <a:pPr>
              <a:spcBef>
                <a:spcPts val="500"/>
              </a:spcBef>
              <a:buClr>
                <a:srgbClr val="00838A"/>
              </a:buClr>
            </a:pPr>
            <a:endParaRPr lang="it-IT" sz="1600" dirty="0"/>
          </a:p>
          <a:p>
            <a:pPr marL="285750" indent="-285750">
              <a:lnSpc>
                <a:spcPct val="150000"/>
              </a:lnSpc>
              <a:spcBef>
                <a:spcPts val="500"/>
              </a:spcBef>
              <a:buClr>
                <a:srgbClr val="00838A"/>
              </a:buClr>
              <a:buFont typeface="Wingdings" panose="05000000000000000000" pitchFamily="2" charset="2"/>
              <a:buChar char="Ø"/>
            </a:pPr>
            <a:r>
              <a:rPr lang="it-IT" b="1" dirty="0"/>
              <a:t>Informare i consumatori</a:t>
            </a:r>
          </a:p>
          <a:p>
            <a:pPr marL="285750" indent="-285750">
              <a:lnSpc>
                <a:spcPct val="150000"/>
              </a:lnSpc>
              <a:spcBef>
                <a:spcPts val="500"/>
              </a:spcBef>
              <a:buClr>
                <a:srgbClr val="00838A"/>
              </a:buClr>
              <a:buFont typeface="Wingdings" panose="05000000000000000000" pitchFamily="2" charset="2"/>
              <a:buChar char="Ø"/>
            </a:pPr>
            <a:r>
              <a:rPr lang="it-IT" b="1" dirty="0"/>
              <a:t>Informare gli operatori economici della «</a:t>
            </a:r>
            <a:r>
              <a:rPr lang="it-IT" b="1" i="1" dirty="0"/>
              <a:t>supply chain</a:t>
            </a:r>
            <a:r>
              <a:rPr lang="it-IT" b="1" dirty="0"/>
              <a:t>»</a:t>
            </a:r>
          </a:p>
          <a:p>
            <a:pPr marL="285750" indent="-285750">
              <a:lnSpc>
                <a:spcPct val="150000"/>
              </a:lnSpc>
              <a:spcBef>
                <a:spcPts val="500"/>
              </a:spcBef>
              <a:buClr>
                <a:srgbClr val="00838A"/>
              </a:buClr>
              <a:buFont typeface="Wingdings" panose="05000000000000000000" pitchFamily="2" charset="2"/>
              <a:buChar char="Ø"/>
            </a:pPr>
            <a:r>
              <a:rPr lang="it-IT" b="1" dirty="0"/>
              <a:t>Gestire i flussi delle risorse impiegate</a:t>
            </a:r>
          </a:p>
          <a:p>
            <a:pPr marL="285750" indent="-285750">
              <a:lnSpc>
                <a:spcPct val="150000"/>
              </a:lnSpc>
              <a:spcBef>
                <a:spcPts val="500"/>
              </a:spcBef>
              <a:buClr>
                <a:srgbClr val="00838A"/>
              </a:buClr>
              <a:buFont typeface="Wingdings" panose="05000000000000000000" pitchFamily="2" charset="2"/>
              <a:buChar char="Ø"/>
            </a:pPr>
            <a:r>
              <a:rPr lang="it-IT" b="1" dirty="0">
                <a:highlight>
                  <a:srgbClr val="FFFF00"/>
                </a:highlight>
              </a:rPr>
              <a:t>Promuovere la circolarità e la sostenibilità (divieto di distruzione regolamentato dall’allegato VII del Regolamento (UE) n. 2024/1781)</a:t>
            </a:r>
          </a:p>
          <a:p>
            <a:pPr marL="285750" indent="-285750">
              <a:lnSpc>
                <a:spcPct val="150000"/>
              </a:lnSpc>
              <a:spcBef>
                <a:spcPts val="500"/>
              </a:spcBef>
              <a:buClr>
                <a:srgbClr val="00838A"/>
              </a:buClr>
              <a:buFont typeface="Wingdings" panose="05000000000000000000" pitchFamily="2" charset="2"/>
              <a:buChar char="Ø"/>
            </a:pPr>
            <a:r>
              <a:rPr lang="it-IT" b="1" dirty="0"/>
              <a:t>Conformità alle normative</a:t>
            </a:r>
          </a:p>
          <a:p>
            <a:pPr marL="285750" indent="-285750">
              <a:lnSpc>
                <a:spcPct val="150000"/>
              </a:lnSpc>
              <a:spcBef>
                <a:spcPts val="500"/>
              </a:spcBef>
              <a:buClr>
                <a:srgbClr val="00838A"/>
              </a:buClr>
              <a:buFont typeface="Wingdings" panose="05000000000000000000" pitchFamily="2" charset="2"/>
              <a:buChar char="Ø"/>
            </a:pPr>
            <a:r>
              <a:rPr lang="it-IT" b="1" dirty="0"/>
              <a:t>Sorveglianza del mercato</a:t>
            </a:r>
          </a:p>
          <a:p>
            <a:pPr marL="285750" indent="-285750">
              <a:lnSpc>
                <a:spcPct val="150000"/>
              </a:lnSpc>
              <a:spcBef>
                <a:spcPts val="500"/>
              </a:spcBef>
              <a:buClr>
                <a:srgbClr val="00838A"/>
              </a:buClr>
              <a:buFont typeface="Wingdings" panose="05000000000000000000" pitchFamily="2" charset="2"/>
              <a:buChar char="Ø"/>
            </a:pPr>
            <a:r>
              <a:rPr lang="it-IT" b="1" dirty="0"/>
              <a:t>Tracciabilità post-vendita</a:t>
            </a:r>
          </a:p>
          <a:p>
            <a:pPr marL="285750" indent="-285750">
              <a:lnSpc>
                <a:spcPct val="150000"/>
              </a:lnSpc>
              <a:spcBef>
                <a:spcPts val="500"/>
              </a:spcBef>
              <a:buClr>
                <a:srgbClr val="00838A"/>
              </a:buClr>
              <a:buFont typeface="Wingdings" panose="05000000000000000000" pitchFamily="2" charset="2"/>
              <a:buChar char="Ø"/>
            </a:pPr>
            <a:r>
              <a:rPr lang="it-IT" b="1" dirty="0"/>
              <a:t>Gestione del «fine vita» del prodotto</a:t>
            </a:r>
          </a:p>
          <a:p>
            <a:pPr marL="285750" indent="-285750">
              <a:spcBef>
                <a:spcPts val="500"/>
              </a:spcBef>
              <a:buClr>
                <a:srgbClr val="00838A"/>
              </a:buClr>
              <a:buFont typeface="Wingdings" panose="05000000000000000000" pitchFamily="2" charset="2"/>
              <a:buChar char="Ø"/>
            </a:pPr>
            <a:endParaRPr lang="it-IT" sz="1600" b="1" dirty="0"/>
          </a:p>
        </p:txBody>
      </p:sp>
      <p:sp>
        <p:nvSpPr>
          <p:cNvPr id="5" name="CasellaDiTesto 4">
            <a:extLst>
              <a:ext uri="{FF2B5EF4-FFF2-40B4-BE49-F238E27FC236}">
                <a16:creationId xmlns:a16="http://schemas.microsoft.com/office/drawing/2014/main" id="{78959158-1E5A-8241-FE0E-AF12C9AB5709}"/>
              </a:ext>
            </a:extLst>
          </p:cNvPr>
          <p:cNvSpPr txBox="1"/>
          <p:nvPr/>
        </p:nvSpPr>
        <p:spPr>
          <a:xfrm>
            <a:off x="652020" y="1318371"/>
            <a:ext cx="6994186" cy="369332"/>
          </a:xfrm>
          <a:prstGeom prst="rect">
            <a:avLst/>
          </a:prstGeom>
          <a:noFill/>
        </p:spPr>
        <p:txBody>
          <a:bodyPr wrap="square">
            <a:spAutoFit/>
          </a:bodyPr>
          <a:lstStyle/>
          <a:p>
            <a:r>
              <a:rPr lang="it-IT" dirty="0">
                <a:solidFill>
                  <a:schemeClr val="bg1"/>
                </a:solidFill>
              </a:rPr>
              <a:t>OBIETTIVI DEL PDP NEL SETTORE TESSILE</a:t>
            </a:r>
          </a:p>
        </p:txBody>
      </p:sp>
    </p:spTree>
    <p:extLst>
      <p:ext uri="{BB962C8B-B14F-4D97-AF65-F5344CB8AC3E}">
        <p14:creationId xmlns:p14="http://schemas.microsoft.com/office/powerpoint/2010/main" val="353865701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ttangolo 5">
            <a:extLst>
              <a:ext uri="{FF2B5EF4-FFF2-40B4-BE49-F238E27FC236}">
                <a16:creationId xmlns:a16="http://schemas.microsoft.com/office/drawing/2014/main" id="{C4EAEFC0-3B06-5848-DD8B-8069ED3645C1}"/>
              </a:ext>
            </a:extLst>
          </p:cNvPr>
          <p:cNvSpPr/>
          <p:nvPr/>
        </p:nvSpPr>
        <p:spPr>
          <a:xfrm>
            <a:off x="652020" y="1325636"/>
            <a:ext cx="4027556" cy="396000"/>
          </a:xfrm>
          <a:prstGeom prst="rect">
            <a:avLst/>
          </a:prstGeom>
          <a:solidFill>
            <a:srgbClr val="0083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6000" indent="-216000" algn="l">
              <a:buFontTx/>
              <a:buChar char="–"/>
            </a:pPr>
            <a:endParaRPr lang="it-IT" sz="1600" dirty="0" err="1">
              <a:solidFill>
                <a:schemeClr val="tx1"/>
              </a:solidFill>
            </a:endParaRPr>
          </a:p>
        </p:txBody>
      </p:sp>
      <p:sp>
        <p:nvSpPr>
          <p:cNvPr id="2" name="Titolo 1">
            <a:extLst>
              <a:ext uri="{FF2B5EF4-FFF2-40B4-BE49-F238E27FC236}">
                <a16:creationId xmlns:a16="http://schemas.microsoft.com/office/drawing/2014/main" id="{777D282D-BBDC-485D-A122-4D6975C25EFC}"/>
              </a:ext>
            </a:extLst>
          </p:cNvPr>
          <p:cNvSpPr>
            <a:spLocks noGrp="1"/>
          </p:cNvSpPr>
          <p:nvPr>
            <p:ph type="title"/>
          </p:nvPr>
        </p:nvSpPr>
        <p:spPr/>
        <p:txBody>
          <a:bodyPr/>
          <a:lstStyle/>
          <a:p>
            <a:r>
              <a:rPr lang="it-IT" dirty="0"/>
              <a:t>IL PASSAPORTO DIGITALE DEL PRODOTTO NEL SETTORE TESSILE</a:t>
            </a:r>
          </a:p>
        </p:txBody>
      </p:sp>
      <p:sp>
        <p:nvSpPr>
          <p:cNvPr id="3" name="CasellaDiTesto 2">
            <a:extLst>
              <a:ext uri="{FF2B5EF4-FFF2-40B4-BE49-F238E27FC236}">
                <a16:creationId xmlns:a16="http://schemas.microsoft.com/office/drawing/2014/main" id="{2C1FEC20-AE3C-89FF-BB66-4CF0EE812657}"/>
              </a:ext>
            </a:extLst>
          </p:cNvPr>
          <p:cNvSpPr txBox="1"/>
          <p:nvPr/>
        </p:nvSpPr>
        <p:spPr>
          <a:xfrm>
            <a:off x="652021" y="1986147"/>
            <a:ext cx="4099274" cy="4393510"/>
          </a:xfrm>
          <a:prstGeom prst="rect">
            <a:avLst/>
          </a:prstGeom>
          <a:noFill/>
        </p:spPr>
        <p:txBody>
          <a:bodyPr wrap="square" lIns="0" tIns="0" rIns="0" bIns="0" rtlCol="0">
            <a:spAutoFit/>
          </a:bodyPr>
          <a:lstStyle/>
          <a:p>
            <a:pPr>
              <a:spcBef>
                <a:spcPts val="500"/>
              </a:spcBef>
              <a:buClr>
                <a:srgbClr val="00838A"/>
              </a:buClr>
            </a:pPr>
            <a:endParaRPr lang="it-IT" sz="1600" dirty="0"/>
          </a:p>
          <a:p>
            <a:pPr marL="285750" indent="-285750">
              <a:lnSpc>
                <a:spcPct val="150000"/>
              </a:lnSpc>
              <a:spcBef>
                <a:spcPts val="500"/>
              </a:spcBef>
              <a:buClr>
                <a:srgbClr val="00838A"/>
              </a:buClr>
              <a:buFont typeface="Wingdings" panose="05000000000000000000" pitchFamily="2" charset="2"/>
              <a:buChar char="Ø"/>
            </a:pPr>
            <a:r>
              <a:rPr lang="it-IT" b="1" dirty="0"/>
              <a:t>Descrizione del prodotto</a:t>
            </a:r>
          </a:p>
          <a:p>
            <a:pPr marL="285750" indent="-285750">
              <a:lnSpc>
                <a:spcPct val="150000"/>
              </a:lnSpc>
              <a:spcBef>
                <a:spcPts val="500"/>
              </a:spcBef>
              <a:buClr>
                <a:srgbClr val="00838A"/>
              </a:buClr>
              <a:buFont typeface="Wingdings" panose="05000000000000000000" pitchFamily="2" charset="2"/>
              <a:buChar char="Ø"/>
            </a:pPr>
            <a:r>
              <a:rPr lang="it-IT" b="1" dirty="0"/>
              <a:t>Composizione</a:t>
            </a:r>
          </a:p>
          <a:p>
            <a:pPr marL="285750" indent="-285750">
              <a:lnSpc>
                <a:spcPct val="150000"/>
              </a:lnSpc>
              <a:spcBef>
                <a:spcPts val="500"/>
              </a:spcBef>
              <a:buClr>
                <a:srgbClr val="00838A"/>
              </a:buClr>
              <a:buFont typeface="Wingdings" panose="05000000000000000000" pitchFamily="2" charset="2"/>
              <a:buChar char="Ø"/>
            </a:pPr>
            <a:r>
              <a:rPr lang="it-IT" b="1" dirty="0"/>
              <a:t>«</a:t>
            </a:r>
            <a:r>
              <a:rPr lang="it-IT" b="1" i="1" dirty="0"/>
              <a:t>Supply chain</a:t>
            </a:r>
            <a:r>
              <a:rPr lang="it-IT" b="1" dirty="0"/>
              <a:t>»</a:t>
            </a:r>
          </a:p>
          <a:p>
            <a:pPr marL="285750" indent="-285750">
              <a:lnSpc>
                <a:spcPct val="150000"/>
              </a:lnSpc>
              <a:spcBef>
                <a:spcPts val="500"/>
              </a:spcBef>
              <a:buClr>
                <a:srgbClr val="00838A"/>
              </a:buClr>
              <a:buFont typeface="Wingdings" panose="05000000000000000000" pitchFamily="2" charset="2"/>
              <a:buChar char="Ø"/>
            </a:pPr>
            <a:r>
              <a:rPr lang="it-IT" b="1" dirty="0"/>
              <a:t>Politica di trasporto</a:t>
            </a:r>
          </a:p>
          <a:p>
            <a:pPr marL="285750" indent="-285750">
              <a:lnSpc>
                <a:spcPct val="150000"/>
              </a:lnSpc>
              <a:spcBef>
                <a:spcPts val="500"/>
              </a:spcBef>
              <a:buClr>
                <a:srgbClr val="00838A"/>
              </a:buClr>
              <a:buFont typeface="Wingdings" panose="05000000000000000000" pitchFamily="2" charset="2"/>
              <a:buChar char="Ø"/>
            </a:pPr>
            <a:r>
              <a:rPr lang="it-IT" b="1" dirty="0"/>
              <a:t>Documentazione obbligatoria</a:t>
            </a:r>
          </a:p>
          <a:p>
            <a:pPr marL="285750" indent="-285750">
              <a:lnSpc>
                <a:spcPct val="150000"/>
              </a:lnSpc>
              <a:spcBef>
                <a:spcPts val="500"/>
              </a:spcBef>
              <a:buClr>
                <a:srgbClr val="00838A"/>
              </a:buClr>
              <a:buFont typeface="Wingdings" panose="05000000000000000000" pitchFamily="2" charset="2"/>
              <a:buChar char="Ø"/>
            </a:pPr>
            <a:r>
              <a:rPr lang="it-IT" b="1" dirty="0"/>
              <a:t>Impatto ambientale</a:t>
            </a:r>
          </a:p>
          <a:p>
            <a:pPr marL="285750" indent="-285750">
              <a:lnSpc>
                <a:spcPct val="150000"/>
              </a:lnSpc>
              <a:spcBef>
                <a:spcPts val="500"/>
              </a:spcBef>
              <a:buClr>
                <a:srgbClr val="00838A"/>
              </a:buClr>
              <a:buFont typeface="Wingdings" panose="05000000000000000000" pitchFamily="2" charset="2"/>
              <a:buChar char="Ø"/>
            </a:pPr>
            <a:r>
              <a:rPr lang="it-IT" b="1" dirty="0"/>
              <a:t>Impatto sociale</a:t>
            </a:r>
          </a:p>
          <a:p>
            <a:pPr marL="285750" indent="-285750">
              <a:lnSpc>
                <a:spcPct val="150000"/>
              </a:lnSpc>
              <a:spcBef>
                <a:spcPts val="500"/>
              </a:spcBef>
              <a:buClr>
                <a:srgbClr val="00838A"/>
              </a:buClr>
              <a:buFont typeface="Wingdings" panose="05000000000000000000" pitchFamily="2" charset="2"/>
              <a:buChar char="Ø"/>
            </a:pPr>
            <a:r>
              <a:rPr lang="it-IT" b="1" dirty="0"/>
              <a:t>Tracciamento </a:t>
            </a:r>
            <a:r>
              <a:rPr lang="it-IT" b="1" i="1" dirty="0"/>
              <a:t>post</a:t>
            </a:r>
            <a:r>
              <a:rPr lang="it-IT" b="1" dirty="0"/>
              <a:t>-vendita</a:t>
            </a:r>
          </a:p>
          <a:p>
            <a:pPr marL="285750" indent="-285750">
              <a:spcBef>
                <a:spcPts val="500"/>
              </a:spcBef>
              <a:buClr>
                <a:srgbClr val="00838A"/>
              </a:buClr>
              <a:buFont typeface="Wingdings" panose="05000000000000000000" pitchFamily="2" charset="2"/>
              <a:buChar char="Ø"/>
            </a:pPr>
            <a:endParaRPr lang="it-IT" sz="1600" b="1" dirty="0"/>
          </a:p>
        </p:txBody>
      </p:sp>
      <p:sp>
        <p:nvSpPr>
          <p:cNvPr id="5" name="CasellaDiTesto 4">
            <a:extLst>
              <a:ext uri="{FF2B5EF4-FFF2-40B4-BE49-F238E27FC236}">
                <a16:creationId xmlns:a16="http://schemas.microsoft.com/office/drawing/2014/main" id="{78959158-1E5A-8241-FE0E-AF12C9AB5709}"/>
              </a:ext>
            </a:extLst>
          </p:cNvPr>
          <p:cNvSpPr txBox="1"/>
          <p:nvPr/>
        </p:nvSpPr>
        <p:spPr>
          <a:xfrm>
            <a:off x="652020" y="1318371"/>
            <a:ext cx="3758615" cy="369332"/>
          </a:xfrm>
          <a:prstGeom prst="rect">
            <a:avLst/>
          </a:prstGeom>
          <a:noFill/>
        </p:spPr>
        <p:txBody>
          <a:bodyPr wrap="square">
            <a:spAutoFit/>
          </a:bodyPr>
          <a:lstStyle/>
          <a:p>
            <a:r>
              <a:rPr lang="it-IT" dirty="0">
                <a:solidFill>
                  <a:schemeClr val="bg1"/>
                </a:solidFill>
              </a:rPr>
              <a:t>I CONTENUTI DEL PASSAPORTO</a:t>
            </a:r>
          </a:p>
        </p:txBody>
      </p:sp>
      <p:sp>
        <p:nvSpPr>
          <p:cNvPr id="4" name="CasellaDiTesto 3">
            <a:extLst>
              <a:ext uri="{FF2B5EF4-FFF2-40B4-BE49-F238E27FC236}">
                <a16:creationId xmlns:a16="http://schemas.microsoft.com/office/drawing/2014/main" id="{008FBAD3-5BFD-7BE8-D242-5C1C4EA81EA8}"/>
              </a:ext>
            </a:extLst>
          </p:cNvPr>
          <p:cNvSpPr txBox="1"/>
          <p:nvPr/>
        </p:nvSpPr>
        <p:spPr>
          <a:xfrm>
            <a:off x="5788797" y="1986147"/>
            <a:ext cx="4099274" cy="4393510"/>
          </a:xfrm>
          <a:prstGeom prst="rect">
            <a:avLst/>
          </a:prstGeom>
          <a:noFill/>
        </p:spPr>
        <p:txBody>
          <a:bodyPr wrap="square" lIns="0" tIns="0" rIns="0" bIns="0" rtlCol="0">
            <a:spAutoFit/>
          </a:bodyPr>
          <a:lstStyle/>
          <a:p>
            <a:pPr>
              <a:spcBef>
                <a:spcPts val="500"/>
              </a:spcBef>
              <a:buClr>
                <a:srgbClr val="00838A"/>
              </a:buClr>
            </a:pPr>
            <a:endParaRPr lang="it-IT" sz="1600" dirty="0"/>
          </a:p>
          <a:p>
            <a:pPr marL="285750" indent="-285750">
              <a:lnSpc>
                <a:spcPct val="150000"/>
              </a:lnSpc>
              <a:spcBef>
                <a:spcPts val="500"/>
              </a:spcBef>
              <a:buClr>
                <a:srgbClr val="00838A"/>
              </a:buClr>
              <a:buFont typeface="Wingdings" panose="05000000000000000000" pitchFamily="2" charset="2"/>
              <a:buChar char="Ø"/>
            </a:pPr>
            <a:r>
              <a:rPr lang="it-IT" b="1" dirty="0"/>
              <a:t>Impatto sugli animali</a:t>
            </a:r>
          </a:p>
          <a:p>
            <a:pPr marL="285750" indent="-285750">
              <a:lnSpc>
                <a:spcPct val="150000"/>
              </a:lnSpc>
              <a:spcBef>
                <a:spcPts val="500"/>
              </a:spcBef>
              <a:buClr>
                <a:srgbClr val="00838A"/>
              </a:buClr>
              <a:buFont typeface="Wingdings" panose="05000000000000000000" pitchFamily="2" charset="2"/>
              <a:buChar char="Ø"/>
            </a:pPr>
            <a:r>
              <a:rPr lang="it-IT" b="1" dirty="0"/>
              <a:t>Circolarità</a:t>
            </a:r>
          </a:p>
          <a:p>
            <a:pPr marL="285750" indent="-285750">
              <a:lnSpc>
                <a:spcPct val="150000"/>
              </a:lnSpc>
              <a:spcBef>
                <a:spcPts val="500"/>
              </a:spcBef>
              <a:buClr>
                <a:srgbClr val="00838A"/>
              </a:buClr>
              <a:buFont typeface="Wingdings" panose="05000000000000000000" pitchFamily="2" charset="2"/>
              <a:buChar char="Ø"/>
            </a:pPr>
            <a:r>
              <a:rPr lang="it-IT" b="1" dirty="0"/>
              <a:t>Impatto sulla salute</a:t>
            </a:r>
          </a:p>
          <a:p>
            <a:pPr marL="285750" indent="-285750">
              <a:lnSpc>
                <a:spcPct val="150000"/>
              </a:lnSpc>
              <a:spcBef>
                <a:spcPts val="500"/>
              </a:spcBef>
              <a:buClr>
                <a:srgbClr val="00838A"/>
              </a:buClr>
              <a:buFont typeface="Wingdings" panose="05000000000000000000" pitchFamily="2" charset="2"/>
              <a:buChar char="Ø"/>
            </a:pPr>
            <a:r>
              <a:rPr lang="it-IT" b="1" dirty="0"/>
              <a:t>Informazioni sul marchio</a:t>
            </a:r>
          </a:p>
          <a:p>
            <a:pPr marL="285750" indent="-285750">
              <a:lnSpc>
                <a:spcPct val="150000"/>
              </a:lnSpc>
              <a:spcBef>
                <a:spcPts val="500"/>
              </a:spcBef>
              <a:buClr>
                <a:srgbClr val="00838A"/>
              </a:buClr>
              <a:buFont typeface="Wingdings" panose="05000000000000000000" pitchFamily="2" charset="2"/>
              <a:buChar char="Ø"/>
            </a:pPr>
            <a:r>
              <a:rPr lang="it-IT" b="1" dirty="0"/>
              <a:t>Identificazione</a:t>
            </a:r>
          </a:p>
          <a:p>
            <a:pPr marL="285750" indent="-285750">
              <a:lnSpc>
                <a:spcPct val="150000"/>
              </a:lnSpc>
              <a:spcBef>
                <a:spcPts val="500"/>
              </a:spcBef>
              <a:buClr>
                <a:srgbClr val="00838A"/>
              </a:buClr>
              <a:buFont typeface="Wingdings" panose="05000000000000000000" pitchFamily="2" charset="2"/>
              <a:buChar char="Ø"/>
            </a:pPr>
            <a:r>
              <a:rPr lang="it-IT" b="1" dirty="0"/>
              <a:t>Quantità</a:t>
            </a:r>
          </a:p>
          <a:p>
            <a:pPr marL="285750" indent="-285750">
              <a:lnSpc>
                <a:spcPct val="150000"/>
              </a:lnSpc>
              <a:spcBef>
                <a:spcPts val="500"/>
              </a:spcBef>
              <a:buClr>
                <a:srgbClr val="00838A"/>
              </a:buClr>
              <a:buFont typeface="Wingdings" panose="05000000000000000000" pitchFamily="2" charset="2"/>
              <a:buChar char="Ø"/>
            </a:pPr>
            <a:r>
              <a:rPr lang="it-IT" b="1" dirty="0"/>
              <a:t>Costi</a:t>
            </a:r>
          </a:p>
          <a:p>
            <a:pPr marL="285750" indent="-285750">
              <a:lnSpc>
                <a:spcPct val="150000"/>
              </a:lnSpc>
              <a:spcBef>
                <a:spcPts val="500"/>
              </a:spcBef>
              <a:buClr>
                <a:srgbClr val="00838A"/>
              </a:buClr>
              <a:buFont typeface="Wingdings" panose="05000000000000000000" pitchFamily="2" charset="2"/>
              <a:buChar char="Ø"/>
            </a:pPr>
            <a:r>
              <a:rPr lang="it-IT" b="1" dirty="0"/>
              <a:t>Uso e «</a:t>
            </a:r>
            <a:r>
              <a:rPr lang="it-IT" b="1" i="1" dirty="0"/>
              <a:t>feedback</a:t>
            </a:r>
            <a:r>
              <a:rPr lang="it-IT" b="1" dirty="0"/>
              <a:t>» dei clienti</a:t>
            </a:r>
          </a:p>
          <a:p>
            <a:pPr marL="285750" indent="-285750">
              <a:spcBef>
                <a:spcPts val="500"/>
              </a:spcBef>
              <a:buClr>
                <a:srgbClr val="00838A"/>
              </a:buClr>
              <a:buFont typeface="Wingdings" panose="05000000000000000000" pitchFamily="2" charset="2"/>
              <a:buChar char="Ø"/>
            </a:pPr>
            <a:endParaRPr lang="it-IT" sz="1600" b="1" dirty="0"/>
          </a:p>
        </p:txBody>
      </p:sp>
    </p:spTree>
    <p:extLst>
      <p:ext uri="{BB962C8B-B14F-4D97-AF65-F5344CB8AC3E}">
        <p14:creationId xmlns:p14="http://schemas.microsoft.com/office/powerpoint/2010/main" val="411057268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ttangolo 5">
            <a:extLst>
              <a:ext uri="{FF2B5EF4-FFF2-40B4-BE49-F238E27FC236}">
                <a16:creationId xmlns:a16="http://schemas.microsoft.com/office/drawing/2014/main" id="{C4EAEFC0-3B06-5848-DD8B-8069ED3645C1}"/>
              </a:ext>
            </a:extLst>
          </p:cNvPr>
          <p:cNvSpPr/>
          <p:nvPr/>
        </p:nvSpPr>
        <p:spPr>
          <a:xfrm>
            <a:off x="652019" y="1325636"/>
            <a:ext cx="9151200" cy="396000"/>
          </a:xfrm>
          <a:prstGeom prst="rect">
            <a:avLst/>
          </a:prstGeom>
          <a:solidFill>
            <a:srgbClr val="0083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6000" indent="-216000" algn="l">
              <a:buFontTx/>
              <a:buChar char="–"/>
            </a:pPr>
            <a:endParaRPr lang="it-IT" sz="1600" dirty="0" err="1">
              <a:solidFill>
                <a:schemeClr val="tx1"/>
              </a:solidFill>
            </a:endParaRPr>
          </a:p>
        </p:txBody>
      </p:sp>
      <p:sp>
        <p:nvSpPr>
          <p:cNvPr id="2" name="Titolo 1">
            <a:extLst>
              <a:ext uri="{FF2B5EF4-FFF2-40B4-BE49-F238E27FC236}">
                <a16:creationId xmlns:a16="http://schemas.microsoft.com/office/drawing/2014/main" id="{777D282D-BBDC-485D-A122-4D6975C25EFC}"/>
              </a:ext>
            </a:extLst>
          </p:cNvPr>
          <p:cNvSpPr>
            <a:spLocks noGrp="1"/>
          </p:cNvSpPr>
          <p:nvPr>
            <p:ph type="title"/>
          </p:nvPr>
        </p:nvSpPr>
        <p:spPr/>
        <p:txBody>
          <a:bodyPr/>
          <a:lstStyle/>
          <a:p>
            <a:r>
              <a:rPr lang="it-IT" dirty="0"/>
              <a:t>IL PASSAPORTO DIGITALE DEL PRODOTTO NEL SETTORE TESSILE</a:t>
            </a:r>
          </a:p>
        </p:txBody>
      </p:sp>
      <p:sp>
        <p:nvSpPr>
          <p:cNvPr id="3" name="CasellaDiTesto 2">
            <a:extLst>
              <a:ext uri="{FF2B5EF4-FFF2-40B4-BE49-F238E27FC236}">
                <a16:creationId xmlns:a16="http://schemas.microsoft.com/office/drawing/2014/main" id="{2C1FEC20-AE3C-89FF-BB66-4CF0EE812657}"/>
              </a:ext>
            </a:extLst>
          </p:cNvPr>
          <p:cNvSpPr txBox="1"/>
          <p:nvPr/>
        </p:nvSpPr>
        <p:spPr>
          <a:xfrm>
            <a:off x="652021" y="1849227"/>
            <a:ext cx="9151198" cy="5137304"/>
          </a:xfrm>
          <a:prstGeom prst="rect">
            <a:avLst/>
          </a:prstGeom>
          <a:noFill/>
        </p:spPr>
        <p:txBody>
          <a:bodyPr wrap="square" lIns="0" tIns="0" rIns="0" bIns="0" rtlCol="0">
            <a:spAutoFit/>
          </a:bodyPr>
          <a:lstStyle/>
          <a:p>
            <a:pPr algn="just">
              <a:spcBef>
                <a:spcPts val="500"/>
              </a:spcBef>
              <a:buClr>
                <a:srgbClr val="00838A"/>
              </a:buClr>
            </a:pPr>
            <a:endParaRPr lang="it-IT" sz="1600" dirty="0"/>
          </a:p>
          <a:p>
            <a:pPr marL="285750" indent="-285750" algn="just">
              <a:spcBef>
                <a:spcPts val="500"/>
              </a:spcBef>
              <a:buClr>
                <a:srgbClr val="00838A"/>
              </a:buClr>
              <a:buFont typeface="Wingdings" panose="05000000000000000000" pitchFamily="2" charset="2"/>
              <a:buChar char="Ø"/>
            </a:pPr>
            <a:r>
              <a:rPr lang="it-IT" sz="1600" b="1" dirty="0"/>
              <a:t>FASE 1: implementazione di un PDP «minimo e semplificato» per il settore tessile entro il 2027</a:t>
            </a:r>
          </a:p>
          <a:p>
            <a:pPr algn="just">
              <a:spcBef>
                <a:spcPts val="500"/>
              </a:spcBef>
              <a:buClr>
                <a:srgbClr val="00838A"/>
              </a:buClr>
            </a:pPr>
            <a:r>
              <a:rPr lang="it-IT" sz="1600" dirty="0"/>
              <a:t>Informazioni obbligatorie minime, tra cui: </a:t>
            </a:r>
            <a:r>
              <a:rPr lang="it-IT" sz="1600" b="1" dirty="0"/>
              <a:t>composizione del prodotto</a:t>
            </a:r>
            <a:r>
              <a:rPr lang="it-IT" sz="1600" dirty="0"/>
              <a:t>, </a:t>
            </a:r>
            <a:r>
              <a:rPr lang="it-IT" sz="1600" b="1" dirty="0"/>
              <a:t>riciclabilità</a:t>
            </a:r>
            <a:r>
              <a:rPr lang="it-IT" sz="1600" dirty="0"/>
              <a:t>, </a:t>
            </a:r>
            <a:r>
              <a:rPr lang="it-IT" sz="1600" b="1" dirty="0"/>
              <a:t>tracciabilità della «</a:t>
            </a:r>
            <a:r>
              <a:rPr lang="it-IT" sz="1600" b="1" i="1" dirty="0"/>
              <a:t>supply chain</a:t>
            </a:r>
            <a:r>
              <a:rPr lang="it-IT" sz="1600" b="1" dirty="0"/>
              <a:t>»</a:t>
            </a:r>
            <a:r>
              <a:rPr lang="it-IT" sz="1600" dirty="0"/>
              <a:t>, </a:t>
            </a:r>
            <a:r>
              <a:rPr lang="it-IT" sz="1600" b="1" dirty="0"/>
              <a:t>informazioni sull’imballaggio del prodotto finito</a:t>
            </a:r>
            <a:r>
              <a:rPr lang="it-IT" sz="1600" dirty="0"/>
              <a:t>, </a:t>
            </a:r>
            <a:r>
              <a:rPr lang="it-IT" sz="1600" b="1" dirty="0"/>
              <a:t>impatto ambientale</a:t>
            </a:r>
            <a:endParaRPr lang="it-IT" sz="1600" dirty="0"/>
          </a:p>
          <a:p>
            <a:pPr marL="285750" indent="-285750" algn="just">
              <a:spcBef>
                <a:spcPts val="500"/>
              </a:spcBef>
              <a:buClr>
                <a:srgbClr val="00838A"/>
              </a:buClr>
              <a:buFont typeface="Wingdings" panose="05000000000000000000" pitchFamily="2" charset="2"/>
              <a:buChar char="Ø"/>
            </a:pPr>
            <a:endParaRPr lang="it-IT" sz="1600" b="1" dirty="0"/>
          </a:p>
          <a:p>
            <a:pPr algn="just">
              <a:spcBef>
                <a:spcPts val="500"/>
              </a:spcBef>
              <a:buClr>
                <a:srgbClr val="00838A"/>
              </a:buClr>
            </a:pPr>
            <a:endParaRPr lang="it-IT" sz="1600" dirty="0"/>
          </a:p>
          <a:p>
            <a:pPr marL="285750" indent="-285750" algn="just">
              <a:spcBef>
                <a:spcPts val="500"/>
              </a:spcBef>
              <a:buClr>
                <a:srgbClr val="00838A"/>
              </a:buClr>
              <a:buFont typeface="Wingdings" panose="05000000000000000000" pitchFamily="2" charset="2"/>
              <a:buChar char="Ø"/>
            </a:pPr>
            <a:r>
              <a:rPr lang="it-IT" sz="1600" b="1" dirty="0"/>
              <a:t>FASE 2: implementazione di un PDP «avanzato» per il settore tessile entro il 2030 </a:t>
            </a:r>
          </a:p>
          <a:p>
            <a:pPr algn="just">
              <a:spcBef>
                <a:spcPts val="500"/>
              </a:spcBef>
              <a:buClr>
                <a:srgbClr val="00838A"/>
              </a:buClr>
            </a:pPr>
            <a:r>
              <a:rPr lang="it-IT" sz="1600" dirty="0"/>
              <a:t>Aggiunta di ulteriori informazioni obbligatorie: </a:t>
            </a:r>
            <a:r>
              <a:rPr lang="it-IT" sz="1600" b="1" u="sng" dirty="0"/>
              <a:t>«</a:t>
            </a:r>
            <a:r>
              <a:rPr lang="it-IT" sz="1600" b="1" i="1" u="sng" dirty="0"/>
              <a:t>supply chain</a:t>
            </a:r>
            <a:r>
              <a:rPr lang="it-IT" sz="1600" b="1" u="sng" dirty="0"/>
              <a:t>» più documentata</a:t>
            </a:r>
            <a:r>
              <a:rPr lang="it-IT" sz="1600" dirty="0"/>
              <a:t>, </a:t>
            </a:r>
            <a:r>
              <a:rPr lang="it-IT" sz="1600" b="1" u="sng" dirty="0"/>
              <a:t>tracciamento dei servizi post-vendita e dell’usato al fine di promuovere la durata ed il riuso dei prodotti</a:t>
            </a:r>
            <a:endParaRPr lang="it-IT" sz="1600" dirty="0"/>
          </a:p>
          <a:p>
            <a:pPr algn="just">
              <a:spcBef>
                <a:spcPts val="500"/>
              </a:spcBef>
              <a:buClr>
                <a:srgbClr val="00838A"/>
              </a:buClr>
            </a:pPr>
            <a:endParaRPr lang="it-IT" sz="1600" dirty="0"/>
          </a:p>
          <a:p>
            <a:pPr algn="just">
              <a:spcBef>
                <a:spcPts val="500"/>
              </a:spcBef>
              <a:buClr>
                <a:srgbClr val="00838A"/>
              </a:buClr>
            </a:pPr>
            <a:endParaRPr lang="it-IT" sz="1600" dirty="0"/>
          </a:p>
          <a:p>
            <a:pPr marL="285750" indent="-285750" algn="just">
              <a:spcBef>
                <a:spcPts val="500"/>
              </a:spcBef>
              <a:buClr>
                <a:srgbClr val="00838A"/>
              </a:buClr>
              <a:buFont typeface="Wingdings" panose="05000000000000000000" pitchFamily="2" charset="2"/>
              <a:buChar char="Ø"/>
            </a:pPr>
            <a:r>
              <a:rPr lang="it-IT" sz="1600" b="1" dirty="0"/>
              <a:t>FASE 3: implementazione di un PDP «completamente circolare» per il settore tessile entro il 2033</a:t>
            </a:r>
          </a:p>
          <a:p>
            <a:pPr algn="just">
              <a:spcBef>
                <a:spcPts val="500"/>
              </a:spcBef>
              <a:buClr>
                <a:srgbClr val="00838A"/>
              </a:buClr>
            </a:pPr>
            <a:r>
              <a:rPr lang="it-IT" sz="1600" dirty="0"/>
              <a:t>Integrazione completa del PDP: </a:t>
            </a:r>
            <a:r>
              <a:rPr lang="it-IT" sz="1600" b="1" dirty="0"/>
              <a:t>composizione</a:t>
            </a:r>
            <a:r>
              <a:rPr lang="it-IT" sz="1600" dirty="0"/>
              <a:t>, </a:t>
            </a:r>
            <a:r>
              <a:rPr lang="it-IT" sz="1600" b="1" dirty="0"/>
              <a:t>riciclabilità del prodotto</a:t>
            </a:r>
            <a:r>
              <a:rPr lang="it-IT" sz="1600" dirty="0"/>
              <a:t>, </a:t>
            </a:r>
            <a:r>
              <a:rPr lang="it-IT" sz="1600" b="1" u="sng" dirty="0"/>
              <a:t>integrazione completa delle informazioni sulla «</a:t>
            </a:r>
            <a:r>
              <a:rPr lang="it-IT" sz="1600" b="1" i="1" u="sng" dirty="0"/>
              <a:t>supply chain</a:t>
            </a:r>
            <a:r>
              <a:rPr lang="it-IT" sz="1600" b="1" u="sng" dirty="0"/>
              <a:t>» con accesso ristretto per </a:t>
            </a:r>
            <a:r>
              <a:rPr lang="it-IT" sz="1600" b="1" u="sng" dirty="0">
                <a:highlight>
                  <a:srgbClr val="FFFF00"/>
                </a:highlight>
              </a:rPr>
              <a:t>preservare la riservatezza</a:t>
            </a:r>
            <a:r>
              <a:rPr lang="it-IT" sz="1600" dirty="0"/>
              <a:t>, </a:t>
            </a:r>
            <a:r>
              <a:rPr lang="it-IT" sz="1600" b="1" dirty="0"/>
              <a:t>informazioni sull’imballaggio del prodotto finito</a:t>
            </a:r>
            <a:r>
              <a:rPr lang="it-IT" sz="1600" dirty="0"/>
              <a:t>, </a:t>
            </a:r>
            <a:r>
              <a:rPr lang="it-IT" sz="1600" b="1" dirty="0"/>
              <a:t>impatto ambientale</a:t>
            </a:r>
            <a:r>
              <a:rPr lang="it-IT" sz="1600" dirty="0"/>
              <a:t>, </a:t>
            </a:r>
            <a:r>
              <a:rPr lang="it-IT" sz="1600" b="1" u="sng" dirty="0"/>
              <a:t>tracciamento dei servizi post-vendita per aumentare </a:t>
            </a:r>
            <a:r>
              <a:rPr lang="it-IT" sz="1600" b="1" u="sng" dirty="0">
                <a:highlight>
                  <a:srgbClr val="FFFF00"/>
                </a:highlight>
              </a:rPr>
              <a:t>la durabilità dei prodotti</a:t>
            </a:r>
            <a:r>
              <a:rPr lang="it-IT" sz="1600" dirty="0">
                <a:highlight>
                  <a:srgbClr val="FFFF00"/>
                </a:highlight>
              </a:rPr>
              <a:t>, </a:t>
            </a:r>
            <a:r>
              <a:rPr lang="it-IT" sz="1600" b="1" u="sng" dirty="0">
                <a:highlight>
                  <a:srgbClr val="FFFF00"/>
                </a:highlight>
              </a:rPr>
              <a:t>miglioramento dei processi di smistamento e </a:t>
            </a:r>
            <a:r>
              <a:rPr lang="it-IT" sz="1600" b="1" u="sng" dirty="0" err="1">
                <a:highlight>
                  <a:srgbClr val="FFFF00"/>
                </a:highlight>
              </a:rPr>
              <a:t>riclaggio</a:t>
            </a:r>
            <a:r>
              <a:rPr lang="it-IT" sz="1600" dirty="0">
                <a:highlight>
                  <a:srgbClr val="FFFF00"/>
                </a:highlight>
              </a:rPr>
              <a:t>, </a:t>
            </a:r>
            <a:r>
              <a:rPr lang="it-IT" sz="1600" b="1" u="sng" dirty="0">
                <a:highlight>
                  <a:srgbClr val="FFFF00"/>
                </a:highlight>
              </a:rPr>
              <a:t>aumento del tasso di prodotti riciclati</a:t>
            </a:r>
            <a:endParaRPr lang="it-IT" sz="1600" dirty="0">
              <a:highlight>
                <a:srgbClr val="FFFF00"/>
              </a:highlight>
            </a:endParaRPr>
          </a:p>
          <a:p>
            <a:pPr algn="just">
              <a:spcBef>
                <a:spcPts val="500"/>
              </a:spcBef>
              <a:buClr>
                <a:srgbClr val="00838A"/>
              </a:buClr>
            </a:pPr>
            <a:endParaRPr lang="it-IT" sz="1600" b="1" dirty="0"/>
          </a:p>
        </p:txBody>
      </p:sp>
      <p:sp>
        <p:nvSpPr>
          <p:cNvPr id="5" name="CasellaDiTesto 4">
            <a:extLst>
              <a:ext uri="{FF2B5EF4-FFF2-40B4-BE49-F238E27FC236}">
                <a16:creationId xmlns:a16="http://schemas.microsoft.com/office/drawing/2014/main" id="{78959158-1E5A-8241-FE0E-AF12C9AB5709}"/>
              </a:ext>
            </a:extLst>
          </p:cNvPr>
          <p:cNvSpPr txBox="1"/>
          <p:nvPr/>
        </p:nvSpPr>
        <p:spPr>
          <a:xfrm>
            <a:off x="652019" y="1321339"/>
            <a:ext cx="10547818" cy="369332"/>
          </a:xfrm>
          <a:prstGeom prst="rect">
            <a:avLst/>
          </a:prstGeom>
          <a:noFill/>
        </p:spPr>
        <p:txBody>
          <a:bodyPr wrap="square">
            <a:spAutoFit/>
          </a:bodyPr>
          <a:lstStyle/>
          <a:p>
            <a:r>
              <a:rPr lang="it-IT" dirty="0">
                <a:solidFill>
                  <a:schemeClr val="bg1"/>
                </a:solidFill>
              </a:rPr>
              <a:t>PROPOSTA DELL’EPRS STOA PER UN’IMPLIMENTAZIONE PROGRESSIVA DEL PDP</a:t>
            </a:r>
          </a:p>
        </p:txBody>
      </p:sp>
    </p:spTree>
    <p:extLst>
      <p:ext uri="{BB962C8B-B14F-4D97-AF65-F5344CB8AC3E}">
        <p14:creationId xmlns:p14="http://schemas.microsoft.com/office/powerpoint/2010/main" val="195926416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01C0C0-DF6B-5053-090F-E4C5DB18B681}"/>
            </a:ext>
          </a:extLst>
        </p:cNvPr>
        <p:cNvGrpSpPr/>
        <p:nvPr/>
      </p:nvGrpSpPr>
      <p:grpSpPr>
        <a:xfrm>
          <a:off x="0" y="0"/>
          <a:ext cx="0" cy="0"/>
          <a:chOff x="0" y="0"/>
          <a:chExt cx="0" cy="0"/>
        </a:xfrm>
      </p:grpSpPr>
      <p:sp>
        <p:nvSpPr>
          <p:cNvPr id="3" name="Segnaposto numero diapositiva 2">
            <a:extLst>
              <a:ext uri="{FF2B5EF4-FFF2-40B4-BE49-F238E27FC236}">
                <a16:creationId xmlns:a16="http://schemas.microsoft.com/office/drawing/2014/main" id="{8A16B8C5-18D9-9376-AD0E-AFD819FE6581}"/>
              </a:ext>
            </a:extLst>
          </p:cNvPr>
          <p:cNvSpPr>
            <a:spLocks noGrp="1"/>
          </p:cNvSpPr>
          <p:nvPr>
            <p:ph type="sldNum" sz="quarter" idx="17"/>
          </p:nvPr>
        </p:nvSpPr>
        <p:spPr/>
        <p:txBody>
          <a:bodyPr/>
          <a:lstStyle/>
          <a:p>
            <a:fld id="{4CFEB0D3-1EB3-4F08-8062-95FFB9749870}" type="slidenum">
              <a:rPr lang="de-DE" smtClean="0"/>
              <a:pPr/>
              <a:t>26</a:t>
            </a:fld>
            <a:endParaRPr lang="de-DE" dirty="0"/>
          </a:p>
        </p:txBody>
      </p:sp>
      <p:sp>
        <p:nvSpPr>
          <p:cNvPr id="4" name="Segnaposto testo 3">
            <a:extLst>
              <a:ext uri="{FF2B5EF4-FFF2-40B4-BE49-F238E27FC236}">
                <a16:creationId xmlns:a16="http://schemas.microsoft.com/office/drawing/2014/main" id="{CB82D6B0-AC77-DCA5-7E15-639ABD25C3C7}"/>
              </a:ext>
            </a:extLst>
          </p:cNvPr>
          <p:cNvSpPr>
            <a:spLocks noGrp="1"/>
          </p:cNvSpPr>
          <p:nvPr>
            <p:ph type="body" sz="quarter" idx="14"/>
          </p:nvPr>
        </p:nvSpPr>
        <p:spPr>
          <a:xfrm>
            <a:off x="1" y="244800"/>
            <a:ext cx="4799856" cy="3165494"/>
          </a:xfrm>
        </p:spPr>
        <p:txBody>
          <a:bodyPr/>
          <a:lstStyle/>
          <a:p>
            <a:r>
              <a:rPr lang="de-DE" sz="3200" dirty="0"/>
              <a:t>IL PASSAPORTO DIGITALE DEL PRODOTTO NEL NUOVO “</a:t>
            </a:r>
            <a:r>
              <a:rPr lang="de-DE" sz="3200" dirty="0" err="1"/>
              <a:t>rEGOLAMENTO</a:t>
            </a:r>
            <a:r>
              <a:rPr lang="de-DE" sz="3200" dirty="0"/>
              <a:t> BATTERIE“</a:t>
            </a:r>
          </a:p>
        </p:txBody>
      </p:sp>
      <p:pic>
        <p:nvPicPr>
          <p:cNvPr id="13" name="Segnaposto immagine 12" descr="Icona batteria illuminata">
            <a:extLst>
              <a:ext uri="{FF2B5EF4-FFF2-40B4-BE49-F238E27FC236}">
                <a16:creationId xmlns:a16="http://schemas.microsoft.com/office/drawing/2014/main" id="{B5A5176C-E4F0-0033-25DE-9E38045624AE}"/>
              </a:ext>
            </a:extLst>
          </p:cNvPr>
          <p:cNvPicPr>
            <a:picLocks noGrp="1" noChangeAspect="1"/>
          </p:cNvPicPr>
          <p:nvPr>
            <p:ph type="pic" sz="quarter" idx="16"/>
          </p:nvPr>
        </p:nvPicPr>
        <p:blipFill>
          <a:blip r:embed="rId2"/>
          <a:srcRect l="11124" r="11124"/>
          <a:stretch>
            <a:fillRect/>
          </a:stretch>
        </p:blipFill>
        <p:spPr/>
      </p:pic>
    </p:spTree>
    <p:extLst>
      <p:ext uri="{BB962C8B-B14F-4D97-AF65-F5344CB8AC3E}">
        <p14:creationId xmlns:p14="http://schemas.microsoft.com/office/powerpoint/2010/main" val="153423952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ttangolo 5">
            <a:extLst>
              <a:ext uri="{FF2B5EF4-FFF2-40B4-BE49-F238E27FC236}">
                <a16:creationId xmlns:a16="http://schemas.microsoft.com/office/drawing/2014/main" id="{C4EAEFC0-3B06-5848-DD8B-8069ED3645C1}"/>
              </a:ext>
            </a:extLst>
          </p:cNvPr>
          <p:cNvSpPr/>
          <p:nvPr/>
        </p:nvSpPr>
        <p:spPr>
          <a:xfrm>
            <a:off x="652020" y="1179864"/>
            <a:ext cx="3891405" cy="396000"/>
          </a:xfrm>
          <a:prstGeom prst="rect">
            <a:avLst/>
          </a:prstGeom>
          <a:solidFill>
            <a:srgbClr val="0083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6000" indent="-216000" algn="l">
              <a:buFontTx/>
              <a:buChar char="–"/>
            </a:pPr>
            <a:endParaRPr lang="it-IT" sz="1600" dirty="0" err="1">
              <a:solidFill>
                <a:schemeClr val="tx1"/>
              </a:solidFill>
            </a:endParaRPr>
          </a:p>
        </p:txBody>
      </p:sp>
      <p:sp>
        <p:nvSpPr>
          <p:cNvPr id="2" name="Titolo 1">
            <a:extLst>
              <a:ext uri="{FF2B5EF4-FFF2-40B4-BE49-F238E27FC236}">
                <a16:creationId xmlns:a16="http://schemas.microsoft.com/office/drawing/2014/main" id="{777D282D-BBDC-485D-A122-4D6975C25EFC}"/>
              </a:ext>
            </a:extLst>
          </p:cNvPr>
          <p:cNvSpPr>
            <a:spLocks noGrp="1"/>
          </p:cNvSpPr>
          <p:nvPr>
            <p:ph type="title"/>
          </p:nvPr>
        </p:nvSpPr>
        <p:spPr/>
        <p:txBody>
          <a:bodyPr/>
          <a:lstStyle/>
          <a:p>
            <a:r>
              <a:rPr lang="it-IT" dirty="0"/>
              <a:t>IL </a:t>
            </a:r>
            <a:r>
              <a:rPr lang="it-IT" dirty="0" err="1"/>
              <a:t>pdp</a:t>
            </a:r>
            <a:r>
              <a:rPr lang="it-IT" dirty="0"/>
              <a:t> nel NUOVO «</a:t>
            </a:r>
            <a:r>
              <a:rPr lang="it-IT" dirty="0" err="1"/>
              <a:t>rEGOLAMENTO</a:t>
            </a:r>
            <a:r>
              <a:rPr lang="it-IT" dirty="0"/>
              <a:t> BATTERIE» (2023/1542)</a:t>
            </a:r>
          </a:p>
        </p:txBody>
      </p:sp>
      <p:sp>
        <p:nvSpPr>
          <p:cNvPr id="3" name="CasellaDiTesto 2">
            <a:extLst>
              <a:ext uri="{FF2B5EF4-FFF2-40B4-BE49-F238E27FC236}">
                <a16:creationId xmlns:a16="http://schemas.microsoft.com/office/drawing/2014/main" id="{2C1FEC20-AE3C-89FF-BB66-4CF0EE812657}"/>
              </a:ext>
            </a:extLst>
          </p:cNvPr>
          <p:cNvSpPr txBox="1"/>
          <p:nvPr/>
        </p:nvSpPr>
        <p:spPr>
          <a:xfrm>
            <a:off x="652020" y="1879822"/>
            <a:ext cx="8967108" cy="6186309"/>
          </a:xfrm>
          <a:prstGeom prst="rect">
            <a:avLst/>
          </a:prstGeom>
          <a:noFill/>
        </p:spPr>
        <p:txBody>
          <a:bodyPr wrap="square" lIns="0" tIns="0" rIns="0" bIns="0" rtlCol="0">
            <a:spAutoFit/>
          </a:bodyPr>
          <a:lstStyle/>
          <a:p>
            <a:pPr marL="285750" indent="-285750" algn="just">
              <a:spcBef>
                <a:spcPts val="500"/>
              </a:spcBef>
              <a:buClr>
                <a:srgbClr val="00838A"/>
              </a:buClr>
              <a:buFont typeface="Wingdings" panose="05000000000000000000" pitchFamily="2" charset="2"/>
              <a:buChar char="Ø"/>
            </a:pPr>
            <a:r>
              <a:rPr lang="it-IT" sz="1600" b="1" dirty="0"/>
              <a:t>FORMATO ELETTRONICO</a:t>
            </a:r>
            <a:r>
              <a:rPr lang="it-IT" sz="1600" dirty="0"/>
              <a:t>: dal 18 febbraio 2027, tutte le batterie per mezzi di trasporto leggeri, le batterie industriali con capacità superiore a 2kWh e le batterie per veicoli elettrici immesse sul mercato o messe in servizio sono registrate in formato elettronico</a:t>
            </a:r>
          </a:p>
          <a:p>
            <a:pPr marL="285750" indent="-285750" algn="just">
              <a:spcBef>
                <a:spcPts val="500"/>
              </a:spcBef>
              <a:buClr>
                <a:srgbClr val="00838A"/>
              </a:buClr>
              <a:buFont typeface="Wingdings" panose="05000000000000000000" pitchFamily="2" charset="2"/>
              <a:buChar char="Ø"/>
            </a:pPr>
            <a:endParaRPr lang="it-IT" sz="1600" b="1" dirty="0"/>
          </a:p>
          <a:p>
            <a:pPr marL="285750" indent="-285750" algn="just">
              <a:spcBef>
                <a:spcPts val="500"/>
              </a:spcBef>
              <a:buClr>
                <a:srgbClr val="00838A"/>
              </a:buClr>
              <a:buFont typeface="Wingdings" panose="05000000000000000000" pitchFamily="2" charset="2"/>
              <a:buChar char="Ø"/>
            </a:pPr>
            <a:r>
              <a:rPr lang="it-IT" sz="1600" b="1" dirty="0"/>
              <a:t>ACCESSO TRAMITE CODICE QR</a:t>
            </a:r>
            <a:r>
              <a:rPr lang="it-IT" sz="1600" dirty="0"/>
              <a:t>: che rimanderà a un identificatore univoco attribuito alla batteria dall’operatore economico che lo immette sul mercato</a:t>
            </a:r>
          </a:p>
          <a:p>
            <a:pPr marL="285750" indent="-285750" algn="just">
              <a:spcBef>
                <a:spcPts val="500"/>
              </a:spcBef>
              <a:buClr>
                <a:srgbClr val="00838A"/>
              </a:buClr>
              <a:buFont typeface="Wingdings" panose="05000000000000000000" pitchFamily="2" charset="2"/>
              <a:buChar char="Ø"/>
            </a:pPr>
            <a:endParaRPr lang="it-IT" sz="1600" b="1" dirty="0"/>
          </a:p>
          <a:p>
            <a:pPr marL="285750" indent="-285750" algn="just">
              <a:spcBef>
                <a:spcPts val="500"/>
              </a:spcBef>
              <a:buClr>
                <a:srgbClr val="00838A"/>
              </a:buClr>
              <a:buFont typeface="Wingdings" panose="05000000000000000000" pitchFamily="2" charset="2"/>
              <a:buChar char="Ø"/>
            </a:pPr>
            <a:r>
              <a:rPr lang="it-IT" sz="1600" b="1" dirty="0"/>
              <a:t>RESPONSABILITÀ DEGLI OPERATORI ECONOMICI</a:t>
            </a:r>
            <a:r>
              <a:rPr lang="it-IT" sz="1600" dirty="0"/>
              <a:t>: l’operatore economico che immette la batteria sul mercato è responsabile della correttezza, completezza e aggiornamento delle informazioni nel passaporto della batteria</a:t>
            </a:r>
          </a:p>
          <a:p>
            <a:pPr marL="285750" indent="-285750" algn="just">
              <a:spcBef>
                <a:spcPts val="500"/>
              </a:spcBef>
              <a:buClr>
                <a:srgbClr val="00838A"/>
              </a:buClr>
              <a:buFont typeface="Wingdings" panose="05000000000000000000" pitchFamily="2" charset="2"/>
              <a:buChar char="Ø"/>
            </a:pPr>
            <a:endParaRPr lang="it-IT" sz="1600" b="1" dirty="0"/>
          </a:p>
          <a:p>
            <a:pPr marL="285750" indent="-285750" algn="just">
              <a:spcBef>
                <a:spcPts val="500"/>
              </a:spcBef>
              <a:buClr>
                <a:srgbClr val="00838A"/>
              </a:buClr>
              <a:buFont typeface="Wingdings" panose="05000000000000000000" pitchFamily="2" charset="2"/>
              <a:buChar char="Ø"/>
            </a:pPr>
            <a:r>
              <a:rPr lang="it-IT" sz="1600" b="1" dirty="0"/>
              <a:t>STANDARD APERTI</a:t>
            </a:r>
            <a:r>
              <a:rPr lang="it-IT" sz="1600" dirty="0"/>
              <a:t>: tutte le informazioni contenute nel PDP sono basate su standard aperti e in un formato interoperabile</a:t>
            </a:r>
            <a:endParaRPr lang="it-IT" sz="1600" b="1" dirty="0"/>
          </a:p>
          <a:p>
            <a:pPr marL="285750" indent="-285750" algn="just">
              <a:spcBef>
                <a:spcPts val="500"/>
              </a:spcBef>
              <a:buClr>
                <a:srgbClr val="00838A"/>
              </a:buClr>
              <a:buFont typeface="Wingdings" panose="05000000000000000000" pitchFamily="2" charset="2"/>
              <a:buChar char="Ø"/>
            </a:pPr>
            <a:endParaRPr lang="it-IT" sz="1600" b="1" dirty="0"/>
          </a:p>
          <a:p>
            <a:pPr marL="285750" indent="-285750" algn="just">
              <a:spcBef>
                <a:spcPts val="500"/>
              </a:spcBef>
              <a:buClr>
                <a:srgbClr val="00838A"/>
              </a:buClr>
              <a:buFont typeface="Wingdings" panose="05000000000000000000" pitchFamily="2" charset="2"/>
              <a:buChar char="Ø"/>
            </a:pPr>
            <a:r>
              <a:rPr lang="it-IT" sz="1600" b="1" dirty="0"/>
              <a:t>REQUISITI TECNICI</a:t>
            </a:r>
            <a:r>
              <a:rPr lang="it-IT" sz="1600" dirty="0"/>
              <a:t>: il PDP deve essere completamente interoperabile e garantire trasparenza, accesso regolamentato e integrità dei dati per tutte le parti interessate, oltre a dover rimanere disponibile anche dopo che l’operatore economico cessa di esistere o cessa la propria attività nell’UE.</a:t>
            </a:r>
          </a:p>
          <a:p>
            <a:pPr algn="just">
              <a:spcBef>
                <a:spcPts val="500"/>
              </a:spcBef>
              <a:buClr>
                <a:srgbClr val="00838A"/>
              </a:buClr>
            </a:pPr>
            <a:endParaRPr lang="it-IT" sz="1600" dirty="0"/>
          </a:p>
          <a:p>
            <a:pPr>
              <a:spcBef>
                <a:spcPts val="500"/>
              </a:spcBef>
              <a:buClr>
                <a:srgbClr val="00838A"/>
              </a:buClr>
            </a:pPr>
            <a:endParaRPr lang="it-IT" sz="1600" dirty="0"/>
          </a:p>
          <a:p>
            <a:pPr>
              <a:spcBef>
                <a:spcPts val="500"/>
              </a:spcBef>
              <a:buClr>
                <a:srgbClr val="00838A"/>
              </a:buClr>
            </a:pPr>
            <a:endParaRPr lang="it-IT" sz="1600" dirty="0"/>
          </a:p>
          <a:p>
            <a:pPr algn="just">
              <a:spcBef>
                <a:spcPts val="500"/>
              </a:spcBef>
              <a:buClr>
                <a:srgbClr val="00838A"/>
              </a:buClr>
            </a:pPr>
            <a:endParaRPr lang="it-IT" sz="1600" b="1" dirty="0"/>
          </a:p>
        </p:txBody>
      </p:sp>
      <p:sp>
        <p:nvSpPr>
          <p:cNvPr id="5" name="CasellaDiTesto 4">
            <a:extLst>
              <a:ext uri="{FF2B5EF4-FFF2-40B4-BE49-F238E27FC236}">
                <a16:creationId xmlns:a16="http://schemas.microsoft.com/office/drawing/2014/main" id="{78959158-1E5A-8241-FE0E-AF12C9AB5709}"/>
              </a:ext>
            </a:extLst>
          </p:cNvPr>
          <p:cNvSpPr txBox="1"/>
          <p:nvPr/>
        </p:nvSpPr>
        <p:spPr>
          <a:xfrm>
            <a:off x="786490" y="1167450"/>
            <a:ext cx="7721016" cy="369332"/>
          </a:xfrm>
          <a:prstGeom prst="rect">
            <a:avLst/>
          </a:prstGeom>
          <a:noFill/>
        </p:spPr>
        <p:txBody>
          <a:bodyPr wrap="square">
            <a:spAutoFit/>
          </a:bodyPr>
          <a:lstStyle/>
          <a:p>
            <a:r>
              <a:rPr lang="it-IT" dirty="0">
                <a:solidFill>
                  <a:schemeClr val="bg1"/>
                </a:solidFill>
              </a:rPr>
              <a:t>PASSAPORTO DELLA BATTERIA</a:t>
            </a:r>
          </a:p>
        </p:txBody>
      </p:sp>
    </p:spTree>
    <p:extLst>
      <p:ext uri="{BB962C8B-B14F-4D97-AF65-F5344CB8AC3E}">
        <p14:creationId xmlns:p14="http://schemas.microsoft.com/office/powerpoint/2010/main" val="290419665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ttangolo 5">
            <a:extLst>
              <a:ext uri="{FF2B5EF4-FFF2-40B4-BE49-F238E27FC236}">
                <a16:creationId xmlns:a16="http://schemas.microsoft.com/office/drawing/2014/main" id="{C4EAEFC0-3B06-5848-DD8B-8069ED3645C1}"/>
              </a:ext>
            </a:extLst>
          </p:cNvPr>
          <p:cNvSpPr/>
          <p:nvPr/>
        </p:nvSpPr>
        <p:spPr>
          <a:xfrm>
            <a:off x="652021" y="1358699"/>
            <a:ext cx="7630743" cy="396000"/>
          </a:xfrm>
          <a:prstGeom prst="rect">
            <a:avLst/>
          </a:prstGeom>
          <a:solidFill>
            <a:srgbClr val="0083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6000" indent="-216000" algn="l">
              <a:buFontTx/>
              <a:buChar char="–"/>
            </a:pPr>
            <a:endParaRPr lang="it-IT" sz="1600" dirty="0" err="1">
              <a:solidFill>
                <a:schemeClr val="tx1"/>
              </a:solidFill>
            </a:endParaRPr>
          </a:p>
        </p:txBody>
      </p:sp>
      <p:sp>
        <p:nvSpPr>
          <p:cNvPr id="2" name="Titolo 1">
            <a:extLst>
              <a:ext uri="{FF2B5EF4-FFF2-40B4-BE49-F238E27FC236}">
                <a16:creationId xmlns:a16="http://schemas.microsoft.com/office/drawing/2014/main" id="{777D282D-BBDC-485D-A122-4D6975C25EFC}"/>
              </a:ext>
            </a:extLst>
          </p:cNvPr>
          <p:cNvSpPr>
            <a:spLocks noGrp="1"/>
          </p:cNvSpPr>
          <p:nvPr>
            <p:ph type="title"/>
          </p:nvPr>
        </p:nvSpPr>
        <p:spPr/>
        <p:txBody>
          <a:bodyPr/>
          <a:lstStyle/>
          <a:p>
            <a:r>
              <a:rPr lang="it-IT" dirty="0"/>
              <a:t>IL </a:t>
            </a:r>
            <a:r>
              <a:rPr lang="it-IT" dirty="0" err="1"/>
              <a:t>pdp</a:t>
            </a:r>
            <a:r>
              <a:rPr lang="it-IT" dirty="0"/>
              <a:t> nel NUOVO «</a:t>
            </a:r>
            <a:r>
              <a:rPr lang="it-IT" dirty="0" err="1"/>
              <a:t>rEGOLAMENTO</a:t>
            </a:r>
            <a:r>
              <a:rPr lang="it-IT" dirty="0"/>
              <a:t> BATTERIE» (2023/1542)</a:t>
            </a:r>
          </a:p>
        </p:txBody>
      </p:sp>
      <p:sp>
        <p:nvSpPr>
          <p:cNvPr id="3" name="CasellaDiTesto 2">
            <a:extLst>
              <a:ext uri="{FF2B5EF4-FFF2-40B4-BE49-F238E27FC236}">
                <a16:creationId xmlns:a16="http://schemas.microsoft.com/office/drawing/2014/main" id="{2C1FEC20-AE3C-89FF-BB66-4CF0EE812657}"/>
              </a:ext>
            </a:extLst>
          </p:cNvPr>
          <p:cNvSpPr txBox="1"/>
          <p:nvPr/>
        </p:nvSpPr>
        <p:spPr>
          <a:xfrm>
            <a:off x="652021" y="1986147"/>
            <a:ext cx="4910579" cy="5511765"/>
          </a:xfrm>
          <a:prstGeom prst="rect">
            <a:avLst/>
          </a:prstGeom>
          <a:noFill/>
        </p:spPr>
        <p:txBody>
          <a:bodyPr wrap="square" lIns="0" tIns="0" rIns="0" bIns="0" rtlCol="0">
            <a:spAutoFit/>
          </a:bodyPr>
          <a:lstStyle/>
          <a:p>
            <a:pPr marL="285750" indent="-285750" algn="just">
              <a:lnSpc>
                <a:spcPct val="150000"/>
              </a:lnSpc>
              <a:spcBef>
                <a:spcPts val="500"/>
              </a:spcBef>
              <a:buClr>
                <a:srgbClr val="00838A"/>
              </a:buClr>
              <a:buFont typeface="Wingdings" panose="05000000000000000000" pitchFamily="2" charset="2"/>
              <a:buChar char="Ø"/>
            </a:pPr>
            <a:r>
              <a:rPr lang="it-IT" sz="1600" b="1" dirty="0"/>
              <a:t>Dettagli del modello di batteria</a:t>
            </a:r>
          </a:p>
          <a:p>
            <a:pPr marL="285750" indent="-285750" algn="just">
              <a:lnSpc>
                <a:spcPct val="150000"/>
              </a:lnSpc>
              <a:spcBef>
                <a:spcPts val="500"/>
              </a:spcBef>
              <a:buClr>
                <a:srgbClr val="00838A"/>
              </a:buClr>
              <a:buFont typeface="Wingdings" panose="05000000000000000000" pitchFamily="2" charset="2"/>
              <a:buChar char="Ø"/>
            </a:pPr>
            <a:r>
              <a:rPr lang="it-IT" sz="1600" b="1" dirty="0"/>
              <a:t>Materiali di composizione</a:t>
            </a:r>
          </a:p>
          <a:p>
            <a:pPr marL="285750" indent="-285750" algn="just">
              <a:lnSpc>
                <a:spcPct val="150000"/>
              </a:lnSpc>
              <a:spcBef>
                <a:spcPts val="500"/>
              </a:spcBef>
              <a:buClr>
                <a:srgbClr val="00838A"/>
              </a:buClr>
              <a:buFont typeface="Wingdings" panose="05000000000000000000" pitchFamily="2" charset="2"/>
              <a:buChar char="Ø"/>
            </a:pPr>
            <a:r>
              <a:rPr lang="it-IT" sz="1600" b="1" dirty="0"/>
              <a:t>Impronta ambientale</a:t>
            </a:r>
          </a:p>
          <a:p>
            <a:pPr marL="285750" indent="-285750" algn="just">
              <a:lnSpc>
                <a:spcPct val="150000"/>
              </a:lnSpc>
              <a:spcBef>
                <a:spcPts val="500"/>
              </a:spcBef>
              <a:buClr>
                <a:srgbClr val="00838A"/>
              </a:buClr>
              <a:buFont typeface="Wingdings" panose="05000000000000000000" pitchFamily="2" charset="2"/>
              <a:buChar char="Ø"/>
            </a:pPr>
            <a:r>
              <a:rPr lang="it-IT" sz="1600" b="1" dirty="0"/>
              <a:t>Tasso di riciclabilità</a:t>
            </a:r>
          </a:p>
          <a:p>
            <a:pPr marL="285750" indent="-285750" algn="just">
              <a:lnSpc>
                <a:spcPct val="150000"/>
              </a:lnSpc>
              <a:spcBef>
                <a:spcPts val="500"/>
              </a:spcBef>
              <a:buClr>
                <a:srgbClr val="00838A"/>
              </a:buClr>
              <a:buFont typeface="Wingdings" panose="05000000000000000000" pitchFamily="2" charset="2"/>
              <a:buChar char="Ø"/>
            </a:pPr>
            <a:r>
              <a:rPr lang="it-IT" sz="1600" b="1" dirty="0"/>
              <a:t>Tasso di rinnovabilità</a:t>
            </a:r>
          </a:p>
          <a:p>
            <a:pPr marL="285750" indent="-285750" algn="just">
              <a:lnSpc>
                <a:spcPct val="150000"/>
              </a:lnSpc>
              <a:spcBef>
                <a:spcPts val="500"/>
              </a:spcBef>
              <a:buClr>
                <a:srgbClr val="00838A"/>
              </a:buClr>
              <a:buFont typeface="Wingdings" panose="05000000000000000000" pitchFamily="2" charset="2"/>
              <a:buChar char="Ø"/>
            </a:pPr>
            <a:r>
              <a:rPr lang="it-IT" sz="1600" b="1" dirty="0"/>
              <a:t>Durata di vita prevista</a:t>
            </a:r>
          </a:p>
          <a:p>
            <a:pPr marL="285750" indent="-285750" algn="just">
              <a:lnSpc>
                <a:spcPct val="150000"/>
              </a:lnSpc>
              <a:spcBef>
                <a:spcPts val="500"/>
              </a:spcBef>
              <a:buClr>
                <a:srgbClr val="00838A"/>
              </a:buClr>
              <a:buFont typeface="Wingdings" panose="05000000000000000000" pitchFamily="2" charset="2"/>
              <a:buChar char="Ø"/>
            </a:pPr>
            <a:r>
              <a:rPr lang="it-IT" sz="1600" b="1" dirty="0"/>
              <a:t>Efficienza energetica</a:t>
            </a:r>
          </a:p>
          <a:p>
            <a:pPr marL="285750" indent="-285750" algn="just">
              <a:lnSpc>
                <a:spcPct val="150000"/>
              </a:lnSpc>
              <a:spcBef>
                <a:spcPts val="500"/>
              </a:spcBef>
              <a:buClr>
                <a:srgbClr val="00838A"/>
              </a:buClr>
              <a:buFont typeface="Wingdings" panose="05000000000000000000" pitchFamily="2" charset="2"/>
              <a:buChar char="Ø"/>
            </a:pPr>
            <a:r>
              <a:rPr lang="it-IT" sz="1600" b="1" dirty="0"/>
              <a:t>Marcatura</a:t>
            </a:r>
          </a:p>
          <a:p>
            <a:pPr marL="285750" indent="-285750" algn="just">
              <a:lnSpc>
                <a:spcPct val="150000"/>
              </a:lnSpc>
              <a:spcBef>
                <a:spcPts val="500"/>
              </a:spcBef>
              <a:buClr>
                <a:srgbClr val="00838A"/>
              </a:buClr>
              <a:buFont typeface="Wingdings" panose="05000000000000000000" pitchFamily="2" charset="2"/>
              <a:buChar char="Ø"/>
            </a:pPr>
            <a:r>
              <a:rPr lang="it-IT" sz="1600" b="1" dirty="0"/>
              <a:t>Dichiarazione di conformità UE</a:t>
            </a:r>
          </a:p>
          <a:p>
            <a:pPr marL="285750" indent="-285750" algn="just">
              <a:lnSpc>
                <a:spcPct val="150000"/>
              </a:lnSpc>
              <a:spcBef>
                <a:spcPts val="500"/>
              </a:spcBef>
              <a:buClr>
                <a:srgbClr val="00838A"/>
              </a:buClr>
              <a:buFont typeface="Wingdings" panose="05000000000000000000" pitchFamily="2" charset="2"/>
              <a:buChar char="Ø"/>
            </a:pPr>
            <a:r>
              <a:rPr lang="it-IT" sz="1600" b="1" dirty="0"/>
              <a:t>Informazioni sulla gestione dei rifiuti</a:t>
            </a:r>
          </a:p>
          <a:p>
            <a:pPr algn="just">
              <a:spcBef>
                <a:spcPts val="500"/>
              </a:spcBef>
              <a:buClr>
                <a:srgbClr val="00838A"/>
              </a:buClr>
            </a:pPr>
            <a:endParaRPr lang="it-IT" sz="1600" dirty="0"/>
          </a:p>
          <a:p>
            <a:pPr>
              <a:spcBef>
                <a:spcPts val="500"/>
              </a:spcBef>
              <a:buClr>
                <a:srgbClr val="00838A"/>
              </a:buClr>
            </a:pPr>
            <a:endParaRPr lang="it-IT" sz="1600" dirty="0"/>
          </a:p>
          <a:p>
            <a:pPr>
              <a:spcBef>
                <a:spcPts val="500"/>
              </a:spcBef>
              <a:buClr>
                <a:srgbClr val="00838A"/>
              </a:buClr>
            </a:pPr>
            <a:endParaRPr lang="it-IT" sz="1600" dirty="0"/>
          </a:p>
          <a:p>
            <a:pPr algn="just">
              <a:spcBef>
                <a:spcPts val="500"/>
              </a:spcBef>
              <a:buClr>
                <a:srgbClr val="00838A"/>
              </a:buClr>
            </a:pPr>
            <a:endParaRPr lang="it-IT" sz="1600" b="1" dirty="0"/>
          </a:p>
        </p:txBody>
      </p:sp>
      <p:sp>
        <p:nvSpPr>
          <p:cNvPr id="5" name="CasellaDiTesto 4">
            <a:extLst>
              <a:ext uri="{FF2B5EF4-FFF2-40B4-BE49-F238E27FC236}">
                <a16:creationId xmlns:a16="http://schemas.microsoft.com/office/drawing/2014/main" id="{78959158-1E5A-8241-FE0E-AF12C9AB5709}"/>
              </a:ext>
            </a:extLst>
          </p:cNvPr>
          <p:cNvSpPr txBox="1"/>
          <p:nvPr/>
        </p:nvSpPr>
        <p:spPr>
          <a:xfrm>
            <a:off x="652020" y="1357815"/>
            <a:ext cx="7721016" cy="369332"/>
          </a:xfrm>
          <a:prstGeom prst="rect">
            <a:avLst/>
          </a:prstGeom>
          <a:noFill/>
        </p:spPr>
        <p:txBody>
          <a:bodyPr wrap="square">
            <a:spAutoFit/>
          </a:bodyPr>
          <a:lstStyle/>
          <a:p>
            <a:r>
              <a:rPr lang="it-IT" dirty="0">
                <a:solidFill>
                  <a:schemeClr val="bg1"/>
                </a:solidFill>
              </a:rPr>
              <a:t>INFORMAZIONI DA INCLUDERE NEL PASSAPORTO DELLA BATTERIA</a:t>
            </a:r>
          </a:p>
        </p:txBody>
      </p:sp>
      <p:sp>
        <p:nvSpPr>
          <p:cNvPr id="4" name="CasellaDiTesto 3">
            <a:extLst>
              <a:ext uri="{FF2B5EF4-FFF2-40B4-BE49-F238E27FC236}">
                <a16:creationId xmlns:a16="http://schemas.microsoft.com/office/drawing/2014/main" id="{1837805D-6B2F-FB81-F17D-563B76252219}"/>
              </a:ext>
            </a:extLst>
          </p:cNvPr>
          <p:cNvSpPr txBox="1"/>
          <p:nvPr/>
        </p:nvSpPr>
        <p:spPr>
          <a:xfrm>
            <a:off x="5988049" y="1986146"/>
            <a:ext cx="4910579" cy="5483552"/>
          </a:xfrm>
          <a:prstGeom prst="rect">
            <a:avLst/>
          </a:prstGeom>
          <a:noFill/>
        </p:spPr>
        <p:txBody>
          <a:bodyPr wrap="square" lIns="0" tIns="0" rIns="0" bIns="0" rtlCol="0">
            <a:spAutoFit/>
          </a:bodyPr>
          <a:lstStyle/>
          <a:p>
            <a:pPr marL="285750" indent="-285750" algn="just">
              <a:lnSpc>
                <a:spcPct val="150000"/>
              </a:lnSpc>
              <a:spcBef>
                <a:spcPts val="500"/>
              </a:spcBef>
              <a:buClr>
                <a:srgbClr val="00838A"/>
              </a:buClr>
              <a:buFont typeface="Wingdings" panose="05000000000000000000" pitchFamily="2" charset="2"/>
              <a:buChar char="Ø"/>
            </a:pPr>
            <a:r>
              <a:rPr lang="it-IT" sz="1600" b="1" dirty="0"/>
              <a:t>Informazioni necessarie allo smantellamento </a:t>
            </a:r>
            <a:r>
              <a:rPr lang="it-IT" sz="1100" dirty="0"/>
              <a:t>(accessibili unicamente a persone aventi un interesse legittimo e alla Commissione)</a:t>
            </a:r>
          </a:p>
          <a:p>
            <a:pPr marL="285750" indent="-285750" algn="just">
              <a:lnSpc>
                <a:spcPct val="150000"/>
              </a:lnSpc>
              <a:spcBef>
                <a:spcPts val="500"/>
              </a:spcBef>
              <a:buClr>
                <a:srgbClr val="00838A"/>
              </a:buClr>
              <a:buFont typeface="Wingdings" panose="05000000000000000000" pitchFamily="2" charset="2"/>
              <a:buChar char="Ø"/>
            </a:pPr>
            <a:r>
              <a:rPr lang="it-IT" sz="1600" b="1" dirty="0"/>
              <a:t>Informazioni dettagliate sulla composizione </a:t>
            </a:r>
            <a:r>
              <a:rPr lang="it-IT" sz="1100" dirty="0"/>
              <a:t>(accessibili unicamente a persone aventi un interesse legittimo e alla Commissione)</a:t>
            </a:r>
            <a:endParaRPr lang="it-IT" sz="1600" b="1" dirty="0"/>
          </a:p>
          <a:p>
            <a:pPr marL="285750" indent="-285750" algn="just">
              <a:lnSpc>
                <a:spcPct val="150000"/>
              </a:lnSpc>
              <a:spcBef>
                <a:spcPts val="500"/>
              </a:spcBef>
              <a:buClr>
                <a:srgbClr val="00838A"/>
              </a:buClr>
              <a:buFont typeface="Wingdings" panose="05000000000000000000" pitchFamily="2" charset="2"/>
              <a:buChar char="Ø"/>
            </a:pPr>
            <a:r>
              <a:rPr lang="it-IT" sz="1600" b="1" dirty="0"/>
              <a:t>Informazioni sulle misure di sicurezza </a:t>
            </a:r>
            <a:r>
              <a:rPr lang="it-IT" sz="1100" dirty="0"/>
              <a:t>(accessibili unicamente a persone aventi un interesse legittimo e alla Commissione)</a:t>
            </a:r>
          </a:p>
          <a:p>
            <a:pPr marL="285750" indent="-285750" algn="just">
              <a:lnSpc>
                <a:spcPct val="150000"/>
              </a:lnSpc>
              <a:spcBef>
                <a:spcPts val="500"/>
              </a:spcBef>
              <a:buClr>
                <a:srgbClr val="00838A"/>
              </a:buClr>
              <a:buFont typeface="Wingdings" panose="05000000000000000000" pitchFamily="2" charset="2"/>
              <a:buChar char="Ø"/>
            </a:pPr>
            <a:r>
              <a:rPr lang="it-IT" sz="1600" b="1" dirty="0"/>
              <a:t>Risultati delle relazioni di prova attestanti la conformità ai requisiti stabiliti nel «Regolamento Batterie» </a:t>
            </a:r>
            <a:r>
              <a:rPr lang="it-IT" sz="1100" dirty="0"/>
              <a:t>(accessibili unicamente agli organismi notificati, alle autorità di vigilanza del mercato e alla Commissione)</a:t>
            </a:r>
            <a:endParaRPr lang="it-IT" sz="1100" b="1" dirty="0"/>
          </a:p>
          <a:p>
            <a:pPr algn="just">
              <a:spcBef>
                <a:spcPts val="500"/>
              </a:spcBef>
              <a:buClr>
                <a:srgbClr val="00838A"/>
              </a:buClr>
            </a:pPr>
            <a:endParaRPr lang="it-IT" sz="1600" dirty="0"/>
          </a:p>
          <a:p>
            <a:pPr algn="just">
              <a:spcBef>
                <a:spcPts val="500"/>
              </a:spcBef>
              <a:buClr>
                <a:srgbClr val="00838A"/>
              </a:buClr>
            </a:pPr>
            <a:endParaRPr lang="it-IT" sz="1600" dirty="0"/>
          </a:p>
          <a:p>
            <a:pPr>
              <a:spcBef>
                <a:spcPts val="500"/>
              </a:spcBef>
              <a:buClr>
                <a:srgbClr val="00838A"/>
              </a:buClr>
            </a:pPr>
            <a:endParaRPr lang="it-IT" sz="1600" dirty="0"/>
          </a:p>
          <a:p>
            <a:pPr>
              <a:spcBef>
                <a:spcPts val="500"/>
              </a:spcBef>
              <a:buClr>
                <a:srgbClr val="00838A"/>
              </a:buClr>
            </a:pPr>
            <a:endParaRPr lang="it-IT" sz="1600" dirty="0"/>
          </a:p>
          <a:p>
            <a:pPr algn="just">
              <a:spcBef>
                <a:spcPts val="500"/>
              </a:spcBef>
              <a:buClr>
                <a:srgbClr val="00838A"/>
              </a:buClr>
            </a:pPr>
            <a:endParaRPr lang="it-IT" sz="1600" b="1" dirty="0"/>
          </a:p>
        </p:txBody>
      </p:sp>
      <p:sp>
        <p:nvSpPr>
          <p:cNvPr id="9" name="CasellaDiTesto 8">
            <a:extLst>
              <a:ext uri="{FF2B5EF4-FFF2-40B4-BE49-F238E27FC236}">
                <a16:creationId xmlns:a16="http://schemas.microsoft.com/office/drawing/2014/main" id="{BD253C5C-BF53-3472-7901-8F6EAF262941}"/>
              </a:ext>
            </a:extLst>
          </p:cNvPr>
          <p:cNvSpPr txBox="1"/>
          <p:nvPr/>
        </p:nvSpPr>
        <p:spPr>
          <a:xfrm>
            <a:off x="382554" y="6261835"/>
            <a:ext cx="9004514" cy="1456809"/>
          </a:xfrm>
          <a:prstGeom prst="rect">
            <a:avLst/>
          </a:prstGeom>
          <a:noFill/>
        </p:spPr>
        <p:txBody>
          <a:bodyPr wrap="square" lIns="0" tIns="0" rIns="0" bIns="0" rtlCol="0">
            <a:spAutoFit/>
          </a:bodyPr>
          <a:lstStyle/>
          <a:p>
            <a:pPr algn="just">
              <a:spcBef>
                <a:spcPts val="500"/>
              </a:spcBef>
              <a:buClr>
                <a:srgbClr val="00838A"/>
              </a:buClr>
            </a:pPr>
            <a:endParaRPr lang="it-IT" sz="1600" dirty="0"/>
          </a:p>
          <a:p>
            <a:pPr algn="just">
              <a:spcBef>
                <a:spcPts val="500"/>
              </a:spcBef>
              <a:buClr>
                <a:srgbClr val="00838A"/>
              </a:buClr>
            </a:pPr>
            <a:r>
              <a:rPr lang="it-IT" sz="1100" dirty="0"/>
              <a:t>Le presenti slides non costituiscono parere legale sugli argomenti esposti per via della carattere esemplificativo delle stesse.</a:t>
            </a:r>
          </a:p>
          <a:p>
            <a:pPr>
              <a:spcBef>
                <a:spcPts val="500"/>
              </a:spcBef>
              <a:buClr>
                <a:srgbClr val="00838A"/>
              </a:buClr>
            </a:pPr>
            <a:endParaRPr lang="it-IT" sz="1600" dirty="0"/>
          </a:p>
          <a:p>
            <a:pPr>
              <a:spcBef>
                <a:spcPts val="500"/>
              </a:spcBef>
              <a:buClr>
                <a:srgbClr val="00838A"/>
              </a:buClr>
            </a:pPr>
            <a:endParaRPr lang="it-IT" sz="1600" dirty="0"/>
          </a:p>
          <a:p>
            <a:pPr algn="just">
              <a:spcBef>
                <a:spcPts val="500"/>
              </a:spcBef>
              <a:buClr>
                <a:srgbClr val="00838A"/>
              </a:buClr>
            </a:pPr>
            <a:endParaRPr lang="it-IT" sz="1600" b="1" dirty="0"/>
          </a:p>
        </p:txBody>
      </p:sp>
    </p:spTree>
    <p:extLst>
      <p:ext uri="{BB962C8B-B14F-4D97-AF65-F5344CB8AC3E}">
        <p14:creationId xmlns:p14="http://schemas.microsoft.com/office/powerpoint/2010/main" val="266385376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7B3F300-AD6B-52D8-1605-579D4279BFE5}"/>
            </a:ext>
          </a:extLst>
        </p:cNvPr>
        <p:cNvGrpSpPr/>
        <p:nvPr/>
      </p:nvGrpSpPr>
      <p:grpSpPr>
        <a:xfrm>
          <a:off x="0" y="0"/>
          <a:ext cx="0" cy="0"/>
          <a:chOff x="0" y="0"/>
          <a:chExt cx="0" cy="0"/>
        </a:xfrm>
      </p:grpSpPr>
      <p:sp>
        <p:nvSpPr>
          <p:cNvPr id="3" name="Segnaposto numero diapositiva 2">
            <a:extLst>
              <a:ext uri="{FF2B5EF4-FFF2-40B4-BE49-F238E27FC236}">
                <a16:creationId xmlns:a16="http://schemas.microsoft.com/office/drawing/2014/main" id="{99A8DB0C-78BC-F494-BFB1-CC764A4380EF}"/>
              </a:ext>
            </a:extLst>
          </p:cNvPr>
          <p:cNvSpPr>
            <a:spLocks noGrp="1"/>
          </p:cNvSpPr>
          <p:nvPr>
            <p:ph type="sldNum" sz="quarter" idx="17"/>
          </p:nvPr>
        </p:nvSpPr>
        <p:spPr/>
        <p:txBody>
          <a:bodyPr/>
          <a:lstStyle/>
          <a:p>
            <a:fld id="{4CFEB0D3-1EB3-4F08-8062-95FFB9749870}" type="slidenum">
              <a:rPr lang="de-DE" smtClean="0"/>
              <a:pPr/>
              <a:t>29</a:t>
            </a:fld>
            <a:endParaRPr lang="de-DE" dirty="0"/>
          </a:p>
        </p:txBody>
      </p:sp>
      <p:sp>
        <p:nvSpPr>
          <p:cNvPr id="4" name="Segnaposto testo 3">
            <a:extLst>
              <a:ext uri="{FF2B5EF4-FFF2-40B4-BE49-F238E27FC236}">
                <a16:creationId xmlns:a16="http://schemas.microsoft.com/office/drawing/2014/main" id="{7D3D4B8C-9F4F-9D6A-4095-F7DCD716C636}"/>
              </a:ext>
            </a:extLst>
          </p:cNvPr>
          <p:cNvSpPr>
            <a:spLocks noGrp="1"/>
          </p:cNvSpPr>
          <p:nvPr>
            <p:ph type="body" sz="quarter" idx="14"/>
          </p:nvPr>
        </p:nvSpPr>
        <p:spPr>
          <a:xfrm>
            <a:off x="1" y="244800"/>
            <a:ext cx="4799856" cy="2059743"/>
          </a:xfrm>
        </p:spPr>
        <p:txBody>
          <a:bodyPr/>
          <a:lstStyle/>
          <a:p>
            <a:pPr>
              <a:lnSpc>
                <a:spcPct val="150000"/>
              </a:lnSpc>
            </a:pPr>
            <a:r>
              <a:rPr lang="it-IT" sz="2800" dirty="0"/>
              <a:t>Il passaporto digitale prima del passaporto digitale: l’art. 13 AGEC</a:t>
            </a:r>
            <a:endParaRPr lang="en-GB" sz="2800" dirty="0"/>
          </a:p>
        </p:txBody>
      </p:sp>
      <p:pic>
        <p:nvPicPr>
          <p:cNvPr id="13" name="Segnaposto immagine 12">
            <a:extLst>
              <a:ext uri="{FF2B5EF4-FFF2-40B4-BE49-F238E27FC236}">
                <a16:creationId xmlns:a16="http://schemas.microsoft.com/office/drawing/2014/main" id="{22238818-1963-01D9-D523-DFD48451B83A}"/>
              </a:ext>
            </a:extLst>
          </p:cNvPr>
          <p:cNvPicPr>
            <a:picLocks noGrp="1" noChangeAspect="1"/>
          </p:cNvPicPr>
          <p:nvPr>
            <p:ph type="pic" sz="quarter" idx="16"/>
          </p:nvPr>
        </p:nvPicPr>
        <p:blipFill>
          <a:blip r:embed="rId2">
            <a:extLst>
              <a:ext uri="{96DAC541-7B7A-43D3-8B79-37D633B846F1}">
                <asvg:svgBlip xmlns:asvg="http://schemas.microsoft.com/office/drawing/2016/SVG/main" r:embed="rId3"/>
              </a:ext>
              <a:ext uri="{837473B0-CC2E-450A-ABE3-18F120FF3D39}">
                <a1611:picAttrSrcUrl xmlns:a1611="http://schemas.microsoft.com/office/drawing/2016/11/main" r:id="rId4"/>
              </a:ext>
            </a:extLst>
          </a:blip>
          <a:srcRect t="4420" b="4420"/>
          <a:stretch/>
        </p:blipFill>
        <p:spPr>
          <a:xfrm>
            <a:off x="4822022" y="-2840"/>
            <a:ext cx="7111645" cy="6860840"/>
          </a:xfrm>
        </p:spPr>
      </p:pic>
    </p:spTree>
    <p:extLst>
      <p:ext uri="{BB962C8B-B14F-4D97-AF65-F5344CB8AC3E}">
        <p14:creationId xmlns:p14="http://schemas.microsoft.com/office/powerpoint/2010/main" val="75171909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a:extLst>
              <a:ext uri="{FF2B5EF4-FFF2-40B4-BE49-F238E27FC236}">
                <a16:creationId xmlns:a16="http://schemas.microsoft.com/office/drawing/2014/main" id="{EFE6F5B0-A74C-DF52-5FDD-28999ED2363F}"/>
              </a:ext>
            </a:extLst>
          </p:cNvPr>
          <p:cNvSpPr>
            <a:spLocks noGrp="1"/>
          </p:cNvSpPr>
          <p:nvPr>
            <p:ph type="sldNum" sz="quarter" idx="17"/>
          </p:nvPr>
        </p:nvSpPr>
        <p:spPr/>
        <p:txBody>
          <a:bodyPr/>
          <a:lstStyle/>
          <a:p>
            <a:fld id="{4CFEB0D3-1EB3-4F08-8062-95FFB9749870}" type="slidenum">
              <a:rPr lang="de-DE" smtClean="0"/>
              <a:pPr/>
              <a:t>3</a:t>
            </a:fld>
            <a:endParaRPr lang="de-DE" dirty="0"/>
          </a:p>
        </p:txBody>
      </p:sp>
      <p:sp>
        <p:nvSpPr>
          <p:cNvPr id="4" name="Segnaposto testo 3">
            <a:extLst>
              <a:ext uri="{FF2B5EF4-FFF2-40B4-BE49-F238E27FC236}">
                <a16:creationId xmlns:a16="http://schemas.microsoft.com/office/drawing/2014/main" id="{BC91D5D0-D0C9-9FF1-6556-FA4E6CF78AB9}"/>
              </a:ext>
            </a:extLst>
          </p:cNvPr>
          <p:cNvSpPr>
            <a:spLocks noGrp="1"/>
          </p:cNvSpPr>
          <p:nvPr>
            <p:ph type="body" sz="quarter" idx="14"/>
          </p:nvPr>
        </p:nvSpPr>
        <p:spPr>
          <a:xfrm>
            <a:off x="1" y="244800"/>
            <a:ext cx="4799856" cy="2796162"/>
          </a:xfrm>
        </p:spPr>
        <p:txBody>
          <a:bodyPr/>
          <a:lstStyle/>
          <a:p>
            <a:r>
              <a:rPr lang="it-IT" dirty="0"/>
              <a:t>1	</a:t>
            </a:r>
            <a:r>
              <a:rPr lang="de-DE" sz="2800" b="0" dirty="0">
                <a:solidFill>
                  <a:schemeClr val="tx1"/>
                </a:solidFill>
                <a:latin typeface="+mn-lt"/>
                <a:cs typeface="Arial" panose="020B0604020202020204" pitchFamily="34" charset="0"/>
                <a:sym typeface="Arial" panose="020B0604020202020204" pitchFamily="34" charset="0"/>
              </a:rPr>
              <a:t>Il </a:t>
            </a:r>
            <a:r>
              <a:rPr lang="de-DE" sz="2800" b="0" dirty="0" err="1">
                <a:solidFill>
                  <a:schemeClr val="tx1"/>
                </a:solidFill>
                <a:latin typeface="+mn-lt"/>
                <a:cs typeface="Arial" panose="020B0604020202020204" pitchFamily="34" charset="0"/>
                <a:sym typeface="Arial" panose="020B0604020202020204" pitchFamily="34" charset="0"/>
              </a:rPr>
              <a:t>Regolamento</a:t>
            </a:r>
            <a:r>
              <a:rPr lang="de-DE" dirty="0">
                <a:latin typeface="+mn-lt"/>
                <a:cs typeface="Arial" panose="020B0604020202020204" pitchFamily="34" charset="0"/>
                <a:sym typeface="Arial" panose="020B0604020202020204" pitchFamily="34" charset="0"/>
              </a:rPr>
              <a:t> </a:t>
            </a:r>
            <a:r>
              <a:rPr lang="de-DE" sz="2800" b="0" dirty="0">
                <a:solidFill>
                  <a:schemeClr val="tx1"/>
                </a:solidFill>
                <a:latin typeface="+mn-lt"/>
                <a:cs typeface="Arial" panose="020B0604020202020204" pitchFamily="34" charset="0"/>
                <a:sym typeface="Arial" panose="020B0604020202020204" pitchFamily="34" charset="0"/>
              </a:rPr>
              <a:t>(UE) 2024/1781: le </a:t>
            </a:r>
            <a:r>
              <a:rPr lang="de-DE" sz="2800" b="0" dirty="0" err="1">
                <a:solidFill>
                  <a:schemeClr val="tx1"/>
                </a:solidFill>
                <a:latin typeface="+mn-lt"/>
                <a:cs typeface="Arial" panose="020B0604020202020204" pitchFamily="34" charset="0"/>
                <a:sym typeface="Arial" panose="020B0604020202020204" pitchFamily="34" charset="0"/>
              </a:rPr>
              <a:t>principali</a:t>
            </a:r>
            <a:r>
              <a:rPr lang="de-DE" sz="2800" b="0" dirty="0">
                <a:solidFill>
                  <a:schemeClr val="tx1"/>
                </a:solidFill>
                <a:latin typeface="+mn-lt"/>
                <a:cs typeface="Arial" panose="020B0604020202020204" pitchFamily="34" charset="0"/>
                <a:sym typeface="Arial" panose="020B0604020202020204" pitchFamily="34" charset="0"/>
              </a:rPr>
              <a:t> </a:t>
            </a:r>
            <a:r>
              <a:rPr lang="de-DE" sz="2800" b="0" dirty="0" err="1">
                <a:solidFill>
                  <a:schemeClr val="tx1"/>
                </a:solidFill>
                <a:latin typeface="+mn-lt"/>
                <a:cs typeface="Arial" panose="020B0604020202020204" pitchFamily="34" charset="0"/>
                <a:sym typeface="Arial" panose="020B0604020202020204" pitchFamily="34" charset="0"/>
              </a:rPr>
              <a:t>novità</a:t>
            </a:r>
            <a:r>
              <a:rPr lang="de-DE" sz="2800" b="0" dirty="0">
                <a:solidFill>
                  <a:schemeClr val="tx1"/>
                </a:solidFill>
                <a:latin typeface="+mn-lt"/>
                <a:cs typeface="Arial" panose="020B0604020202020204" pitchFamily="34" charset="0"/>
                <a:sym typeface="Arial" panose="020B0604020202020204" pitchFamily="34" charset="0"/>
              </a:rPr>
              <a:t> e </a:t>
            </a:r>
            <a:r>
              <a:rPr lang="de-DE" sz="2800" b="0" dirty="0" err="1">
                <a:solidFill>
                  <a:schemeClr val="tx1"/>
                </a:solidFill>
                <a:latin typeface="+mn-lt"/>
                <a:cs typeface="Arial" panose="020B0604020202020204" pitchFamily="34" charset="0"/>
                <a:sym typeface="Arial" panose="020B0604020202020204" pitchFamily="34" charset="0"/>
              </a:rPr>
              <a:t>l‘ambito</a:t>
            </a:r>
            <a:r>
              <a:rPr lang="de-DE" sz="2800" b="0" dirty="0">
                <a:solidFill>
                  <a:schemeClr val="tx1"/>
                </a:solidFill>
                <a:latin typeface="+mn-lt"/>
                <a:cs typeface="Arial" panose="020B0604020202020204" pitchFamily="34" charset="0"/>
                <a:sym typeface="Arial" panose="020B0604020202020204" pitchFamily="34" charset="0"/>
              </a:rPr>
              <a:t> di </a:t>
            </a:r>
            <a:r>
              <a:rPr lang="de-DE" sz="2800" b="0" dirty="0" err="1">
                <a:solidFill>
                  <a:schemeClr val="tx1"/>
                </a:solidFill>
                <a:latin typeface="+mn-lt"/>
                <a:cs typeface="Arial" panose="020B0604020202020204" pitchFamily="34" charset="0"/>
                <a:sym typeface="Arial" panose="020B0604020202020204" pitchFamily="34" charset="0"/>
              </a:rPr>
              <a:t>applicazione</a:t>
            </a:r>
            <a:endParaRPr lang="de-DE" sz="2800" b="0" dirty="0">
              <a:solidFill>
                <a:schemeClr val="tx1"/>
              </a:solidFill>
              <a:latin typeface="+mn-lt"/>
              <a:cs typeface="Arial" panose="020B0604020202020204" pitchFamily="34" charset="0"/>
              <a:sym typeface="Arial" panose="020B0604020202020204" pitchFamily="34" charset="0"/>
            </a:endParaRPr>
          </a:p>
          <a:p>
            <a:endParaRPr lang="it-IT" dirty="0"/>
          </a:p>
        </p:txBody>
      </p:sp>
      <p:pic>
        <p:nvPicPr>
          <p:cNvPr id="1026" name="Picture 2">
            <a:extLst>
              <a:ext uri="{FF2B5EF4-FFF2-40B4-BE49-F238E27FC236}">
                <a16:creationId xmlns:a16="http://schemas.microsoft.com/office/drawing/2014/main" id="{8A475C15-EA04-F3E6-9914-239B3F4D50D6}"/>
              </a:ext>
            </a:extLst>
          </p:cNvPr>
          <p:cNvPicPr>
            <a:picLocks noGrp="1" noChangeAspect="1" noChangeArrowheads="1"/>
          </p:cNvPicPr>
          <p:nvPr>
            <p:ph type="pic" sz="quarter" idx="16"/>
          </p:nvPr>
        </p:nvPicPr>
        <p:blipFill>
          <a:blip r:embed="rId2">
            <a:extLst>
              <a:ext uri="{28A0092B-C50C-407E-A947-70E740481C1C}">
                <a14:useLocalDpi xmlns:a14="http://schemas.microsoft.com/office/drawing/2010/main" val="0"/>
              </a:ext>
            </a:extLst>
          </a:blip>
          <a:srcRect t="1764" b="1764"/>
          <a:stretch>
            <a:fillRect/>
          </a:stretch>
        </p:blipFill>
        <p:spPr bwMode="auto">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85332722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ttangolo 5">
            <a:extLst>
              <a:ext uri="{FF2B5EF4-FFF2-40B4-BE49-F238E27FC236}">
                <a16:creationId xmlns:a16="http://schemas.microsoft.com/office/drawing/2014/main" id="{C4EAEFC0-3B06-5848-DD8B-8069ED3645C1}"/>
              </a:ext>
            </a:extLst>
          </p:cNvPr>
          <p:cNvSpPr/>
          <p:nvPr/>
        </p:nvSpPr>
        <p:spPr>
          <a:xfrm>
            <a:off x="652020" y="1325636"/>
            <a:ext cx="8411298" cy="396000"/>
          </a:xfrm>
          <a:prstGeom prst="rect">
            <a:avLst/>
          </a:prstGeom>
          <a:solidFill>
            <a:srgbClr val="00838A"/>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6000" indent="-216000" algn="l">
              <a:buFontTx/>
              <a:buChar char="–"/>
            </a:pPr>
            <a:endParaRPr lang="it-IT" sz="1600" dirty="0" err="1">
              <a:solidFill>
                <a:schemeClr val="tx1"/>
              </a:solidFill>
            </a:endParaRPr>
          </a:p>
        </p:txBody>
      </p:sp>
      <p:sp>
        <p:nvSpPr>
          <p:cNvPr id="2" name="Titolo 1">
            <a:extLst>
              <a:ext uri="{FF2B5EF4-FFF2-40B4-BE49-F238E27FC236}">
                <a16:creationId xmlns:a16="http://schemas.microsoft.com/office/drawing/2014/main" id="{777D282D-BBDC-485D-A122-4D6975C25EFC}"/>
              </a:ext>
            </a:extLst>
          </p:cNvPr>
          <p:cNvSpPr>
            <a:spLocks noGrp="1"/>
          </p:cNvSpPr>
          <p:nvPr>
            <p:ph type="title"/>
          </p:nvPr>
        </p:nvSpPr>
        <p:spPr/>
        <p:txBody>
          <a:bodyPr/>
          <a:lstStyle/>
          <a:p>
            <a:pPr>
              <a:lnSpc>
                <a:spcPct val="150000"/>
              </a:lnSpc>
            </a:pPr>
            <a:r>
              <a:rPr lang="it-IT" sz="2400" dirty="0"/>
              <a:t>Il passaporto digitale prima del passaporto digitale: l’art. 13 AGEC</a:t>
            </a:r>
            <a:endParaRPr lang="en-GB" sz="2400" dirty="0"/>
          </a:p>
        </p:txBody>
      </p:sp>
      <p:sp>
        <p:nvSpPr>
          <p:cNvPr id="3" name="CasellaDiTesto 2">
            <a:extLst>
              <a:ext uri="{FF2B5EF4-FFF2-40B4-BE49-F238E27FC236}">
                <a16:creationId xmlns:a16="http://schemas.microsoft.com/office/drawing/2014/main" id="{2C1FEC20-AE3C-89FF-BB66-4CF0EE812657}"/>
              </a:ext>
            </a:extLst>
          </p:cNvPr>
          <p:cNvSpPr txBox="1"/>
          <p:nvPr/>
        </p:nvSpPr>
        <p:spPr>
          <a:xfrm>
            <a:off x="652021" y="1986147"/>
            <a:ext cx="9268156" cy="10698506"/>
          </a:xfrm>
          <a:prstGeom prst="rect">
            <a:avLst/>
          </a:prstGeom>
          <a:noFill/>
        </p:spPr>
        <p:txBody>
          <a:bodyPr wrap="square" lIns="0" tIns="0" rIns="0" bIns="0" rtlCol="0">
            <a:spAutoFit/>
          </a:bodyPr>
          <a:lstStyle/>
          <a:p>
            <a:pPr algn="just">
              <a:lnSpc>
                <a:spcPct val="150000"/>
              </a:lnSpc>
              <a:spcBef>
                <a:spcPts val="500"/>
              </a:spcBef>
              <a:buClr>
                <a:srgbClr val="00838A"/>
              </a:buClr>
            </a:pPr>
            <a:r>
              <a:rPr lang="it-IT" sz="1100" dirty="0"/>
              <a:t>«Al fine di migliorare l'informazione dei consumatori, </a:t>
            </a:r>
            <a:r>
              <a:rPr lang="it-IT" sz="1100" u="sng" dirty="0"/>
              <a:t>i produttori e gli importatori di prodotti che generano rifiuti informano i consumatori, mediante marcatura, etichettatura, esposizione o qualsiasi altro processo appropriato, sulle loro qualità e caratteristiche ambientali, in particolare sull'incorporazione di materiale riciclato, utilizzo di risorse rinnovabili, durabilità, </a:t>
            </a:r>
            <a:r>
              <a:rPr lang="it-IT" sz="1100" u="sng" dirty="0" err="1"/>
              <a:t>compostabilità</a:t>
            </a:r>
            <a:r>
              <a:rPr lang="it-IT" sz="1100" u="sng" dirty="0"/>
              <a:t>, riparabilità, possibilità di riutilizzo, riciclabilità e presenza di sostanze pericolose, metalli preziosi o terre rare, in conformità con il diritto dell'Unione Europea</a:t>
            </a:r>
            <a:r>
              <a:rPr lang="it-IT" sz="1100" dirty="0"/>
              <a:t>. Tali qualità e caratteristiche vengono stabilite privilegiando un'analisi dell'intero ciclo di vita dei prodotti. I consumatori sono inoltre informati dei </a:t>
            </a:r>
            <a:r>
              <a:rPr lang="it-IT" sz="1100" b="1" u="sng" dirty="0"/>
              <a:t>premi e delle penalità di cui all'articolo L. 541-10-3 corrisposti dal produttore in base a criteri di prestazione ambientale</a:t>
            </a:r>
            <a:r>
              <a:rPr lang="it-IT" sz="1100" dirty="0"/>
              <a:t>. Le informazioni previste nel presente paragrafo devono essere visibili o accessibili al consumatore al momento dell'acquisto. </a:t>
            </a:r>
            <a:r>
              <a:rPr lang="it-IT" sz="1100" b="1" u="sng" dirty="0"/>
              <a:t>È cura del produttore o dell'importatore mettere a disposizione del pubblico i dati relativi alle suddette qualità e caratteristiche in formato elettronico, in un formato facilmente riutilizzabile e utilizzabile da un sistema di elaborazione automatizzato in forma aggregata</a:t>
            </a:r>
            <a:r>
              <a:rPr lang="it-IT" sz="1100" dirty="0"/>
              <a:t>. L'accesso centralizzato a questi dati può essere predisposto dall'autorità amministrativa secondo i termini specificati dal decreto.</a:t>
            </a:r>
          </a:p>
          <a:p>
            <a:pPr algn="just">
              <a:lnSpc>
                <a:spcPct val="150000"/>
              </a:lnSpc>
              <a:spcBef>
                <a:spcPts val="500"/>
              </a:spcBef>
              <a:buClr>
                <a:srgbClr val="00838A"/>
              </a:buClr>
            </a:pPr>
            <a:r>
              <a:rPr lang="it-IT" sz="1100" dirty="0"/>
              <a:t>“I prodotti e gli imballaggi in plastica la cui </a:t>
            </a:r>
            <a:r>
              <a:rPr lang="it-IT" sz="1100" dirty="0" err="1"/>
              <a:t>compostabilità</a:t>
            </a:r>
            <a:r>
              <a:rPr lang="it-IT" sz="1100" dirty="0"/>
              <a:t> può essere ottenuta solo in un’unità industriale non possono recare l’etichetta “compostabile”.</a:t>
            </a:r>
          </a:p>
          <a:p>
            <a:pPr algn="just">
              <a:lnSpc>
                <a:spcPct val="150000"/>
              </a:lnSpc>
              <a:spcBef>
                <a:spcPts val="500"/>
              </a:spcBef>
              <a:buClr>
                <a:srgbClr val="00838A"/>
              </a:buClr>
            </a:pPr>
            <a:r>
              <a:rPr lang="it-IT" sz="1100" dirty="0"/>
              <a:t>“I prodotti e gli imballaggi in plastica che possono essere compostati nel compostaggio domestico o industriale recano la dicitura “Non disperdere nell’ambiente”.</a:t>
            </a:r>
          </a:p>
          <a:p>
            <a:pPr algn="just">
              <a:lnSpc>
                <a:spcPct val="150000"/>
              </a:lnSpc>
              <a:spcBef>
                <a:spcPts val="500"/>
              </a:spcBef>
              <a:buClr>
                <a:srgbClr val="00838A"/>
              </a:buClr>
            </a:pPr>
            <a:r>
              <a:rPr lang="it-IT" sz="1100" dirty="0"/>
              <a:t>“</a:t>
            </a:r>
            <a:r>
              <a:rPr lang="it-IT" sz="1100" b="1" u="sng" dirty="0"/>
              <a:t>È vietato apporre su un prodotto o una confezione la dicitura “biodegradabile”, “ecologico” o qualsiasi altra dicitura equivalente</a:t>
            </a:r>
            <a:r>
              <a:rPr lang="it-IT" sz="1100" dirty="0"/>
              <a:t>.</a:t>
            </a:r>
          </a:p>
          <a:p>
            <a:pPr algn="just">
              <a:lnSpc>
                <a:spcPct val="150000"/>
              </a:lnSpc>
              <a:spcBef>
                <a:spcPts val="500"/>
              </a:spcBef>
              <a:buClr>
                <a:srgbClr val="00838A"/>
              </a:buClr>
            </a:pPr>
            <a:r>
              <a:rPr lang="it-IT" sz="1100" dirty="0"/>
              <a:t>“Quando si parla della natura riciclata di un prodotto, viene specificata la percentuale di materiali riciclati effettivamente incorporati.»</a:t>
            </a:r>
          </a:p>
          <a:p>
            <a:pPr algn="just">
              <a:lnSpc>
                <a:spcPct val="150000"/>
              </a:lnSpc>
              <a:spcBef>
                <a:spcPts val="500"/>
              </a:spcBef>
              <a:buClr>
                <a:srgbClr val="00838A"/>
              </a:buClr>
            </a:pPr>
            <a:endParaRPr lang="it-IT" sz="5400" dirty="0"/>
          </a:p>
          <a:p>
            <a:pPr algn="just">
              <a:lnSpc>
                <a:spcPct val="150000"/>
              </a:lnSpc>
              <a:spcBef>
                <a:spcPts val="500"/>
              </a:spcBef>
              <a:buClr>
                <a:srgbClr val="00838A"/>
              </a:buClr>
            </a:pPr>
            <a:endParaRPr lang="it-IT" sz="5400" dirty="0"/>
          </a:p>
          <a:p>
            <a:pPr>
              <a:lnSpc>
                <a:spcPct val="150000"/>
              </a:lnSpc>
              <a:spcBef>
                <a:spcPts val="500"/>
              </a:spcBef>
              <a:buClr>
                <a:srgbClr val="00838A"/>
              </a:buClr>
            </a:pPr>
            <a:endParaRPr lang="it-IT" sz="5400" dirty="0"/>
          </a:p>
          <a:p>
            <a:pPr>
              <a:lnSpc>
                <a:spcPct val="150000"/>
              </a:lnSpc>
              <a:spcBef>
                <a:spcPts val="500"/>
              </a:spcBef>
              <a:buClr>
                <a:srgbClr val="00838A"/>
              </a:buClr>
            </a:pPr>
            <a:endParaRPr lang="it-IT" sz="5400" dirty="0"/>
          </a:p>
          <a:p>
            <a:pPr algn="just">
              <a:lnSpc>
                <a:spcPct val="150000"/>
              </a:lnSpc>
              <a:spcBef>
                <a:spcPts val="500"/>
              </a:spcBef>
              <a:buClr>
                <a:srgbClr val="00838A"/>
              </a:buClr>
            </a:pPr>
            <a:endParaRPr lang="it-IT" sz="5400" b="1" dirty="0"/>
          </a:p>
        </p:txBody>
      </p:sp>
      <p:sp>
        <p:nvSpPr>
          <p:cNvPr id="5" name="CasellaDiTesto 4">
            <a:extLst>
              <a:ext uri="{FF2B5EF4-FFF2-40B4-BE49-F238E27FC236}">
                <a16:creationId xmlns:a16="http://schemas.microsoft.com/office/drawing/2014/main" id="{78959158-1E5A-8241-FE0E-AF12C9AB5709}"/>
              </a:ext>
            </a:extLst>
          </p:cNvPr>
          <p:cNvSpPr txBox="1"/>
          <p:nvPr/>
        </p:nvSpPr>
        <p:spPr>
          <a:xfrm>
            <a:off x="652021" y="1338970"/>
            <a:ext cx="7721016" cy="369332"/>
          </a:xfrm>
          <a:prstGeom prst="rect">
            <a:avLst/>
          </a:prstGeom>
          <a:noFill/>
        </p:spPr>
        <p:txBody>
          <a:bodyPr wrap="square">
            <a:spAutoFit/>
          </a:bodyPr>
          <a:lstStyle/>
          <a:p>
            <a:r>
              <a:rPr lang="it-IT" dirty="0">
                <a:solidFill>
                  <a:schemeClr val="bg1"/>
                </a:solidFill>
              </a:rPr>
              <a:t>Art. 13 L. 2020-105 AGEC (che modifica il codice dell’ambiente francese)</a:t>
            </a:r>
          </a:p>
        </p:txBody>
      </p:sp>
    </p:spTree>
    <p:extLst>
      <p:ext uri="{BB962C8B-B14F-4D97-AF65-F5344CB8AC3E}">
        <p14:creationId xmlns:p14="http://schemas.microsoft.com/office/powerpoint/2010/main" val="1569424908"/>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171B225-8458-C793-9BD7-4FF01E3BB686}"/>
            </a:ext>
          </a:extLst>
        </p:cNvPr>
        <p:cNvGrpSpPr/>
        <p:nvPr/>
      </p:nvGrpSpPr>
      <p:grpSpPr>
        <a:xfrm>
          <a:off x="0" y="0"/>
          <a:ext cx="0" cy="0"/>
          <a:chOff x="0" y="0"/>
          <a:chExt cx="0" cy="0"/>
        </a:xfrm>
      </p:grpSpPr>
      <p:sp>
        <p:nvSpPr>
          <p:cNvPr id="2" name="Titolo 1">
            <a:extLst>
              <a:ext uri="{FF2B5EF4-FFF2-40B4-BE49-F238E27FC236}">
                <a16:creationId xmlns:a16="http://schemas.microsoft.com/office/drawing/2014/main" id="{DE6D0336-B7AE-A845-7FC9-EC4A9F74798F}"/>
              </a:ext>
            </a:extLst>
          </p:cNvPr>
          <p:cNvSpPr>
            <a:spLocks noGrp="1"/>
          </p:cNvSpPr>
          <p:nvPr>
            <p:ph type="title"/>
          </p:nvPr>
        </p:nvSpPr>
        <p:spPr/>
        <p:txBody>
          <a:bodyPr/>
          <a:lstStyle/>
          <a:p>
            <a:r>
              <a:rPr lang="it-IT" dirty="0"/>
              <a:t>IL PASSAPORTO DIGITALE DEL PRODOTTO</a:t>
            </a:r>
          </a:p>
        </p:txBody>
      </p:sp>
      <p:sp>
        <p:nvSpPr>
          <p:cNvPr id="3" name="CasellaDiTesto 2">
            <a:extLst>
              <a:ext uri="{FF2B5EF4-FFF2-40B4-BE49-F238E27FC236}">
                <a16:creationId xmlns:a16="http://schemas.microsoft.com/office/drawing/2014/main" id="{97761117-B827-6BA0-3B4F-18BAE544D92F}"/>
              </a:ext>
            </a:extLst>
          </p:cNvPr>
          <p:cNvSpPr txBox="1"/>
          <p:nvPr/>
        </p:nvSpPr>
        <p:spPr>
          <a:xfrm>
            <a:off x="652020" y="2124519"/>
            <a:ext cx="10887959" cy="3147015"/>
          </a:xfrm>
          <a:prstGeom prst="rect">
            <a:avLst/>
          </a:prstGeom>
          <a:noFill/>
        </p:spPr>
        <p:txBody>
          <a:bodyPr wrap="square" lIns="0" tIns="0" rIns="0" bIns="0" rtlCol="0">
            <a:spAutoFit/>
          </a:bodyPr>
          <a:lstStyle/>
          <a:p>
            <a:pPr algn="just">
              <a:lnSpc>
                <a:spcPct val="150000"/>
              </a:lnSpc>
              <a:spcBef>
                <a:spcPts val="500"/>
              </a:spcBef>
              <a:buClr>
                <a:srgbClr val="5A6AA8"/>
              </a:buClr>
            </a:pPr>
            <a:r>
              <a:rPr lang="it-IT" sz="2400" dirty="0"/>
              <a:t>Si prega di prendere nota che, tenuto conto delle implicazioni </a:t>
            </a:r>
            <a:r>
              <a:rPr lang="it-IT" sz="2400"/>
              <a:t>e delle complessità </a:t>
            </a:r>
            <a:r>
              <a:rPr lang="it-IT" sz="2400" dirty="0"/>
              <a:t>(anche di natura tecnica) connesse con gli argomenti trattati, le presenti slides non possono essere considerate quale parere legale esaustivo sulla normativa in esame.</a:t>
            </a:r>
            <a:endParaRPr lang="it-IT" sz="2400" b="1" kern="1200" dirty="0">
              <a:latin typeface="+mn-lt"/>
              <a:ea typeface="+mn-ea"/>
              <a:cs typeface="+mn-cs"/>
            </a:endParaRPr>
          </a:p>
          <a:p>
            <a:pPr marL="216000" indent="-216000" algn="l" defTabSz="914400" rtl="0" eaLnBrk="1" latinLnBrk="0" hangingPunct="1">
              <a:spcBef>
                <a:spcPts val="500"/>
              </a:spcBef>
              <a:buFontTx/>
              <a:buChar char="–"/>
            </a:pPr>
            <a:endParaRPr lang="it-IT" sz="1600" dirty="0">
              <a:solidFill>
                <a:schemeClr val="tx2"/>
              </a:solidFill>
            </a:endParaRPr>
          </a:p>
          <a:p>
            <a:pPr algn="l" defTabSz="914400" rtl="0" eaLnBrk="1" latinLnBrk="0" hangingPunct="1">
              <a:spcBef>
                <a:spcPts val="500"/>
              </a:spcBef>
            </a:pPr>
            <a:endParaRPr lang="it-IT" sz="1600" dirty="0">
              <a:solidFill>
                <a:schemeClr val="tx2"/>
              </a:solidFill>
            </a:endParaRPr>
          </a:p>
          <a:p>
            <a:pPr marL="216000" indent="-216000" algn="l" defTabSz="914400" rtl="0" eaLnBrk="1" latinLnBrk="0" hangingPunct="1">
              <a:spcBef>
                <a:spcPts val="500"/>
              </a:spcBef>
              <a:buFontTx/>
              <a:buChar char="–"/>
            </a:pPr>
            <a:endParaRPr lang="it-IT" sz="1600" kern="1200" dirty="0">
              <a:solidFill>
                <a:schemeClr val="tx2"/>
              </a:solidFill>
              <a:latin typeface="+mn-lt"/>
              <a:ea typeface="+mn-ea"/>
              <a:cs typeface="+mn-cs"/>
            </a:endParaRPr>
          </a:p>
        </p:txBody>
      </p:sp>
    </p:spTree>
    <p:extLst>
      <p:ext uri="{BB962C8B-B14F-4D97-AF65-F5344CB8AC3E}">
        <p14:creationId xmlns:p14="http://schemas.microsoft.com/office/powerpoint/2010/main" val="404697525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Segnaposto immagine 5">
            <a:extLst>
              <a:ext uri="{FF2B5EF4-FFF2-40B4-BE49-F238E27FC236}">
                <a16:creationId xmlns:a16="http://schemas.microsoft.com/office/drawing/2014/main" id="{14B7B81C-1512-432E-A78A-1FA36B43C603}"/>
              </a:ext>
            </a:extLst>
          </p:cNvPr>
          <p:cNvPicPr>
            <a:picLocks noGrp="1" noChangeAspect="1"/>
          </p:cNvPicPr>
          <p:nvPr>
            <p:ph type="pic" sz="quarter" idx="16"/>
          </p:nvPr>
        </p:nvPicPr>
        <p:blipFill rotWithShape="1">
          <a:blip r:embed="rId2"/>
          <a:srcRect l="312" t="27106" r="-312" b="8508"/>
          <a:stretch/>
        </p:blipFill>
        <p:spPr>
          <a:xfrm>
            <a:off x="4822022" y="-2841"/>
            <a:ext cx="7110000" cy="6859253"/>
          </a:xfrm>
          <a:prstGeom prst="rect">
            <a:avLst/>
          </a:prstGeom>
        </p:spPr>
      </p:pic>
      <p:sp>
        <p:nvSpPr>
          <p:cNvPr id="4" name="Segnaposto testo 3">
            <a:extLst>
              <a:ext uri="{FF2B5EF4-FFF2-40B4-BE49-F238E27FC236}">
                <a16:creationId xmlns:a16="http://schemas.microsoft.com/office/drawing/2014/main" id="{E98CA807-7427-472C-BC91-089A5C028D36}"/>
              </a:ext>
            </a:extLst>
          </p:cNvPr>
          <p:cNvSpPr>
            <a:spLocks noGrp="1"/>
          </p:cNvSpPr>
          <p:nvPr>
            <p:ph type="body" sz="quarter" idx="14"/>
          </p:nvPr>
        </p:nvSpPr>
        <p:spPr/>
        <p:txBody>
          <a:bodyPr/>
          <a:lstStyle/>
          <a:p>
            <a:r>
              <a:rPr lang="it-IT" dirty="0"/>
              <a:t>3	CONTATTI</a:t>
            </a:r>
          </a:p>
        </p:txBody>
      </p:sp>
    </p:spTree>
    <p:extLst>
      <p:ext uri="{BB962C8B-B14F-4D97-AF65-F5344CB8AC3E}">
        <p14:creationId xmlns:p14="http://schemas.microsoft.com/office/powerpoint/2010/main" val="149698876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344" imgH="345" progId="TCLayout.ActiveDocument.1">
                  <p:embed/>
                </p:oleObj>
              </mc:Choice>
              <mc:Fallback>
                <p:oleObj name="think-cell Folie" r:id="rId5" imgW="344" imgH="345" progId="TCLayout.ActiveDocument.1">
                  <p:embed/>
                  <p:pic>
                    <p:nvPicPr>
                      <p:cNvPr id="6" name="Objekt 5"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4" name="Rechteck 13"/>
          <p:cNvSpPr/>
          <p:nvPr/>
        </p:nvSpPr>
        <p:spPr>
          <a:xfrm>
            <a:off x="4826777" y="-2841"/>
            <a:ext cx="7104520" cy="686084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16000" marR="0" lvl="0" indent="-216000" algn="l" defTabSz="914400" rtl="0" eaLnBrk="1" fontAlgn="auto" latinLnBrk="0" hangingPunct="1">
              <a:lnSpc>
                <a:spcPct val="100000"/>
              </a:lnSpc>
              <a:spcBef>
                <a:spcPts val="0"/>
              </a:spcBef>
              <a:spcAft>
                <a:spcPts val="0"/>
              </a:spcAft>
              <a:buClrTx/>
              <a:buSzTx/>
              <a:buFontTx/>
              <a:buChar char="–"/>
              <a:tabLst/>
              <a:defRPr/>
            </a:pP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5" name="Textplatzhalter 2"/>
          <p:cNvSpPr txBox="1">
            <a:spLocks/>
          </p:cNvSpPr>
          <p:nvPr/>
        </p:nvSpPr>
        <p:spPr>
          <a:xfrm>
            <a:off x="6887522" y="879024"/>
            <a:ext cx="4825054" cy="1795363"/>
          </a:xfrm>
          <a:prstGeom prst="rect">
            <a:avLst/>
          </a:prstGeom>
        </p:spPr>
        <p:txBody>
          <a:bodyPr lIns="0" tIns="0" rIns="0" bIns="0">
            <a:spAutoFit/>
          </a:bodyPr>
          <a:lst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Arial"/>
                <a:ea typeface="+mn-ea"/>
                <a:cs typeface="Arial"/>
                <a:sym typeface="Arial"/>
              </a:defRPr>
            </a:lvl1pPr>
            <a:lvl2pPr marL="216000" indent="-216000" algn="l" defTabSz="914400" rtl="0" eaLnBrk="1" latinLnBrk="0" hangingPunct="1">
              <a:lnSpc>
                <a:spcPct val="100000"/>
              </a:lnSpc>
              <a:spcBef>
                <a:spcPts val="500"/>
              </a:spcBef>
              <a:buFontTx/>
              <a:buChar char="–"/>
              <a:defRPr sz="1800" kern="1200">
                <a:solidFill>
                  <a:schemeClr val="tx1"/>
                </a:solidFill>
                <a:latin typeface="Arial"/>
                <a:ea typeface="+mn-ea"/>
                <a:cs typeface="Arial"/>
                <a:sym typeface="Arial"/>
              </a:defRPr>
            </a:lvl2pPr>
            <a:lvl3pPr marL="432000" indent="-216000" algn="l" defTabSz="914400" rtl="0" eaLnBrk="1" latinLnBrk="0" hangingPunct="1">
              <a:lnSpc>
                <a:spcPct val="100000"/>
              </a:lnSpc>
              <a:spcBef>
                <a:spcPts val="500"/>
              </a:spcBef>
              <a:buFontTx/>
              <a:buChar char="–"/>
              <a:defRPr sz="1800" kern="1200">
                <a:solidFill>
                  <a:schemeClr val="tx1"/>
                </a:solidFill>
                <a:latin typeface="Arial"/>
                <a:ea typeface="+mn-ea"/>
                <a:cs typeface="Arial"/>
                <a:sym typeface="Arial"/>
              </a:defRPr>
            </a:lvl3pPr>
            <a:lvl4pPr marL="648000" indent="-216000" algn="l" defTabSz="914400" rtl="0" eaLnBrk="1" latinLnBrk="0" hangingPunct="1">
              <a:lnSpc>
                <a:spcPct val="100000"/>
              </a:lnSpc>
              <a:spcBef>
                <a:spcPts val="500"/>
              </a:spcBef>
              <a:buFontTx/>
              <a:buChar char="–"/>
              <a:defRPr sz="1800" kern="1200">
                <a:solidFill>
                  <a:schemeClr val="tx1"/>
                </a:solidFill>
                <a:latin typeface="Arial"/>
                <a:ea typeface="+mn-ea"/>
                <a:cs typeface="Arial"/>
                <a:sym typeface="Arial"/>
              </a:defRPr>
            </a:lvl4pPr>
            <a:lvl5pPr marL="864000" indent="-216000" algn="l" defTabSz="914400" rtl="0" eaLnBrk="1" latinLnBrk="0" hangingPunct="1">
              <a:lnSpc>
                <a:spcPct val="100000"/>
              </a:lnSpc>
              <a:spcBef>
                <a:spcPts val="500"/>
              </a:spcBef>
              <a:buFontTx/>
              <a:buChar char="–"/>
              <a:defRPr sz="1800" kern="1200">
                <a:solidFill>
                  <a:schemeClr val="tx1"/>
                </a:solidFill>
                <a:latin typeface="Arial"/>
                <a:ea typeface="+mn-ea"/>
                <a:cs typeface="Arial"/>
                <a:sym typeface="Arial"/>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GIUSEPPE FRANCESCO BONACCI</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Associate Partner</a:t>
            </a:r>
            <a:b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br>
            <a:r>
              <a:rPr kumimoji="0" lang="en-GB"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Avvocato</a:t>
            </a:r>
            <a:b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b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T         +39 (02) 6328 841</a:t>
            </a:r>
          </a:p>
          <a:p>
            <a:pPr marL="0" marR="0" lvl="0" indent="0" algn="l" defTabSz="536575"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M	+39 340 5274362</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0" lang="en-GB" sz="1400" b="0" i="0" u="none" strike="noStrike" kern="1200" cap="none" spc="0" normalizeH="0" baseline="0" noProof="0" dirty="0">
                <a:ln>
                  <a:noFill/>
                </a:ln>
                <a:solidFill>
                  <a:srgbClr val="00A990"/>
                </a:solidFill>
                <a:effectLst/>
                <a:uLnTx/>
                <a:uFillTx/>
                <a:latin typeface="Arial" panose="020B0604020202020204" pitchFamily="34" charset="0"/>
                <a:ea typeface="+mn-ea"/>
                <a:cs typeface="Arial" panose="020B0604020202020204" pitchFamily="34" charset="0"/>
                <a:sym typeface="Arial" panose="020B0604020202020204" pitchFamily="34" charset="0"/>
              </a:rPr>
              <a:t>giuseppefrancesco.bonacci@roedl.com</a:t>
            </a:r>
          </a:p>
        </p:txBody>
      </p:sp>
      <p:sp>
        <p:nvSpPr>
          <p:cNvPr id="8" name="Textplatzhalter 2"/>
          <p:cNvSpPr txBox="1">
            <a:spLocks/>
          </p:cNvSpPr>
          <p:nvPr/>
        </p:nvSpPr>
        <p:spPr>
          <a:xfrm>
            <a:off x="6887522" y="4181024"/>
            <a:ext cx="4825054" cy="1795363"/>
          </a:xfrm>
          <a:prstGeom prst="rect">
            <a:avLst/>
          </a:prstGeom>
        </p:spPr>
        <p:txBody>
          <a:bodyPr lIns="0" tIns="0" rIns="0" bIns="0">
            <a:spAutoFit/>
          </a:bodyPr>
          <a:lstStyle>
            <a:lvl1pPr marL="0" indent="0" algn="l" defTabSz="914400" rtl="0" eaLnBrk="1" latinLnBrk="0" hangingPunct="1">
              <a:lnSpc>
                <a:spcPct val="100000"/>
              </a:lnSpc>
              <a:spcBef>
                <a:spcPts val="1000"/>
              </a:spcBef>
              <a:buFont typeface="Arial" panose="020B0604020202020204" pitchFamily="34" charset="0"/>
              <a:buNone/>
              <a:defRPr sz="1800" kern="1200">
                <a:solidFill>
                  <a:schemeClr val="tx1"/>
                </a:solidFill>
                <a:latin typeface="Arial"/>
                <a:ea typeface="+mn-ea"/>
                <a:cs typeface="Arial"/>
                <a:sym typeface="Arial"/>
              </a:defRPr>
            </a:lvl1pPr>
            <a:lvl2pPr marL="216000" indent="-216000" algn="l" defTabSz="914400" rtl="0" eaLnBrk="1" latinLnBrk="0" hangingPunct="1">
              <a:lnSpc>
                <a:spcPct val="100000"/>
              </a:lnSpc>
              <a:spcBef>
                <a:spcPts val="500"/>
              </a:spcBef>
              <a:buFontTx/>
              <a:buChar char="–"/>
              <a:defRPr sz="1800" kern="1200">
                <a:solidFill>
                  <a:schemeClr val="tx1"/>
                </a:solidFill>
                <a:latin typeface="Arial"/>
                <a:ea typeface="+mn-ea"/>
                <a:cs typeface="Arial"/>
                <a:sym typeface="Arial"/>
              </a:defRPr>
            </a:lvl2pPr>
            <a:lvl3pPr marL="432000" indent="-216000" algn="l" defTabSz="914400" rtl="0" eaLnBrk="1" latinLnBrk="0" hangingPunct="1">
              <a:lnSpc>
                <a:spcPct val="100000"/>
              </a:lnSpc>
              <a:spcBef>
                <a:spcPts val="500"/>
              </a:spcBef>
              <a:buFontTx/>
              <a:buChar char="–"/>
              <a:defRPr sz="1800" kern="1200">
                <a:solidFill>
                  <a:schemeClr val="tx1"/>
                </a:solidFill>
                <a:latin typeface="Arial"/>
                <a:ea typeface="+mn-ea"/>
                <a:cs typeface="Arial"/>
                <a:sym typeface="Arial"/>
              </a:defRPr>
            </a:lvl3pPr>
            <a:lvl4pPr marL="648000" indent="-216000" algn="l" defTabSz="914400" rtl="0" eaLnBrk="1" latinLnBrk="0" hangingPunct="1">
              <a:lnSpc>
                <a:spcPct val="100000"/>
              </a:lnSpc>
              <a:spcBef>
                <a:spcPts val="500"/>
              </a:spcBef>
              <a:buFontTx/>
              <a:buChar char="–"/>
              <a:defRPr sz="1800" kern="1200">
                <a:solidFill>
                  <a:schemeClr val="tx1"/>
                </a:solidFill>
                <a:latin typeface="Arial"/>
                <a:ea typeface="+mn-ea"/>
                <a:cs typeface="Arial"/>
                <a:sym typeface="Arial"/>
              </a:defRPr>
            </a:lvl4pPr>
            <a:lvl5pPr marL="864000" indent="-216000" algn="l" defTabSz="914400" rtl="0" eaLnBrk="1" latinLnBrk="0" hangingPunct="1">
              <a:lnSpc>
                <a:spcPct val="100000"/>
              </a:lnSpc>
              <a:spcBef>
                <a:spcPts val="500"/>
              </a:spcBef>
              <a:buFontTx/>
              <a:buChar char="–"/>
              <a:defRPr sz="1800" kern="1200">
                <a:solidFill>
                  <a:schemeClr val="tx1"/>
                </a:solidFill>
                <a:latin typeface="Arial"/>
                <a:ea typeface="+mn-ea"/>
                <a:cs typeface="Arial"/>
                <a:sym typeface="Arial"/>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RACHELE FINOCCHITO</a:t>
            </a: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lang="en-GB" sz="1400" dirty="0">
                <a:solidFill>
                  <a:prstClr val="black"/>
                </a:solidFill>
                <a:latin typeface="Arial" panose="020B0604020202020204" pitchFamily="34" charset="0"/>
                <a:cs typeface="Arial" panose="020B0604020202020204" pitchFamily="34" charset="0"/>
                <a:sym typeface="Arial" panose="020B0604020202020204" pitchFamily="34" charset="0"/>
              </a:rPr>
              <a:t>Associate</a:t>
            </a:r>
            <a:b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br>
            <a:r>
              <a:rPr kumimoji="0" lang="en-GB" sz="1400" b="0" i="0" u="none" strike="noStrike" kern="1200" cap="none" spc="0" normalizeH="0" baseline="0" noProof="0" dirty="0" err="1">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Avvocato</a:t>
            </a:r>
            <a:b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b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a:p>
            <a:pPr marL="0" marR="0" lvl="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a:pPr>
            <a:r>
              <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t>T	</a:t>
            </a:r>
            <a:r>
              <a:rPr lang="en-GB" sz="1400" dirty="0">
                <a:latin typeface="Arial" panose="020B0604020202020204" pitchFamily="34" charset="0"/>
                <a:cs typeface="Arial" panose="020B0604020202020204" pitchFamily="34" charset="0"/>
                <a:sym typeface="Arial" panose="020B0604020202020204" pitchFamily="34" charset="0"/>
              </a:rPr>
              <a:t>+39 (02) 6328 841 </a:t>
            </a:r>
            <a:endParaRPr kumimoji="0" lang="en-GB"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a:p>
            <a:pPr>
              <a:spcBef>
                <a:spcPts val="0"/>
              </a:spcBef>
            </a:pPr>
            <a:r>
              <a:rPr lang="en-GB" sz="1400" dirty="0">
                <a:solidFill>
                  <a:schemeClr val="tx2"/>
                </a:solidFill>
                <a:latin typeface="Arial" panose="020B0604020202020204" pitchFamily="34" charset="0"/>
                <a:cs typeface="Arial" panose="020B0604020202020204" pitchFamily="34" charset="0"/>
                <a:sym typeface="Arial" panose="020B0604020202020204" pitchFamily="34" charset="0"/>
              </a:rPr>
              <a:t>rachele.finocchito@roedl.com</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kumimoji="0" lang="en-GB" sz="1400" b="0" i="0" u="none" strike="noStrike" kern="1200" cap="none" spc="0" normalizeH="0" baseline="0" noProof="0" dirty="0">
              <a:ln>
                <a:noFill/>
              </a:ln>
              <a:solidFill>
                <a:srgbClr val="00A990"/>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cxnSp>
        <p:nvCxnSpPr>
          <p:cNvPr id="13" name="Gerader Verbinder 12"/>
          <p:cNvCxnSpPr/>
          <p:nvPr/>
        </p:nvCxnSpPr>
        <p:spPr>
          <a:xfrm>
            <a:off x="4822022" y="3541425"/>
            <a:ext cx="7106453"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3" name="Slide Number Placeholder 2"/>
          <p:cNvSpPr>
            <a:spLocks noGrp="1"/>
          </p:cNvSpPr>
          <p:nvPr>
            <p:ph type="sldNum" sz="quarter" idx="17"/>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4CFEB0D3-1EB3-4F08-8062-95FFB9749870}" type="slidenum">
              <a:rPr kumimoji="0" lang="de-DE" sz="11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rPr>
              <a:pPr marL="0" marR="0" lvl="0" indent="0" algn="ctr" defTabSz="914400" rtl="0" eaLnBrk="1" fontAlgn="auto" latinLnBrk="0" hangingPunct="1">
                <a:lnSpc>
                  <a:spcPct val="100000"/>
                </a:lnSpc>
                <a:spcBef>
                  <a:spcPts val="0"/>
                </a:spcBef>
                <a:spcAft>
                  <a:spcPts val="0"/>
                </a:spcAft>
                <a:buClrTx/>
                <a:buSzTx/>
                <a:buFontTx/>
                <a:buNone/>
                <a:tabLst/>
                <a:defRPr/>
              </a:pPr>
              <a:t>33</a:t>
            </a:fld>
            <a:endParaRPr kumimoji="0" lang="de-DE" sz="11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9" name="Titel 8"/>
          <p:cNvSpPr>
            <a:spLocks noGrp="1"/>
          </p:cNvSpPr>
          <p:nvPr>
            <p:ph type="title"/>
          </p:nvPr>
        </p:nvSpPr>
        <p:spPr/>
        <p:txBody>
          <a:bodyPr/>
          <a:lstStyle/>
          <a:p>
            <a:pPr defTabSz="720725"/>
            <a:r>
              <a:rPr lang="de-DE" dirty="0"/>
              <a:t>3.1	</a:t>
            </a:r>
            <a:r>
              <a:rPr lang="de-DE" dirty="0" err="1"/>
              <a:t>contatti</a:t>
            </a:r>
            <a:endParaRPr lang="de-DE" dirty="0"/>
          </a:p>
        </p:txBody>
      </p:sp>
      <p:pic>
        <p:nvPicPr>
          <p:cNvPr id="11" name="Grafik 10"/>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5411651" y="908050"/>
            <a:ext cx="1170432" cy="1170432"/>
          </a:xfrm>
          <a:prstGeom prst="rect">
            <a:avLst/>
          </a:prstGeom>
        </p:spPr>
      </p:pic>
      <p:pic>
        <p:nvPicPr>
          <p:cNvPr id="12" name="Grafik 11"/>
          <p:cNvPicPr>
            <a:picLocks noChangeAspect="1"/>
          </p:cNvPicPr>
          <p:nvPr/>
        </p:nvPicPr>
        <p:blipFill>
          <a:blip r:embed="rId8"/>
          <a:srcRect/>
          <a:stretch/>
        </p:blipFill>
        <p:spPr>
          <a:xfrm>
            <a:off x="5411651" y="4209618"/>
            <a:ext cx="1170432" cy="1170432"/>
          </a:xfrm>
          <a:prstGeom prst="rect">
            <a:avLst/>
          </a:prstGeom>
        </p:spPr>
      </p:pic>
      <p:pic>
        <p:nvPicPr>
          <p:cNvPr id="4" name="Immagine 3" descr="Immagine che contiene vestiti, persona, Viso umano, Abbigliamento formale&#10;&#10;Descrizione generata automaticamente">
            <a:extLst>
              <a:ext uri="{FF2B5EF4-FFF2-40B4-BE49-F238E27FC236}">
                <a16:creationId xmlns:a16="http://schemas.microsoft.com/office/drawing/2014/main" id="{4A8B0459-BCC6-1491-A611-5A82F8443019}"/>
              </a:ext>
            </a:extLst>
          </p:cNvPr>
          <p:cNvPicPr>
            <a:picLocks noChangeAspect="1"/>
          </p:cNvPicPr>
          <p:nvPr/>
        </p:nvPicPr>
        <p:blipFill>
          <a:blip r:embed="rId9"/>
          <a:stretch>
            <a:fillRect/>
          </a:stretch>
        </p:blipFill>
        <p:spPr>
          <a:xfrm>
            <a:off x="5392737" y="908050"/>
            <a:ext cx="1208259" cy="1170432"/>
          </a:xfrm>
          <a:prstGeom prst="rect">
            <a:avLst/>
          </a:prstGeom>
        </p:spPr>
      </p:pic>
    </p:spTree>
    <p:custDataLst>
      <p:tags r:id="rId1"/>
    </p:custDataLst>
    <p:extLst>
      <p:ext uri="{BB962C8B-B14F-4D97-AF65-F5344CB8AC3E}">
        <p14:creationId xmlns:p14="http://schemas.microsoft.com/office/powerpoint/2010/main" val="281282729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 name="Rechteck 27">
            <a:extLst>
              <a:ext uri="{FF2B5EF4-FFF2-40B4-BE49-F238E27FC236}">
                <a16:creationId xmlns:a16="http://schemas.microsoft.com/office/drawing/2014/main" id="{95BDDB28-807C-4AE6-B9EC-7D03080834D4}"/>
              </a:ext>
            </a:extLst>
          </p:cNvPr>
          <p:cNvSpPr/>
          <p:nvPr/>
        </p:nvSpPr>
        <p:spPr>
          <a:xfrm>
            <a:off x="4824413" y="-3175"/>
            <a:ext cx="7104062" cy="68611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pPr eaLnBrk="1" hangingPunct="1">
              <a:defRPr/>
            </a:pPr>
            <a:endParaRPr lang="de-DE" altLang="de-DE" sz="1600"/>
          </a:p>
        </p:txBody>
      </p:sp>
      <p:graphicFrame>
        <p:nvGraphicFramePr>
          <p:cNvPr id="125955" name="Objekt 6"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Folie" r:id="rId5" imgW="360" imgH="360" progId="TCLayout.ActiveDocument.1">
                  <p:embed/>
                </p:oleObj>
              </mc:Choice>
              <mc:Fallback>
                <p:oleObj name="think-cell Folie" r:id="rId5" imgW="360" imgH="360" progId="TCLayout.ActiveDocument.1">
                  <p:embed/>
                  <p:pic>
                    <p:nvPicPr>
                      <p:cNvPr id="125955" name="Objekt 6"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25956" name="Textplatzhalter 2"/>
          <p:cNvSpPr txBox="1">
            <a:spLocks/>
          </p:cNvSpPr>
          <p:nvPr/>
        </p:nvSpPr>
        <p:spPr bwMode="auto">
          <a:xfrm>
            <a:off x="5405438" y="895350"/>
            <a:ext cx="2195512"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ts val="1000"/>
              </a:spcBef>
              <a:buFont typeface="Arial" charset="0"/>
              <a:defRPr>
                <a:solidFill>
                  <a:schemeClr val="tx1"/>
                </a:solidFill>
                <a:latin typeface="Arial" charset="0"/>
                <a:cs typeface="Arial" charset="0"/>
                <a:sym typeface="Arial" charset="0"/>
              </a:defRPr>
            </a:lvl1pPr>
            <a:lvl2pPr marL="215900" indent="-215900">
              <a:spcBef>
                <a:spcPts val="500"/>
              </a:spcBef>
              <a:buChar char="–"/>
              <a:defRPr>
                <a:solidFill>
                  <a:schemeClr val="tx1"/>
                </a:solidFill>
                <a:latin typeface="Arial" charset="0"/>
                <a:cs typeface="Arial" charset="0"/>
                <a:sym typeface="Arial" charset="0"/>
              </a:defRPr>
            </a:lvl2pPr>
            <a:lvl3pPr marL="431800" indent="-215900">
              <a:spcBef>
                <a:spcPts val="500"/>
              </a:spcBef>
              <a:buChar char="–"/>
              <a:defRPr>
                <a:solidFill>
                  <a:schemeClr val="tx1"/>
                </a:solidFill>
                <a:latin typeface="Arial" charset="0"/>
                <a:cs typeface="Arial" charset="0"/>
                <a:sym typeface="Arial" charset="0"/>
              </a:defRPr>
            </a:lvl3pPr>
            <a:lvl4pPr marL="647700" indent="-215900">
              <a:spcBef>
                <a:spcPts val="500"/>
              </a:spcBef>
              <a:buChar char="–"/>
              <a:defRPr>
                <a:solidFill>
                  <a:schemeClr val="tx1"/>
                </a:solidFill>
                <a:latin typeface="Arial" charset="0"/>
                <a:cs typeface="Arial" charset="0"/>
                <a:sym typeface="Arial" charset="0"/>
              </a:defRPr>
            </a:lvl4pPr>
            <a:lvl5pPr marL="863600" indent="-215900">
              <a:spcBef>
                <a:spcPts val="500"/>
              </a:spcBef>
              <a:buChar char="–"/>
              <a:defRPr>
                <a:solidFill>
                  <a:schemeClr val="tx1"/>
                </a:solidFill>
                <a:latin typeface="Arial" charset="0"/>
                <a:cs typeface="Arial" charset="0"/>
                <a:sym typeface="Arial" charset="0"/>
              </a:defRPr>
            </a:lvl5pPr>
            <a:lvl6pPr marL="1320800" indent="-215900" eaLnBrk="0" fontAlgn="base" hangingPunct="0">
              <a:spcBef>
                <a:spcPts val="500"/>
              </a:spcBef>
              <a:spcAft>
                <a:spcPct val="0"/>
              </a:spcAft>
              <a:buChar char="–"/>
              <a:defRPr>
                <a:solidFill>
                  <a:schemeClr val="tx1"/>
                </a:solidFill>
                <a:latin typeface="Arial" charset="0"/>
                <a:cs typeface="Arial" charset="0"/>
                <a:sym typeface="Arial" charset="0"/>
              </a:defRPr>
            </a:lvl6pPr>
            <a:lvl7pPr marL="1778000" indent="-215900" eaLnBrk="0" fontAlgn="base" hangingPunct="0">
              <a:spcBef>
                <a:spcPts val="500"/>
              </a:spcBef>
              <a:spcAft>
                <a:spcPct val="0"/>
              </a:spcAft>
              <a:buChar char="–"/>
              <a:defRPr>
                <a:solidFill>
                  <a:schemeClr val="tx1"/>
                </a:solidFill>
                <a:latin typeface="Arial" charset="0"/>
                <a:cs typeface="Arial" charset="0"/>
                <a:sym typeface="Arial" charset="0"/>
              </a:defRPr>
            </a:lvl7pPr>
            <a:lvl8pPr marL="2235200" indent="-215900" eaLnBrk="0" fontAlgn="base" hangingPunct="0">
              <a:spcBef>
                <a:spcPts val="500"/>
              </a:spcBef>
              <a:spcAft>
                <a:spcPct val="0"/>
              </a:spcAft>
              <a:buChar char="–"/>
              <a:defRPr>
                <a:solidFill>
                  <a:schemeClr val="tx1"/>
                </a:solidFill>
                <a:latin typeface="Arial" charset="0"/>
                <a:cs typeface="Arial" charset="0"/>
                <a:sym typeface="Arial" charset="0"/>
              </a:defRPr>
            </a:lvl8pPr>
            <a:lvl9pPr marL="2692400" indent="-215900" eaLnBrk="0" fontAlgn="base" hangingPunct="0">
              <a:spcBef>
                <a:spcPts val="500"/>
              </a:spcBef>
              <a:spcAft>
                <a:spcPct val="0"/>
              </a:spcAft>
              <a:buChar char="–"/>
              <a:defRPr>
                <a:solidFill>
                  <a:schemeClr val="tx1"/>
                </a:solidFill>
                <a:latin typeface="Arial" charset="0"/>
                <a:cs typeface="Arial" charset="0"/>
                <a:sym typeface="Arial" charset="0"/>
              </a:defRPr>
            </a:lvl9pPr>
          </a:lstStyle>
          <a:p>
            <a:pPr eaLnBrk="1" hangingPunct="1"/>
            <a:r>
              <a:rPr lang="de-DE" altLang="de-DE" sz="1400" b="1" dirty="0">
                <a:solidFill>
                  <a:schemeClr val="tx2"/>
                </a:solidFill>
              </a:rPr>
              <a:t>MILANO</a:t>
            </a:r>
          </a:p>
          <a:p>
            <a:pPr eaLnBrk="1" hangingPunct="1">
              <a:spcBef>
                <a:spcPct val="0"/>
              </a:spcBef>
            </a:pPr>
            <a:br>
              <a:rPr lang="de-DE" altLang="de-DE" sz="1100" dirty="0"/>
            </a:br>
            <a:r>
              <a:rPr lang="de-DE" altLang="de-DE" sz="1100" dirty="0"/>
              <a:t>Rödl &amp; Partner</a:t>
            </a:r>
          </a:p>
          <a:p>
            <a:pPr eaLnBrk="1" hangingPunct="1">
              <a:spcBef>
                <a:spcPct val="0"/>
              </a:spcBef>
            </a:pPr>
            <a:r>
              <a:rPr lang="de-DE" altLang="de-DE" sz="1100" dirty="0"/>
              <a:t>Largo </a:t>
            </a:r>
            <a:r>
              <a:rPr lang="de-DE" altLang="de-DE" sz="1100" dirty="0" err="1"/>
              <a:t>Donegani</a:t>
            </a:r>
            <a:r>
              <a:rPr lang="de-DE" altLang="de-DE" sz="1100" dirty="0"/>
              <a:t> 2</a:t>
            </a:r>
          </a:p>
          <a:p>
            <a:pPr eaLnBrk="1" hangingPunct="1">
              <a:spcBef>
                <a:spcPct val="0"/>
              </a:spcBef>
            </a:pPr>
            <a:r>
              <a:rPr lang="de-DE" altLang="de-DE" sz="1100" dirty="0"/>
              <a:t>I-20121 Milano</a:t>
            </a:r>
          </a:p>
        </p:txBody>
      </p:sp>
      <p:sp>
        <p:nvSpPr>
          <p:cNvPr id="125957" name="Textplatzhalter 2"/>
          <p:cNvSpPr txBox="1">
            <a:spLocks/>
          </p:cNvSpPr>
          <p:nvPr/>
        </p:nvSpPr>
        <p:spPr bwMode="auto">
          <a:xfrm>
            <a:off x="8726488" y="1279525"/>
            <a:ext cx="2462212"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ts val="1000"/>
              </a:spcBef>
              <a:buFont typeface="Arial" charset="0"/>
              <a:defRPr>
                <a:solidFill>
                  <a:schemeClr val="tx1"/>
                </a:solidFill>
                <a:latin typeface="Arial" charset="0"/>
                <a:cs typeface="Arial" charset="0"/>
                <a:sym typeface="Arial" charset="0"/>
              </a:defRPr>
            </a:lvl1pPr>
            <a:lvl2pPr marL="215900" indent="-215900">
              <a:spcBef>
                <a:spcPts val="500"/>
              </a:spcBef>
              <a:buChar char="–"/>
              <a:defRPr>
                <a:solidFill>
                  <a:schemeClr val="tx1"/>
                </a:solidFill>
                <a:latin typeface="Arial" charset="0"/>
                <a:cs typeface="Arial" charset="0"/>
                <a:sym typeface="Arial" charset="0"/>
              </a:defRPr>
            </a:lvl2pPr>
            <a:lvl3pPr marL="431800" indent="-215900">
              <a:spcBef>
                <a:spcPts val="500"/>
              </a:spcBef>
              <a:buChar char="–"/>
              <a:defRPr>
                <a:solidFill>
                  <a:schemeClr val="tx1"/>
                </a:solidFill>
                <a:latin typeface="Arial" charset="0"/>
                <a:cs typeface="Arial" charset="0"/>
                <a:sym typeface="Arial" charset="0"/>
              </a:defRPr>
            </a:lvl3pPr>
            <a:lvl4pPr marL="647700" indent="-215900">
              <a:spcBef>
                <a:spcPts val="500"/>
              </a:spcBef>
              <a:buChar char="–"/>
              <a:defRPr>
                <a:solidFill>
                  <a:schemeClr val="tx1"/>
                </a:solidFill>
                <a:latin typeface="Arial" charset="0"/>
                <a:cs typeface="Arial" charset="0"/>
                <a:sym typeface="Arial" charset="0"/>
              </a:defRPr>
            </a:lvl4pPr>
            <a:lvl5pPr marL="863600" indent="-215900">
              <a:spcBef>
                <a:spcPts val="500"/>
              </a:spcBef>
              <a:buChar char="–"/>
              <a:defRPr>
                <a:solidFill>
                  <a:schemeClr val="tx1"/>
                </a:solidFill>
                <a:latin typeface="Arial" charset="0"/>
                <a:cs typeface="Arial" charset="0"/>
                <a:sym typeface="Arial" charset="0"/>
              </a:defRPr>
            </a:lvl5pPr>
            <a:lvl6pPr marL="1320800" indent="-215900" eaLnBrk="0" fontAlgn="base" hangingPunct="0">
              <a:spcBef>
                <a:spcPts val="500"/>
              </a:spcBef>
              <a:spcAft>
                <a:spcPct val="0"/>
              </a:spcAft>
              <a:buChar char="–"/>
              <a:defRPr>
                <a:solidFill>
                  <a:schemeClr val="tx1"/>
                </a:solidFill>
                <a:latin typeface="Arial" charset="0"/>
                <a:cs typeface="Arial" charset="0"/>
                <a:sym typeface="Arial" charset="0"/>
              </a:defRPr>
            </a:lvl6pPr>
            <a:lvl7pPr marL="1778000" indent="-215900" eaLnBrk="0" fontAlgn="base" hangingPunct="0">
              <a:spcBef>
                <a:spcPts val="500"/>
              </a:spcBef>
              <a:spcAft>
                <a:spcPct val="0"/>
              </a:spcAft>
              <a:buChar char="–"/>
              <a:defRPr>
                <a:solidFill>
                  <a:schemeClr val="tx1"/>
                </a:solidFill>
                <a:latin typeface="Arial" charset="0"/>
                <a:cs typeface="Arial" charset="0"/>
                <a:sym typeface="Arial" charset="0"/>
              </a:defRPr>
            </a:lvl7pPr>
            <a:lvl8pPr marL="2235200" indent="-215900" eaLnBrk="0" fontAlgn="base" hangingPunct="0">
              <a:spcBef>
                <a:spcPts val="500"/>
              </a:spcBef>
              <a:spcAft>
                <a:spcPct val="0"/>
              </a:spcAft>
              <a:buChar char="–"/>
              <a:defRPr>
                <a:solidFill>
                  <a:schemeClr val="tx1"/>
                </a:solidFill>
                <a:latin typeface="Arial" charset="0"/>
                <a:cs typeface="Arial" charset="0"/>
                <a:sym typeface="Arial" charset="0"/>
              </a:defRPr>
            </a:lvl8pPr>
            <a:lvl9pPr marL="2692400" indent="-215900" eaLnBrk="0" fontAlgn="base" hangingPunct="0">
              <a:spcBef>
                <a:spcPts val="500"/>
              </a:spcBef>
              <a:spcAft>
                <a:spcPct val="0"/>
              </a:spcAft>
              <a:buChar char="–"/>
              <a:defRPr>
                <a:solidFill>
                  <a:schemeClr val="tx1"/>
                </a:solidFill>
                <a:latin typeface="Arial" charset="0"/>
                <a:cs typeface="Arial" charset="0"/>
                <a:sym typeface="Arial" charset="0"/>
              </a:defRPr>
            </a:lvl9pPr>
          </a:lstStyle>
          <a:p>
            <a:pPr eaLnBrk="1" hangingPunct="1">
              <a:spcBef>
                <a:spcPct val="0"/>
              </a:spcBef>
            </a:pPr>
            <a:r>
              <a:rPr lang="de-DE" altLang="de-DE" sz="1100" dirty="0"/>
              <a:t>T 	</a:t>
            </a:r>
            <a:r>
              <a:rPr lang="it-IT" sz="1100" dirty="0"/>
              <a:t>+39 02 6328 841</a:t>
            </a:r>
            <a:br>
              <a:rPr lang="it-IT" altLang="de-DE" sz="1100" dirty="0">
                <a:solidFill>
                  <a:srgbClr val="040404"/>
                </a:solidFill>
              </a:rPr>
            </a:br>
            <a:r>
              <a:rPr lang="de-DE" altLang="de-DE" sz="1100" dirty="0"/>
              <a:t>Fax 	+39 02 6328 8420</a:t>
            </a:r>
          </a:p>
          <a:p>
            <a:pPr eaLnBrk="1" hangingPunct="1">
              <a:spcBef>
                <a:spcPct val="0"/>
              </a:spcBef>
            </a:pPr>
            <a:r>
              <a:rPr lang="de-DE" altLang="de-DE" sz="1100" dirty="0"/>
              <a:t>milano@roedl.com</a:t>
            </a:r>
          </a:p>
        </p:txBody>
      </p:sp>
      <p:cxnSp>
        <p:nvCxnSpPr>
          <p:cNvPr id="12" name="Gerader Verbinder 11">
            <a:extLst>
              <a:ext uri="{FF2B5EF4-FFF2-40B4-BE49-F238E27FC236}">
                <a16:creationId xmlns:a16="http://schemas.microsoft.com/office/drawing/2014/main" id="{0C691DA2-0874-4B78-B539-51BEC617DE73}"/>
              </a:ext>
            </a:extLst>
          </p:cNvPr>
          <p:cNvCxnSpPr/>
          <p:nvPr/>
        </p:nvCxnSpPr>
        <p:spPr>
          <a:xfrm>
            <a:off x="4821238" y="2189163"/>
            <a:ext cx="7107237"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25959" name="Textplatzhalter 2"/>
          <p:cNvSpPr txBox="1">
            <a:spLocks/>
          </p:cNvSpPr>
          <p:nvPr/>
        </p:nvSpPr>
        <p:spPr bwMode="auto">
          <a:xfrm>
            <a:off x="5405438" y="2381250"/>
            <a:ext cx="2195512"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ts val="1000"/>
              </a:spcBef>
              <a:buFont typeface="Arial" charset="0"/>
              <a:defRPr>
                <a:solidFill>
                  <a:schemeClr val="tx1"/>
                </a:solidFill>
                <a:latin typeface="Arial" charset="0"/>
                <a:cs typeface="Arial" charset="0"/>
                <a:sym typeface="Arial" charset="0"/>
              </a:defRPr>
            </a:lvl1pPr>
            <a:lvl2pPr marL="215900" indent="-215900">
              <a:spcBef>
                <a:spcPts val="500"/>
              </a:spcBef>
              <a:buChar char="–"/>
              <a:defRPr>
                <a:solidFill>
                  <a:schemeClr val="tx1"/>
                </a:solidFill>
                <a:latin typeface="Arial" charset="0"/>
                <a:cs typeface="Arial" charset="0"/>
                <a:sym typeface="Arial" charset="0"/>
              </a:defRPr>
            </a:lvl2pPr>
            <a:lvl3pPr marL="431800" indent="-215900">
              <a:spcBef>
                <a:spcPts val="500"/>
              </a:spcBef>
              <a:buChar char="–"/>
              <a:defRPr>
                <a:solidFill>
                  <a:schemeClr val="tx1"/>
                </a:solidFill>
                <a:latin typeface="Arial" charset="0"/>
                <a:cs typeface="Arial" charset="0"/>
                <a:sym typeface="Arial" charset="0"/>
              </a:defRPr>
            </a:lvl3pPr>
            <a:lvl4pPr marL="647700" indent="-215900">
              <a:spcBef>
                <a:spcPts val="500"/>
              </a:spcBef>
              <a:buChar char="–"/>
              <a:defRPr>
                <a:solidFill>
                  <a:schemeClr val="tx1"/>
                </a:solidFill>
                <a:latin typeface="Arial" charset="0"/>
                <a:cs typeface="Arial" charset="0"/>
                <a:sym typeface="Arial" charset="0"/>
              </a:defRPr>
            </a:lvl4pPr>
            <a:lvl5pPr marL="863600" indent="-215900">
              <a:spcBef>
                <a:spcPts val="500"/>
              </a:spcBef>
              <a:buChar char="–"/>
              <a:defRPr>
                <a:solidFill>
                  <a:schemeClr val="tx1"/>
                </a:solidFill>
                <a:latin typeface="Arial" charset="0"/>
                <a:cs typeface="Arial" charset="0"/>
                <a:sym typeface="Arial" charset="0"/>
              </a:defRPr>
            </a:lvl5pPr>
            <a:lvl6pPr marL="1320800" indent="-215900" eaLnBrk="0" fontAlgn="base" hangingPunct="0">
              <a:spcBef>
                <a:spcPts val="500"/>
              </a:spcBef>
              <a:spcAft>
                <a:spcPct val="0"/>
              </a:spcAft>
              <a:buChar char="–"/>
              <a:defRPr>
                <a:solidFill>
                  <a:schemeClr val="tx1"/>
                </a:solidFill>
                <a:latin typeface="Arial" charset="0"/>
                <a:cs typeface="Arial" charset="0"/>
                <a:sym typeface="Arial" charset="0"/>
              </a:defRPr>
            </a:lvl6pPr>
            <a:lvl7pPr marL="1778000" indent="-215900" eaLnBrk="0" fontAlgn="base" hangingPunct="0">
              <a:spcBef>
                <a:spcPts val="500"/>
              </a:spcBef>
              <a:spcAft>
                <a:spcPct val="0"/>
              </a:spcAft>
              <a:buChar char="–"/>
              <a:defRPr>
                <a:solidFill>
                  <a:schemeClr val="tx1"/>
                </a:solidFill>
                <a:latin typeface="Arial" charset="0"/>
                <a:cs typeface="Arial" charset="0"/>
                <a:sym typeface="Arial" charset="0"/>
              </a:defRPr>
            </a:lvl7pPr>
            <a:lvl8pPr marL="2235200" indent="-215900" eaLnBrk="0" fontAlgn="base" hangingPunct="0">
              <a:spcBef>
                <a:spcPts val="500"/>
              </a:spcBef>
              <a:spcAft>
                <a:spcPct val="0"/>
              </a:spcAft>
              <a:buChar char="–"/>
              <a:defRPr>
                <a:solidFill>
                  <a:schemeClr val="tx1"/>
                </a:solidFill>
                <a:latin typeface="Arial" charset="0"/>
                <a:cs typeface="Arial" charset="0"/>
                <a:sym typeface="Arial" charset="0"/>
              </a:defRPr>
            </a:lvl8pPr>
            <a:lvl9pPr marL="2692400" indent="-215900" eaLnBrk="0" fontAlgn="base" hangingPunct="0">
              <a:spcBef>
                <a:spcPts val="500"/>
              </a:spcBef>
              <a:spcAft>
                <a:spcPct val="0"/>
              </a:spcAft>
              <a:buChar char="–"/>
              <a:defRPr>
                <a:solidFill>
                  <a:schemeClr val="tx1"/>
                </a:solidFill>
                <a:latin typeface="Arial" charset="0"/>
                <a:cs typeface="Arial" charset="0"/>
                <a:sym typeface="Arial" charset="0"/>
              </a:defRPr>
            </a:lvl9pPr>
          </a:lstStyle>
          <a:p>
            <a:pPr eaLnBrk="1" hangingPunct="1"/>
            <a:r>
              <a:rPr lang="de-DE" altLang="de-DE" sz="1400" b="1" dirty="0">
                <a:solidFill>
                  <a:schemeClr val="tx2"/>
                </a:solidFill>
              </a:rPr>
              <a:t>PADOVA</a:t>
            </a:r>
          </a:p>
          <a:p>
            <a:pPr eaLnBrk="1" hangingPunct="1">
              <a:spcBef>
                <a:spcPct val="0"/>
              </a:spcBef>
            </a:pPr>
            <a:br>
              <a:rPr lang="de-DE" altLang="de-DE" sz="1100" dirty="0"/>
            </a:br>
            <a:r>
              <a:rPr lang="de-DE" altLang="de-DE" sz="1100" dirty="0"/>
              <a:t>Rödl &amp; Partner</a:t>
            </a:r>
          </a:p>
          <a:p>
            <a:pPr eaLnBrk="1" hangingPunct="1">
              <a:spcBef>
                <a:spcPct val="0"/>
              </a:spcBef>
            </a:pPr>
            <a:r>
              <a:rPr lang="it-IT" altLang="de-DE" sz="1100" dirty="0"/>
              <a:t>Via F. </a:t>
            </a:r>
            <a:r>
              <a:rPr lang="it-IT" altLang="de-DE" sz="1100" dirty="0" err="1"/>
              <a:t>Rismondo</a:t>
            </a:r>
            <a:r>
              <a:rPr lang="it-IT" altLang="de-DE" sz="1100" dirty="0"/>
              <a:t>, 2/E </a:t>
            </a:r>
          </a:p>
          <a:p>
            <a:pPr eaLnBrk="1" hangingPunct="1">
              <a:spcBef>
                <a:spcPct val="0"/>
              </a:spcBef>
            </a:pPr>
            <a:r>
              <a:rPr lang="it-IT" altLang="de-DE" sz="1100" dirty="0"/>
              <a:t>I-35131 Padova</a:t>
            </a:r>
          </a:p>
        </p:txBody>
      </p:sp>
      <p:sp>
        <p:nvSpPr>
          <p:cNvPr id="125960" name="Textplatzhalter 2"/>
          <p:cNvSpPr txBox="1">
            <a:spLocks/>
          </p:cNvSpPr>
          <p:nvPr/>
        </p:nvSpPr>
        <p:spPr bwMode="auto">
          <a:xfrm>
            <a:off x="8726488" y="2765425"/>
            <a:ext cx="2462212"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ts val="1000"/>
              </a:spcBef>
              <a:buFont typeface="Arial" charset="0"/>
              <a:defRPr>
                <a:solidFill>
                  <a:schemeClr val="tx1"/>
                </a:solidFill>
                <a:latin typeface="Arial" charset="0"/>
                <a:cs typeface="Arial" charset="0"/>
                <a:sym typeface="Arial" charset="0"/>
              </a:defRPr>
            </a:lvl1pPr>
            <a:lvl2pPr marL="215900" indent="-215900">
              <a:spcBef>
                <a:spcPts val="500"/>
              </a:spcBef>
              <a:buChar char="–"/>
              <a:defRPr>
                <a:solidFill>
                  <a:schemeClr val="tx1"/>
                </a:solidFill>
                <a:latin typeface="Arial" charset="0"/>
                <a:cs typeface="Arial" charset="0"/>
                <a:sym typeface="Arial" charset="0"/>
              </a:defRPr>
            </a:lvl2pPr>
            <a:lvl3pPr marL="431800" indent="-215900">
              <a:spcBef>
                <a:spcPts val="500"/>
              </a:spcBef>
              <a:buChar char="–"/>
              <a:defRPr>
                <a:solidFill>
                  <a:schemeClr val="tx1"/>
                </a:solidFill>
                <a:latin typeface="Arial" charset="0"/>
                <a:cs typeface="Arial" charset="0"/>
                <a:sym typeface="Arial" charset="0"/>
              </a:defRPr>
            </a:lvl3pPr>
            <a:lvl4pPr marL="647700" indent="-215900">
              <a:spcBef>
                <a:spcPts val="500"/>
              </a:spcBef>
              <a:buChar char="–"/>
              <a:defRPr>
                <a:solidFill>
                  <a:schemeClr val="tx1"/>
                </a:solidFill>
                <a:latin typeface="Arial" charset="0"/>
                <a:cs typeface="Arial" charset="0"/>
                <a:sym typeface="Arial" charset="0"/>
              </a:defRPr>
            </a:lvl4pPr>
            <a:lvl5pPr marL="863600" indent="-215900">
              <a:spcBef>
                <a:spcPts val="500"/>
              </a:spcBef>
              <a:buChar char="–"/>
              <a:defRPr>
                <a:solidFill>
                  <a:schemeClr val="tx1"/>
                </a:solidFill>
                <a:latin typeface="Arial" charset="0"/>
                <a:cs typeface="Arial" charset="0"/>
                <a:sym typeface="Arial" charset="0"/>
              </a:defRPr>
            </a:lvl5pPr>
            <a:lvl6pPr marL="1320800" indent="-215900" eaLnBrk="0" fontAlgn="base" hangingPunct="0">
              <a:spcBef>
                <a:spcPts val="500"/>
              </a:spcBef>
              <a:spcAft>
                <a:spcPct val="0"/>
              </a:spcAft>
              <a:buChar char="–"/>
              <a:defRPr>
                <a:solidFill>
                  <a:schemeClr val="tx1"/>
                </a:solidFill>
                <a:latin typeface="Arial" charset="0"/>
                <a:cs typeface="Arial" charset="0"/>
                <a:sym typeface="Arial" charset="0"/>
              </a:defRPr>
            </a:lvl6pPr>
            <a:lvl7pPr marL="1778000" indent="-215900" eaLnBrk="0" fontAlgn="base" hangingPunct="0">
              <a:spcBef>
                <a:spcPts val="500"/>
              </a:spcBef>
              <a:spcAft>
                <a:spcPct val="0"/>
              </a:spcAft>
              <a:buChar char="–"/>
              <a:defRPr>
                <a:solidFill>
                  <a:schemeClr val="tx1"/>
                </a:solidFill>
                <a:latin typeface="Arial" charset="0"/>
                <a:cs typeface="Arial" charset="0"/>
                <a:sym typeface="Arial" charset="0"/>
              </a:defRPr>
            </a:lvl7pPr>
            <a:lvl8pPr marL="2235200" indent="-215900" eaLnBrk="0" fontAlgn="base" hangingPunct="0">
              <a:spcBef>
                <a:spcPts val="500"/>
              </a:spcBef>
              <a:spcAft>
                <a:spcPct val="0"/>
              </a:spcAft>
              <a:buChar char="–"/>
              <a:defRPr>
                <a:solidFill>
                  <a:schemeClr val="tx1"/>
                </a:solidFill>
                <a:latin typeface="Arial" charset="0"/>
                <a:cs typeface="Arial" charset="0"/>
                <a:sym typeface="Arial" charset="0"/>
              </a:defRPr>
            </a:lvl8pPr>
            <a:lvl9pPr marL="2692400" indent="-215900" eaLnBrk="0" fontAlgn="base" hangingPunct="0">
              <a:spcBef>
                <a:spcPts val="500"/>
              </a:spcBef>
              <a:spcAft>
                <a:spcPct val="0"/>
              </a:spcAft>
              <a:buChar char="–"/>
              <a:defRPr>
                <a:solidFill>
                  <a:schemeClr val="tx1"/>
                </a:solidFill>
                <a:latin typeface="Arial" charset="0"/>
                <a:cs typeface="Arial" charset="0"/>
                <a:sym typeface="Arial" charset="0"/>
              </a:defRPr>
            </a:lvl9pPr>
          </a:lstStyle>
          <a:p>
            <a:pPr eaLnBrk="1" hangingPunct="1">
              <a:spcBef>
                <a:spcPct val="0"/>
              </a:spcBef>
            </a:pPr>
            <a:r>
              <a:rPr lang="de-DE" altLang="de-DE" sz="1100" dirty="0"/>
              <a:t>T 	</a:t>
            </a:r>
            <a:r>
              <a:rPr lang="it-IT" altLang="de-DE" sz="1100" dirty="0">
                <a:solidFill>
                  <a:srgbClr val="040404"/>
                </a:solidFill>
              </a:rPr>
              <a:t>+39 049 8046 911</a:t>
            </a:r>
            <a:br>
              <a:rPr lang="it-IT" altLang="de-DE" sz="1100" dirty="0">
                <a:solidFill>
                  <a:srgbClr val="040404"/>
                </a:solidFill>
              </a:rPr>
            </a:br>
            <a:r>
              <a:rPr lang="de-DE" altLang="de-DE" sz="1100" dirty="0"/>
              <a:t>Fax 	+39 049 8046 920</a:t>
            </a:r>
          </a:p>
          <a:p>
            <a:pPr eaLnBrk="1" hangingPunct="1">
              <a:spcBef>
                <a:spcPct val="0"/>
              </a:spcBef>
            </a:pPr>
            <a:r>
              <a:rPr lang="de-DE" altLang="de-DE" sz="1100" dirty="0"/>
              <a:t>padova@roedl.com</a:t>
            </a:r>
          </a:p>
        </p:txBody>
      </p:sp>
      <p:cxnSp>
        <p:nvCxnSpPr>
          <p:cNvPr id="26" name="Gerader Verbinder 25">
            <a:extLst>
              <a:ext uri="{FF2B5EF4-FFF2-40B4-BE49-F238E27FC236}">
                <a16:creationId xmlns:a16="http://schemas.microsoft.com/office/drawing/2014/main" id="{91F394C6-3F5E-4217-A519-4817FB8C23BD}"/>
              </a:ext>
            </a:extLst>
          </p:cNvPr>
          <p:cNvCxnSpPr/>
          <p:nvPr/>
        </p:nvCxnSpPr>
        <p:spPr>
          <a:xfrm>
            <a:off x="4821238" y="3679825"/>
            <a:ext cx="7107237"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r Verbinder 26">
            <a:extLst>
              <a:ext uri="{FF2B5EF4-FFF2-40B4-BE49-F238E27FC236}">
                <a16:creationId xmlns:a16="http://schemas.microsoft.com/office/drawing/2014/main" id="{707FB9C4-43DD-4FAB-ABC9-D8B9BEFFA276}"/>
              </a:ext>
            </a:extLst>
          </p:cNvPr>
          <p:cNvCxnSpPr/>
          <p:nvPr/>
        </p:nvCxnSpPr>
        <p:spPr>
          <a:xfrm>
            <a:off x="4821238" y="5170488"/>
            <a:ext cx="7107237"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
        <p:nvSpPr>
          <p:cNvPr id="125963" name="Foliennummernplatzhalter 2"/>
          <p:cNvSpPr>
            <a:spLocks noGrp="1"/>
          </p:cNvSpPr>
          <p:nvPr>
            <p:ph type="sldNum" sz="quarter" idx="17"/>
          </p:nvPr>
        </p:nvSpPr>
        <p:spPr bwMode="auto">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Arial" charset="0"/>
                <a:cs typeface="Arial" charset="0"/>
              </a:defRPr>
            </a:lvl1pPr>
            <a:lvl2pPr marL="742950" indent="-285750">
              <a:defRPr>
                <a:solidFill>
                  <a:schemeClr val="tx1"/>
                </a:solidFill>
                <a:latin typeface="Arial" charset="0"/>
                <a:cs typeface="Arial" charset="0"/>
              </a:defRPr>
            </a:lvl2pPr>
            <a:lvl3pPr marL="1143000" indent="-228600">
              <a:defRPr>
                <a:solidFill>
                  <a:schemeClr val="tx1"/>
                </a:solidFill>
                <a:latin typeface="Arial" charset="0"/>
                <a:cs typeface="Arial" charset="0"/>
              </a:defRPr>
            </a:lvl3pPr>
            <a:lvl4pPr marL="1600200" indent="-228600">
              <a:defRPr>
                <a:solidFill>
                  <a:schemeClr val="tx1"/>
                </a:solidFill>
                <a:latin typeface="Arial" charset="0"/>
                <a:cs typeface="Arial" charset="0"/>
              </a:defRPr>
            </a:lvl4pPr>
            <a:lvl5pPr marL="2057400" indent="-228600">
              <a:defRPr>
                <a:solidFill>
                  <a:schemeClr val="tx1"/>
                </a:solidFill>
                <a:latin typeface="Arial" charset="0"/>
                <a:cs typeface="Arial" charset="0"/>
              </a:defRPr>
            </a:lvl5pPr>
            <a:lvl6pPr marL="2514600" indent="-228600" eaLnBrk="0" fontAlgn="base" hangingPunct="0">
              <a:spcBef>
                <a:spcPct val="0"/>
              </a:spcBef>
              <a:spcAft>
                <a:spcPct val="0"/>
              </a:spcAft>
              <a:defRPr>
                <a:solidFill>
                  <a:schemeClr val="tx1"/>
                </a:solidFill>
                <a:latin typeface="Arial" charset="0"/>
                <a:cs typeface="Arial" charset="0"/>
              </a:defRPr>
            </a:lvl6pPr>
            <a:lvl7pPr marL="2971800" indent="-228600" eaLnBrk="0" fontAlgn="base" hangingPunct="0">
              <a:spcBef>
                <a:spcPct val="0"/>
              </a:spcBef>
              <a:spcAft>
                <a:spcPct val="0"/>
              </a:spcAft>
              <a:defRPr>
                <a:solidFill>
                  <a:schemeClr val="tx1"/>
                </a:solidFill>
                <a:latin typeface="Arial" charset="0"/>
                <a:cs typeface="Arial" charset="0"/>
              </a:defRPr>
            </a:lvl7pPr>
            <a:lvl8pPr marL="3429000" indent="-228600" eaLnBrk="0" fontAlgn="base" hangingPunct="0">
              <a:spcBef>
                <a:spcPct val="0"/>
              </a:spcBef>
              <a:spcAft>
                <a:spcPct val="0"/>
              </a:spcAft>
              <a:defRPr>
                <a:solidFill>
                  <a:schemeClr val="tx1"/>
                </a:solidFill>
                <a:latin typeface="Arial" charset="0"/>
                <a:cs typeface="Arial" charset="0"/>
              </a:defRPr>
            </a:lvl8pPr>
            <a:lvl9pPr marL="3886200" indent="-228600" eaLnBrk="0" fontAlgn="base" hangingPunct="0">
              <a:spcBef>
                <a:spcPct val="0"/>
              </a:spcBef>
              <a:spcAft>
                <a:spcPct val="0"/>
              </a:spcAft>
              <a:defRPr>
                <a:solidFill>
                  <a:schemeClr val="tx1"/>
                </a:solidFill>
                <a:latin typeface="Arial" charset="0"/>
                <a:cs typeface="Arial" charset="0"/>
              </a:defRPr>
            </a:lvl9pPr>
          </a:lstStyle>
          <a:p>
            <a:fld id="{6FF76ECE-C62B-4DAA-96A5-132EA6FA595C}" type="slidenum">
              <a:rPr lang="de-DE" altLang="de-DE"/>
              <a:pPr/>
              <a:t>34</a:t>
            </a:fld>
            <a:endParaRPr lang="de-DE" altLang="de-DE"/>
          </a:p>
        </p:txBody>
      </p:sp>
      <p:sp>
        <p:nvSpPr>
          <p:cNvPr id="125964" name="Textplatzhalter 2"/>
          <p:cNvSpPr txBox="1">
            <a:spLocks/>
          </p:cNvSpPr>
          <p:nvPr/>
        </p:nvSpPr>
        <p:spPr bwMode="auto">
          <a:xfrm>
            <a:off x="5405438" y="3865563"/>
            <a:ext cx="2195512" cy="892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ts val="1000"/>
              </a:spcBef>
              <a:buFont typeface="Arial" charset="0"/>
              <a:defRPr>
                <a:solidFill>
                  <a:schemeClr val="tx1"/>
                </a:solidFill>
                <a:latin typeface="Arial" charset="0"/>
                <a:cs typeface="Arial" charset="0"/>
                <a:sym typeface="Arial" charset="0"/>
              </a:defRPr>
            </a:lvl1pPr>
            <a:lvl2pPr marL="215900" indent="-215900">
              <a:spcBef>
                <a:spcPts val="500"/>
              </a:spcBef>
              <a:buChar char="–"/>
              <a:defRPr>
                <a:solidFill>
                  <a:schemeClr val="tx1"/>
                </a:solidFill>
                <a:latin typeface="Arial" charset="0"/>
                <a:cs typeface="Arial" charset="0"/>
                <a:sym typeface="Arial" charset="0"/>
              </a:defRPr>
            </a:lvl2pPr>
            <a:lvl3pPr marL="431800" indent="-215900">
              <a:spcBef>
                <a:spcPts val="500"/>
              </a:spcBef>
              <a:buChar char="–"/>
              <a:defRPr>
                <a:solidFill>
                  <a:schemeClr val="tx1"/>
                </a:solidFill>
                <a:latin typeface="Arial" charset="0"/>
                <a:cs typeface="Arial" charset="0"/>
                <a:sym typeface="Arial" charset="0"/>
              </a:defRPr>
            </a:lvl3pPr>
            <a:lvl4pPr marL="647700" indent="-215900">
              <a:spcBef>
                <a:spcPts val="500"/>
              </a:spcBef>
              <a:buChar char="–"/>
              <a:defRPr>
                <a:solidFill>
                  <a:schemeClr val="tx1"/>
                </a:solidFill>
                <a:latin typeface="Arial" charset="0"/>
                <a:cs typeface="Arial" charset="0"/>
                <a:sym typeface="Arial" charset="0"/>
              </a:defRPr>
            </a:lvl4pPr>
            <a:lvl5pPr marL="863600" indent="-215900">
              <a:spcBef>
                <a:spcPts val="500"/>
              </a:spcBef>
              <a:buChar char="–"/>
              <a:defRPr>
                <a:solidFill>
                  <a:schemeClr val="tx1"/>
                </a:solidFill>
                <a:latin typeface="Arial" charset="0"/>
                <a:cs typeface="Arial" charset="0"/>
                <a:sym typeface="Arial" charset="0"/>
              </a:defRPr>
            </a:lvl5pPr>
            <a:lvl6pPr marL="1320800" indent="-215900" eaLnBrk="0" fontAlgn="base" hangingPunct="0">
              <a:spcBef>
                <a:spcPts val="500"/>
              </a:spcBef>
              <a:spcAft>
                <a:spcPct val="0"/>
              </a:spcAft>
              <a:buChar char="–"/>
              <a:defRPr>
                <a:solidFill>
                  <a:schemeClr val="tx1"/>
                </a:solidFill>
                <a:latin typeface="Arial" charset="0"/>
                <a:cs typeface="Arial" charset="0"/>
                <a:sym typeface="Arial" charset="0"/>
              </a:defRPr>
            </a:lvl6pPr>
            <a:lvl7pPr marL="1778000" indent="-215900" eaLnBrk="0" fontAlgn="base" hangingPunct="0">
              <a:spcBef>
                <a:spcPts val="500"/>
              </a:spcBef>
              <a:spcAft>
                <a:spcPct val="0"/>
              </a:spcAft>
              <a:buChar char="–"/>
              <a:defRPr>
                <a:solidFill>
                  <a:schemeClr val="tx1"/>
                </a:solidFill>
                <a:latin typeface="Arial" charset="0"/>
                <a:cs typeface="Arial" charset="0"/>
                <a:sym typeface="Arial" charset="0"/>
              </a:defRPr>
            </a:lvl7pPr>
            <a:lvl8pPr marL="2235200" indent="-215900" eaLnBrk="0" fontAlgn="base" hangingPunct="0">
              <a:spcBef>
                <a:spcPts val="500"/>
              </a:spcBef>
              <a:spcAft>
                <a:spcPct val="0"/>
              </a:spcAft>
              <a:buChar char="–"/>
              <a:defRPr>
                <a:solidFill>
                  <a:schemeClr val="tx1"/>
                </a:solidFill>
                <a:latin typeface="Arial" charset="0"/>
                <a:cs typeface="Arial" charset="0"/>
                <a:sym typeface="Arial" charset="0"/>
              </a:defRPr>
            </a:lvl8pPr>
            <a:lvl9pPr marL="2692400" indent="-215900" eaLnBrk="0" fontAlgn="base" hangingPunct="0">
              <a:spcBef>
                <a:spcPts val="500"/>
              </a:spcBef>
              <a:spcAft>
                <a:spcPct val="0"/>
              </a:spcAft>
              <a:buChar char="–"/>
              <a:defRPr>
                <a:solidFill>
                  <a:schemeClr val="tx1"/>
                </a:solidFill>
                <a:latin typeface="Arial" charset="0"/>
                <a:cs typeface="Arial" charset="0"/>
                <a:sym typeface="Arial" charset="0"/>
              </a:defRPr>
            </a:lvl9pPr>
          </a:lstStyle>
          <a:p>
            <a:pPr eaLnBrk="1" hangingPunct="1"/>
            <a:r>
              <a:rPr lang="de-DE" altLang="de-DE" sz="1400" b="1" dirty="0">
                <a:solidFill>
                  <a:schemeClr val="tx2"/>
                </a:solidFill>
              </a:rPr>
              <a:t>ROMA</a:t>
            </a:r>
          </a:p>
          <a:p>
            <a:pPr eaLnBrk="1" hangingPunct="1">
              <a:spcBef>
                <a:spcPct val="0"/>
              </a:spcBef>
            </a:pPr>
            <a:br>
              <a:rPr lang="de-DE" altLang="de-DE" sz="1100" dirty="0"/>
            </a:br>
            <a:r>
              <a:rPr lang="de-DE" altLang="de-DE" sz="1100" dirty="0"/>
              <a:t>Rödl &amp; Partner</a:t>
            </a:r>
          </a:p>
          <a:p>
            <a:pPr eaLnBrk="1" hangingPunct="1">
              <a:spcBef>
                <a:spcPct val="0"/>
              </a:spcBef>
            </a:pPr>
            <a:r>
              <a:rPr lang="de-DE" altLang="de-DE" sz="1100" dirty="0"/>
              <a:t>P.zza </a:t>
            </a:r>
            <a:r>
              <a:rPr lang="de-DE" altLang="de-DE" sz="1100" dirty="0" err="1"/>
              <a:t>S.Anastasia</a:t>
            </a:r>
            <a:r>
              <a:rPr lang="de-DE" altLang="de-DE" sz="1100" dirty="0"/>
              <a:t>, 7 </a:t>
            </a:r>
          </a:p>
          <a:p>
            <a:pPr eaLnBrk="1" hangingPunct="1">
              <a:spcBef>
                <a:spcPct val="0"/>
              </a:spcBef>
            </a:pPr>
            <a:r>
              <a:rPr lang="de-DE" altLang="de-DE" sz="1100" dirty="0"/>
              <a:t>I-00186 Roma</a:t>
            </a:r>
          </a:p>
        </p:txBody>
      </p:sp>
      <p:sp>
        <p:nvSpPr>
          <p:cNvPr id="125965" name="Textplatzhalter 2"/>
          <p:cNvSpPr txBox="1">
            <a:spLocks/>
          </p:cNvSpPr>
          <p:nvPr/>
        </p:nvSpPr>
        <p:spPr bwMode="auto">
          <a:xfrm>
            <a:off x="8726488" y="4249738"/>
            <a:ext cx="2462212"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ts val="1000"/>
              </a:spcBef>
              <a:buFont typeface="Arial" charset="0"/>
              <a:defRPr>
                <a:solidFill>
                  <a:schemeClr val="tx1"/>
                </a:solidFill>
                <a:latin typeface="Arial" charset="0"/>
                <a:cs typeface="Arial" charset="0"/>
                <a:sym typeface="Arial" charset="0"/>
              </a:defRPr>
            </a:lvl1pPr>
            <a:lvl2pPr marL="215900" indent="-215900">
              <a:spcBef>
                <a:spcPts val="500"/>
              </a:spcBef>
              <a:buChar char="–"/>
              <a:defRPr>
                <a:solidFill>
                  <a:schemeClr val="tx1"/>
                </a:solidFill>
                <a:latin typeface="Arial" charset="0"/>
                <a:cs typeface="Arial" charset="0"/>
                <a:sym typeface="Arial" charset="0"/>
              </a:defRPr>
            </a:lvl2pPr>
            <a:lvl3pPr marL="431800" indent="-215900">
              <a:spcBef>
                <a:spcPts val="500"/>
              </a:spcBef>
              <a:buChar char="–"/>
              <a:defRPr>
                <a:solidFill>
                  <a:schemeClr val="tx1"/>
                </a:solidFill>
                <a:latin typeface="Arial" charset="0"/>
                <a:cs typeface="Arial" charset="0"/>
                <a:sym typeface="Arial" charset="0"/>
              </a:defRPr>
            </a:lvl3pPr>
            <a:lvl4pPr marL="647700" indent="-215900">
              <a:spcBef>
                <a:spcPts val="500"/>
              </a:spcBef>
              <a:buChar char="–"/>
              <a:defRPr>
                <a:solidFill>
                  <a:schemeClr val="tx1"/>
                </a:solidFill>
                <a:latin typeface="Arial" charset="0"/>
                <a:cs typeface="Arial" charset="0"/>
                <a:sym typeface="Arial" charset="0"/>
              </a:defRPr>
            </a:lvl4pPr>
            <a:lvl5pPr marL="863600" indent="-215900">
              <a:spcBef>
                <a:spcPts val="500"/>
              </a:spcBef>
              <a:buChar char="–"/>
              <a:defRPr>
                <a:solidFill>
                  <a:schemeClr val="tx1"/>
                </a:solidFill>
                <a:latin typeface="Arial" charset="0"/>
                <a:cs typeface="Arial" charset="0"/>
                <a:sym typeface="Arial" charset="0"/>
              </a:defRPr>
            </a:lvl5pPr>
            <a:lvl6pPr marL="1320800" indent="-215900" eaLnBrk="0" fontAlgn="base" hangingPunct="0">
              <a:spcBef>
                <a:spcPts val="500"/>
              </a:spcBef>
              <a:spcAft>
                <a:spcPct val="0"/>
              </a:spcAft>
              <a:buChar char="–"/>
              <a:defRPr>
                <a:solidFill>
                  <a:schemeClr val="tx1"/>
                </a:solidFill>
                <a:latin typeface="Arial" charset="0"/>
                <a:cs typeface="Arial" charset="0"/>
                <a:sym typeface="Arial" charset="0"/>
              </a:defRPr>
            </a:lvl6pPr>
            <a:lvl7pPr marL="1778000" indent="-215900" eaLnBrk="0" fontAlgn="base" hangingPunct="0">
              <a:spcBef>
                <a:spcPts val="500"/>
              </a:spcBef>
              <a:spcAft>
                <a:spcPct val="0"/>
              </a:spcAft>
              <a:buChar char="–"/>
              <a:defRPr>
                <a:solidFill>
                  <a:schemeClr val="tx1"/>
                </a:solidFill>
                <a:latin typeface="Arial" charset="0"/>
                <a:cs typeface="Arial" charset="0"/>
                <a:sym typeface="Arial" charset="0"/>
              </a:defRPr>
            </a:lvl7pPr>
            <a:lvl8pPr marL="2235200" indent="-215900" eaLnBrk="0" fontAlgn="base" hangingPunct="0">
              <a:spcBef>
                <a:spcPts val="500"/>
              </a:spcBef>
              <a:spcAft>
                <a:spcPct val="0"/>
              </a:spcAft>
              <a:buChar char="–"/>
              <a:defRPr>
                <a:solidFill>
                  <a:schemeClr val="tx1"/>
                </a:solidFill>
                <a:latin typeface="Arial" charset="0"/>
                <a:cs typeface="Arial" charset="0"/>
                <a:sym typeface="Arial" charset="0"/>
              </a:defRPr>
            </a:lvl8pPr>
            <a:lvl9pPr marL="2692400" indent="-215900" eaLnBrk="0" fontAlgn="base" hangingPunct="0">
              <a:spcBef>
                <a:spcPts val="500"/>
              </a:spcBef>
              <a:spcAft>
                <a:spcPct val="0"/>
              </a:spcAft>
              <a:buChar char="–"/>
              <a:defRPr>
                <a:solidFill>
                  <a:schemeClr val="tx1"/>
                </a:solidFill>
                <a:latin typeface="Arial" charset="0"/>
                <a:cs typeface="Arial" charset="0"/>
                <a:sym typeface="Arial" charset="0"/>
              </a:defRPr>
            </a:lvl9pPr>
          </a:lstStyle>
          <a:p>
            <a:pPr eaLnBrk="1" hangingPunct="1">
              <a:spcBef>
                <a:spcPct val="0"/>
              </a:spcBef>
            </a:pPr>
            <a:r>
              <a:rPr lang="de-DE" altLang="de-DE" sz="1100" dirty="0"/>
              <a:t>T 	</a:t>
            </a:r>
            <a:r>
              <a:rPr lang="it-IT" altLang="de-DE" sz="1100" dirty="0">
                <a:solidFill>
                  <a:srgbClr val="040404"/>
                </a:solidFill>
              </a:rPr>
              <a:t>+39 06 9670 1270</a:t>
            </a:r>
            <a:br>
              <a:rPr lang="it-IT" altLang="de-DE" sz="1100" dirty="0">
                <a:solidFill>
                  <a:srgbClr val="040404"/>
                </a:solidFill>
              </a:rPr>
            </a:br>
            <a:r>
              <a:rPr lang="de-DE" altLang="de-DE" sz="1100" dirty="0"/>
              <a:t>Fax 	</a:t>
            </a:r>
            <a:r>
              <a:rPr lang="it-IT" altLang="de-DE" sz="1100" dirty="0">
                <a:solidFill>
                  <a:srgbClr val="040404"/>
                </a:solidFill>
              </a:rPr>
              <a:t>+39 06 3223 394</a:t>
            </a:r>
            <a:endParaRPr lang="de-DE" altLang="de-DE" sz="1100" dirty="0"/>
          </a:p>
          <a:p>
            <a:pPr eaLnBrk="1" hangingPunct="1">
              <a:spcBef>
                <a:spcPct val="0"/>
              </a:spcBef>
            </a:pPr>
            <a:r>
              <a:rPr lang="de-DE" altLang="de-DE" sz="1100" dirty="0"/>
              <a:t>roma@roedl.com</a:t>
            </a:r>
          </a:p>
        </p:txBody>
      </p:sp>
      <p:sp>
        <p:nvSpPr>
          <p:cNvPr id="125966" name="Textplatzhalter 2"/>
          <p:cNvSpPr txBox="1">
            <a:spLocks/>
          </p:cNvSpPr>
          <p:nvPr/>
        </p:nvSpPr>
        <p:spPr bwMode="auto">
          <a:xfrm>
            <a:off x="5405438" y="5365750"/>
            <a:ext cx="2970212" cy="8937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ts val="1000"/>
              </a:spcBef>
              <a:buFont typeface="Arial" charset="0"/>
              <a:defRPr>
                <a:solidFill>
                  <a:schemeClr val="tx1"/>
                </a:solidFill>
                <a:latin typeface="Arial" charset="0"/>
                <a:cs typeface="Arial" charset="0"/>
                <a:sym typeface="Arial" charset="0"/>
              </a:defRPr>
            </a:lvl1pPr>
            <a:lvl2pPr marL="215900" indent="-215900">
              <a:spcBef>
                <a:spcPts val="500"/>
              </a:spcBef>
              <a:buChar char="–"/>
              <a:defRPr>
                <a:solidFill>
                  <a:schemeClr val="tx1"/>
                </a:solidFill>
                <a:latin typeface="Arial" charset="0"/>
                <a:cs typeface="Arial" charset="0"/>
                <a:sym typeface="Arial" charset="0"/>
              </a:defRPr>
            </a:lvl2pPr>
            <a:lvl3pPr marL="431800" indent="-215900">
              <a:spcBef>
                <a:spcPts val="500"/>
              </a:spcBef>
              <a:buChar char="–"/>
              <a:defRPr>
                <a:solidFill>
                  <a:schemeClr val="tx1"/>
                </a:solidFill>
                <a:latin typeface="Arial" charset="0"/>
                <a:cs typeface="Arial" charset="0"/>
                <a:sym typeface="Arial" charset="0"/>
              </a:defRPr>
            </a:lvl3pPr>
            <a:lvl4pPr marL="647700" indent="-215900">
              <a:spcBef>
                <a:spcPts val="500"/>
              </a:spcBef>
              <a:buChar char="–"/>
              <a:defRPr>
                <a:solidFill>
                  <a:schemeClr val="tx1"/>
                </a:solidFill>
                <a:latin typeface="Arial" charset="0"/>
                <a:cs typeface="Arial" charset="0"/>
                <a:sym typeface="Arial" charset="0"/>
              </a:defRPr>
            </a:lvl4pPr>
            <a:lvl5pPr marL="863600" indent="-215900">
              <a:spcBef>
                <a:spcPts val="500"/>
              </a:spcBef>
              <a:buChar char="–"/>
              <a:defRPr>
                <a:solidFill>
                  <a:schemeClr val="tx1"/>
                </a:solidFill>
                <a:latin typeface="Arial" charset="0"/>
                <a:cs typeface="Arial" charset="0"/>
                <a:sym typeface="Arial" charset="0"/>
              </a:defRPr>
            </a:lvl5pPr>
            <a:lvl6pPr marL="1320800" indent="-215900" eaLnBrk="0" fontAlgn="base" hangingPunct="0">
              <a:spcBef>
                <a:spcPts val="500"/>
              </a:spcBef>
              <a:spcAft>
                <a:spcPct val="0"/>
              </a:spcAft>
              <a:buChar char="–"/>
              <a:defRPr>
                <a:solidFill>
                  <a:schemeClr val="tx1"/>
                </a:solidFill>
                <a:latin typeface="Arial" charset="0"/>
                <a:cs typeface="Arial" charset="0"/>
                <a:sym typeface="Arial" charset="0"/>
              </a:defRPr>
            </a:lvl6pPr>
            <a:lvl7pPr marL="1778000" indent="-215900" eaLnBrk="0" fontAlgn="base" hangingPunct="0">
              <a:spcBef>
                <a:spcPts val="500"/>
              </a:spcBef>
              <a:spcAft>
                <a:spcPct val="0"/>
              </a:spcAft>
              <a:buChar char="–"/>
              <a:defRPr>
                <a:solidFill>
                  <a:schemeClr val="tx1"/>
                </a:solidFill>
                <a:latin typeface="Arial" charset="0"/>
                <a:cs typeface="Arial" charset="0"/>
                <a:sym typeface="Arial" charset="0"/>
              </a:defRPr>
            </a:lvl7pPr>
            <a:lvl8pPr marL="2235200" indent="-215900" eaLnBrk="0" fontAlgn="base" hangingPunct="0">
              <a:spcBef>
                <a:spcPts val="500"/>
              </a:spcBef>
              <a:spcAft>
                <a:spcPct val="0"/>
              </a:spcAft>
              <a:buChar char="–"/>
              <a:defRPr>
                <a:solidFill>
                  <a:schemeClr val="tx1"/>
                </a:solidFill>
                <a:latin typeface="Arial" charset="0"/>
                <a:cs typeface="Arial" charset="0"/>
                <a:sym typeface="Arial" charset="0"/>
              </a:defRPr>
            </a:lvl8pPr>
            <a:lvl9pPr marL="2692400" indent="-215900" eaLnBrk="0" fontAlgn="base" hangingPunct="0">
              <a:spcBef>
                <a:spcPts val="500"/>
              </a:spcBef>
              <a:spcAft>
                <a:spcPct val="0"/>
              </a:spcAft>
              <a:buChar char="–"/>
              <a:defRPr>
                <a:solidFill>
                  <a:schemeClr val="tx1"/>
                </a:solidFill>
                <a:latin typeface="Arial" charset="0"/>
                <a:cs typeface="Arial" charset="0"/>
                <a:sym typeface="Arial" charset="0"/>
              </a:defRPr>
            </a:lvl9pPr>
          </a:lstStyle>
          <a:p>
            <a:pPr eaLnBrk="1" hangingPunct="1"/>
            <a:r>
              <a:rPr lang="de-DE" altLang="de-DE" sz="1400" b="1" dirty="0">
                <a:solidFill>
                  <a:schemeClr val="tx2"/>
                </a:solidFill>
              </a:rPr>
              <a:t>BOLZANO</a:t>
            </a:r>
          </a:p>
          <a:p>
            <a:pPr eaLnBrk="1" hangingPunct="1">
              <a:spcBef>
                <a:spcPct val="0"/>
              </a:spcBef>
            </a:pPr>
            <a:br>
              <a:rPr lang="de-DE" altLang="de-DE" sz="1100" dirty="0"/>
            </a:br>
            <a:r>
              <a:rPr lang="de-DE" altLang="de-DE" sz="1100" dirty="0"/>
              <a:t>Rödl &amp; Partner</a:t>
            </a:r>
          </a:p>
          <a:p>
            <a:pPr eaLnBrk="1" hangingPunct="1">
              <a:spcBef>
                <a:spcPct val="0"/>
              </a:spcBef>
            </a:pPr>
            <a:r>
              <a:rPr lang="de-DE" altLang="de-DE" sz="1100" dirty="0" err="1"/>
              <a:t>P.zza</a:t>
            </a:r>
            <a:r>
              <a:rPr lang="de-DE" altLang="de-DE" sz="1100" dirty="0"/>
              <a:t> Walther- von- der- Vogelweide 8 </a:t>
            </a:r>
          </a:p>
          <a:p>
            <a:pPr eaLnBrk="1" hangingPunct="1">
              <a:spcBef>
                <a:spcPct val="0"/>
              </a:spcBef>
            </a:pPr>
            <a:r>
              <a:rPr lang="de-DE" altLang="de-DE" sz="1100"/>
              <a:t>I-39100 </a:t>
            </a:r>
            <a:r>
              <a:rPr lang="de-DE" altLang="de-DE" sz="1100" dirty="0" err="1"/>
              <a:t>Bolzano</a:t>
            </a:r>
            <a:endParaRPr lang="de-DE" altLang="de-DE" sz="1100" dirty="0"/>
          </a:p>
        </p:txBody>
      </p:sp>
      <p:sp>
        <p:nvSpPr>
          <p:cNvPr id="125967" name="Textplatzhalter 2"/>
          <p:cNvSpPr txBox="1">
            <a:spLocks/>
          </p:cNvSpPr>
          <p:nvPr/>
        </p:nvSpPr>
        <p:spPr bwMode="auto">
          <a:xfrm>
            <a:off x="8726488" y="5751513"/>
            <a:ext cx="2462212"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ts val="1000"/>
              </a:spcBef>
              <a:buFont typeface="Arial" charset="0"/>
              <a:defRPr>
                <a:solidFill>
                  <a:schemeClr val="tx1"/>
                </a:solidFill>
                <a:latin typeface="Arial" charset="0"/>
                <a:cs typeface="Arial" charset="0"/>
                <a:sym typeface="Arial" charset="0"/>
              </a:defRPr>
            </a:lvl1pPr>
            <a:lvl2pPr marL="215900" indent="-215900">
              <a:spcBef>
                <a:spcPts val="500"/>
              </a:spcBef>
              <a:buChar char="–"/>
              <a:defRPr>
                <a:solidFill>
                  <a:schemeClr val="tx1"/>
                </a:solidFill>
                <a:latin typeface="Arial" charset="0"/>
                <a:cs typeface="Arial" charset="0"/>
                <a:sym typeface="Arial" charset="0"/>
              </a:defRPr>
            </a:lvl2pPr>
            <a:lvl3pPr marL="431800" indent="-215900">
              <a:spcBef>
                <a:spcPts val="500"/>
              </a:spcBef>
              <a:buChar char="–"/>
              <a:defRPr>
                <a:solidFill>
                  <a:schemeClr val="tx1"/>
                </a:solidFill>
                <a:latin typeface="Arial" charset="0"/>
                <a:cs typeface="Arial" charset="0"/>
                <a:sym typeface="Arial" charset="0"/>
              </a:defRPr>
            </a:lvl3pPr>
            <a:lvl4pPr marL="647700" indent="-215900">
              <a:spcBef>
                <a:spcPts val="500"/>
              </a:spcBef>
              <a:buChar char="–"/>
              <a:defRPr>
                <a:solidFill>
                  <a:schemeClr val="tx1"/>
                </a:solidFill>
                <a:latin typeface="Arial" charset="0"/>
                <a:cs typeface="Arial" charset="0"/>
                <a:sym typeface="Arial" charset="0"/>
              </a:defRPr>
            </a:lvl4pPr>
            <a:lvl5pPr marL="863600" indent="-215900">
              <a:spcBef>
                <a:spcPts val="500"/>
              </a:spcBef>
              <a:buChar char="–"/>
              <a:defRPr>
                <a:solidFill>
                  <a:schemeClr val="tx1"/>
                </a:solidFill>
                <a:latin typeface="Arial" charset="0"/>
                <a:cs typeface="Arial" charset="0"/>
                <a:sym typeface="Arial" charset="0"/>
              </a:defRPr>
            </a:lvl5pPr>
            <a:lvl6pPr marL="1320800" indent="-215900" eaLnBrk="0" fontAlgn="base" hangingPunct="0">
              <a:spcBef>
                <a:spcPts val="500"/>
              </a:spcBef>
              <a:spcAft>
                <a:spcPct val="0"/>
              </a:spcAft>
              <a:buChar char="–"/>
              <a:defRPr>
                <a:solidFill>
                  <a:schemeClr val="tx1"/>
                </a:solidFill>
                <a:latin typeface="Arial" charset="0"/>
                <a:cs typeface="Arial" charset="0"/>
                <a:sym typeface="Arial" charset="0"/>
              </a:defRPr>
            </a:lvl6pPr>
            <a:lvl7pPr marL="1778000" indent="-215900" eaLnBrk="0" fontAlgn="base" hangingPunct="0">
              <a:spcBef>
                <a:spcPts val="500"/>
              </a:spcBef>
              <a:spcAft>
                <a:spcPct val="0"/>
              </a:spcAft>
              <a:buChar char="–"/>
              <a:defRPr>
                <a:solidFill>
                  <a:schemeClr val="tx1"/>
                </a:solidFill>
                <a:latin typeface="Arial" charset="0"/>
                <a:cs typeface="Arial" charset="0"/>
                <a:sym typeface="Arial" charset="0"/>
              </a:defRPr>
            </a:lvl7pPr>
            <a:lvl8pPr marL="2235200" indent="-215900" eaLnBrk="0" fontAlgn="base" hangingPunct="0">
              <a:spcBef>
                <a:spcPts val="500"/>
              </a:spcBef>
              <a:spcAft>
                <a:spcPct val="0"/>
              </a:spcAft>
              <a:buChar char="–"/>
              <a:defRPr>
                <a:solidFill>
                  <a:schemeClr val="tx1"/>
                </a:solidFill>
                <a:latin typeface="Arial" charset="0"/>
                <a:cs typeface="Arial" charset="0"/>
                <a:sym typeface="Arial" charset="0"/>
              </a:defRPr>
            </a:lvl8pPr>
            <a:lvl9pPr marL="2692400" indent="-215900" eaLnBrk="0" fontAlgn="base" hangingPunct="0">
              <a:spcBef>
                <a:spcPts val="500"/>
              </a:spcBef>
              <a:spcAft>
                <a:spcPct val="0"/>
              </a:spcAft>
              <a:buChar char="–"/>
              <a:defRPr>
                <a:solidFill>
                  <a:schemeClr val="tx1"/>
                </a:solidFill>
                <a:latin typeface="Arial" charset="0"/>
                <a:cs typeface="Arial" charset="0"/>
                <a:sym typeface="Arial" charset="0"/>
              </a:defRPr>
            </a:lvl9pPr>
          </a:lstStyle>
          <a:p>
            <a:pPr eaLnBrk="1" hangingPunct="1">
              <a:spcBef>
                <a:spcPct val="0"/>
              </a:spcBef>
            </a:pPr>
            <a:r>
              <a:rPr lang="de-DE" altLang="de-DE" sz="1100" dirty="0"/>
              <a:t>T 	</a:t>
            </a:r>
            <a:r>
              <a:rPr lang="it-IT" altLang="de-DE" sz="1100" dirty="0">
                <a:solidFill>
                  <a:srgbClr val="040404"/>
                </a:solidFill>
              </a:rPr>
              <a:t>+39 0471 1943 200</a:t>
            </a:r>
            <a:br>
              <a:rPr lang="it-IT" altLang="de-DE" sz="1100" dirty="0">
                <a:solidFill>
                  <a:srgbClr val="040404"/>
                </a:solidFill>
              </a:rPr>
            </a:br>
            <a:r>
              <a:rPr lang="de-DE" altLang="de-DE" sz="1100" dirty="0"/>
              <a:t>Fax 	</a:t>
            </a:r>
            <a:r>
              <a:rPr lang="it-IT" altLang="de-DE" sz="1100" dirty="0">
                <a:solidFill>
                  <a:srgbClr val="040404"/>
                </a:solidFill>
              </a:rPr>
              <a:t>+39 0471 1943 220 </a:t>
            </a:r>
            <a:r>
              <a:rPr lang="de-DE" altLang="de-DE" sz="1100" dirty="0"/>
              <a:t>bolzano@roedl.com</a:t>
            </a:r>
          </a:p>
        </p:txBody>
      </p:sp>
      <p:pic>
        <p:nvPicPr>
          <p:cNvPr id="125969" name="Picture 10"/>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03224" y="185524"/>
            <a:ext cx="4017963" cy="53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25970" name="Textplatzhalter 20"/>
          <p:cNvSpPr txBox="1">
            <a:spLocks/>
          </p:cNvSpPr>
          <p:nvPr/>
        </p:nvSpPr>
        <p:spPr bwMode="auto">
          <a:xfrm>
            <a:off x="143668" y="978694"/>
            <a:ext cx="4537075" cy="4589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ts val="1000"/>
              </a:spcBef>
              <a:buFont typeface="Arial" charset="0"/>
              <a:defRPr>
                <a:solidFill>
                  <a:schemeClr val="tx1"/>
                </a:solidFill>
                <a:latin typeface="Arial" charset="0"/>
                <a:cs typeface="Arial" charset="0"/>
                <a:sym typeface="Arial" charset="0"/>
              </a:defRPr>
            </a:lvl1pPr>
            <a:lvl2pPr marL="215900" indent="-215900">
              <a:spcBef>
                <a:spcPts val="500"/>
              </a:spcBef>
              <a:buChar char="–"/>
              <a:defRPr>
                <a:solidFill>
                  <a:schemeClr val="tx1"/>
                </a:solidFill>
                <a:latin typeface="Arial" charset="0"/>
                <a:cs typeface="Arial" charset="0"/>
                <a:sym typeface="Arial" charset="0"/>
              </a:defRPr>
            </a:lvl2pPr>
            <a:lvl3pPr marL="431800" indent="-215900">
              <a:spcBef>
                <a:spcPts val="500"/>
              </a:spcBef>
              <a:buChar char="–"/>
              <a:defRPr>
                <a:solidFill>
                  <a:schemeClr val="tx1"/>
                </a:solidFill>
                <a:latin typeface="Arial" charset="0"/>
                <a:cs typeface="Arial" charset="0"/>
                <a:sym typeface="Arial" charset="0"/>
              </a:defRPr>
            </a:lvl3pPr>
            <a:lvl4pPr marL="647700" indent="-215900">
              <a:spcBef>
                <a:spcPts val="500"/>
              </a:spcBef>
              <a:buChar char="–"/>
              <a:defRPr>
                <a:solidFill>
                  <a:schemeClr val="tx1"/>
                </a:solidFill>
                <a:latin typeface="Arial" charset="0"/>
                <a:cs typeface="Arial" charset="0"/>
                <a:sym typeface="Arial" charset="0"/>
              </a:defRPr>
            </a:lvl4pPr>
            <a:lvl5pPr marL="863600" indent="-215900">
              <a:spcBef>
                <a:spcPts val="500"/>
              </a:spcBef>
              <a:buChar char="–"/>
              <a:defRPr>
                <a:solidFill>
                  <a:schemeClr val="tx1"/>
                </a:solidFill>
                <a:latin typeface="Arial" charset="0"/>
                <a:cs typeface="Arial" charset="0"/>
                <a:sym typeface="Arial" charset="0"/>
              </a:defRPr>
            </a:lvl5pPr>
            <a:lvl6pPr marL="1320800" indent="-215900" eaLnBrk="0" fontAlgn="base" hangingPunct="0">
              <a:spcBef>
                <a:spcPts val="500"/>
              </a:spcBef>
              <a:spcAft>
                <a:spcPct val="0"/>
              </a:spcAft>
              <a:buChar char="–"/>
              <a:defRPr>
                <a:solidFill>
                  <a:schemeClr val="tx1"/>
                </a:solidFill>
                <a:latin typeface="Arial" charset="0"/>
                <a:cs typeface="Arial" charset="0"/>
                <a:sym typeface="Arial" charset="0"/>
              </a:defRPr>
            </a:lvl6pPr>
            <a:lvl7pPr marL="1778000" indent="-215900" eaLnBrk="0" fontAlgn="base" hangingPunct="0">
              <a:spcBef>
                <a:spcPts val="500"/>
              </a:spcBef>
              <a:spcAft>
                <a:spcPct val="0"/>
              </a:spcAft>
              <a:buChar char="–"/>
              <a:defRPr>
                <a:solidFill>
                  <a:schemeClr val="tx1"/>
                </a:solidFill>
                <a:latin typeface="Arial" charset="0"/>
                <a:cs typeface="Arial" charset="0"/>
                <a:sym typeface="Arial" charset="0"/>
              </a:defRPr>
            </a:lvl7pPr>
            <a:lvl8pPr marL="2235200" indent="-215900" eaLnBrk="0" fontAlgn="base" hangingPunct="0">
              <a:spcBef>
                <a:spcPts val="500"/>
              </a:spcBef>
              <a:spcAft>
                <a:spcPct val="0"/>
              </a:spcAft>
              <a:buChar char="–"/>
              <a:defRPr>
                <a:solidFill>
                  <a:schemeClr val="tx1"/>
                </a:solidFill>
                <a:latin typeface="Arial" charset="0"/>
                <a:cs typeface="Arial" charset="0"/>
                <a:sym typeface="Arial" charset="0"/>
              </a:defRPr>
            </a:lvl8pPr>
            <a:lvl9pPr marL="2692400" indent="-215900" eaLnBrk="0" fontAlgn="base" hangingPunct="0">
              <a:spcBef>
                <a:spcPts val="500"/>
              </a:spcBef>
              <a:spcAft>
                <a:spcPct val="0"/>
              </a:spcAft>
              <a:buChar char="–"/>
              <a:defRPr>
                <a:solidFill>
                  <a:schemeClr val="tx1"/>
                </a:solidFill>
                <a:latin typeface="Arial" charset="0"/>
                <a:cs typeface="Arial" charset="0"/>
                <a:sym typeface="Arial" charset="0"/>
              </a:defRPr>
            </a:lvl9pPr>
          </a:lstStyle>
          <a:p>
            <a:pPr algn="ctr" eaLnBrk="1" hangingPunct="1">
              <a:spcBef>
                <a:spcPct val="0"/>
              </a:spcBef>
            </a:pPr>
            <a:endParaRPr lang="it-IT" altLang="de-DE" sz="1600" dirty="0"/>
          </a:p>
          <a:p>
            <a:pPr algn="ctr" eaLnBrk="1" hangingPunct="1">
              <a:spcBef>
                <a:spcPct val="0"/>
              </a:spcBef>
            </a:pPr>
            <a:endParaRPr lang="it-IT" altLang="de-DE" sz="1600" dirty="0"/>
          </a:p>
          <a:p>
            <a:pPr algn="ctr" eaLnBrk="1" hangingPunct="1">
              <a:spcBef>
                <a:spcPct val="0"/>
              </a:spcBef>
            </a:pPr>
            <a:endParaRPr lang="it-IT" altLang="de-DE" sz="1600" dirty="0"/>
          </a:p>
          <a:p>
            <a:pPr algn="ctr" eaLnBrk="1" hangingPunct="1">
              <a:spcBef>
                <a:spcPct val="0"/>
              </a:spcBef>
            </a:pPr>
            <a:endParaRPr lang="it-IT" altLang="de-DE" sz="1600" dirty="0"/>
          </a:p>
          <a:p>
            <a:pPr algn="ctr" eaLnBrk="1" hangingPunct="1">
              <a:spcBef>
                <a:spcPct val="0"/>
              </a:spcBef>
            </a:pPr>
            <a:endParaRPr lang="it-IT" altLang="de-DE" sz="1600" dirty="0"/>
          </a:p>
          <a:p>
            <a:pPr algn="ctr" eaLnBrk="1" hangingPunct="1">
              <a:spcBef>
                <a:spcPct val="0"/>
              </a:spcBef>
            </a:pPr>
            <a:r>
              <a:rPr lang="it-IT" altLang="de-DE" sz="1600"/>
              <a:t>Avvocati, Dottori Commercialisti, </a:t>
            </a:r>
            <a:r>
              <a:rPr lang="it-IT" altLang="de-DE" sz="1600" dirty="0"/>
              <a:t>Revisori </a:t>
            </a:r>
            <a:br>
              <a:rPr lang="it-IT" altLang="de-DE" sz="1600" dirty="0"/>
            </a:br>
            <a:r>
              <a:rPr lang="it-IT" altLang="de-DE" sz="1600" dirty="0"/>
              <a:t>Legali e Consulenti del Lavoro </a:t>
            </a:r>
            <a:br>
              <a:rPr lang="it-IT" altLang="de-DE" sz="1600" dirty="0"/>
            </a:br>
            <a:br>
              <a:rPr lang="it-IT" altLang="de-DE" sz="1600"/>
            </a:br>
            <a:r>
              <a:rPr lang="en-US" altLang="de-DE" sz="1600"/>
              <a:t>Attorneys-at-Law, Tax Consultants, </a:t>
            </a:r>
            <a:r>
              <a:rPr lang="en-US" altLang="de-DE" sz="1600" dirty="0"/>
              <a:t>Certified Public Accountants and Labour Consultancy </a:t>
            </a:r>
            <a:br>
              <a:rPr lang="en-US" altLang="de-DE" sz="1600" dirty="0"/>
            </a:br>
            <a:br>
              <a:rPr lang="en-US" altLang="de-DE" sz="1600"/>
            </a:br>
            <a:r>
              <a:rPr lang="it-IT" altLang="de-DE" sz="1600"/>
              <a:t>Rechtsanwälte, Steuerberater, </a:t>
            </a:r>
            <a:br>
              <a:rPr lang="it-IT" altLang="de-DE" sz="1600"/>
            </a:br>
            <a:r>
              <a:rPr lang="it-IT" altLang="de-DE" sz="1600"/>
              <a:t>Wirtschaftsprüfer, </a:t>
            </a:r>
            <a:r>
              <a:rPr lang="it-IT" altLang="de-DE" sz="1600" dirty="0" err="1"/>
              <a:t>Arbeitsrechtsberater</a:t>
            </a:r>
            <a:endParaRPr lang="it-IT" altLang="de-DE" sz="1600" dirty="0"/>
          </a:p>
        </p:txBody>
      </p:sp>
      <p:cxnSp>
        <p:nvCxnSpPr>
          <p:cNvPr id="3" name="Connettore 1 2"/>
          <p:cNvCxnSpPr/>
          <p:nvPr/>
        </p:nvCxnSpPr>
        <p:spPr>
          <a:xfrm>
            <a:off x="0" y="895350"/>
            <a:ext cx="4821238" cy="0"/>
          </a:xfrm>
          <a:prstGeom prst="line">
            <a:avLst/>
          </a:prstGeom>
          <a:ln w="28575">
            <a:solidFill>
              <a:schemeClr val="tx1"/>
            </a:solidFill>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534407824"/>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69" name="Tabelle 568">
            <a:extLst>
              <a:ext uri="{FF2B5EF4-FFF2-40B4-BE49-F238E27FC236}">
                <a16:creationId xmlns:a16="http://schemas.microsoft.com/office/drawing/2014/main" id="{12C7CC0C-48B4-B144-B55F-8A911340BD83}"/>
              </a:ext>
            </a:extLst>
          </p:cNvPr>
          <p:cNvGraphicFramePr>
            <a:graphicFrameLocks noGrp="1"/>
          </p:cNvGraphicFramePr>
          <p:nvPr/>
        </p:nvGraphicFramePr>
        <p:xfrm>
          <a:off x="0" y="0"/>
          <a:ext cx="11928648" cy="6885384"/>
        </p:xfrm>
        <a:graphic>
          <a:graphicData uri="http://schemas.openxmlformats.org/drawingml/2006/table">
            <a:tbl>
              <a:tblPr firstRow="1" bandRow="1">
                <a:tableStyleId>{5C22544A-7EE6-4342-B048-85BDC9FD1C3A}</a:tableStyleId>
              </a:tblPr>
              <a:tblGrid>
                <a:gridCol w="551384">
                  <a:extLst>
                    <a:ext uri="{9D8B030D-6E8A-4147-A177-3AD203B41FA5}">
                      <a16:colId xmlns:a16="http://schemas.microsoft.com/office/drawing/2014/main" val="20000"/>
                    </a:ext>
                  </a:extLst>
                </a:gridCol>
                <a:gridCol w="11377264">
                  <a:extLst>
                    <a:ext uri="{9D8B030D-6E8A-4147-A177-3AD203B41FA5}">
                      <a16:colId xmlns:a16="http://schemas.microsoft.com/office/drawing/2014/main" val="20001"/>
                    </a:ext>
                  </a:extLst>
                </a:gridCol>
              </a:tblGrid>
              <a:tr h="4725144">
                <a:tc>
                  <a:txBody>
                    <a:bodyPr/>
                    <a:lstStyle/>
                    <a:p>
                      <a:pPr algn="l">
                        <a:lnSpc>
                          <a:spcPct val="110000"/>
                        </a:lnSpc>
                      </a:pPr>
                      <a:endParaRPr lang="de-DE" sz="1400" b="0" dirty="0">
                        <a:solidFill>
                          <a:schemeClr val="tx1"/>
                        </a:solidFill>
                        <a:latin typeface="+mn-lt"/>
                        <a:cs typeface="Arial"/>
                        <a:sym typeface="Arial"/>
                      </a:endParaRPr>
                    </a:p>
                  </a:txBody>
                  <a:tcPr marL="262800" marR="72000" marT="72000" marB="72000" anchor="ctr">
                    <a:lnL w="12700" cmpd="sng">
                      <a:noFill/>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10000"/>
                        </a:lnSpc>
                      </a:pPr>
                      <a:endParaRPr lang="de-DE" sz="1400" b="0" dirty="0">
                        <a:solidFill>
                          <a:schemeClr val="tx1"/>
                        </a:solidFill>
                        <a:latin typeface="+mn-lt"/>
                      </a:endParaRPr>
                    </a:p>
                  </a:txBody>
                  <a:tcPr marL="72000" marR="72000" marT="72000" marB="72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035767">
                <a:tc>
                  <a:txBody>
                    <a:bodyPr/>
                    <a:lstStyle/>
                    <a:p>
                      <a:pPr marL="0" indent="0" algn="l">
                        <a:lnSpc>
                          <a:spcPct val="110000"/>
                        </a:lnSpc>
                      </a:pPr>
                      <a:endParaRPr lang="de-DE" sz="1400" b="0" dirty="0">
                        <a:solidFill>
                          <a:schemeClr val="tx1"/>
                        </a:solidFill>
                        <a:latin typeface="+mn-lt"/>
                        <a:cs typeface="Arial"/>
                        <a:sym typeface="Arial"/>
                      </a:endParaRPr>
                    </a:p>
                  </a:txBody>
                  <a:tcPr marL="262800" marR="72000" marT="72000" marB="7200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nSpc>
                          <a:spcPct val="110000"/>
                        </a:lnSpc>
                      </a:pPr>
                      <a:endParaRPr lang="de-DE" sz="1400" b="0" dirty="0">
                        <a:solidFill>
                          <a:schemeClr val="tx1"/>
                        </a:solidFill>
                        <a:latin typeface="+mn-lt"/>
                      </a:endParaRPr>
                    </a:p>
                  </a:txBody>
                  <a:tcPr marL="72000" marR="72000" marT="72000" marB="72000" anchor="ctr">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1124473">
                <a:tc>
                  <a:txBody>
                    <a:bodyPr/>
                    <a:lstStyle/>
                    <a:p>
                      <a:pPr algn="l">
                        <a:lnSpc>
                          <a:spcPct val="110000"/>
                        </a:lnSpc>
                      </a:pPr>
                      <a:endParaRPr lang="de-DE" sz="1400" b="0" dirty="0">
                        <a:solidFill>
                          <a:schemeClr val="tx1"/>
                        </a:solidFill>
                        <a:latin typeface="+mn-lt"/>
                        <a:cs typeface="Arial"/>
                        <a:sym typeface="Arial"/>
                      </a:endParaRPr>
                    </a:p>
                  </a:txBody>
                  <a:tcPr marL="262800" marR="72000" marT="72000" marB="72000" anchor="ctr">
                    <a:lnL w="12700" cmpd="sng">
                      <a:noFill/>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l" defTabSz="914400" rtl="0" eaLnBrk="1" fontAlgn="auto" latinLnBrk="0" hangingPunct="1">
                        <a:lnSpc>
                          <a:spcPct val="110000"/>
                        </a:lnSpc>
                        <a:spcBef>
                          <a:spcPts val="0"/>
                        </a:spcBef>
                        <a:spcAft>
                          <a:spcPts val="0"/>
                        </a:spcAft>
                        <a:buClrTx/>
                        <a:buSzTx/>
                        <a:buFontTx/>
                        <a:buNone/>
                        <a:tabLst/>
                        <a:defRPr/>
                      </a:pPr>
                      <a:endParaRPr lang="de-DE" sz="2400" b="0" cap="all" dirty="0">
                        <a:solidFill>
                          <a:schemeClr val="bg1"/>
                        </a:solidFill>
                        <a:cs typeface="Arial" panose="020B0604020202020204" pitchFamily="34" charset="0"/>
                      </a:endParaRPr>
                    </a:p>
                  </a:txBody>
                  <a:tcPr marL="288000" marR="72000" marT="180000" marB="72000">
                    <a:lnL w="12700" cap="flat" cmpd="sng" algn="ctr">
                      <a:solidFill>
                        <a:schemeClr val="bg1"/>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bg1"/>
                      </a:solidFill>
                      <a:prstDash val="solid"/>
                      <a:round/>
                      <a:headEnd type="none" w="med" len="med"/>
                      <a:tailEnd type="none" w="med" len="med"/>
                    </a:lnT>
                    <a:lnB w="190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2"/>
                  </a:ext>
                </a:extLst>
              </a:tr>
            </a:tbl>
          </a:graphicData>
        </a:graphic>
      </p:graphicFrame>
      <p:pic>
        <p:nvPicPr>
          <p:cNvPr id="250" name="Picture 10"/>
          <p:cNvPicPr>
            <a:picLocks noChangeAspect="1" noChangeArrowheads="1"/>
          </p:cNvPicPr>
          <p:nvPr/>
        </p:nvPicPr>
        <p:blipFill>
          <a:blip r:embed="rId21" cstate="email">
            <a:extLst>
              <a:ext uri="{28A0092B-C50C-407E-A947-70E740481C1C}">
                <a14:useLocalDpi xmlns:a14="http://schemas.microsoft.com/office/drawing/2010/main"/>
              </a:ext>
            </a:extLst>
          </a:blip>
          <a:srcRect/>
          <a:stretch>
            <a:fillRect/>
          </a:stretch>
        </p:blipFill>
        <p:spPr bwMode="auto">
          <a:xfrm>
            <a:off x="861798" y="4895169"/>
            <a:ext cx="5234202" cy="6940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571" name="Freeform 5">
            <a:extLst>
              <a:ext uri="{FF2B5EF4-FFF2-40B4-BE49-F238E27FC236}">
                <a16:creationId xmlns:a16="http://schemas.microsoft.com/office/drawing/2014/main" id="{D5F94E6C-FBE4-894E-877F-6CF58818495D}"/>
              </a:ext>
            </a:extLst>
          </p:cNvPr>
          <p:cNvSpPr>
            <a:spLocks/>
          </p:cNvSpPr>
          <p:nvPr/>
        </p:nvSpPr>
        <p:spPr bwMode="auto">
          <a:xfrm>
            <a:off x="5346405" y="1774849"/>
            <a:ext cx="2464328" cy="1930574"/>
          </a:xfrm>
          <a:custGeom>
            <a:avLst/>
            <a:gdLst>
              <a:gd name="T0" fmla="*/ 4 w 2923"/>
              <a:gd name="T1" fmla="*/ 2065 h 2590"/>
              <a:gd name="T2" fmla="*/ 0 w 2923"/>
              <a:gd name="T3" fmla="*/ 2183 h 2590"/>
              <a:gd name="T4" fmla="*/ 14 w 2923"/>
              <a:gd name="T5" fmla="*/ 2298 h 2590"/>
              <a:gd name="T6" fmla="*/ 42 w 2923"/>
              <a:gd name="T7" fmla="*/ 2390 h 2590"/>
              <a:gd name="T8" fmla="*/ 128 w 2923"/>
              <a:gd name="T9" fmla="*/ 2456 h 2590"/>
              <a:gd name="T10" fmla="*/ 264 w 2923"/>
              <a:gd name="T11" fmla="*/ 2528 h 2590"/>
              <a:gd name="T12" fmla="*/ 410 w 2923"/>
              <a:gd name="T13" fmla="*/ 2572 h 2590"/>
              <a:gd name="T14" fmla="*/ 562 w 2923"/>
              <a:gd name="T15" fmla="*/ 2590 h 2590"/>
              <a:gd name="T16" fmla="*/ 722 w 2923"/>
              <a:gd name="T17" fmla="*/ 2582 h 2590"/>
              <a:gd name="T18" fmla="*/ 886 w 2923"/>
              <a:gd name="T19" fmla="*/ 2548 h 2590"/>
              <a:gd name="T20" fmla="*/ 1054 w 2923"/>
              <a:gd name="T21" fmla="*/ 2492 h 2590"/>
              <a:gd name="T22" fmla="*/ 1222 w 2923"/>
              <a:gd name="T23" fmla="*/ 2416 h 2590"/>
              <a:gd name="T24" fmla="*/ 1392 w 2923"/>
              <a:gd name="T25" fmla="*/ 2318 h 2590"/>
              <a:gd name="T26" fmla="*/ 1560 w 2923"/>
              <a:gd name="T27" fmla="*/ 2203 h 2590"/>
              <a:gd name="T28" fmla="*/ 1724 w 2923"/>
              <a:gd name="T29" fmla="*/ 2071 h 2590"/>
              <a:gd name="T30" fmla="*/ 1886 w 2923"/>
              <a:gd name="T31" fmla="*/ 1925 h 2590"/>
              <a:gd name="T32" fmla="*/ 2041 w 2923"/>
              <a:gd name="T33" fmla="*/ 1763 h 2590"/>
              <a:gd name="T34" fmla="*/ 2189 w 2923"/>
              <a:gd name="T35" fmla="*/ 1589 h 2590"/>
              <a:gd name="T36" fmla="*/ 2329 w 2923"/>
              <a:gd name="T37" fmla="*/ 1403 h 2590"/>
              <a:gd name="T38" fmla="*/ 2457 w 2923"/>
              <a:gd name="T39" fmla="*/ 1209 h 2590"/>
              <a:gd name="T40" fmla="*/ 2575 w 2923"/>
              <a:gd name="T41" fmla="*/ 1008 h 2590"/>
              <a:gd name="T42" fmla="*/ 2679 w 2923"/>
              <a:gd name="T43" fmla="*/ 798 h 2590"/>
              <a:gd name="T44" fmla="*/ 2769 w 2923"/>
              <a:gd name="T45" fmla="*/ 584 h 2590"/>
              <a:gd name="T46" fmla="*/ 2841 w 2923"/>
              <a:gd name="T47" fmla="*/ 366 h 2590"/>
              <a:gd name="T48" fmla="*/ 2897 w 2923"/>
              <a:gd name="T49" fmla="*/ 146 h 2590"/>
              <a:gd name="T50" fmla="*/ 2923 w 2923"/>
              <a:gd name="T51" fmla="*/ 0 h 2590"/>
              <a:gd name="T52" fmla="*/ 2805 w 2923"/>
              <a:gd name="T53" fmla="*/ 288 h 2590"/>
              <a:gd name="T54" fmla="*/ 2671 w 2923"/>
              <a:gd name="T55" fmla="*/ 552 h 2590"/>
              <a:gd name="T56" fmla="*/ 2527 w 2923"/>
              <a:gd name="T57" fmla="*/ 790 h 2590"/>
              <a:gd name="T58" fmla="*/ 2371 w 2923"/>
              <a:gd name="T59" fmla="*/ 1004 h 2590"/>
              <a:gd name="T60" fmla="*/ 2207 w 2923"/>
              <a:gd name="T61" fmla="*/ 1195 h 2590"/>
              <a:gd name="T62" fmla="*/ 2037 w 2923"/>
              <a:gd name="T63" fmla="*/ 1367 h 2590"/>
              <a:gd name="T64" fmla="*/ 1860 w 2923"/>
              <a:gd name="T65" fmla="*/ 1517 h 2590"/>
              <a:gd name="T66" fmla="*/ 1682 w 2923"/>
              <a:gd name="T67" fmla="*/ 1647 h 2590"/>
              <a:gd name="T68" fmla="*/ 1504 w 2923"/>
              <a:gd name="T69" fmla="*/ 1759 h 2590"/>
              <a:gd name="T70" fmla="*/ 1328 w 2923"/>
              <a:gd name="T71" fmla="*/ 1853 h 2590"/>
              <a:gd name="T72" fmla="*/ 1154 w 2923"/>
              <a:gd name="T73" fmla="*/ 1931 h 2590"/>
              <a:gd name="T74" fmla="*/ 986 w 2923"/>
              <a:gd name="T75" fmla="*/ 1993 h 2590"/>
              <a:gd name="T76" fmla="*/ 824 w 2923"/>
              <a:gd name="T77" fmla="*/ 2041 h 2590"/>
              <a:gd name="T78" fmla="*/ 576 w 2923"/>
              <a:gd name="T79" fmla="*/ 2093 h 2590"/>
              <a:gd name="T80" fmla="*/ 322 w 2923"/>
              <a:gd name="T81" fmla="*/ 2111 h 2590"/>
              <a:gd name="T82" fmla="*/ 160 w 2923"/>
              <a:gd name="T83" fmla="*/ 2097 h 2590"/>
              <a:gd name="T84" fmla="*/ 88 w 2923"/>
              <a:gd name="T85" fmla="*/ 2079 h 2590"/>
              <a:gd name="T86" fmla="*/ 38 w 2923"/>
              <a:gd name="T87" fmla="*/ 2053 h 2590"/>
              <a:gd name="T88" fmla="*/ 10 w 2923"/>
              <a:gd name="T89" fmla="*/ 2021 h 2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923" h="2590">
                <a:moveTo>
                  <a:pt x="10" y="2021"/>
                </a:moveTo>
                <a:lnTo>
                  <a:pt x="10" y="2021"/>
                </a:lnTo>
                <a:lnTo>
                  <a:pt x="4" y="2065"/>
                </a:lnTo>
                <a:lnTo>
                  <a:pt x="0" y="2107"/>
                </a:lnTo>
                <a:lnTo>
                  <a:pt x="0" y="2147"/>
                </a:lnTo>
                <a:lnTo>
                  <a:pt x="0" y="2183"/>
                </a:lnTo>
                <a:lnTo>
                  <a:pt x="2" y="2215"/>
                </a:lnTo>
                <a:lnTo>
                  <a:pt x="4" y="2246"/>
                </a:lnTo>
                <a:lnTo>
                  <a:pt x="14" y="2298"/>
                </a:lnTo>
                <a:lnTo>
                  <a:pt x="22" y="2338"/>
                </a:lnTo>
                <a:lnTo>
                  <a:pt x="32" y="2368"/>
                </a:lnTo>
                <a:lnTo>
                  <a:pt x="42" y="2390"/>
                </a:lnTo>
                <a:lnTo>
                  <a:pt x="42" y="2390"/>
                </a:lnTo>
                <a:lnTo>
                  <a:pt x="84" y="2424"/>
                </a:lnTo>
                <a:lnTo>
                  <a:pt x="128" y="2456"/>
                </a:lnTo>
                <a:lnTo>
                  <a:pt x="172" y="2484"/>
                </a:lnTo>
                <a:lnTo>
                  <a:pt x="218" y="2508"/>
                </a:lnTo>
                <a:lnTo>
                  <a:pt x="264" y="2528"/>
                </a:lnTo>
                <a:lnTo>
                  <a:pt x="312" y="2546"/>
                </a:lnTo>
                <a:lnTo>
                  <a:pt x="360" y="2562"/>
                </a:lnTo>
                <a:lnTo>
                  <a:pt x="410" y="2572"/>
                </a:lnTo>
                <a:lnTo>
                  <a:pt x="460" y="2582"/>
                </a:lnTo>
                <a:lnTo>
                  <a:pt x="510" y="2588"/>
                </a:lnTo>
                <a:lnTo>
                  <a:pt x="562" y="2590"/>
                </a:lnTo>
                <a:lnTo>
                  <a:pt x="616" y="2590"/>
                </a:lnTo>
                <a:lnTo>
                  <a:pt x="668" y="2586"/>
                </a:lnTo>
                <a:lnTo>
                  <a:pt x="722" y="2582"/>
                </a:lnTo>
                <a:lnTo>
                  <a:pt x="776" y="2572"/>
                </a:lnTo>
                <a:lnTo>
                  <a:pt x="832" y="2562"/>
                </a:lnTo>
                <a:lnTo>
                  <a:pt x="886" y="2548"/>
                </a:lnTo>
                <a:lnTo>
                  <a:pt x="942" y="2532"/>
                </a:lnTo>
                <a:lnTo>
                  <a:pt x="998" y="2514"/>
                </a:lnTo>
                <a:lnTo>
                  <a:pt x="1054" y="2492"/>
                </a:lnTo>
                <a:lnTo>
                  <a:pt x="1110" y="2468"/>
                </a:lnTo>
                <a:lnTo>
                  <a:pt x="1166" y="2444"/>
                </a:lnTo>
                <a:lnTo>
                  <a:pt x="1222" y="2416"/>
                </a:lnTo>
                <a:lnTo>
                  <a:pt x="1278" y="2386"/>
                </a:lnTo>
                <a:lnTo>
                  <a:pt x="1336" y="2352"/>
                </a:lnTo>
                <a:lnTo>
                  <a:pt x="1392" y="2318"/>
                </a:lnTo>
                <a:lnTo>
                  <a:pt x="1448" y="2282"/>
                </a:lnTo>
                <a:lnTo>
                  <a:pt x="1504" y="2244"/>
                </a:lnTo>
                <a:lnTo>
                  <a:pt x="1560" y="2203"/>
                </a:lnTo>
                <a:lnTo>
                  <a:pt x="1616" y="2161"/>
                </a:lnTo>
                <a:lnTo>
                  <a:pt x="1670" y="2117"/>
                </a:lnTo>
                <a:lnTo>
                  <a:pt x="1724" y="2071"/>
                </a:lnTo>
                <a:lnTo>
                  <a:pt x="1778" y="2025"/>
                </a:lnTo>
                <a:lnTo>
                  <a:pt x="1832" y="1975"/>
                </a:lnTo>
                <a:lnTo>
                  <a:pt x="1886" y="1925"/>
                </a:lnTo>
                <a:lnTo>
                  <a:pt x="1938" y="1871"/>
                </a:lnTo>
                <a:lnTo>
                  <a:pt x="1991" y="1817"/>
                </a:lnTo>
                <a:lnTo>
                  <a:pt x="2041" y="1763"/>
                </a:lnTo>
                <a:lnTo>
                  <a:pt x="2091" y="1705"/>
                </a:lnTo>
                <a:lnTo>
                  <a:pt x="2141" y="1647"/>
                </a:lnTo>
                <a:lnTo>
                  <a:pt x="2189" y="1589"/>
                </a:lnTo>
                <a:lnTo>
                  <a:pt x="2237" y="1529"/>
                </a:lnTo>
                <a:lnTo>
                  <a:pt x="2283" y="1467"/>
                </a:lnTo>
                <a:lnTo>
                  <a:pt x="2329" y="1403"/>
                </a:lnTo>
                <a:lnTo>
                  <a:pt x="2373" y="1339"/>
                </a:lnTo>
                <a:lnTo>
                  <a:pt x="2415" y="1275"/>
                </a:lnTo>
                <a:lnTo>
                  <a:pt x="2457" y="1209"/>
                </a:lnTo>
                <a:lnTo>
                  <a:pt x="2499" y="1143"/>
                </a:lnTo>
                <a:lnTo>
                  <a:pt x="2537" y="1076"/>
                </a:lnTo>
                <a:lnTo>
                  <a:pt x="2575" y="1008"/>
                </a:lnTo>
                <a:lnTo>
                  <a:pt x="2611" y="938"/>
                </a:lnTo>
                <a:lnTo>
                  <a:pt x="2645" y="868"/>
                </a:lnTo>
                <a:lnTo>
                  <a:pt x="2679" y="798"/>
                </a:lnTo>
                <a:lnTo>
                  <a:pt x="2711" y="728"/>
                </a:lnTo>
                <a:lnTo>
                  <a:pt x="2741" y="656"/>
                </a:lnTo>
                <a:lnTo>
                  <a:pt x="2769" y="584"/>
                </a:lnTo>
                <a:lnTo>
                  <a:pt x="2795" y="512"/>
                </a:lnTo>
                <a:lnTo>
                  <a:pt x="2819" y="440"/>
                </a:lnTo>
                <a:lnTo>
                  <a:pt x="2841" y="366"/>
                </a:lnTo>
                <a:lnTo>
                  <a:pt x="2861" y="294"/>
                </a:lnTo>
                <a:lnTo>
                  <a:pt x="2881" y="220"/>
                </a:lnTo>
                <a:lnTo>
                  <a:pt x="2897" y="146"/>
                </a:lnTo>
                <a:lnTo>
                  <a:pt x="2911" y="72"/>
                </a:lnTo>
                <a:lnTo>
                  <a:pt x="2923" y="0"/>
                </a:lnTo>
                <a:lnTo>
                  <a:pt x="2923" y="0"/>
                </a:lnTo>
                <a:lnTo>
                  <a:pt x="2885" y="98"/>
                </a:lnTo>
                <a:lnTo>
                  <a:pt x="2845" y="194"/>
                </a:lnTo>
                <a:lnTo>
                  <a:pt x="2805" y="288"/>
                </a:lnTo>
                <a:lnTo>
                  <a:pt x="2761" y="378"/>
                </a:lnTo>
                <a:lnTo>
                  <a:pt x="2717" y="466"/>
                </a:lnTo>
                <a:lnTo>
                  <a:pt x="2671" y="552"/>
                </a:lnTo>
                <a:lnTo>
                  <a:pt x="2625" y="634"/>
                </a:lnTo>
                <a:lnTo>
                  <a:pt x="2575" y="714"/>
                </a:lnTo>
                <a:lnTo>
                  <a:pt x="2527" y="790"/>
                </a:lnTo>
                <a:lnTo>
                  <a:pt x="2475" y="864"/>
                </a:lnTo>
                <a:lnTo>
                  <a:pt x="2423" y="936"/>
                </a:lnTo>
                <a:lnTo>
                  <a:pt x="2371" y="1004"/>
                </a:lnTo>
                <a:lnTo>
                  <a:pt x="2317" y="1072"/>
                </a:lnTo>
                <a:lnTo>
                  <a:pt x="2263" y="1135"/>
                </a:lnTo>
                <a:lnTo>
                  <a:pt x="2207" y="1195"/>
                </a:lnTo>
                <a:lnTo>
                  <a:pt x="2151" y="1255"/>
                </a:lnTo>
                <a:lnTo>
                  <a:pt x="2093" y="1311"/>
                </a:lnTo>
                <a:lnTo>
                  <a:pt x="2037" y="1367"/>
                </a:lnTo>
                <a:lnTo>
                  <a:pt x="1979" y="1419"/>
                </a:lnTo>
                <a:lnTo>
                  <a:pt x="1920" y="1469"/>
                </a:lnTo>
                <a:lnTo>
                  <a:pt x="1860" y="1517"/>
                </a:lnTo>
                <a:lnTo>
                  <a:pt x="1802" y="1563"/>
                </a:lnTo>
                <a:lnTo>
                  <a:pt x="1742" y="1605"/>
                </a:lnTo>
                <a:lnTo>
                  <a:pt x="1682" y="1647"/>
                </a:lnTo>
                <a:lnTo>
                  <a:pt x="1624" y="1687"/>
                </a:lnTo>
                <a:lnTo>
                  <a:pt x="1564" y="1723"/>
                </a:lnTo>
                <a:lnTo>
                  <a:pt x="1504" y="1759"/>
                </a:lnTo>
                <a:lnTo>
                  <a:pt x="1446" y="1793"/>
                </a:lnTo>
                <a:lnTo>
                  <a:pt x="1386" y="1823"/>
                </a:lnTo>
                <a:lnTo>
                  <a:pt x="1328" y="1853"/>
                </a:lnTo>
                <a:lnTo>
                  <a:pt x="1270" y="1881"/>
                </a:lnTo>
                <a:lnTo>
                  <a:pt x="1212" y="1907"/>
                </a:lnTo>
                <a:lnTo>
                  <a:pt x="1154" y="1931"/>
                </a:lnTo>
                <a:lnTo>
                  <a:pt x="1098" y="1953"/>
                </a:lnTo>
                <a:lnTo>
                  <a:pt x="1042" y="1975"/>
                </a:lnTo>
                <a:lnTo>
                  <a:pt x="986" y="1993"/>
                </a:lnTo>
                <a:lnTo>
                  <a:pt x="930" y="2011"/>
                </a:lnTo>
                <a:lnTo>
                  <a:pt x="876" y="2027"/>
                </a:lnTo>
                <a:lnTo>
                  <a:pt x="824" y="2041"/>
                </a:lnTo>
                <a:lnTo>
                  <a:pt x="772" y="2055"/>
                </a:lnTo>
                <a:lnTo>
                  <a:pt x="672" y="2077"/>
                </a:lnTo>
                <a:lnTo>
                  <a:pt x="576" y="2093"/>
                </a:lnTo>
                <a:lnTo>
                  <a:pt x="486" y="2103"/>
                </a:lnTo>
                <a:lnTo>
                  <a:pt x="400" y="2111"/>
                </a:lnTo>
                <a:lnTo>
                  <a:pt x="322" y="2111"/>
                </a:lnTo>
                <a:lnTo>
                  <a:pt x="252" y="2109"/>
                </a:lnTo>
                <a:lnTo>
                  <a:pt x="188" y="2103"/>
                </a:lnTo>
                <a:lnTo>
                  <a:pt x="160" y="2097"/>
                </a:lnTo>
                <a:lnTo>
                  <a:pt x="134" y="2093"/>
                </a:lnTo>
                <a:lnTo>
                  <a:pt x="110" y="2087"/>
                </a:lnTo>
                <a:lnTo>
                  <a:pt x="88" y="2079"/>
                </a:lnTo>
                <a:lnTo>
                  <a:pt x="68" y="2071"/>
                </a:lnTo>
                <a:lnTo>
                  <a:pt x="52" y="2063"/>
                </a:lnTo>
                <a:lnTo>
                  <a:pt x="38" y="2053"/>
                </a:lnTo>
                <a:lnTo>
                  <a:pt x="26" y="2043"/>
                </a:lnTo>
                <a:lnTo>
                  <a:pt x="16" y="2033"/>
                </a:lnTo>
                <a:lnTo>
                  <a:pt x="10" y="2021"/>
                </a:lnTo>
                <a:lnTo>
                  <a:pt x="10" y="2021"/>
                </a:lnTo>
                <a:close/>
              </a:path>
            </a:pathLst>
          </a:custGeom>
          <a:solidFill>
            <a:srgbClr val="D4E458"/>
          </a:solidFill>
          <a:ln>
            <a:noFill/>
          </a:ln>
        </p:spPr>
        <p:txBody>
          <a:bodyPr vert="horz" wrap="square" lIns="91440" tIns="45720" rIns="91440" bIns="45720" numCol="1" anchor="t" anchorCtr="0" compatLnSpc="1">
            <a:prstTxWarp prst="textNoShape">
              <a:avLst/>
            </a:prstTxWarp>
          </a:bodyPr>
          <a:lstStyle/>
          <a:p>
            <a:endParaRPr lang="de-DE" dirty="0">
              <a:latin typeface="Arial" panose="020B0604020202020204" pitchFamily="34" charset="0"/>
              <a:cs typeface="Arial" panose="020B0604020202020204" pitchFamily="34" charset="0"/>
            </a:endParaRPr>
          </a:p>
        </p:txBody>
      </p:sp>
      <p:sp>
        <p:nvSpPr>
          <p:cNvPr id="572" name="Freeform 7">
            <a:extLst>
              <a:ext uri="{FF2B5EF4-FFF2-40B4-BE49-F238E27FC236}">
                <a16:creationId xmlns:a16="http://schemas.microsoft.com/office/drawing/2014/main" id="{79BCD180-94E7-D247-B99C-2DCB7C6704C2}"/>
              </a:ext>
            </a:extLst>
          </p:cNvPr>
          <p:cNvSpPr>
            <a:spLocks/>
          </p:cNvSpPr>
          <p:nvPr/>
        </p:nvSpPr>
        <p:spPr bwMode="auto">
          <a:xfrm>
            <a:off x="7961162" y="733176"/>
            <a:ext cx="2184574" cy="2354924"/>
          </a:xfrm>
          <a:custGeom>
            <a:avLst/>
            <a:gdLst>
              <a:gd name="T0" fmla="*/ 2097 w 2629"/>
              <a:gd name="T1" fmla="*/ 4 h 2881"/>
              <a:gd name="T2" fmla="*/ 2215 w 2629"/>
              <a:gd name="T3" fmla="*/ 0 h 2881"/>
              <a:gd name="T4" fmla="*/ 2333 w 2629"/>
              <a:gd name="T5" fmla="*/ 12 h 2881"/>
              <a:gd name="T6" fmla="*/ 2427 w 2629"/>
              <a:gd name="T7" fmla="*/ 42 h 2881"/>
              <a:gd name="T8" fmla="*/ 2493 w 2629"/>
              <a:gd name="T9" fmla="*/ 125 h 2881"/>
              <a:gd name="T10" fmla="*/ 2567 w 2629"/>
              <a:gd name="T11" fmla="*/ 259 h 2881"/>
              <a:gd name="T12" fmla="*/ 2611 w 2629"/>
              <a:gd name="T13" fmla="*/ 403 h 2881"/>
              <a:gd name="T14" fmla="*/ 2629 w 2629"/>
              <a:gd name="T15" fmla="*/ 555 h 2881"/>
              <a:gd name="T16" fmla="*/ 2619 w 2629"/>
              <a:gd name="T17" fmla="*/ 711 h 2881"/>
              <a:gd name="T18" fmla="*/ 2587 w 2629"/>
              <a:gd name="T19" fmla="*/ 873 h 2881"/>
              <a:gd name="T20" fmla="*/ 2529 w 2629"/>
              <a:gd name="T21" fmla="*/ 1039 h 2881"/>
              <a:gd name="T22" fmla="*/ 2451 w 2629"/>
              <a:gd name="T23" fmla="*/ 1204 h 2881"/>
              <a:gd name="T24" fmla="*/ 2353 w 2629"/>
              <a:gd name="T25" fmla="*/ 1372 h 2881"/>
              <a:gd name="T26" fmla="*/ 2237 w 2629"/>
              <a:gd name="T27" fmla="*/ 1538 h 2881"/>
              <a:gd name="T28" fmla="*/ 2103 w 2629"/>
              <a:gd name="T29" fmla="*/ 1700 h 2881"/>
              <a:gd name="T30" fmla="*/ 1953 w 2629"/>
              <a:gd name="T31" fmla="*/ 1860 h 2881"/>
              <a:gd name="T32" fmla="*/ 1789 w 2629"/>
              <a:gd name="T33" fmla="*/ 2012 h 2881"/>
              <a:gd name="T34" fmla="*/ 1613 w 2629"/>
              <a:gd name="T35" fmla="*/ 2158 h 2881"/>
              <a:gd name="T36" fmla="*/ 1425 w 2629"/>
              <a:gd name="T37" fmla="*/ 2296 h 2881"/>
              <a:gd name="T38" fmla="*/ 1229 w 2629"/>
              <a:gd name="T39" fmla="*/ 2423 h 2881"/>
              <a:gd name="T40" fmla="*/ 1023 w 2629"/>
              <a:gd name="T41" fmla="*/ 2537 h 2881"/>
              <a:gd name="T42" fmla="*/ 811 w 2629"/>
              <a:gd name="T43" fmla="*/ 2641 h 2881"/>
              <a:gd name="T44" fmla="*/ 595 w 2629"/>
              <a:gd name="T45" fmla="*/ 2729 h 2881"/>
              <a:gd name="T46" fmla="*/ 373 w 2629"/>
              <a:gd name="T47" fmla="*/ 2801 h 2881"/>
              <a:gd name="T48" fmla="*/ 150 w 2629"/>
              <a:gd name="T49" fmla="*/ 2855 h 2881"/>
              <a:gd name="T50" fmla="*/ 0 w 2629"/>
              <a:gd name="T51" fmla="*/ 2881 h 2881"/>
              <a:gd name="T52" fmla="*/ 294 w 2629"/>
              <a:gd name="T53" fmla="*/ 2763 h 2881"/>
              <a:gd name="T54" fmla="*/ 561 w 2629"/>
              <a:gd name="T55" fmla="*/ 2633 h 2881"/>
              <a:gd name="T56" fmla="*/ 803 w 2629"/>
              <a:gd name="T57" fmla="*/ 2489 h 2881"/>
              <a:gd name="T58" fmla="*/ 1021 w 2629"/>
              <a:gd name="T59" fmla="*/ 2335 h 2881"/>
              <a:gd name="T60" fmla="*/ 1215 w 2629"/>
              <a:gd name="T61" fmla="*/ 2176 h 2881"/>
              <a:gd name="T62" fmla="*/ 1389 w 2629"/>
              <a:gd name="T63" fmla="*/ 2008 h 2881"/>
              <a:gd name="T64" fmla="*/ 1541 w 2629"/>
              <a:gd name="T65" fmla="*/ 1834 h 2881"/>
              <a:gd name="T66" fmla="*/ 1673 w 2629"/>
              <a:gd name="T67" fmla="*/ 1660 h 2881"/>
              <a:gd name="T68" fmla="*/ 1785 w 2629"/>
              <a:gd name="T69" fmla="*/ 1484 h 2881"/>
              <a:gd name="T70" fmla="*/ 1881 w 2629"/>
              <a:gd name="T71" fmla="*/ 1308 h 2881"/>
              <a:gd name="T72" fmla="*/ 1961 w 2629"/>
              <a:gd name="T73" fmla="*/ 1139 h 2881"/>
              <a:gd name="T74" fmla="*/ 2023 w 2629"/>
              <a:gd name="T75" fmla="*/ 971 h 2881"/>
              <a:gd name="T76" fmla="*/ 2073 w 2629"/>
              <a:gd name="T77" fmla="*/ 813 h 2881"/>
              <a:gd name="T78" fmla="*/ 2123 w 2629"/>
              <a:gd name="T79" fmla="*/ 567 h 2881"/>
              <a:gd name="T80" fmla="*/ 2143 w 2629"/>
              <a:gd name="T81" fmla="*/ 317 h 2881"/>
              <a:gd name="T82" fmla="*/ 2129 w 2629"/>
              <a:gd name="T83" fmla="*/ 157 h 2881"/>
              <a:gd name="T84" fmla="*/ 2109 w 2629"/>
              <a:gd name="T85" fmla="*/ 85 h 2881"/>
              <a:gd name="T86" fmla="*/ 2083 w 2629"/>
              <a:gd name="T87" fmla="*/ 36 h 2881"/>
              <a:gd name="T88" fmla="*/ 2051 w 2629"/>
              <a:gd name="T89" fmla="*/ 8 h 28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629" h="2881">
                <a:moveTo>
                  <a:pt x="2051" y="8"/>
                </a:moveTo>
                <a:lnTo>
                  <a:pt x="2051" y="8"/>
                </a:lnTo>
                <a:lnTo>
                  <a:pt x="2097" y="4"/>
                </a:lnTo>
                <a:lnTo>
                  <a:pt x="2139" y="0"/>
                </a:lnTo>
                <a:lnTo>
                  <a:pt x="2179" y="0"/>
                </a:lnTo>
                <a:lnTo>
                  <a:pt x="2215" y="0"/>
                </a:lnTo>
                <a:lnTo>
                  <a:pt x="2249" y="2"/>
                </a:lnTo>
                <a:lnTo>
                  <a:pt x="2279" y="4"/>
                </a:lnTo>
                <a:lnTo>
                  <a:pt x="2333" y="12"/>
                </a:lnTo>
                <a:lnTo>
                  <a:pt x="2373" y="22"/>
                </a:lnTo>
                <a:lnTo>
                  <a:pt x="2403" y="32"/>
                </a:lnTo>
                <a:lnTo>
                  <a:pt x="2427" y="42"/>
                </a:lnTo>
                <a:lnTo>
                  <a:pt x="2427" y="42"/>
                </a:lnTo>
                <a:lnTo>
                  <a:pt x="2461" y="81"/>
                </a:lnTo>
                <a:lnTo>
                  <a:pt x="2493" y="125"/>
                </a:lnTo>
                <a:lnTo>
                  <a:pt x="2521" y="169"/>
                </a:lnTo>
                <a:lnTo>
                  <a:pt x="2545" y="213"/>
                </a:lnTo>
                <a:lnTo>
                  <a:pt x="2567" y="259"/>
                </a:lnTo>
                <a:lnTo>
                  <a:pt x="2585" y="307"/>
                </a:lnTo>
                <a:lnTo>
                  <a:pt x="2599" y="355"/>
                </a:lnTo>
                <a:lnTo>
                  <a:pt x="2611" y="403"/>
                </a:lnTo>
                <a:lnTo>
                  <a:pt x="2621" y="453"/>
                </a:lnTo>
                <a:lnTo>
                  <a:pt x="2625" y="503"/>
                </a:lnTo>
                <a:lnTo>
                  <a:pt x="2629" y="555"/>
                </a:lnTo>
                <a:lnTo>
                  <a:pt x="2629" y="607"/>
                </a:lnTo>
                <a:lnTo>
                  <a:pt x="2625" y="659"/>
                </a:lnTo>
                <a:lnTo>
                  <a:pt x="2619" y="711"/>
                </a:lnTo>
                <a:lnTo>
                  <a:pt x="2611" y="765"/>
                </a:lnTo>
                <a:lnTo>
                  <a:pt x="2601" y="819"/>
                </a:lnTo>
                <a:lnTo>
                  <a:pt x="2587" y="873"/>
                </a:lnTo>
                <a:lnTo>
                  <a:pt x="2569" y="929"/>
                </a:lnTo>
                <a:lnTo>
                  <a:pt x="2551" y="983"/>
                </a:lnTo>
                <a:lnTo>
                  <a:pt x="2529" y="1039"/>
                </a:lnTo>
                <a:lnTo>
                  <a:pt x="2507" y="1095"/>
                </a:lnTo>
                <a:lnTo>
                  <a:pt x="2479" y="1149"/>
                </a:lnTo>
                <a:lnTo>
                  <a:pt x="2451" y="1204"/>
                </a:lnTo>
                <a:lnTo>
                  <a:pt x="2421" y="1260"/>
                </a:lnTo>
                <a:lnTo>
                  <a:pt x="2389" y="1316"/>
                </a:lnTo>
                <a:lnTo>
                  <a:pt x="2353" y="1372"/>
                </a:lnTo>
                <a:lnTo>
                  <a:pt x="2317" y="1428"/>
                </a:lnTo>
                <a:lnTo>
                  <a:pt x="2277" y="1482"/>
                </a:lnTo>
                <a:lnTo>
                  <a:pt x="2237" y="1538"/>
                </a:lnTo>
                <a:lnTo>
                  <a:pt x="2193" y="1592"/>
                </a:lnTo>
                <a:lnTo>
                  <a:pt x="2149" y="1646"/>
                </a:lnTo>
                <a:lnTo>
                  <a:pt x="2103" y="1700"/>
                </a:lnTo>
                <a:lnTo>
                  <a:pt x="2055" y="1754"/>
                </a:lnTo>
                <a:lnTo>
                  <a:pt x="2005" y="1806"/>
                </a:lnTo>
                <a:lnTo>
                  <a:pt x="1953" y="1860"/>
                </a:lnTo>
                <a:lnTo>
                  <a:pt x="1901" y="1912"/>
                </a:lnTo>
                <a:lnTo>
                  <a:pt x="1845" y="1962"/>
                </a:lnTo>
                <a:lnTo>
                  <a:pt x="1789" y="2012"/>
                </a:lnTo>
                <a:lnTo>
                  <a:pt x="1733" y="2062"/>
                </a:lnTo>
                <a:lnTo>
                  <a:pt x="1673" y="2110"/>
                </a:lnTo>
                <a:lnTo>
                  <a:pt x="1613" y="2158"/>
                </a:lnTo>
                <a:lnTo>
                  <a:pt x="1551" y="2206"/>
                </a:lnTo>
                <a:lnTo>
                  <a:pt x="1489" y="2252"/>
                </a:lnTo>
                <a:lnTo>
                  <a:pt x="1425" y="2296"/>
                </a:lnTo>
                <a:lnTo>
                  <a:pt x="1361" y="2339"/>
                </a:lnTo>
                <a:lnTo>
                  <a:pt x="1295" y="2381"/>
                </a:lnTo>
                <a:lnTo>
                  <a:pt x="1229" y="2423"/>
                </a:lnTo>
                <a:lnTo>
                  <a:pt x="1161" y="2461"/>
                </a:lnTo>
                <a:lnTo>
                  <a:pt x="1093" y="2501"/>
                </a:lnTo>
                <a:lnTo>
                  <a:pt x="1023" y="2537"/>
                </a:lnTo>
                <a:lnTo>
                  <a:pt x="953" y="2573"/>
                </a:lnTo>
                <a:lnTo>
                  <a:pt x="883" y="2607"/>
                </a:lnTo>
                <a:lnTo>
                  <a:pt x="811" y="2641"/>
                </a:lnTo>
                <a:lnTo>
                  <a:pt x="739" y="2671"/>
                </a:lnTo>
                <a:lnTo>
                  <a:pt x="667" y="2701"/>
                </a:lnTo>
                <a:lnTo>
                  <a:pt x="595" y="2729"/>
                </a:lnTo>
                <a:lnTo>
                  <a:pt x="521" y="2755"/>
                </a:lnTo>
                <a:lnTo>
                  <a:pt x="447" y="2779"/>
                </a:lnTo>
                <a:lnTo>
                  <a:pt x="373" y="2801"/>
                </a:lnTo>
                <a:lnTo>
                  <a:pt x="298" y="2821"/>
                </a:lnTo>
                <a:lnTo>
                  <a:pt x="224" y="2839"/>
                </a:lnTo>
                <a:lnTo>
                  <a:pt x="150" y="2855"/>
                </a:lnTo>
                <a:lnTo>
                  <a:pt x="76" y="2869"/>
                </a:lnTo>
                <a:lnTo>
                  <a:pt x="0" y="2881"/>
                </a:lnTo>
                <a:lnTo>
                  <a:pt x="0" y="2881"/>
                </a:lnTo>
                <a:lnTo>
                  <a:pt x="102" y="2843"/>
                </a:lnTo>
                <a:lnTo>
                  <a:pt x="200" y="2805"/>
                </a:lnTo>
                <a:lnTo>
                  <a:pt x="294" y="2763"/>
                </a:lnTo>
                <a:lnTo>
                  <a:pt x="387" y="2721"/>
                </a:lnTo>
                <a:lnTo>
                  <a:pt x="475" y="2677"/>
                </a:lnTo>
                <a:lnTo>
                  <a:pt x="561" y="2633"/>
                </a:lnTo>
                <a:lnTo>
                  <a:pt x="645" y="2587"/>
                </a:lnTo>
                <a:lnTo>
                  <a:pt x="725" y="2539"/>
                </a:lnTo>
                <a:lnTo>
                  <a:pt x="803" y="2489"/>
                </a:lnTo>
                <a:lnTo>
                  <a:pt x="879" y="2439"/>
                </a:lnTo>
                <a:lnTo>
                  <a:pt x="951" y="2389"/>
                </a:lnTo>
                <a:lnTo>
                  <a:pt x="1021" y="2335"/>
                </a:lnTo>
                <a:lnTo>
                  <a:pt x="1089" y="2284"/>
                </a:lnTo>
                <a:lnTo>
                  <a:pt x="1153" y="2230"/>
                </a:lnTo>
                <a:lnTo>
                  <a:pt x="1215" y="2176"/>
                </a:lnTo>
                <a:lnTo>
                  <a:pt x="1275" y="2120"/>
                </a:lnTo>
                <a:lnTo>
                  <a:pt x="1333" y="2064"/>
                </a:lnTo>
                <a:lnTo>
                  <a:pt x="1389" y="2008"/>
                </a:lnTo>
                <a:lnTo>
                  <a:pt x="1441" y="1950"/>
                </a:lnTo>
                <a:lnTo>
                  <a:pt x="1491" y="1892"/>
                </a:lnTo>
                <a:lnTo>
                  <a:pt x="1541" y="1834"/>
                </a:lnTo>
                <a:lnTo>
                  <a:pt x="1587" y="1776"/>
                </a:lnTo>
                <a:lnTo>
                  <a:pt x="1631" y="1718"/>
                </a:lnTo>
                <a:lnTo>
                  <a:pt x="1673" y="1660"/>
                </a:lnTo>
                <a:lnTo>
                  <a:pt x="1713" y="1600"/>
                </a:lnTo>
                <a:lnTo>
                  <a:pt x="1749" y="1542"/>
                </a:lnTo>
                <a:lnTo>
                  <a:pt x="1785" y="1484"/>
                </a:lnTo>
                <a:lnTo>
                  <a:pt x="1819" y="1424"/>
                </a:lnTo>
                <a:lnTo>
                  <a:pt x="1851" y="1366"/>
                </a:lnTo>
                <a:lnTo>
                  <a:pt x="1881" y="1308"/>
                </a:lnTo>
                <a:lnTo>
                  <a:pt x="1909" y="1252"/>
                </a:lnTo>
                <a:lnTo>
                  <a:pt x="1935" y="1194"/>
                </a:lnTo>
                <a:lnTo>
                  <a:pt x="1961" y="1139"/>
                </a:lnTo>
                <a:lnTo>
                  <a:pt x="1983" y="1083"/>
                </a:lnTo>
                <a:lnTo>
                  <a:pt x="2003" y="1027"/>
                </a:lnTo>
                <a:lnTo>
                  <a:pt x="2023" y="971"/>
                </a:lnTo>
                <a:lnTo>
                  <a:pt x="2041" y="917"/>
                </a:lnTo>
                <a:lnTo>
                  <a:pt x="2057" y="865"/>
                </a:lnTo>
                <a:lnTo>
                  <a:pt x="2073" y="813"/>
                </a:lnTo>
                <a:lnTo>
                  <a:pt x="2085" y="761"/>
                </a:lnTo>
                <a:lnTo>
                  <a:pt x="2107" y="661"/>
                </a:lnTo>
                <a:lnTo>
                  <a:pt x="2123" y="567"/>
                </a:lnTo>
                <a:lnTo>
                  <a:pt x="2135" y="477"/>
                </a:lnTo>
                <a:lnTo>
                  <a:pt x="2141" y="395"/>
                </a:lnTo>
                <a:lnTo>
                  <a:pt x="2143" y="317"/>
                </a:lnTo>
                <a:lnTo>
                  <a:pt x="2141" y="247"/>
                </a:lnTo>
                <a:lnTo>
                  <a:pt x="2133" y="185"/>
                </a:lnTo>
                <a:lnTo>
                  <a:pt x="2129" y="157"/>
                </a:lnTo>
                <a:lnTo>
                  <a:pt x="2123" y="131"/>
                </a:lnTo>
                <a:lnTo>
                  <a:pt x="2117" y="107"/>
                </a:lnTo>
                <a:lnTo>
                  <a:pt x="2109" y="85"/>
                </a:lnTo>
                <a:lnTo>
                  <a:pt x="2101" y="67"/>
                </a:lnTo>
                <a:lnTo>
                  <a:pt x="2093" y="49"/>
                </a:lnTo>
                <a:lnTo>
                  <a:pt x="2083" y="36"/>
                </a:lnTo>
                <a:lnTo>
                  <a:pt x="2073" y="24"/>
                </a:lnTo>
                <a:lnTo>
                  <a:pt x="2063" y="16"/>
                </a:lnTo>
                <a:lnTo>
                  <a:pt x="2051" y="8"/>
                </a:lnTo>
                <a:lnTo>
                  <a:pt x="2051" y="8"/>
                </a:lnTo>
                <a:close/>
              </a:path>
            </a:pathLst>
          </a:custGeom>
          <a:solidFill>
            <a:srgbClr val="D4E458"/>
          </a:solidFill>
          <a:ln>
            <a:noFill/>
          </a:ln>
        </p:spPr>
        <p:txBody>
          <a:bodyPr vert="horz" wrap="square" lIns="91440" tIns="45720" rIns="91440" bIns="45720" numCol="1" anchor="t" anchorCtr="0" compatLnSpc="1">
            <a:prstTxWarp prst="textNoShape">
              <a:avLst/>
            </a:prstTxWarp>
          </a:bodyPr>
          <a:lstStyle/>
          <a:p>
            <a:endParaRPr lang="de-DE" dirty="0">
              <a:latin typeface="Arial" panose="020B0604020202020204" pitchFamily="34" charset="0"/>
              <a:cs typeface="Arial" panose="020B0604020202020204" pitchFamily="34" charset="0"/>
            </a:endParaRPr>
          </a:p>
        </p:txBody>
      </p:sp>
      <p:grpSp>
        <p:nvGrpSpPr>
          <p:cNvPr id="251" name="Gruppieren 250">
            <a:extLst>
              <a:ext uri="{FF2B5EF4-FFF2-40B4-BE49-F238E27FC236}">
                <a16:creationId xmlns:a16="http://schemas.microsoft.com/office/drawing/2014/main" id="{583C6D4D-3E55-9D43-A0F3-D897738C467B}"/>
              </a:ext>
            </a:extLst>
          </p:cNvPr>
          <p:cNvGrpSpPr/>
          <p:nvPr/>
        </p:nvGrpSpPr>
        <p:grpSpPr>
          <a:xfrm>
            <a:off x="3379160" y="613102"/>
            <a:ext cx="8222158" cy="3772400"/>
            <a:chOff x="2294450" y="1642150"/>
            <a:chExt cx="8744981" cy="4012276"/>
          </a:xfrm>
          <a:gradFill>
            <a:gsLst>
              <a:gs pos="0">
                <a:schemeClr val="tx2">
                  <a:lumMod val="20000"/>
                  <a:lumOff val="80000"/>
                </a:schemeClr>
              </a:gs>
              <a:gs pos="99000">
                <a:schemeClr val="accent2">
                  <a:lumMod val="20000"/>
                  <a:lumOff val="80000"/>
                </a:schemeClr>
              </a:gs>
            </a:gsLst>
            <a:lin ang="5400000" scaled="1"/>
          </a:gradFill>
        </p:grpSpPr>
        <p:sp>
          <p:nvSpPr>
            <p:cNvPr id="252" name="Zimbabwe">
              <a:extLst>
                <a:ext uri="{FF2B5EF4-FFF2-40B4-BE49-F238E27FC236}">
                  <a16:creationId xmlns:a16="http://schemas.microsoft.com/office/drawing/2014/main" id="{B58BFA52-4183-C045-9306-2C6699EF3776}"/>
                </a:ext>
              </a:extLst>
            </p:cNvPr>
            <p:cNvSpPr>
              <a:spLocks/>
            </p:cNvSpPr>
            <p:nvPr/>
          </p:nvSpPr>
          <p:spPr bwMode="auto">
            <a:xfrm>
              <a:off x="7021323" y="4455991"/>
              <a:ext cx="204114" cy="199739"/>
            </a:xfrm>
            <a:custGeom>
              <a:avLst/>
              <a:gdLst>
                <a:gd name="T0" fmla="*/ 67 w 140"/>
                <a:gd name="T1" fmla="*/ 132 h 137"/>
                <a:gd name="T2" fmla="*/ 66 w 140"/>
                <a:gd name="T3" fmla="*/ 127 h 137"/>
                <a:gd name="T4" fmla="*/ 62 w 140"/>
                <a:gd name="T5" fmla="*/ 126 h 137"/>
                <a:gd name="T6" fmla="*/ 55 w 140"/>
                <a:gd name="T7" fmla="*/ 123 h 137"/>
                <a:gd name="T8" fmla="*/ 46 w 140"/>
                <a:gd name="T9" fmla="*/ 120 h 137"/>
                <a:gd name="T10" fmla="*/ 41 w 140"/>
                <a:gd name="T11" fmla="*/ 112 h 137"/>
                <a:gd name="T12" fmla="*/ 41 w 140"/>
                <a:gd name="T13" fmla="*/ 107 h 137"/>
                <a:gd name="T14" fmla="*/ 38 w 140"/>
                <a:gd name="T15" fmla="*/ 99 h 137"/>
                <a:gd name="T16" fmla="*/ 35 w 140"/>
                <a:gd name="T17" fmla="*/ 94 h 137"/>
                <a:gd name="T18" fmla="*/ 29 w 140"/>
                <a:gd name="T19" fmla="*/ 89 h 137"/>
                <a:gd name="T20" fmla="*/ 25 w 140"/>
                <a:gd name="T21" fmla="*/ 88 h 137"/>
                <a:gd name="T22" fmla="*/ 21 w 140"/>
                <a:gd name="T23" fmla="*/ 84 h 137"/>
                <a:gd name="T24" fmla="*/ 19 w 140"/>
                <a:gd name="T25" fmla="*/ 82 h 137"/>
                <a:gd name="T26" fmla="*/ 12 w 140"/>
                <a:gd name="T27" fmla="*/ 70 h 137"/>
                <a:gd name="T28" fmla="*/ 9 w 140"/>
                <a:gd name="T29" fmla="*/ 61 h 137"/>
                <a:gd name="T30" fmla="*/ 0 w 140"/>
                <a:gd name="T31" fmla="*/ 44 h 137"/>
                <a:gd name="T32" fmla="*/ 6 w 140"/>
                <a:gd name="T33" fmla="*/ 44 h 137"/>
                <a:gd name="T34" fmla="*/ 9 w 140"/>
                <a:gd name="T35" fmla="*/ 44 h 137"/>
                <a:gd name="T36" fmla="*/ 12 w 140"/>
                <a:gd name="T37" fmla="*/ 48 h 137"/>
                <a:gd name="T38" fmla="*/ 15 w 140"/>
                <a:gd name="T39" fmla="*/ 47 h 137"/>
                <a:gd name="T40" fmla="*/ 21 w 140"/>
                <a:gd name="T41" fmla="*/ 47 h 137"/>
                <a:gd name="T42" fmla="*/ 32 w 140"/>
                <a:gd name="T43" fmla="*/ 48 h 137"/>
                <a:gd name="T44" fmla="*/ 43 w 140"/>
                <a:gd name="T45" fmla="*/ 32 h 137"/>
                <a:gd name="T46" fmla="*/ 62 w 140"/>
                <a:gd name="T47" fmla="*/ 19 h 137"/>
                <a:gd name="T48" fmla="*/ 66 w 140"/>
                <a:gd name="T49" fmla="*/ 15 h 137"/>
                <a:gd name="T50" fmla="*/ 69 w 140"/>
                <a:gd name="T51" fmla="*/ 6 h 137"/>
                <a:gd name="T52" fmla="*/ 74 w 140"/>
                <a:gd name="T53" fmla="*/ 2 h 137"/>
                <a:gd name="T54" fmla="*/ 92 w 140"/>
                <a:gd name="T55" fmla="*/ 0 h 137"/>
                <a:gd name="T56" fmla="*/ 105 w 140"/>
                <a:gd name="T57" fmla="*/ 7 h 137"/>
                <a:gd name="T58" fmla="*/ 107 w 140"/>
                <a:gd name="T59" fmla="*/ 8 h 137"/>
                <a:gd name="T60" fmla="*/ 112 w 140"/>
                <a:gd name="T61" fmla="*/ 9 h 137"/>
                <a:gd name="T62" fmla="*/ 115 w 140"/>
                <a:gd name="T63" fmla="*/ 12 h 137"/>
                <a:gd name="T64" fmla="*/ 120 w 140"/>
                <a:gd name="T65" fmla="*/ 16 h 137"/>
                <a:gd name="T66" fmla="*/ 129 w 140"/>
                <a:gd name="T67" fmla="*/ 16 h 137"/>
                <a:gd name="T68" fmla="*/ 136 w 140"/>
                <a:gd name="T69" fmla="*/ 22 h 137"/>
                <a:gd name="T70" fmla="*/ 139 w 140"/>
                <a:gd name="T71" fmla="*/ 25 h 137"/>
                <a:gd name="T72" fmla="*/ 140 w 140"/>
                <a:gd name="T73" fmla="*/ 34 h 137"/>
                <a:gd name="T74" fmla="*/ 139 w 140"/>
                <a:gd name="T75" fmla="*/ 39 h 137"/>
                <a:gd name="T76" fmla="*/ 140 w 140"/>
                <a:gd name="T77" fmla="*/ 43 h 137"/>
                <a:gd name="T78" fmla="*/ 139 w 140"/>
                <a:gd name="T79" fmla="*/ 47 h 137"/>
                <a:gd name="T80" fmla="*/ 139 w 140"/>
                <a:gd name="T81" fmla="*/ 48 h 137"/>
                <a:gd name="T82" fmla="*/ 139 w 140"/>
                <a:gd name="T83" fmla="*/ 53 h 137"/>
                <a:gd name="T84" fmla="*/ 139 w 140"/>
                <a:gd name="T85" fmla="*/ 56 h 137"/>
                <a:gd name="T86" fmla="*/ 138 w 140"/>
                <a:gd name="T87" fmla="*/ 62 h 137"/>
                <a:gd name="T88" fmla="*/ 133 w 140"/>
                <a:gd name="T89" fmla="*/ 66 h 137"/>
                <a:gd name="T90" fmla="*/ 136 w 140"/>
                <a:gd name="T91" fmla="*/ 70 h 137"/>
                <a:gd name="T92" fmla="*/ 135 w 140"/>
                <a:gd name="T93" fmla="*/ 83 h 137"/>
                <a:gd name="T94" fmla="*/ 136 w 140"/>
                <a:gd name="T95" fmla="*/ 83 h 137"/>
                <a:gd name="T96" fmla="*/ 138 w 140"/>
                <a:gd name="T97" fmla="*/ 89 h 137"/>
                <a:gd name="T98" fmla="*/ 135 w 140"/>
                <a:gd name="T99" fmla="*/ 92 h 137"/>
                <a:gd name="T100" fmla="*/ 128 w 140"/>
                <a:gd name="T101" fmla="*/ 101 h 137"/>
                <a:gd name="T102" fmla="*/ 127 w 140"/>
                <a:gd name="T103" fmla="*/ 109 h 137"/>
                <a:gd name="T104" fmla="*/ 125 w 140"/>
                <a:gd name="T105" fmla="*/ 114 h 137"/>
                <a:gd name="T106" fmla="*/ 125 w 140"/>
                <a:gd name="T107" fmla="*/ 117 h 137"/>
                <a:gd name="T108" fmla="*/ 99 w 140"/>
                <a:gd name="T109" fmla="*/ 135 h 137"/>
                <a:gd name="T110" fmla="*/ 86 w 140"/>
                <a:gd name="T111" fmla="*/ 136 h 137"/>
                <a:gd name="T112" fmla="*/ 75 w 140"/>
                <a:gd name="T113" fmla="*/ 133 h 137"/>
                <a:gd name="T114" fmla="*/ 69 w 140"/>
                <a:gd name="T115" fmla="*/ 134 h 1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40" h="137">
                  <a:moveTo>
                    <a:pt x="69" y="134"/>
                  </a:moveTo>
                  <a:lnTo>
                    <a:pt x="68" y="132"/>
                  </a:lnTo>
                  <a:lnTo>
                    <a:pt x="67" y="132"/>
                  </a:lnTo>
                  <a:lnTo>
                    <a:pt x="65" y="130"/>
                  </a:lnTo>
                  <a:lnTo>
                    <a:pt x="65" y="128"/>
                  </a:lnTo>
                  <a:lnTo>
                    <a:pt x="66" y="127"/>
                  </a:lnTo>
                  <a:lnTo>
                    <a:pt x="65" y="127"/>
                  </a:lnTo>
                  <a:lnTo>
                    <a:pt x="63" y="126"/>
                  </a:lnTo>
                  <a:lnTo>
                    <a:pt x="62" y="126"/>
                  </a:lnTo>
                  <a:lnTo>
                    <a:pt x="59" y="124"/>
                  </a:lnTo>
                  <a:lnTo>
                    <a:pt x="58" y="123"/>
                  </a:lnTo>
                  <a:lnTo>
                    <a:pt x="55" y="123"/>
                  </a:lnTo>
                  <a:lnTo>
                    <a:pt x="52" y="121"/>
                  </a:lnTo>
                  <a:lnTo>
                    <a:pt x="47" y="121"/>
                  </a:lnTo>
                  <a:lnTo>
                    <a:pt x="46" y="120"/>
                  </a:lnTo>
                  <a:lnTo>
                    <a:pt x="45" y="116"/>
                  </a:lnTo>
                  <a:lnTo>
                    <a:pt x="43" y="114"/>
                  </a:lnTo>
                  <a:lnTo>
                    <a:pt x="41" y="112"/>
                  </a:lnTo>
                  <a:lnTo>
                    <a:pt x="42" y="110"/>
                  </a:lnTo>
                  <a:lnTo>
                    <a:pt x="41" y="108"/>
                  </a:lnTo>
                  <a:lnTo>
                    <a:pt x="41" y="107"/>
                  </a:lnTo>
                  <a:lnTo>
                    <a:pt x="42" y="104"/>
                  </a:lnTo>
                  <a:lnTo>
                    <a:pt x="42" y="99"/>
                  </a:lnTo>
                  <a:lnTo>
                    <a:pt x="38" y="99"/>
                  </a:lnTo>
                  <a:lnTo>
                    <a:pt x="35" y="99"/>
                  </a:lnTo>
                  <a:lnTo>
                    <a:pt x="34" y="100"/>
                  </a:lnTo>
                  <a:lnTo>
                    <a:pt x="35" y="94"/>
                  </a:lnTo>
                  <a:lnTo>
                    <a:pt x="34" y="92"/>
                  </a:lnTo>
                  <a:lnTo>
                    <a:pt x="31" y="89"/>
                  </a:lnTo>
                  <a:lnTo>
                    <a:pt x="29" y="89"/>
                  </a:lnTo>
                  <a:lnTo>
                    <a:pt x="28" y="89"/>
                  </a:lnTo>
                  <a:lnTo>
                    <a:pt x="27" y="88"/>
                  </a:lnTo>
                  <a:lnTo>
                    <a:pt x="25" y="88"/>
                  </a:lnTo>
                  <a:lnTo>
                    <a:pt x="23" y="86"/>
                  </a:lnTo>
                  <a:lnTo>
                    <a:pt x="22" y="84"/>
                  </a:lnTo>
                  <a:lnTo>
                    <a:pt x="21" y="84"/>
                  </a:lnTo>
                  <a:lnTo>
                    <a:pt x="20" y="83"/>
                  </a:lnTo>
                  <a:lnTo>
                    <a:pt x="20" y="82"/>
                  </a:lnTo>
                  <a:lnTo>
                    <a:pt x="19" y="82"/>
                  </a:lnTo>
                  <a:lnTo>
                    <a:pt x="19" y="81"/>
                  </a:lnTo>
                  <a:lnTo>
                    <a:pt x="15" y="80"/>
                  </a:lnTo>
                  <a:lnTo>
                    <a:pt x="12" y="70"/>
                  </a:lnTo>
                  <a:lnTo>
                    <a:pt x="12" y="67"/>
                  </a:lnTo>
                  <a:lnTo>
                    <a:pt x="9" y="64"/>
                  </a:lnTo>
                  <a:lnTo>
                    <a:pt x="9" y="61"/>
                  </a:lnTo>
                  <a:lnTo>
                    <a:pt x="7" y="60"/>
                  </a:lnTo>
                  <a:lnTo>
                    <a:pt x="5" y="56"/>
                  </a:lnTo>
                  <a:lnTo>
                    <a:pt x="0" y="44"/>
                  </a:lnTo>
                  <a:lnTo>
                    <a:pt x="1" y="43"/>
                  </a:lnTo>
                  <a:lnTo>
                    <a:pt x="2" y="44"/>
                  </a:lnTo>
                  <a:lnTo>
                    <a:pt x="6" y="44"/>
                  </a:lnTo>
                  <a:lnTo>
                    <a:pt x="7" y="44"/>
                  </a:lnTo>
                  <a:lnTo>
                    <a:pt x="8" y="44"/>
                  </a:lnTo>
                  <a:lnTo>
                    <a:pt x="9" y="44"/>
                  </a:lnTo>
                  <a:lnTo>
                    <a:pt x="11" y="46"/>
                  </a:lnTo>
                  <a:lnTo>
                    <a:pt x="11" y="47"/>
                  </a:lnTo>
                  <a:lnTo>
                    <a:pt x="12" y="48"/>
                  </a:lnTo>
                  <a:lnTo>
                    <a:pt x="13" y="48"/>
                  </a:lnTo>
                  <a:lnTo>
                    <a:pt x="15" y="48"/>
                  </a:lnTo>
                  <a:lnTo>
                    <a:pt x="15" y="47"/>
                  </a:lnTo>
                  <a:lnTo>
                    <a:pt x="18" y="46"/>
                  </a:lnTo>
                  <a:lnTo>
                    <a:pt x="18" y="47"/>
                  </a:lnTo>
                  <a:lnTo>
                    <a:pt x="21" y="47"/>
                  </a:lnTo>
                  <a:lnTo>
                    <a:pt x="27" y="49"/>
                  </a:lnTo>
                  <a:lnTo>
                    <a:pt x="28" y="48"/>
                  </a:lnTo>
                  <a:lnTo>
                    <a:pt x="32" y="48"/>
                  </a:lnTo>
                  <a:lnTo>
                    <a:pt x="38" y="40"/>
                  </a:lnTo>
                  <a:lnTo>
                    <a:pt x="43" y="34"/>
                  </a:lnTo>
                  <a:lnTo>
                    <a:pt x="43" y="32"/>
                  </a:lnTo>
                  <a:lnTo>
                    <a:pt x="47" y="27"/>
                  </a:lnTo>
                  <a:lnTo>
                    <a:pt x="55" y="22"/>
                  </a:lnTo>
                  <a:lnTo>
                    <a:pt x="62" y="19"/>
                  </a:lnTo>
                  <a:lnTo>
                    <a:pt x="65" y="17"/>
                  </a:lnTo>
                  <a:lnTo>
                    <a:pt x="66" y="17"/>
                  </a:lnTo>
                  <a:lnTo>
                    <a:pt x="66" y="15"/>
                  </a:lnTo>
                  <a:lnTo>
                    <a:pt x="67" y="8"/>
                  </a:lnTo>
                  <a:lnTo>
                    <a:pt x="68" y="6"/>
                  </a:lnTo>
                  <a:lnTo>
                    <a:pt x="69" y="6"/>
                  </a:lnTo>
                  <a:lnTo>
                    <a:pt x="71" y="5"/>
                  </a:lnTo>
                  <a:lnTo>
                    <a:pt x="73" y="3"/>
                  </a:lnTo>
                  <a:lnTo>
                    <a:pt x="74" y="2"/>
                  </a:lnTo>
                  <a:lnTo>
                    <a:pt x="79" y="0"/>
                  </a:lnTo>
                  <a:lnTo>
                    <a:pt x="83" y="0"/>
                  </a:lnTo>
                  <a:lnTo>
                    <a:pt x="92" y="0"/>
                  </a:lnTo>
                  <a:lnTo>
                    <a:pt x="95" y="0"/>
                  </a:lnTo>
                  <a:lnTo>
                    <a:pt x="94" y="7"/>
                  </a:lnTo>
                  <a:lnTo>
                    <a:pt x="105" y="7"/>
                  </a:lnTo>
                  <a:lnTo>
                    <a:pt x="103" y="8"/>
                  </a:lnTo>
                  <a:lnTo>
                    <a:pt x="106" y="8"/>
                  </a:lnTo>
                  <a:lnTo>
                    <a:pt x="107" y="8"/>
                  </a:lnTo>
                  <a:lnTo>
                    <a:pt x="107" y="7"/>
                  </a:lnTo>
                  <a:lnTo>
                    <a:pt x="111" y="8"/>
                  </a:lnTo>
                  <a:lnTo>
                    <a:pt x="112" y="9"/>
                  </a:lnTo>
                  <a:lnTo>
                    <a:pt x="113" y="10"/>
                  </a:lnTo>
                  <a:lnTo>
                    <a:pt x="114" y="10"/>
                  </a:lnTo>
                  <a:lnTo>
                    <a:pt x="115" y="12"/>
                  </a:lnTo>
                  <a:lnTo>
                    <a:pt x="118" y="12"/>
                  </a:lnTo>
                  <a:lnTo>
                    <a:pt x="120" y="14"/>
                  </a:lnTo>
                  <a:lnTo>
                    <a:pt x="120" y="16"/>
                  </a:lnTo>
                  <a:lnTo>
                    <a:pt x="123" y="16"/>
                  </a:lnTo>
                  <a:lnTo>
                    <a:pt x="127" y="16"/>
                  </a:lnTo>
                  <a:lnTo>
                    <a:pt x="129" y="16"/>
                  </a:lnTo>
                  <a:lnTo>
                    <a:pt x="135" y="19"/>
                  </a:lnTo>
                  <a:lnTo>
                    <a:pt x="135" y="21"/>
                  </a:lnTo>
                  <a:lnTo>
                    <a:pt x="136" y="22"/>
                  </a:lnTo>
                  <a:lnTo>
                    <a:pt x="139" y="21"/>
                  </a:lnTo>
                  <a:lnTo>
                    <a:pt x="140" y="22"/>
                  </a:lnTo>
                  <a:lnTo>
                    <a:pt x="139" y="25"/>
                  </a:lnTo>
                  <a:lnTo>
                    <a:pt x="138" y="26"/>
                  </a:lnTo>
                  <a:lnTo>
                    <a:pt x="139" y="30"/>
                  </a:lnTo>
                  <a:lnTo>
                    <a:pt x="140" y="34"/>
                  </a:lnTo>
                  <a:lnTo>
                    <a:pt x="140" y="35"/>
                  </a:lnTo>
                  <a:lnTo>
                    <a:pt x="140" y="37"/>
                  </a:lnTo>
                  <a:lnTo>
                    <a:pt x="139" y="39"/>
                  </a:lnTo>
                  <a:lnTo>
                    <a:pt x="140" y="40"/>
                  </a:lnTo>
                  <a:lnTo>
                    <a:pt x="140" y="42"/>
                  </a:lnTo>
                  <a:lnTo>
                    <a:pt x="140" y="43"/>
                  </a:lnTo>
                  <a:lnTo>
                    <a:pt x="139" y="43"/>
                  </a:lnTo>
                  <a:lnTo>
                    <a:pt x="139" y="46"/>
                  </a:lnTo>
                  <a:lnTo>
                    <a:pt x="139" y="47"/>
                  </a:lnTo>
                  <a:lnTo>
                    <a:pt x="139" y="48"/>
                  </a:lnTo>
                  <a:lnTo>
                    <a:pt x="139" y="48"/>
                  </a:lnTo>
                  <a:lnTo>
                    <a:pt x="139" y="48"/>
                  </a:lnTo>
                  <a:lnTo>
                    <a:pt x="139" y="49"/>
                  </a:lnTo>
                  <a:lnTo>
                    <a:pt x="139" y="52"/>
                  </a:lnTo>
                  <a:lnTo>
                    <a:pt x="139" y="53"/>
                  </a:lnTo>
                  <a:lnTo>
                    <a:pt x="140" y="55"/>
                  </a:lnTo>
                  <a:lnTo>
                    <a:pt x="140" y="55"/>
                  </a:lnTo>
                  <a:lnTo>
                    <a:pt x="139" y="56"/>
                  </a:lnTo>
                  <a:lnTo>
                    <a:pt x="139" y="57"/>
                  </a:lnTo>
                  <a:lnTo>
                    <a:pt x="136" y="60"/>
                  </a:lnTo>
                  <a:lnTo>
                    <a:pt x="138" y="62"/>
                  </a:lnTo>
                  <a:lnTo>
                    <a:pt x="136" y="63"/>
                  </a:lnTo>
                  <a:lnTo>
                    <a:pt x="136" y="64"/>
                  </a:lnTo>
                  <a:lnTo>
                    <a:pt x="133" y="66"/>
                  </a:lnTo>
                  <a:lnTo>
                    <a:pt x="133" y="69"/>
                  </a:lnTo>
                  <a:lnTo>
                    <a:pt x="135" y="69"/>
                  </a:lnTo>
                  <a:lnTo>
                    <a:pt x="136" y="70"/>
                  </a:lnTo>
                  <a:lnTo>
                    <a:pt x="134" y="79"/>
                  </a:lnTo>
                  <a:lnTo>
                    <a:pt x="135" y="79"/>
                  </a:lnTo>
                  <a:lnTo>
                    <a:pt x="135" y="83"/>
                  </a:lnTo>
                  <a:lnTo>
                    <a:pt x="136" y="83"/>
                  </a:lnTo>
                  <a:lnTo>
                    <a:pt x="136" y="82"/>
                  </a:lnTo>
                  <a:lnTo>
                    <a:pt x="136" y="83"/>
                  </a:lnTo>
                  <a:lnTo>
                    <a:pt x="139" y="84"/>
                  </a:lnTo>
                  <a:lnTo>
                    <a:pt x="138" y="88"/>
                  </a:lnTo>
                  <a:lnTo>
                    <a:pt x="138" y="89"/>
                  </a:lnTo>
                  <a:lnTo>
                    <a:pt x="136" y="89"/>
                  </a:lnTo>
                  <a:lnTo>
                    <a:pt x="136" y="90"/>
                  </a:lnTo>
                  <a:lnTo>
                    <a:pt x="135" y="92"/>
                  </a:lnTo>
                  <a:lnTo>
                    <a:pt x="135" y="94"/>
                  </a:lnTo>
                  <a:lnTo>
                    <a:pt x="131" y="101"/>
                  </a:lnTo>
                  <a:lnTo>
                    <a:pt x="128" y="101"/>
                  </a:lnTo>
                  <a:lnTo>
                    <a:pt x="127" y="101"/>
                  </a:lnTo>
                  <a:lnTo>
                    <a:pt x="127" y="108"/>
                  </a:lnTo>
                  <a:lnTo>
                    <a:pt x="127" y="109"/>
                  </a:lnTo>
                  <a:lnTo>
                    <a:pt x="125" y="113"/>
                  </a:lnTo>
                  <a:lnTo>
                    <a:pt x="126" y="113"/>
                  </a:lnTo>
                  <a:lnTo>
                    <a:pt x="125" y="114"/>
                  </a:lnTo>
                  <a:lnTo>
                    <a:pt x="127" y="117"/>
                  </a:lnTo>
                  <a:lnTo>
                    <a:pt x="126" y="116"/>
                  </a:lnTo>
                  <a:lnTo>
                    <a:pt x="125" y="117"/>
                  </a:lnTo>
                  <a:lnTo>
                    <a:pt x="105" y="136"/>
                  </a:lnTo>
                  <a:lnTo>
                    <a:pt x="101" y="136"/>
                  </a:lnTo>
                  <a:lnTo>
                    <a:pt x="99" y="135"/>
                  </a:lnTo>
                  <a:lnTo>
                    <a:pt x="88" y="137"/>
                  </a:lnTo>
                  <a:lnTo>
                    <a:pt x="87" y="137"/>
                  </a:lnTo>
                  <a:lnTo>
                    <a:pt x="86" y="136"/>
                  </a:lnTo>
                  <a:lnTo>
                    <a:pt x="83" y="136"/>
                  </a:lnTo>
                  <a:lnTo>
                    <a:pt x="80" y="134"/>
                  </a:lnTo>
                  <a:lnTo>
                    <a:pt x="75" y="133"/>
                  </a:lnTo>
                  <a:lnTo>
                    <a:pt x="73" y="134"/>
                  </a:lnTo>
                  <a:lnTo>
                    <a:pt x="71" y="134"/>
                  </a:lnTo>
                  <a:lnTo>
                    <a:pt x="69" y="134"/>
                  </a:lnTo>
                  <a:lnTo>
                    <a:pt x="69" y="134"/>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253" name="Yemen">
              <a:extLst>
                <a:ext uri="{FF2B5EF4-FFF2-40B4-BE49-F238E27FC236}">
                  <a16:creationId xmlns:a16="http://schemas.microsoft.com/office/drawing/2014/main" id="{FA18A40D-FD99-0942-9EAB-DAA0A539A7BC}"/>
                </a:ext>
              </a:extLst>
            </p:cNvPr>
            <p:cNvSpPr>
              <a:spLocks noEditPoints="1"/>
            </p:cNvSpPr>
            <p:nvPr/>
          </p:nvSpPr>
          <p:spPr bwMode="auto">
            <a:xfrm>
              <a:off x="7479119" y="3428137"/>
              <a:ext cx="310542" cy="190991"/>
            </a:xfrm>
            <a:custGeom>
              <a:avLst/>
              <a:gdLst>
                <a:gd name="T0" fmla="*/ 212 w 213"/>
                <a:gd name="T1" fmla="*/ 127 h 131"/>
                <a:gd name="T2" fmla="*/ 212 w 213"/>
                <a:gd name="T3" fmla="*/ 129 h 131"/>
                <a:gd name="T4" fmla="*/ 212 w 213"/>
                <a:gd name="T5" fmla="*/ 129 h 131"/>
                <a:gd name="T6" fmla="*/ 211 w 213"/>
                <a:gd name="T7" fmla="*/ 129 h 131"/>
                <a:gd name="T8" fmla="*/ 208 w 213"/>
                <a:gd name="T9" fmla="*/ 129 h 131"/>
                <a:gd name="T10" fmla="*/ 207 w 213"/>
                <a:gd name="T11" fmla="*/ 130 h 131"/>
                <a:gd name="T12" fmla="*/ 207 w 213"/>
                <a:gd name="T13" fmla="*/ 130 h 131"/>
                <a:gd name="T14" fmla="*/ 206 w 213"/>
                <a:gd name="T15" fmla="*/ 130 h 131"/>
                <a:gd name="T16" fmla="*/ 205 w 213"/>
                <a:gd name="T17" fmla="*/ 130 h 131"/>
                <a:gd name="T18" fmla="*/ 203 w 213"/>
                <a:gd name="T19" fmla="*/ 131 h 131"/>
                <a:gd name="T20" fmla="*/ 202 w 213"/>
                <a:gd name="T21" fmla="*/ 131 h 131"/>
                <a:gd name="T22" fmla="*/ 201 w 213"/>
                <a:gd name="T23" fmla="*/ 131 h 131"/>
                <a:gd name="T24" fmla="*/ 201 w 213"/>
                <a:gd name="T25" fmla="*/ 131 h 131"/>
                <a:gd name="T26" fmla="*/ 200 w 213"/>
                <a:gd name="T27" fmla="*/ 131 h 131"/>
                <a:gd name="T28" fmla="*/ 200 w 213"/>
                <a:gd name="T29" fmla="*/ 131 h 131"/>
                <a:gd name="T30" fmla="*/ 199 w 213"/>
                <a:gd name="T31" fmla="*/ 131 h 131"/>
                <a:gd name="T32" fmla="*/ 199 w 213"/>
                <a:gd name="T33" fmla="*/ 131 h 131"/>
                <a:gd name="T34" fmla="*/ 199 w 213"/>
                <a:gd name="T35" fmla="*/ 130 h 131"/>
                <a:gd name="T36" fmla="*/ 199 w 213"/>
                <a:gd name="T37" fmla="*/ 129 h 131"/>
                <a:gd name="T38" fmla="*/ 199 w 213"/>
                <a:gd name="T39" fmla="*/ 127 h 131"/>
                <a:gd name="T40" fmla="*/ 199 w 213"/>
                <a:gd name="T41" fmla="*/ 127 h 131"/>
                <a:gd name="T42" fmla="*/ 199 w 213"/>
                <a:gd name="T43" fmla="*/ 127 h 131"/>
                <a:gd name="T44" fmla="*/ 198 w 213"/>
                <a:gd name="T45" fmla="*/ 126 h 131"/>
                <a:gd name="T46" fmla="*/ 199 w 213"/>
                <a:gd name="T47" fmla="*/ 126 h 131"/>
                <a:gd name="T48" fmla="*/ 199 w 213"/>
                <a:gd name="T49" fmla="*/ 126 h 131"/>
                <a:gd name="T50" fmla="*/ 199 w 213"/>
                <a:gd name="T51" fmla="*/ 125 h 131"/>
                <a:gd name="T52" fmla="*/ 199 w 213"/>
                <a:gd name="T53" fmla="*/ 125 h 131"/>
                <a:gd name="T54" fmla="*/ 199 w 213"/>
                <a:gd name="T55" fmla="*/ 124 h 131"/>
                <a:gd name="T56" fmla="*/ 200 w 213"/>
                <a:gd name="T57" fmla="*/ 124 h 131"/>
                <a:gd name="T58" fmla="*/ 201 w 213"/>
                <a:gd name="T59" fmla="*/ 124 h 131"/>
                <a:gd name="T60" fmla="*/ 213 w 213"/>
                <a:gd name="T61" fmla="*/ 125 h 131"/>
                <a:gd name="T62" fmla="*/ 181 w 213"/>
                <a:gd name="T63" fmla="*/ 44 h 131"/>
                <a:gd name="T64" fmla="*/ 169 w 213"/>
                <a:gd name="T65" fmla="*/ 56 h 131"/>
                <a:gd name="T66" fmla="*/ 172 w 213"/>
                <a:gd name="T67" fmla="*/ 63 h 131"/>
                <a:gd name="T68" fmla="*/ 161 w 213"/>
                <a:gd name="T69" fmla="*/ 66 h 131"/>
                <a:gd name="T70" fmla="*/ 147 w 213"/>
                <a:gd name="T71" fmla="*/ 73 h 131"/>
                <a:gd name="T72" fmla="*/ 132 w 213"/>
                <a:gd name="T73" fmla="*/ 78 h 131"/>
                <a:gd name="T74" fmla="*/ 115 w 213"/>
                <a:gd name="T75" fmla="*/ 90 h 131"/>
                <a:gd name="T76" fmla="*/ 107 w 213"/>
                <a:gd name="T77" fmla="*/ 94 h 131"/>
                <a:gd name="T78" fmla="*/ 100 w 213"/>
                <a:gd name="T79" fmla="*/ 96 h 131"/>
                <a:gd name="T80" fmla="*/ 84 w 213"/>
                <a:gd name="T81" fmla="*/ 104 h 131"/>
                <a:gd name="T82" fmla="*/ 71 w 213"/>
                <a:gd name="T83" fmla="*/ 109 h 131"/>
                <a:gd name="T84" fmla="*/ 58 w 213"/>
                <a:gd name="T85" fmla="*/ 109 h 131"/>
                <a:gd name="T86" fmla="*/ 45 w 213"/>
                <a:gd name="T87" fmla="*/ 122 h 131"/>
                <a:gd name="T88" fmla="*/ 41 w 213"/>
                <a:gd name="T89" fmla="*/ 122 h 131"/>
                <a:gd name="T90" fmla="*/ 34 w 213"/>
                <a:gd name="T91" fmla="*/ 123 h 131"/>
                <a:gd name="T92" fmla="*/ 28 w 213"/>
                <a:gd name="T93" fmla="*/ 124 h 131"/>
                <a:gd name="T94" fmla="*/ 21 w 213"/>
                <a:gd name="T95" fmla="*/ 123 h 131"/>
                <a:gd name="T96" fmla="*/ 15 w 213"/>
                <a:gd name="T97" fmla="*/ 117 h 131"/>
                <a:gd name="T98" fmla="*/ 13 w 213"/>
                <a:gd name="T99" fmla="*/ 105 h 131"/>
                <a:gd name="T100" fmla="*/ 9 w 213"/>
                <a:gd name="T101" fmla="*/ 93 h 131"/>
                <a:gd name="T102" fmla="*/ 5 w 213"/>
                <a:gd name="T103" fmla="*/ 85 h 131"/>
                <a:gd name="T104" fmla="*/ 5 w 213"/>
                <a:gd name="T105" fmla="*/ 78 h 131"/>
                <a:gd name="T106" fmla="*/ 4 w 213"/>
                <a:gd name="T107" fmla="*/ 72 h 131"/>
                <a:gd name="T108" fmla="*/ 0 w 213"/>
                <a:gd name="T109" fmla="*/ 67 h 131"/>
                <a:gd name="T110" fmla="*/ 0 w 213"/>
                <a:gd name="T111" fmla="*/ 64 h 131"/>
                <a:gd name="T112" fmla="*/ 2 w 213"/>
                <a:gd name="T113" fmla="*/ 58 h 131"/>
                <a:gd name="T114" fmla="*/ 1 w 213"/>
                <a:gd name="T115" fmla="*/ 46 h 131"/>
                <a:gd name="T116" fmla="*/ 7 w 213"/>
                <a:gd name="T117" fmla="*/ 40 h 131"/>
                <a:gd name="T118" fmla="*/ 9 w 213"/>
                <a:gd name="T119" fmla="*/ 29 h 131"/>
                <a:gd name="T120" fmla="*/ 19 w 213"/>
                <a:gd name="T121" fmla="*/ 26 h 131"/>
                <a:gd name="T122" fmla="*/ 29 w 213"/>
                <a:gd name="T123" fmla="*/ 26 h 131"/>
                <a:gd name="T124" fmla="*/ 182 w 213"/>
                <a:gd name="T125" fmla="*/ 37 h 1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3" h="131">
                  <a:moveTo>
                    <a:pt x="213" y="127"/>
                  </a:moveTo>
                  <a:lnTo>
                    <a:pt x="213" y="127"/>
                  </a:lnTo>
                  <a:lnTo>
                    <a:pt x="213" y="127"/>
                  </a:lnTo>
                  <a:lnTo>
                    <a:pt x="213" y="127"/>
                  </a:lnTo>
                  <a:lnTo>
                    <a:pt x="213" y="127"/>
                  </a:lnTo>
                  <a:lnTo>
                    <a:pt x="212" y="127"/>
                  </a:lnTo>
                  <a:lnTo>
                    <a:pt x="212" y="127"/>
                  </a:lnTo>
                  <a:lnTo>
                    <a:pt x="212" y="127"/>
                  </a:lnTo>
                  <a:lnTo>
                    <a:pt x="212" y="127"/>
                  </a:lnTo>
                  <a:lnTo>
                    <a:pt x="212" y="127"/>
                  </a:lnTo>
                  <a:lnTo>
                    <a:pt x="212" y="127"/>
                  </a:lnTo>
                  <a:lnTo>
                    <a:pt x="212" y="127"/>
                  </a:lnTo>
                  <a:lnTo>
                    <a:pt x="212" y="127"/>
                  </a:lnTo>
                  <a:lnTo>
                    <a:pt x="212" y="127"/>
                  </a:lnTo>
                  <a:lnTo>
                    <a:pt x="212" y="129"/>
                  </a:lnTo>
                  <a:lnTo>
                    <a:pt x="212" y="129"/>
                  </a:lnTo>
                  <a:lnTo>
                    <a:pt x="212" y="129"/>
                  </a:lnTo>
                  <a:lnTo>
                    <a:pt x="212" y="129"/>
                  </a:lnTo>
                  <a:lnTo>
                    <a:pt x="212" y="129"/>
                  </a:lnTo>
                  <a:lnTo>
                    <a:pt x="212" y="129"/>
                  </a:lnTo>
                  <a:lnTo>
                    <a:pt x="212" y="129"/>
                  </a:lnTo>
                  <a:lnTo>
                    <a:pt x="212" y="129"/>
                  </a:lnTo>
                  <a:lnTo>
                    <a:pt x="212" y="129"/>
                  </a:lnTo>
                  <a:lnTo>
                    <a:pt x="212" y="129"/>
                  </a:lnTo>
                  <a:lnTo>
                    <a:pt x="212" y="129"/>
                  </a:lnTo>
                  <a:lnTo>
                    <a:pt x="212" y="129"/>
                  </a:lnTo>
                  <a:lnTo>
                    <a:pt x="212" y="129"/>
                  </a:lnTo>
                  <a:lnTo>
                    <a:pt x="211" y="129"/>
                  </a:lnTo>
                  <a:lnTo>
                    <a:pt x="211" y="129"/>
                  </a:lnTo>
                  <a:lnTo>
                    <a:pt x="211" y="129"/>
                  </a:lnTo>
                  <a:lnTo>
                    <a:pt x="211" y="129"/>
                  </a:lnTo>
                  <a:lnTo>
                    <a:pt x="211" y="129"/>
                  </a:lnTo>
                  <a:lnTo>
                    <a:pt x="211" y="129"/>
                  </a:lnTo>
                  <a:lnTo>
                    <a:pt x="211" y="129"/>
                  </a:lnTo>
                  <a:lnTo>
                    <a:pt x="211" y="129"/>
                  </a:lnTo>
                  <a:lnTo>
                    <a:pt x="211" y="129"/>
                  </a:lnTo>
                  <a:lnTo>
                    <a:pt x="211" y="129"/>
                  </a:lnTo>
                  <a:lnTo>
                    <a:pt x="209" y="129"/>
                  </a:lnTo>
                  <a:lnTo>
                    <a:pt x="209" y="129"/>
                  </a:lnTo>
                  <a:lnTo>
                    <a:pt x="209" y="129"/>
                  </a:lnTo>
                  <a:lnTo>
                    <a:pt x="209" y="129"/>
                  </a:lnTo>
                  <a:lnTo>
                    <a:pt x="209" y="129"/>
                  </a:lnTo>
                  <a:lnTo>
                    <a:pt x="208" y="129"/>
                  </a:lnTo>
                  <a:lnTo>
                    <a:pt x="208" y="129"/>
                  </a:lnTo>
                  <a:lnTo>
                    <a:pt x="208" y="129"/>
                  </a:lnTo>
                  <a:lnTo>
                    <a:pt x="208" y="129"/>
                  </a:lnTo>
                  <a:lnTo>
                    <a:pt x="208" y="129"/>
                  </a:lnTo>
                  <a:lnTo>
                    <a:pt x="208" y="129"/>
                  </a:lnTo>
                  <a:lnTo>
                    <a:pt x="208" y="129"/>
                  </a:lnTo>
                  <a:lnTo>
                    <a:pt x="208" y="129"/>
                  </a:lnTo>
                  <a:lnTo>
                    <a:pt x="208" y="129"/>
                  </a:lnTo>
                  <a:lnTo>
                    <a:pt x="207" y="130"/>
                  </a:lnTo>
                  <a:lnTo>
                    <a:pt x="207" y="130"/>
                  </a:lnTo>
                  <a:lnTo>
                    <a:pt x="207" y="130"/>
                  </a:lnTo>
                  <a:lnTo>
                    <a:pt x="207" y="130"/>
                  </a:lnTo>
                  <a:lnTo>
                    <a:pt x="207" y="130"/>
                  </a:lnTo>
                  <a:lnTo>
                    <a:pt x="207" y="130"/>
                  </a:lnTo>
                  <a:lnTo>
                    <a:pt x="207" y="130"/>
                  </a:lnTo>
                  <a:lnTo>
                    <a:pt x="207" y="130"/>
                  </a:lnTo>
                  <a:lnTo>
                    <a:pt x="207" y="130"/>
                  </a:lnTo>
                  <a:lnTo>
                    <a:pt x="207" y="130"/>
                  </a:lnTo>
                  <a:lnTo>
                    <a:pt x="207" y="130"/>
                  </a:lnTo>
                  <a:lnTo>
                    <a:pt x="207" y="130"/>
                  </a:lnTo>
                  <a:lnTo>
                    <a:pt x="206" y="130"/>
                  </a:lnTo>
                  <a:lnTo>
                    <a:pt x="206" y="130"/>
                  </a:lnTo>
                  <a:lnTo>
                    <a:pt x="206" y="130"/>
                  </a:lnTo>
                  <a:lnTo>
                    <a:pt x="206" y="130"/>
                  </a:lnTo>
                  <a:lnTo>
                    <a:pt x="206" y="130"/>
                  </a:lnTo>
                  <a:lnTo>
                    <a:pt x="206" y="130"/>
                  </a:lnTo>
                  <a:lnTo>
                    <a:pt x="206" y="130"/>
                  </a:lnTo>
                  <a:lnTo>
                    <a:pt x="206" y="130"/>
                  </a:lnTo>
                  <a:lnTo>
                    <a:pt x="206" y="130"/>
                  </a:lnTo>
                  <a:lnTo>
                    <a:pt x="206" y="130"/>
                  </a:lnTo>
                  <a:lnTo>
                    <a:pt x="206" y="130"/>
                  </a:lnTo>
                  <a:lnTo>
                    <a:pt x="206" y="130"/>
                  </a:lnTo>
                  <a:lnTo>
                    <a:pt x="206" y="130"/>
                  </a:lnTo>
                  <a:lnTo>
                    <a:pt x="206" y="130"/>
                  </a:lnTo>
                  <a:lnTo>
                    <a:pt x="206" y="130"/>
                  </a:lnTo>
                  <a:lnTo>
                    <a:pt x="205" y="130"/>
                  </a:lnTo>
                  <a:lnTo>
                    <a:pt x="205" y="130"/>
                  </a:lnTo>
                  <a:lnTo>
                    <a:pt x="205" y="130"/>
                  </a:lnTo>
                  <a:lnTo>
                    <a:pt x="205" y="130"/>
                  </a:lnTo>
                  <a:lnTo>
                    <a:pt x="205" y="130"/>
                  </a:lnTo>
                  <a:lnTo>
                    <a:pt x="205" y="131"/>
                  </a:lnTo>
                  <a:lnTo>
                    <a:pt x="203" y="131"/>
                  </a:lnTo>
                  <a:lnTo>
                    <a:pt x="203" y="131"/>
                  </a:lnTo>
                  <a:lnTo>
                    <a:pt x="203" y="131"/>
                  </a:lnTo>
                  <a:lnTo>
                    <a:pt x="203" y="131"/>
                  </a:lnTo>
                  <a:lnTo>
                    <a:pt x="203" y="131"/>
                  </a:lnTo>
                  <a:lnTo>
                    <a:pt x="203" y="131"/>
                  </a:lnTo>
                  <a:lnTo>
                    <a:pt x="203" y="131"/>
                  </a:lnTo>
                  <a:lnTo>
                    <a:pt x="203" y="131"/>
                  </a:lnTo>
                  <a:lnTo>
                    <a:pt x="203" y="131"/>
                  </a:lnTo>
                  <a:lnTo>
                    <a:pt x="203" y="131"/>
                  </a:lnTo>
                  <a:lnTo>
                    <a:pt x="203" y="131"/>
                  </a:lnTo>
                  <a:lnTo>
                    <a:pt x="203" y="131"/>
                  </a:lnTo>
                  <a:lnTo>
                    <a:pt x="202" y="131"/>
                  </a:lnTo>
                  <a:lnTo>
                    <a:pt x="202" y="131"/>
                  </a:lnTo>
                  <a:lnTo>
                    <a:pt x="202" y="131"/>
                  </a:lnTo>
                  <a:lnTo>
                    <a:pt x="202" y="131"/>
                  </a:lnTo>
                  <a:lnTo>
                    <a:pt x="202" y="131"/>
                  </a:lnTo>
                  <a:lnTo>
                    <a:pt x="202" y="131"/>
                  </a:lnTo>
                  <a:lnTo>
                    <a:pt x="202" y="131"/>
                  </a:lnTo>
                  <a:lnTo>
                    <a:pt x="202" y="131"/>
                  </a:lnTo>
                  <a:lnTo>
                    <a:pt x="202" y="131"/>
                  </a:lnTo>
                  <a:lnTo>
                    <a:pt x="201" y="131"/>
                  </a:lnTo>
                  <a:lnTo>
                    <a:pt x="201" y="131"/>
                  </a:lnTo>
                  <a:lnTo>
                    <a:pt x="201" y="131"/>
                  </a:lnTo>
                  <a:lnTo>
                    <a:pt x="201" y="131"/>
                  </a:lnTo>
                  <a:lnTo>
                    <a:pt x="201" y="131"/>
                  </a:lnTo>
                  <a:lnTo>
                    <a:pt x="201" y="131"/>
                  </a:lnTo>
                  <a:lnTo>
                    <a:pt x="201" y="131"/>
                  </a:lnTo>
                  <a:lnTo>
                    <a:pt x="201" y="131"/>
                  </a:lnTo>
                  <a:lnTo>
                    <a:pt x="201" y="131"/>
                  </a:lnTo>
                  <a:lnTo>
                    <a:pt x="201" y="131"/>
                  </a:lnTo>
                  <a:lnTo>
                    <a:pt x="201" y="131"/>
                  </a:lnTo>
                  <a:lnTo>
                    <a:pt x="201" y="131"/>
                  </a:lnTo>
                  <a:lnTo>
                    <a:pt x="201" y="131"/>
                  </a:lnTo>
                  <a:lnTo>
                    <a:pt x="201" y="131"/>
                  </a:lnTo>
                  <a:lnTo>
                    <a:pt x="201" y="131"/>
                  </a:lnTo>
                  <a:lnTo>
                    <a:pt x="201" y="131"/>
                  </a:lnTo>
                  <a:lnTo>
                    <a:pt x="201" y="131"/>
                  </a:lnTo>
                  <a:lnTo>
                    <a:pt x="201" y="131"/>
                  </a:lnTo>
                  <a:lnTo>
                    <a:pt x="201" y="131"/>
                  </a:lnTo>
                  <a:lnTo>
                    <a:pt x="200" y="131"/>
                  </a:lnTo>
                  <a:lnTo>
                    <a:pt x="200" y="131"/>
                  </a:lnTo>
                  <a:lnTo>
                    <a:pt x="200" y="131"/>
                  </a:lnTo>
                  <a:lnTo>
                    <a:pt x="200" y="131"/>
                  </a:lnTo>
                  <a:lnTo>
                    <a:pt x="200" y="131"/>
                  </a:lnTo>
                  <a:lnTo>
                    <a:pt x="200" y="131"/>
                  </a:lnTo>
                  <a:lnTo>
                    <a:pt x="200" y="131"/>
                  </a:lnTo>
                  <a:lnTo>
                    <a:pt x="200" y="131"/>
                  </a:lnTo>
                  <a:lnTo>
                    <a:pt x="200" y="131"/>
                  </a:lnTo>
                  <a:lnTo>
                    <a:pt x="200" y="131"/>
                  </a:lnTo>
                  <a:lnTo>
                    <a:pt x="200" y="131"/>
                  </a:lnTo>
                  <a:lnTo>
                    <a:pt x="200" y="131"/>
                  </a:lnTo>
                  <a:lnTo>
                    <a:pt x="200" y="131"/>
                  </a:lnTo>
                  <a:lnTo>
                    <a:pt x="200" y="131"/>
                  </a:lnTo>
                  <a:lnTo>
                    <a:pt x="200" y="131"/>
                  </a:lnTo>
                  <a:lnTo>
                    <a:pt x="200" y="131"/>
                  </a:lnTo>
                  <a:lnTo>
                    <a:pt x="200" y="131"/>
                  </a:lnTo>
                  <a:lnTo>
                    <a:pt x="199" y="131"/>
                  </a:lnTo>
                  <a:lnTo>
                    <a:pt x="199" y="131"/>
                  </a:lnTo>
                  <a:lnTo>
                    <a:pt x="199" y="131"/>
                  </a:lnTo>
                  <a:lnTo>
                    <a:pt x="199" y="131"/>
                  </a:lnTo>
                  <a:lnTo>
                    <a:pt x="199" y="131"/>
                  </a:lnTo>
                  <a:lnTo>
                    <a:pt x="199" y="131"/>
                  </a:lnTo>
                  <a:lnTo>
                    <a:pt x="199" y="131"/>
                  </a:lnTo>
                  <a:lnTo>
                    <a:pt x="199" y="131"/>
                  </a:lnTo>
                  <a:lnTo>
                    <a:pt x="199" y="131"/>
                  </a:lnTo>
                  <a:lnTo>
                    <a:pt x="199" y="131"/>
                  </a:lnTo>
                  <a:lnTo>
                    <a:pt x="199" y="131"/>
                  </a:lnTo>
                  <a:lnTo>
                    <a:pt x="199" y="131"/>
                  </a:lnTo>
                  <a:lnTo>
                    <a:pt x="199" y="131"/>
                  </a:lnTo>
                  <a:lnTo>
                    <a:pt x="199" y="131"/>
                  </a:lnTo>
                  <a:lnTo>
                    <a:pt x="199" y="131"/>
                  </a:lnTo>
                  <a:lnTo>
                    <a:pt x="199" y="131"/>
                  </a:lnTo>
                  <a:lnTo>
                    <a:pt x="199" y="130"/>
                  </a:lnTo>
                  <a:lnTo>
                    <a:pt x="199" y="130"/>
                  </a:lnTo>
                  <a:lnTo>
                    <a:pt x="199" y="130"/>
                  </a:lnTo>
                  <a:lnTo>
                    <a:pt x="199" y="130"/>
                  </a:lnTo>
                  <a:lnTo>
                    <a:pt x="199" y="130"/>
                  </a:lnTo>
                  <a:lnTo>
                    <a:pt x="199" y="130"/>
                  </a:lnTo>
                  <a:lnTo>
                    <a:pt x="199" y="130"/>
                  </a:lnTo>
                  <a:lnTo>
                    <a:pt x="199" y="130"/>
                  </a:lnTo>
                  <a:lnTo>
                    <a:pt x="199" y="130"/>
                  </a:lnTo>
                  <a:lnTo>
                    <a:pt x="199" y="130"/>
                  </a:lnTo>
                  <a:lnTo>
                    <a:pt x="199" y="130"/>
                  </a:lnTo>
                  <a:lnTo>
                    <a:pt x="199" y="129"/>
                  </a:lnTo>
                  <a:lnTo>
                    <a:pt x="199" y="129"/>
                  </a:lnTo>
                  <a:lnTo>
                    <a:pt x="199" y="129"/>
                  </a:lnTo>
                  <a:lnTo>
                    <a:pt x="199" y="129"/>
                  </a:lnTo>
                  <a:lnTo>
                    <a:pt x="199" y="129"/>
                  </a:lnTo>
                  <a:lnTo>
                    <a:pt x="199" y="129"/>
                  </a:lnTo>
                  <a:lnTo>
                    <a:pt x="199" y="129"/>
                  </a:lnTo>
                  <a:lnTo>
                    <a:pt x="199" y="129"/>
                  </a:lnTo>
                  <a:lnTo>
                    <a:pt x="199" y="129"/>
                  </a:lnTo>
                  <a:lnTo>
                    <a:pt x="199" y="129"/>
                  </a:lnTo>
                  <a:lnTo>
                    <a:pt x="199" y="127"/>
                  </a:lnTo>
                  <a:lnTo>
                    <a:pt x="199" y="127"/>
                  </a:lnTo>
                  <a:lnTo>
                    <a:pt x="199" y="127"/>
                  </a:lnTo>
                  <a:lnTo>
                    <a:pt x="199" y="129"/>
                  </a:lnTo>
                  <a:lnTo>
                    <a:pt x="199" y="127"/>
                  </a:lnTo>
                  <a:lnTo>
                    <a:pt x="199" y="127"/>
                  </a:lnTo>
                  <a:lnTo>
                    <a:pt x="199" y="127"/>
                  </a:lnTo>
                  <a:lnTo>
                    <a:pt x="199" y="127"/>
                  </a:lnTo>
                  <a:lnTo>
                    <a:pt x="199" y="127"/>
                  </a:lnTo>
                  <a:lnTo>
                    <a:pt x="199" y="127"/>
                  </a:lnTo>
                  <a:lnTo>
                    <a:pt x="199" y="127"/>
                  </a:lnTo>
                  <a:lnTo>
                    <a:pt x="199" y="127"/>
                  </a:lnTo>
                  <a:lnTo>
                    <a:pt x="199" y="127"/>
                  </a:lnTo>
                  <a:lnTo>
                    <a:pt x="199" y="127"/>
                  </a:lnTo>
                  <a:lnTo>
                    <a:pt x="199" y="127"/>
                  </a:lnTo>
                  <a:lnTo>
                    <a:pt x="199" y="127"/>
                  </a:lnTo>
                  <a:lnTo>
                    <a:pt x="199" y="127"/>
                  </a:lnTo>
                  <a:lnTo>
                    <a:pt x="199" y="127"/>
                  </a:lnTo>
                  <a:lnTo>
                    <a:pt x="199" y="127"/>
                  </a:lnTo>
                  <a:lnTo>
                    <a:pt x="199" y="127"/>
                  </a:lnTo>
                  <a:lnTo>
                    <a:pt x="199" y="127"/>
                  </a:lnTo>
                  <a:lnTo>
                    <a:pt x="199" y="127"/>
                  </a:lnTo>
                  <a:lnTo>
                    <a:pt x="199" y="127"/>
                  </a:lnTo>
                  <a:lnTo>
                    <a:pt x="199" y="127"/>
                  </a:lnTo>
                  <a:lnTo>
                    <a:pt x="199" y="127"/>
                  </a:lnTo>
                  <a:lnTo>
                    <a:pt x="198" y="126"/>
                  </a:lnTo>
                  <a:lnTo>
                    <a:pt x="198" y="127"/>
                  </a:lnTo>
                  <a:lnTo>
                    <a:pt x="198" y="127"/>
                  </a:lnTo>
                  <a:lnTo>
                    <a:pt x="198" y="126"/>
                  </a:lnTo>
                  <a:lnTo>
                    <a:pt x="198" y="126"/>
                  </a:lnTo>
                  <a:lnTo>
                    <a:pt x="198" y="126"/>
                  </a:lnTo>
                  <a:lnTo>
                    <a:pt x="198" y="126"/>
                  </a:lnTo>
                  <a:lnTo>
                    <a:pt x="199" y="126"/>
                  </a:lnTo>
                  <a:lnTo>
                    <a:pt x="198" y="126"/>
                  </a:lnTo>
                  <a:lnTo>
                    <a:pt x="199" y="126"/>
                  </a:lnTo>
                  <a:lnTo>
                    <a:pt x="199" y="126"/>
                  </a:lnTo>
                  <a:lnTo>
                    <a:pt x="199" y="126"/>
                  </a:lnTo>
                  <a:lnTo>
                    <a:pt x="199" y="126"/>
                  </a:lnTo>
                  <a:lnTo>
                    <a:pt x="199" y="126"/>
                  </a:lnTo>
                  <a:lnTo>
                    <a:pt x="199" y="126"/>
                  </a:lnTo>
                  <a:lnTo>
                    <a:pt x="198" y="126"/>
                  </a:lnTo>
                  <a:lnTo>
                    <a:pt x="199" y="126"/>
                  </a:lnTo>
                  <a:lnTo>
                    <a:pt x="199" y="126"/>
                  </a:lnTo>
                  <a:lnTo>
                    <a:pt x="199" y="126"/>
                  </a:lnTo>
                  <a:lnTo>
                    <a:pt x="199" y="126"/>
                  </a:lnTo>
                  <a:lnTo>
                    <a:pt x="199" y="126"/>
                  </a:lnTo>
                  <a:lnTo>
                    <a:pt x="199" y="126"/>
                  </a:lnTo>
                  <a:lnTo>
                    <a:pt x="199" y="126"/>
                  </a:lnTo>
                  <a:lnTo>
                    <a:pt x="199" y="126"/>
                  </a:lnTo>
                  <a:lnTo>
                    <a:pt x="199" y="126"/>
                  </a:lnTo>
                  <a:lnTo>
                    <a:pt x="199" y="126"/>
                  </a:lnTo>
                  <a:lnTo>
                    <a:pt x="199" y="126"/>
                  </a:lnTo>
                  <a:lnTo>
                    <a:pt x="199" y="125"/>
                  </a:lnTo>
                  <a:lnTo>
                    <a:pt x="199" y="125"/>
                  </a:lnTo>
                  <a:lnTo>
                    <a:pt x="199" y="125"/>
                  </a:lnTo>
                  <a:lnTo>
                    <a:pt x="199" y="125"/>
                  </a:lnTo>
                  <a:lnTo>
                    <a:pt x="199" y="125"/>
                  </a:lnTo>
                  <a:lnTo>
                    <a:pt x="199" y="125"/>
                  </a:lnTo>
                  <a:lnTo>
                    <a:pt x="199" y="125"/>
                  </a:lnTo>
                  <a:lnTo>
                    <a:pt x="199" y="125"/>
                  </a:lnTo>
                  <a:lnTo>
                    <a:pt x="199" y="125"/>
                  </a:lnTo>
                  <a:lnTo>
                    <a:pt x="199" y="125"/>
                  </a:lnTo>
                  <a:lnTo>
                    <a:pt x="199" y="125"/>
                  </a:lnTo>
                  <a:lnTo>
                    <a:pt x="199" y="125"/>
                  </a:lnTo>
                  <a:lnTo>
                    <a:pt x="199" y="125"/>
                  </a:lnTo>
                  <a:lnTo>
                    <a:pt x="199" y="125"/>
                  </a:lnTo>
                  <a:lnTo>
                    <a:pt x="199" y="125"/>
                  </a:lnTo>
                  <a:lnTo>
                    <a:pt x="199" y="125"/>
                  </a:lnTo>
                  <a:lnTo>
                    <a:pt x="199" y="124"/>
                  </a:lnTo>
                  <a:lnTo>
                    <a:pt x="199" y="124"/>
                  </a:lnTo>
                  <a:lnTo>
                    <a:pt x="199" y="124"/>
                  </a:lnTo>
                  <a:lnTo>
                    <a:pt x="199" y="124"/>
                  </a:lnTo>
                  <a:lnTo>
                    <a:pt x="199" y="124"/>
                  </a:lnTo>
                  <a:lnTo>
                    <a:pt x="199" y="124"/>
                  </a:lnTo>
                  <a:lnTo>
                    <a:pt x="199" y="124"/>
                  </a:lnTo>
                  <a:lnTo>
                    <a:pt x="199" y="124"/>
                  </a:lnTo>
                  <a:lnTo>
                    <a:pt x="200" y="124"/>
                  </a:lnTo>
                  <a:lnTo>
                    <a:pt x="199" y="124"/>
                  </a:lnTo>
                  <a:lnTo>
                    <a:pt x="199" y="124"/>
                  </a:lnTo>
                  <a:lnTo>
                    <a:pt x="199" y="124"/>
                  </a:lnTo>
                  <a:lnTo>
                    <a:pt x="200" y="123"/>
                  </a:lnTo>
                  <a:lnTo>
                    <a:pt x="200" y="124"/>
                  </a:lnTo>
                  <a:lnTo>
                    <a:pt x="200" y="124"/>
                  </a:lnTo>
                  <a:lnTo>
                    <a:pt x="200" y="124"/>
                  </a:lnTo>
                  <a:lnTo>
                    <a:pt x="200" y="124"/>
                  </a:lnTo>
                  <a:lnTo>
                    <a:pt x="200" y="124"/>
                  </a:lnTo>
                  <a:lnTo>
                    <a:pt x="200" y="124"/>
                  </a:lnTo>
                  <a:lnTo>
                    <a:pt x="200" y="124"/>
                  </a:lnTo>
                  <a:lnTo>
                    <a:pt x="200" y="124"/>
                  </a:lnTo>
                  <a:lnTo>
                    <a:pt x="200" y="124"/>
                  </a:lnTo>
                  <a:lnTo>
                    <a:pt x="201" y="124"/>
                  </a:lnTo>
                  <a:lnTo>
                    <a:pt x="201" y="124"/>
                  </a:lnTo>
                  <a:lnTo>
                    <a:pt x="201" y="124"/>
                  </a:lnTo>
                  <a:lnTo>
                    <a:pt x="201" y="124"/>
                  </a:lnTo>
                  <a:lnTo>
                    <a:pt x="201" y="124"/>
                  </a:lnTo>
                  <a:lnTo>
                    <a:pt x="201" y="124"/>
                  </a:lnTo>
                  <a:lnTo>
                    <a:pt x="203" y="125"/>
                  </a:lnTo>
                  <a:lnTo>
                    <a:pt x="203" y="126"/>
                  </a:lnTo>
                  <a:lnTo>
                    <a:pt x="206" y="124"/>
                  </a:lnTo>
                  <a:lnTo>
                    <a:pt x="212" y="124"/>
                  </a:lnTo>
                  <a:lnTo>
                    <a:pt x="213" y="125"/>
                  </a:lnTo>
                  <a:lnTo>
                    <a:pt x="213" y="126"/>
                  </a:lnTo>
                  <a:lnTo>
                    <a:pt x="213" y="126"/>
                  </a:lnTo>
                  <a:lnTo>
                    <a:pt x="213" y="126"/>
                  </a:lnTo>
                  <a:lnTo>
                    <a:pt x="213" y="126"/>
                  </a:lnTo>
                  <a:lnTo>
                    <a:pt x="213" y="127"/>
                  </a:lnTo>
                  <a:lnTo>
                    <a:pt x="213" y="127"/>
                  </a:lnTo>
                  <a:close/>
                  <a:moveTo>
                    <a:pt x="186" y="42"/>
                  </a:moveTo>
                  <a:lnTo>
                    <a:pt x="181" y="44"/>
                  </a:lnTo>
                  <a:lnTo>
                    <a:pt x="181" y="44"/>
                  </a:lnTo>
                  <a:lnTo>
                    <a:pt x="179" y="45"/>
                  </a:lnTo>
                  <a:lnTo>
                    <a:pt x="179" y="45"/>
                  </a:lnTo>
                  <a:lnTo>
                    <a:pt x="176" y="45"/>
                  </a:lnTo>
                  <a:lnTo>
                    <a:pt x="174" y="46"/>
                  </a:lnTo>
                  <a:lnTo>
                    <a:pt x="172" y="50"/>
                  </a:lnTo>
                  <a:lnTo>
                    <a:pt x="171" y="51"/>
                  </a:lnTo>
                  <a:lnTo>
                    <a:pt x="171" y="52"/>
                  </a:lnTo>
                  <a:lnTo>
                    <a:pt x="171" y="53"/>
                  </a:lnTo>
                  <a:lnTo>
                    <a:pt x="169" y="56"/>
                  </a:lnTo>
                  <a:lnTo>
                    <a:pt x="171" y="57"/>
                  </a:lnTo>
                  <a:lnTo>
                    <a:pt x="171" y="58"/>
                  </a:lnTo>
                  <a:lnTo>
                    <a:pt x="172" y="59"/>
                  </a:lnTo>
                  <a:lnTo>
                    <a:pt x="172" y="59"/>
                  </a:lnTo>
                  <a:lnTo>
                    <a:pt x="171" y="60"/>
                  </a:lnTo>
                  <a:lnTo>
                    <a:pt x="172" y="60"/>
                  </a:lnTo>
                  <a:lnTo>
                    <a:pt x="172" y="62"/>
                  </a:lnTo>
                  <a:lnTo>
                    <a:pt x="172" y="62"/>
                  </a:lnTo>
                  <a:lnTo>
                    <a:pt x="172" y="63"/>
                  </a:lnTo>
                  <a:lnTo>
                    <a:pt x="171" y="63"/>
                  </a:lnTo>
                  <a:lnTo>
                    <a:pt x="169" y="64"/>
                  </a:lnTo>
                  <a:lnTo>
                    <a:pt x="168" y="64"/>
                  </a:lnTo>
                  <a:lnTo>
                    <a:pt x="167" y="64"/>
                  </a:lnTo>
                  <a:lnTo>
                    <a:pt x="165" y="65"/>
                  </a:lnTo>
                  <a:lnTo>
                    <a:pt x="165" y="65"/>
                  </a:lnTo>
                  <a:lnTo>
                    <a:pt x="163" y="66"/>
                  </a:lnTo>
                  <a:lnTo>
                    <a:pt x="162" y="65"/>
                  </a:lnTo>
                  <a:lnTo>
                    <a:pt x="161" y="66"/>
                  </a:lnTo>
                  <a:lnTo>
                    <a:pt x="161" y="67"/>
                  </a:lnTo>
                  <a:lnTo>
                    <a:pt x="161" y="69"/>
                  </a:lnTo>
                  <a:lnTo>
                    <a:pt x="160" y="69"/>
                  </a:lnTo>
                  <a:lnTo>
                    <a:pt x="159" y="69"/>
                  </a:lnTo>
                  <a:lnTo>
                    <a:pt x="158" y="70"/>
                  </a:lnTo>
                  <a:lnTo>
                    <a:pt x="156" y="71"/>
                  </a:lnTo>
                  <a:lnTo>
                    <a:pt x="154" y="72"/>
                  </a:lnTo>
                  <a:lnTo>
                    <a:pt x="148" y="73"/>
                  </a:lnTo>
                  <a:lnTo>
                    <a:pt x="147" y="73"/>
                  </a:lnTo>
                  <a:lnTo>
                    <a:pt x="142" y="74"/>
                  </a:lnTo>
                  <a:lnTo>
                    <a:pt x="140" y="76"/>
                  </a:lnTo>
                  <a:lnTo>
                    <a:pt x="139" y="78"/>
                  </a:lnTo>
                  <a:lnTo>
                    <a:pt x="136" y="78"/>
                  </a:lnTo>
                  <a:lnTo>
                    <a:pt x="136" y="78"/>
                  </a:lnTo>
                  <a:lnTo>
                    <a:pt x="135" y="79"/>
                  </a:lnTo>
                  <a:lnTo>
                    <a:pt x="134" y="79"/>
                  </a:lnTo>
                  <a:lnTo>
                    <a:pt x="133" y="78"/>
                  </a:lnTo>
                  <a:lnTo>
                    <a:pt x="132" y="78"/>
                  </a:lnTo>
                  <a:lnTo>
                    <a:pt x="129" y="79"/>
                  </a:lnTo>
                  <a:lnTo>
                    <a:pt x="125" y="80"/>
                  </a:lnTo>
                  <a:lnTo>
                    <a:pt x="125" y="82"/>
                  </a:lnTo>
                  <a:lnTo>
                    <a:pt x="121" y="83"/>
                  </a:lnTo>
                  <a:lnTo>
                    <a:pt x="118" y="85"/>
                  </a:lnTo>
                  <a:lnTo>
                    <a:pt x="116" y="85"/>
                  </a:lnTo>
                  <a:lnTo>
                    <a:pt x="114" y="87"/>
                  </a:lnTo>
                  <a:lnTo>
                    <a:pt x="115" y="89"/>
                  </a:lnTo>
                  <a:lnTo>
                    <a:pt x="115" y="90"/>
                  </a:lnTo>
                  <a:lnTo>
                    <a:pt x="115" y="90"/>
                  </a:lnTo>
                  <a:lnTo>
                    <a:pt x="114" y="91"/>
                  </a:lnTo>
                  <a:lnTo>
                    <a:pt x="113" y="91"/>
                  </a:lnTo>
                  <a:lnTo>
                    <a:pt x="112" y="91"/>
                  </a:lnTo>
                  <a:lnTo>
                    <a:pt x="112" y="92"/>
                  </a:lnTo>
                  <a:lnTo>
                    <a:pt x="111" y="93"/>
                  </a:lnTo>
                  <a:lnTo>
                    <a:pt x="109" y="94"/>
                  </a:lnTo>
                  <a:lnTo>
                    <a:pt x="108" y="96"/>
                  </a:lnTo>
                  <a:lnTo>
                    <a:pt x="107" y="94"/>
                  </a:lnTo>
                  <a:lnTo>
                    <a:pt x="106" y="96"/>
                  </a:lnTo>
                  <a:lnTo>
                    <a:pt x="105" y="96"/>
                  </a:lnTo>
                  <a:lnTo>
                    <a:pt x="105" y="96"/>
                  </a:lnTo>
                  <a:lnTo>
                    <a:pt x="105" y="96"/>
                  </a:lnTo>
                  <a:lnTo>
                    <a:pt x="104" y="97"/>
                  </a:lnTo>
                  <a:lnTo>
                    <a:pt x="102" y="96"/>
                  </a:lnTo>
                  <a:lnTo>
                    <a:pt x="100" y="97"/>
                  </a:lnTo>
                  <a:lnTo>
                    <a:pt x="100" y="96"/>
                  </a:lnTo>
                  <a:lnTo>
                    <a:pt x="100" y="96"/>
                  </a:lnTo>
                  <a:lnTo>
                    <a:pt x="98" y="94"/>
                  </a:lnTo>
                  <a:lnTo>
                    <a:pt x="96" y="94"/>
                  </a:lnTo>
                  <a:lnTo>
                    <a:pt x="96" y="96"/>
                  </a:lnTo>
                  <a:lnTo>
                    <a:pt x="94" y="97"/>
                  </a:lnTo>
                  <a:lnTo>
                    <a:pt x="94" y="97"/>
                  </a:lnTo>
                  <a:lnTo>
                    <a:pt x="92" y="98"/>
                  </a:lnTo>
                  <a:lnTo>
                    <a:pt x="92" y="99"/>
                  </a:lnTo>
                  <a:lnTo>
                    <a:pt x="87" y="103"/>
                  </a:lnTo>
                  <a:lnTo>
                    <a:pt x="84" y="104"/>
                  </a:lnTo>
                  <a:lnTo>
                    <a:pt x="80" y="106"/>
                  </a:lnTo>
                  <a:lnTo>
                    <a:pt x="79" y="105"/>
                  </a:lnTo>
                  <a:lnTo>
                    <a:pt x="76" y="106"/>
                  </a:lnTo>
                  <a:lnTo>
                    <a:pt x="74" y="107"/>
                  </a:lnTo>
                  <a:lnTo>
                    <a:pt x="73" y="107"/>
                  </a:lnTo>
                  <a:lnTo>
                    <a:pt x="73" y="107"/>
                  </a:lnTo>
                  <a:lnTo>
                    <a:pt x="72" y="109"/>
                  </a:lnTo>
                  <a:lnTo>
                    <a:pt x="71" y="109"/>
                  </a:lnTo>
                  <a:lnTo>
                    <a:pt x="71" y="109"/>
                  </a:lnTo>
                  <a:lnTo>
                    <a:pt x="69" y="109"/>
                  </a:lnTo>
                  <a:lnTo>
                    <a:pt x="67" y="109"/>
                  </a:lnTo>
                  <a:lnTo>
                    <a:pt x="66" y="107"/>
                  </a:lnTo>
                  <a:lnTo>
                    <a:pt x="65" y="107"/>
                  </a:lnTo>
                  <a:lnTo>
                    <a:pt x="64" y="109"/>
                  </a:lnTo>
                  <a:lnTo>
                    <a:pt x="62" y="109"/>
                  </a:lnTo>
                  <a:lnTo>
                    <a:pt x="61" y="109"/>
                  </a:lnTo>
                  <a:lnTo>
                    <a:pt x="59" y="109"/>
                  </a:lnTo>
                  <a:lnTo>
                    <a:pt x="58" y="109"/>
                  </a:lnTo>
                  <a:lnTo>
                    <a:pt x="55" y="110"/>
                  </a:lnTo>
                  <a:lnTo>
                    <a:pt x="54" y="111"/>
                  </a:lnTo>
                  <a:lnTo>
                    <a:pt x="53" y="113"/>
                  </a:lnTo>
                  <a:lnTo>
                    <a:pt x="52" y="114"/>
                  </a:lnTo>
                  <a:lnTo>
                    <a:pt x="48" y="116"/>
                  </a:lnTo>
                  <a:lnTo>
                    <a:pt x="47" y="116"/>
                  </a:lnTo>
                  <a:lnTo>
                    <a:pt x="46" y="117"/>
                  </a:lnTo>
                  <a:lnTo>
                    <a:pt x="46" y="119"/>
                  </a:lnTo>
                  <a:lnTo>
                    <a:pt x="45" y="122"/>
                  </a:lnTo>
                  <a:lnTo>
                    <a:pt x="44" y="122"/>
                  </a:lnTo>
                  <a:lnTo>
                    <a:pt x="44" y="119"/>
                  </a:lnTo>
                  <a:lnTo>
                    <a:pt x="44" y="119"/>
                  </a:lnTo>
                  <a:lnTo>
                    <a:pt x="41" y="120"/>
                  </a:lnTo>
                  <a:lnTo>
                    <a:pt x="44" y="122"/>
                  </a:lnTo>
                  <a:lnTo>
                    <a:pt x="42" y="122"/>
                  </a:lnTo>
                  <a:lnTo>
                    <a:pt x="41" y="122"/>
                  </a:lnTo>
                  <a:lnTo>
                    <a:pt x="41" y="122"/>
                  </a:lnTo>
                  <a:lnTo>
                    <a:pt x="41" y="122"/>
                  </a:lnTo>
                  <a:lnTo>
                    <a:pt x="40" y="122"/>
                  </a:lnTo>
                  <a:lnTo>
                    <a:pt x="40" y="122"/>
                  </a:lnTo>
                  <a:lnTo>
                    <a:pt x="39" y="122"/>
                  </a:lnTo>
                  <a:lnTo>
                    <a:pt x="38" y="119"/>
                  </a:lnTo>
                  <a:lnTo>
                    <a:pt x="36" y="119"/>
                  </a:lnTo>
                  <a:lnTo>
                    <a:pt x="36" y="119"/>
                  </a:lnTo>
                  <a:lnTo>
                    <a:pt x="36" y="120"/>
                  </a:lnTo>
                  <a:lnTo>
                    <a:pt x="36" y="122"/>
                  </a:lnTo>
                  <a:lnTo>
                    <a:pt x="34" y="123"/>
                  </a:lnTo>
                  <a:lnTo>
                    <a:pt x="33" y="123"/>
                  </a:lnTo>
                  <a:lnTo>
                    <a:pt x="34" y="123"/>
                  </a:lnTo>
                  <a:lnTo>
                    <a:pt x="33" y="124"/>
                  </a:lnTo>
                  <a:lnTo>
                    <a:pt x="32" y="124"/>
                  </a:lnTo>
                  <a:lnTo>
                    <a:pt x="29" y="125"/>
                  </a:lnTo>
                  <a:lnTo>
                    <a:pt x="28" y="125"/>
                  </a:lnTo>
                  <a:lnTo>
                    <a:pt x="28" y="124"/>
                  </a:lnTo>
                  <a:lnTo>
                    <a:pt x="29" y="124"/>
                  </a:lnTo>
                  <a:lnTo>
                    <a:pt x="28" y="124"/>
                  </a:lnTo>
                  <a:lnTo>
                    <a:pt x="27" y="124"/>
                  </a:lnTo>
                  <a:lnTo>
                    <a:pt x="26" y="124"/>
                  </a:lnTo>
                  <a:lnTo>
                    <a:pt x="26" y="124"/>
                  </a:lnTo>
                  <a:lnTo>
                    <a:pt x="25" y="124"/>
                  </a:lnTo>
                  <a:lnTo>
                    <a:pt x="24" y="124"/>
                  </a:lnTo>
                  <a:lnTo>
                    <a:pt x="24" y="124"/>
                  </a:lnTo>
                  <a:lnTo>
                    <a:pt x="24" y="124"/>
                  </a:lnTo>
                  <a:lnTo>
                    <a:pt x="24" y="123"/>
                  </a:lnTo>
                  <a:lnTo>
                    <a:pt x="21" y="123"/>
                  </a:lnTo>
                  <a:lnTo>
                    <a:pt x="20" y="122"/>
                  </a:lnTo>
                  <a:lnTo>
                    <a:pt x="19" y="122"/>
                  </a:lnTo>
                  <a:lnTo>
                    <a:pt x="19" y="123"/>
                  </a:lnTo>
                  <a:lnTo>
                    <a:pt x="18" y="123"/>
                  </a:lnTo>
                  <a:lnTo>
                    <a:pt x="16" y="123"/>
                  </a:lnTo>
                  <a:lnTo>
                    <a:pt x="16" y="122"/>
                  </a:lnTo>
                  <a:lnTo>
                    <a:pt x="16" y="119"/>
                  </a:lnTo>
                  <a:lnTo>
                    <a:pt x="15" y="117"/>
                  </a:lnTo>
                  <a:lnTo>
                    <a:pt x="15" y="117"/>
                  </a:lnTo>
                  <a:lnTo>
                    <a:pt x="14" y="116"/>
                  </a:lnTo>
                  <a:lnTo>
                    <a:pt x="14" y="114"/>
                  </a:lnTo>
                  <a:lnTo>
                    <a:pt x="13" y="113"/>
                  </a:lnTo>
                  <a:lnTo>
                    <a:pt x="14" y="112"/>
                  </a:lnTo>
                  <a:lnTo>
                    <a:pt x="13" y="113"/>
                  </a:lnTo>
                  <a:lnTo>
                    <a:pt x="12" y="112"/>
                  </a:lnTo>
                  <a:lnTo>
                    <a:pt x="13" y="111"/>
                  </a:lnTo>
                  <a:lnTo>
                    <a:pt x="13" y="110"/>
                  </a:lnTo>
                  <a:lnTo>
                    <a:pt x="13" y="105"/>
                  </a:lnTo>
                  <a:lnTo>
                    <a:pt x="12" y="105"/>
                  </a:lnTo>
                  <a:lnTo>
                    <a:pt x="12" y="104"/>
                  </a:lnTo>
                  <a:lnTo>
                    <a:pt x="12" y="102"/>
                  </a:lnTo>
                  <a:lnTo>
                    <a:pt x="13" y="100"/>
                  </a:lnTo>
                  <a:lnTo>
                    <a:pt x="12" y="99"/>
                  </a:lnTo>
                  <a:lnTo>
                    <a:pt x="11" y="98"/>
                  </a:lnTo>
                  <a:lnTo>
                    <a:pt x="9" y="96"/>
                  </a:lnTo>
                  <a:lnTo>
                    <a:pt x="9" y="94"/>
                  </a:lnTo>
                  <a:lnTo>
                    <a:pt x="9" y="93"/>
                  </a:lnTo>
                  <a:lnTo>
                    <a:pt x="9" y="92"/>
                  </a:lnTo>
                  <a:lnTo>
                    <a:pt x="8" y="91"/>
                  </a:lnTo>
                  <a:lnTo>
                    <a:pt x="8" y="90"/>
                  </a:lnTo>
                  <a:lnTo>
                    <a:pt x="6" y="89"/>
                  </a:lnTo>
                  <a:lnTo>
                    <a:pt x="6" y="85"/>
                  </a:lnTo>
                  <a:lnTo>
                    <a:pt x="6" y="85"/>
                  </a:lnTo>
                  <a:lnTo>
                    <a:pt x="5" y="86"/>
                  </a:lnTo>
                  <a:lnTo>
                    <a:pt x="4" y="86"/>
                  </a:lnTo>
                  <a:lnTo>
                    <a:pt x="5" y="85"/>
                  </a:lnTo>
                  <a:lnTo>
                    <a:pt x="6" y="84"/>
                  </a:lnTo>
                  <a:lnTo>
                    <a:pt x="7" y="84"/>
                  </a:lnTo>
                  <a:lnTo>
                    <a:pt x="6" y="83"/>
                  </a:lnTo>
                  <a:lnTo>
                    <a:pt x="6" y="82"/>
                  </a:lnTo>
                  <a:lnTo>
                    <a:pt x="6" y="82"/>
                  </a:lnTo>
                  <a:lnTo>
                    <a:pt x="6" y="80"/>
                  </a:lnTo>
                  <a:lnTo>
                    <a:pt x="4" y="79"/>
                  </a:lnTo>
                  <a:lnTo>
                    <a:pt x="4" y="78"/>
                  </a:lnTo>
                  <a:lnTo>
                    <a:pt x="5" y="78"/>
                  </a:lnTo>
                  <a:lnTo>
                    <a:pt x="6" y="78"/>
                  </a:lnTo>
                  <a:lnTo>
                    <a:pt x="6" y="77"/>
                  </a:lnTo>
                  <a:lnTo>
                    <a:pt x="5" y="74"/>
                  </a:lnTo>
                  <a:lnTo>
                    <a:pt x="4" y="76"/>
                  </a:lnTo>
                  <a:lnTo>
                    <a:pt x="4" y="74"/>
                  </a:lnTo>
                  <a:lnTo>
                    <a:pt x="2" y="73"/>
                  </a:lnTo>
                  <a:lnTo>
                    <a:pt x="4" y="73"/>
                  </a:lnTo>
                  <a:lnTo>
                    <a:pt x="4" y="72"/>
                  </a:lnTo>
                  <a:lnTo>
                    <a:pt x="4" y="72"/>
                  </a:lnTo>
                  <a:lnTo>
                    <a:pt x="1" y="73"/>
                  </a:lnTo>
                  <a:lnTo>
                    <a:pt x="1" y="72"/>
                  </a:lnTo>
                  <a:lnTo>
                    <a:pt x="0" y="71"/>
                  </a:lnTo>
                  <a:lnTo>
                    <a:pt x="0" y="72"/>
                  </a:lnTo>
                  <a:lnTo>
                    <a:pt x="0" y="72"/>
                  </a:lnTo>
                  <a:lnTo>
                    <a:pt x="0" y="70"/>
                  </a:lnTo>
                  <a:lnTo>
                    <a:pt x="0" y="71"/>
                  </a:lnTo>
                  <a:lnTo>
                    <a:pt x="0" y="69"/>
                  </a:lnTo>
                  <a:lnTo>
                    <a:pt x="0" y="67"/>
                  </a:lnTo>
                  <a:lnTo>
                    <a:pt x="1" y="69"/>
                  </a:lnTo>
                  <a:lnTo>
                    <a:pt x="0" y="70"/>
                  </a:lnTo>
                  <a:lnTo>
                    <a:pt x="1" y="70"/>
                  </a:lnTo>
                  <a:lnTo>
                    <a:pt x="2" y="70"/>
                  </a:lnTo>
                  <a:lnTo>
                    <a:pt x="2" y="70"/>
                  </a:lnTo>
                  <a:lnTo>
                    <a:pt x="2" y="69"/>
                  </a:lnTo>
                  <a:lnTo>
                    <a:pt x="1" y="65"/>
                  </a:lnTo>
                  <a:lnTo>
                    <a:pt x="1" y="64"/>
                  </a:lnTo>
                  <a:lnTo>
                    <a:pt x="0" y="64"/>
                  </a:lnTo>
                  <a:lnTo>
                    <a:pt x="1" y="64"/>
                  </a:lnTo>
                  <a:lnTo>
                    <a:pt x="1" y="63"/>
                  </a:lnTo>
                  <a:lnTo>
                    <a:pt x="0" y="63"/>
                  </a:lnTo>
                  <a:lnTo>
                    <a:pt x="0" y="62"/>
                  </a:lnTo>
                  <a:lnTo>
                    <a:pt x="0" y="60"/>
                  </a:lnTo>
                  <a:lnTo>
                    <a:pt x="1" y="60"/>
                  </a:lnTo>
                  <a:lnTo>
                    <a:pt x="1" y="60"/>
                  </a:lnTo>
                  <a:lnTo>
                    <a:pt x="1" y="59"/>
                  </a:lnTo>
                  <a:lnTo>
                    <a:pt x="2" y="58"/>
                  </a:lnTo>
                  <a:lnTo>
                    <a:pt x="2" y="58"/>
                  </a:lnTo>
                  <a:lnTo>
                    <a:pt x="2" y="56"/>
                  </a:lnTo>
                  <a:lnTo>
                    <a:pt x="1" y="54"/>
                  </a:lnTo>
                  <a:lnTo>
                    <a:pt x="2" y="52"/>
                  </a:lnTo>
                  <a:lnTo>
                    <a:pt x="1" y="51"/>
                  </a:lnTo>
                  <a:lnTo>
                    <a:pt x="0" y="50"/>
                  </a:lnTo>
                  <a:lnTo>
                    <a:pt x="1" y="49"/>
                  </a:lnTo>
                  <a:lnTo>
                    <a:pt x="2" y="49"/>
                  </a:lnTo>
                  <a:lnTo>
                    <a:pt x="1" y="46"/>
                  </a:lnTo>
                  <a:lnTo>
                    <a:pt x="1" y="47"/>
                  </a:lnTo>
                  <a:lnTo>
                    <a:pt x="1" y="47"/>
                  </a:lnTo>
                  <a:lnTo>
                    <a:pt x="4" y="46"/>
                  </a:lnTo>
                  <a:lnTo>
                    <a:pt x="4" y="45"/>
                  </a:lnTo>
                  <a:lnTo>
                    <a:pt x="4" y="45"/>
                  </a:lnTo>
                  <a:lnTo>
                    <a:pt x="6" y="44"/>
                  </a:lnTo>
                  <a:lnTo>
                    <a:pt x="6" y="42"/>
                  </a:lnTo>
                  <a:lnTo>
                    <a:pt x="8" y="42"/>
                  </a:lnTo>
                  <a:lnTo>
                    <a:pt x="7" y="40"/>
                  </a:lnTo>
                  <a:lnTo>
                    <a:pt x="9" y="38"/>
                  </a:lnTo>
                  <a:lnTo>
                    <a:pt x="9" y="38"/>
                  </a:lnTo>
                  <a:lnTo>
                    <a:pt x="6" y="37"/>
                  </a:lnTo>
                  <a:lnTo>
                    <a:pt x="6" y="36"/>
                  </a:lnTo>
                  <a:lnTo>
                    <a:pt x="6" y="34"/>
                  </a:lnTo>
                  <a:lnTo>
                    <a:pt x="6" y="33"/>
                  </a:lnTo>
                  <a:lnTo>
                    <a:pt x="6" y="33"/>
                  </a:lnTo>
                  <a:lnTo>
                    <a:pt x="6" y="30"/>
                  </a:lnTo>
                  <a:lnTo>
                    <a:pt x="9" y="29"/>
                  </a:lnTo>
                  <a:lnTo>
                    <a:pt x="6" y="26"/>
                  </a:lnTo>
                  <a:lnTo>
                    <a:pt x="8" y="26"/>
                  </a:lnTo>
                  <a:lnTo>
                    <a:pt x="8" y="25"/>
                  </a:lnTo>
                  <a:lnTo>
                    <a:pt x="11" y="23"/>
                  </a:lnTo>
                  <a:lnTo>
                    <a:pt x="13" y="24"/>
                  </a:lnTo>
                  <a:lnTo>
                    <a:pt x="15" y="24"/>
                  </a:lnTo>
                  <a:lnTo>
                    <a:pt x="16" y="26"/>
                  </a:lnTo>
                  <a:lnTo>
                    <a:pt x="18" y="26"/>
                  </a:lnTo>
                  <a:lnTo>
                    <a:pt x="19" y="26"/>
                  </a:lnTo>
                  <a:lnTo>
                    <a:pt x="20" y="26"/>
                  </a:lnTo>
                  <a:lnTo>
                    <a:pt x="20" y="27"/>
                  </a:lnTo>
                  <a:lnTo>
                    <a:pt x="20" y="27"/>
                  </a:lnTo>
                  <a:lnTo>
                    <a:pt x="21" y="26"/>
                  </a:lnTo>
                  <a:lnTo>
                    <a:pt x="24" y="26"/>
                  </a:lnTo>
                  <a:lnTo>
                    <a:pt x="24" y="26"/>
                  </a:lnTo>
                  <a:lnTo>
                    <a:pt x="26" y="26"/>
                  </a:lnTo>
                  <a:lnTo>
                    <a:pt x="29" y="26"/>
                  </a:lnTo>
                  <a:lnTo>
                    <a:pt x="29" y="26"/>
                  </a:lnTo>
                  <a:lnTo>
                    <a:pt x="31" y="26"/>
                  </a:lnTo>
                  <a:lnTo>
                    <a:pt x="66" y="42"/>
                  </a:lnTo>
                  <a:lnTo>
                    <a:pt x="68" y="54"/>
                  </a:lnTo>
                  <a:lnTo>
                    <a:pt x="98" y="22"/>
                  </a:lnTo>
                  <a:lnTo>
                    <a:pt x="160" y="0"/>
                  </a:lnTo>
                  <a:lnTo>
                    <a:pt x="176" y="26"/>
                  </a:lnTo>
                  <a:lnTo>
                    <a:pt x="179" y="31"/>
                  </a:lnTo>
                  <a:lnTo>
                    <a:pt x="180" y="36"/>
                  </a:lnTo>
                  <a:lnTo>
                    <a:pt x="182" y="37"/>
                  </a:lnTo>
                  <a:lnTo>
                    <a:pt x="183" y="39"/>
                  </a:lnTo>
                  <a:lnTo>
                    <a:pt x="186" y="42"/>
                  </a:lnTo>
                  <a:lnTo>
                    <a:pt x="186" y="42"/>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254" name="Western Sahara">
              <a:extLst>
                <a:ext uri="{FF2B5EF4-FFF2-40B4-BE49-F238E27FC236}">
                  <a16:creationId xmlns:a16="http://schemas.microsoft.com/office/drawing/2014/main" id="{B5D345EF-AEC6-8543-84A6-68F831DF83F2}"/>
                </a:ext>
              </a:extLst>
            </p:cNvPr>
            <p:cNvSpPr>
              <a:spLocks/>
            </p:cNvSpPr>
            <p:nvPr/>
          </p:nvSpPr>
          <p:spPr bwMode="auto">
            <a:xfrm>
              <a:off x="5917656" y="3158417"/>
              <a:ext cx="224525" cy="207029"/>
            </a:xfrm>
            <a:custGeom>
              <a:avLst/>
              <a:gdLst>
                <a:gd name="T0" fmla="*/ 154 w 154"/>
                <a:gd name="T1" fmla="*/ 34 h 142"/>
                <a:gd name="T2" fmla="*/ 90 w 154"/>
                <a:gd name="T3" fmla="*/ 87 h 142"/>
                <a:gd name="T4" fmla="*/ 74 w 154"/>
                <a:gd name="T5" fmla="*/ 98 h 142"/>
                <a:gd name="T6" fmla="*/ 4 w 154"/>
                <a:gd name="T7" fmla="*/ 129 h 142"/>
                <a:gd name="T8" fmla="*/ 2 w 154"/>
                <a:gd name="T9" fmla="*/ 137 h 142"/>
                <a:gd name="T10" fmla="*/ 1 w 154"/>
                <a:gd name="T11" fmla="*/ 142 h 142"/>
                <a:gd name="T12" fmla="*/ 0 w 154"/>
                <a:gd name="T13" fmla="*/ 138 h 142"/>
                <a:gd name="T14" fmla="*/ 1 w 154"/>
                <a:gd name="T15" fmla="*/ 132 h 142"/>
                <a:gd name="T16" fmla="*/ 2 w 154"/>
                <a:gd name="T17" fmla="*/ 128 h 142"/>
                <a:gd name="T18" fmla="*/ 2 w 154"/>
                <a:gd name="T19" fmla="*/ 122 h 142"/>
                <a:gd name="T20" fmla="*/ 3 w 154"/>
                <a:gd name="T21" fmla="*/ 118 h 142"/>
                <a:gd name="T22" fmla="*/ 4 w 154"/>
                <a:gd name="T23" fmla="*/ 115 h 142"/>
                <a:gd name="T24" fmla="*/ 8 w 154"/>
                <a:gd name="T25" fmla="*/ 111 h 142"/>
                <a:gd name="T26" fmla="*/ 9 w 154"/>
                <a:gd name="T27" fmla="*/ 112 h 142"/>
                <a:gd name="T28" fmla="*/ 10 w 154"/>
                <a:gd name="T29" fmla="*/ 112 h 142"/>
                <a:gd name="T30" fmla="*/ 14 w 154"/>
                <a:gd name="T31" fmla="*/ 105 h 142"/>
                <a:gd name="T32" fmla="*/ 15 w 154"/>
                <a:gd name="T33" fmla="*/ 98 h 142"/>
                <a:gd name="T34" fmla="*/ 17 w 154"/>
                <a:gd name="T35" fmla="*/ 96 h 142"/>
                <a:gd name="T36" fmla="*/ 18 w 154"/>
                <a:gd name="T37" fmla="*/ 94 h 142"/>
                <a:gd name="T38" fmla="*/ 17 w 154"/>
                <a:gd name="T39" fmla="*/ 92 h 142"/>
                <a:gd name="T40" fmla="*/ 20 w 154"/>
                <a:gd name="T41" fmla="*/ 89 h 142"/>
                <a:gd name="T42" fmla="*/ 23 w 154"/>
                <a:gd name="T43" fmla="*/ 85 h 142"/>
                <a:gd name="T44" fmla="*/ 25 w 154"/>
                <a:gd name="T45" fmla="*/ 81 h 142"/>
                <a:gd name="T46" fmla="*/ 27 w 154"/>
                <a:gd name="T47" fmla="*/ 78 h 142"/>
                <a:gd name="T48" fmla="*/ 24 w 154"/>
                <a:gd name="T49" fmla="*/ 81 h 142"/>
                <a:gd name="T50" fmla="*/ 22 w 154"/>
                <a:gd name="T51" fmla="*/ 82 h 142"/>
                <a:gd name="T52" fmla="*/ 24 w 154"/>
                <a:gd name="T53" fmla="*/ 80 h 142"/>
                <a:gd name="T54" fmla="*/ 27 w 154"/>
                <a:gd name="T55" fmla="*/ 74 h 142"/>
                <a:gd name="T56" fmla="*/ 29 w 154"/>
                <a:gd name="T57" fmla="*/ 70 h 142"/>
                <a:gd name="T58" fmla="*/ 32 w 154"/>
                <a:gd name="T59" fmla="*/ 65 h 142"/>
                <a:gd name="T60" fmla="*/ 36 w 154"/>
                <a:gd name="T61" fmla="*/ 63 h 142"/>
                <a:gd name="T62" fmla="*/ 41 w 154"/>
                <a:gd name="T63" fmla="*/ 61 h 142"/>
                <a:gd name="T64" fmla="*/ 42 w 154"/>
                <a:gd name="T65" fmla="*/ 57 h 142"/>
                <a:gd name="T66" fmla="*/ 41 w 154"/>
                <a:gd name="T67" fmla="*/ 52 h 142"/>
                <a:gd name="T68" fmla="*/ 42 w 154"/>
                <a:gd name="T69" fmla="*/ 49 h 142"/>
                <a:gd name="T70" fmla="*/ 42 w 154"/>
                <a:gd name="T71" fmla="*/ 47 h 142"/>
                <a:gd name="T72" fmla="*/ 43 w 154"/>
                <a:gd name="T73" fmla="*/ 43 h 142"/>
                <a:gd name="T74" fmla="*/ 45 w 154"/>
                <a:gd name="T75" fmla="*/ 38 h 142"/>
                <a:gd name="T76" fmla="*/ 48 w 154"/>
                <a:gd name="T77" fmla="*/ 35 h 142"/>
                <a:gd name="T78" fmla="*/ 48 w 154"/>
                <a:gd name="T79" fmla="*/ 31 h 142"/>
                <a:gd name="T80" fmla="*/ 48 w 154"/>
                <a:gd name="T81" fmla="*/ 28 h 142"/>
                <a:gd name="T82" fmla="*/ 52 w 154"/>
                <a:gd name="T83" fmla="*/ 27 h 142"/>
                <a:gd name="T84" fmla="*/ 55 w 154"/>
                <a:gd name="T85" fmla="*/ 23 h 142"/>
                <a:gd name="T86" fmla="*/ 58 w 154"/>
                <a:gd name="T87" fmla="*/ 21 h 142"/>
                <a:gd name="T88" fmla="*/ 62 w 154"/>
                <a:gd name="T89" fmla="*/ 20 h 142"/>
                <a:gd name="T90" fmla="*/ 64 w 154"/>
                <a:gd name="T91" fmla="*/ 16 h 142"/>
                <a:gd name="T92" fmla="*/ 65 w 154"/>
                <a:gd name="T93" fmla="*/ 14 h 142"/>
                <a:gd name="T94" fmla="*/ 68 w 154"/>
                <a:gd name="T95" fmla="*/ 9 h 142"/>
                <a:gd name="T96" fmla="*/ 69 w 154"/>
                <a:gd name="T97" fmla="*/ 4 h 142"/>
                <a:gd name="T98" fmla="*/ 71 w 154"/>
                <a:gd name="T99" fmla="*/ 2 h 142"/>
                <a:gd name="T100" fmla="*/ 71 w 154"/>
                <a:gd name="T101" fmla="*/ 0 h 142"/>
                <a:gd name="T102" fmla="*/ 109 w 154"/>
                <a:gd name="T103" fmla="*/ 0 h 142"/>
                <a:gd name="T104" fmla="*/ 154 w 154"/>
                <a:gd name="T105" fmla="*/ 9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54" h="142">
                  <a:moveTo>
                    <a:pt x="154" y="9"/>
                  </a:moveTo>
                  <a:lnTo>
                    <a:pt x="154" y="34"/>
                  </a:lnTo>
                  <a:lnTo>
                    <a:pt x="95" y="34"/>
                  </a:lnTo>
                  <a:lnTo>
                    <a:pt x="90" y="87"/>
                  </a:lnTo>
                  <a:lnTo>
                    <a:pt x="83" y="90"/>
                  </a:lnTo>
                  <a:lnTo>
                    <a:pt x="74" y="98"/>
                  </a:lnTo>
                  <a:lnTo>
                    <a:pt x="78" y="128"/>
                  </a:lnTo>
                  <a:lnTo>
                    <a:pt x="4" y="129"/>
                  </a:lnTo>
                  <a:lnTo>
                    <a:pt x="2" y="136"/>
                  </a:lnTo>
                  <a:lnTo>
                    <a:pt x="2" y="137"/>
                  </a:lnTo>
                  <a:lnTo>
                    <a:pt x="2" y="138"/>
                  </a:lnTo>
                  <a:lnTo>
                    <a:pt x="1" y="142"/>
                  </a:lnTo>
                  <a:lnTo>
                    <a:pt x="0" y="142"/>
                  </a:lnTo>
                  <a:lnTo>
                    <a:pt x="0" y="138"/>
                  </a:lnTo>
                  <a:lnTo>
                    <a:pt x="0" y="136"/>
                  </a:lnTo>
                  <a:lnTo>
                    <a:pt x="1" y="132"/>
                  </a:lnTo>
                  <a:lnTo>
                    <a:pt x="1" y="131"/>
                  </a:lnTo>
                  <a:lnTo>
                    <a:pt x="2" y="128"/>
                  </a:lnTo>
                  <a:lnTo>
                    <a:pt x="2" y="127"/>
                  </a:lnTo>
                  <a:lnTo>
                    <a:pt x="2" y="122"/>
                  </a:lnTo>
                  <a:lnTo>
                    <a:pt x="3" y="121"/>
                  </a:lnTo>
                  <a:lnTo>
                    <a:pt x="3" y="118"/>
                  </a:lnTo>
                  <a:lnTo>
                    <a:pt x="4" y="117"/>
                  </a:lnTo>
                  <a:lnTo>
                    <a:pt x="4" y="115"/>
                  </a:lnTo>
                  <a:lnTo>
                    <a:pt x="5" y="114"/>
                  </a:lnTo>
                  <a:lnTo>
                    <a:pt x="8" y="111"/>
                  </a:lnTo>
                  <a:lnTo>
                    <a:pt x="9" y="111"/>
                  </a:lnTo>
                  <a:lnTo>
                    <a:pt x="9" y="112"/>
                  </a:lnTo>
                  <a:lnTo>
                    <a:pt x="9" y="112"/>
                  </a:lnTo>
                  <a:lnTo>
                    <a:pt x="10" y="112"/>
                  </a:lnTo>
                  <a:lnTo>
                    <a:pt x="10" y="111"/>
                  </a:lnTo>
                  <a:lnTo>
                    <a:pt x="14" y="105"/>
                  </a:lnTo>
                  <a:lnTo>
                    <a:pt x="15" y="101"/>
                  </a:lnTo>
                  <a:lnTo>
                    <a:pt x="15" y="98"/>
                  </a:lnTo>
                  <a:lnTo>
                    <a:pt x="16" y="97"/>
                  </a:lnTo>
                  <a:lnTo>
                    <a:pt x="17" y="96"/>
                  </a:lnTo>
                  <a:lnTo>
                    <a:pt x="18" y="96"/>
                  </a:lnTo>
                  <a:lnTo>
                    <a:pt x="18" y="94"/>
                  </a:lnTo>
                  <a:lnTo>
                    <a:pt x="16" y="95"/>
                  </a:lnTo>
                  <a:lnTo>
                    <a:pt x="17" y="92"/>
                  </a:lnTo>
                  <a:lnTo>
                    <a:pt x="17" y="91"/>
                  </a:lnTo>
                  <a:lnTo>
                    <a:pt x="20" y="89"/>
                  </a:lnTo>
                  <a:lnTo>
                    <a:pt x="22" y="88"/>
                  </a:lnTo>
                  <a:lnTo>
                    <a:pt x="23" y="85"/>
                  </a:lnTo>
                  <a:lnTo>
                    <a:pt x="24" y="83"/>
                  </a:lnTo>
                  <a:lnTo>
                    <a:pt x="25" y="81"/>
                  </a:lnTo>
                  <a:lnTo>
                    <a:pt x="27" y="77"/>
                  </a:lnTo>
                  <a:lnTo>
                    <a:pt x="27" y="78"/>
                  </a:lnTo>
                  <a:lnTo>
                    <a:pt x="24" y="80"/>
                  </a:lnTo>
                  <a:lnTo>
                    <a:pt x="24" y="81"/>
                  </a:lnTo>
                  <a:lnTo>
                    <a:pt x="23" y="82"/>
                  </a:lnTo>
                  <a:lnTo>
                    <a:pt x="22" y="82"/>
                  </a:lnTo>
                  <a:lnTo>
                    <a:pt x="23" y="81"/>
                  </a:lnTo>
                  <a:lnTo>
                    <a:pt x="24" y="80"/>
                  </a:lnTo>
                  <a:lnTo>
                    <a:pt x="27" y="76"/>
                  </a:lnTo>
                  <a:lnTo>
                    <a:pt x="27" y="74"/>
                  </a:lnTo>
                  <a:lnTo>
                    <a:pt x="28" y="72"/>
                  </a:lnTo>
                  <a:lnTo>
                    <a:pt x="29" y="70"/>
                  </a:lnTo>
                  <a:lnTo>
                    <a:pt x="31" y="68"/>
                  </a:lnTo>
                  <a:lnTo>
                    <a:pt x="32" y="65"/>
                  </a:lnTo>
                  <a:lnTo>
                    <a:pt x="34" y="64"/>
                  </a:lnTo>
                  <a:lnTo>
                    <a:pt x="36" y="63"/>
                  </a:lnTo>
                  <a:lnTo>
                    <a:pt x="38" y="62"/>
                  </a:lnTo>
                  <a:lnTo>
                    <a:pt x="41" y="61"/>
                  </a:lnTo>
                  <a:lnTo>
                    <a:pt x="42" y="61"/>
                  </a:lnTo>
                  <a:lnTo>
                    <a:pt x="42" y="57"/>
                  </a:lnTo>
                  <a:lnTo>
                    <a:pt x="41" y="55"/>
                  </a:lnTo>
                  <a:lnTo>
                    <a:pt x="41" y="52"/>
                  </a:lnTo>
                  <a:lnTo>
                    <a:pt x="42" y="50"/>
                  </a:lnTo>
                  <a:lnTo>
                    <a:pt x="42" y="49"/>
                  </a:lnTo>
                  <a:lnTo>
                    <a:pt x="42" y="48"/>
                  </a:lnTo>
                  <a:lnTo>
                    <a:pt x="42" y="47"/>
                  </a:lnTo>
                  <a:lnTo>
                    <a:pt x="42" y="44"/>
                  </a:lnTo>
                  <a:lnTo>
                    <a:pt x="43" y="43"/>
                  </a:lnTo>
                  <a:lnTo>
                    <a:pt x="44" y="41"/>
                  </a:lnTo>
                  <a:lnTo>
                    <a:pt x="45" y="38"/>
                  </a:lnTo>
                  <a:lnTo>
                    <a:pt x="47" y="37"/>
                  </a:lnTo>
                  <a:lnTo>
                    <a:pt x="48" y="35"/>
                  </a:lnTo>
                  <a:lnTo>
                    <a:pt x="47" y="33"/>
                  </a:lnTo>
                  <a:lnTo>
                    <a:pt x="48" y="31"/>
                  </a:lnTo>
                  <a:lnTo>
                    <a:pt x="47" y="30"/>
                  </a:lnTo>
                  <a:lnTo>
                    <a:pt x="48" y="28"/>
                  </a:lnTo>
                  <a:lnTo>
                    <a:pt x="50" y="27"/>
                  </a:lnTo>
                  <a:lnTo>
                    <a:pt x="52" y="27"/>
                  </a:lnTo>
                  <a:lnTo>
                    <a:pt x="54" y="25"/>
                  </a:lnTo>
                  <a:lnTo>
                    <a:pt x="55" y="23"/>
                  </a:lnTo>
                  <a:lnTo>
                    <a:pt x="57" y="22"/>
                  </a:lnTo>
                  <a:lnTo>
                    <a:pt x="58" y="21"/>
                  </a:lnTo>
                  <a:lnTo>
                    <a:pt x="60" y="21"/>
                  </a:lnTo>
                  <a:lnTo>
                    <a:pt x="62" y="20"/>
                  </a:lnTo>
                  <a:lnTo>
                    <a:pt x="63" y="17"/>
                  </a:lnTo>
                  <a:lnTo>
                    <a:pt x="64" y="16"/>
                  </a:lnTo>
                  <a:lnTo>
                    <a:pt x="65" y="15"/>
                  </a:lnTo>
                  <a:lnTo>
                    <a:pt x="65" y="14"/>
                  </a:lnTo>
                  <a:lnTo>
                    <a:pt x="67" y="11"/>
                  </a:lnTo>
                  <a:lnTo>
                    <a:pt x="68" y="9"/>
                  </a:lnTo>
                  <a:lnTo>
                    <a:pt x="69" y="7"/>
                  </a:lnTo>
                  <a:lnTo>
                    <a:pt x="69" y="4"/>
                  </a:lnTo>
                  <a:lnTo>
                    <a:pt x="69" y="3"/>
                  </a:lnTo>
                  <a:lnTo>
                    <a:pt x="71" y="2"/>
                  </a:lnTo>
                  <a:lnTo>
                    <a:pt x="71" y="1"/>
                  </a:lnTo>
                  <a:lnTo>
                    <a:pt x="71" y="0"/>
                  </a:lnTo>
                  <a:lnTo>
                    <a:pt x="71" y="0"/>
                  </a:lnTo>
                  <a:lnTo>
                    <a:pt x="109" y="0"/>
                  </a:lnTo>
                  <a:lnTo>
                    <a:pt x="154" y="0"/>
                  </a:lnTo>
                  <a:lnTo>
                    <a:pt x="154" y="9"/>
                  </a:lnTo>
                  <a:lnTo>
                    <a:pt x="154" y="9"/>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255" name="West Bank">
              <a:extLst>
                <a:ext uri="{FF2B5EF4-FFF2-40B4-BE49-F238E27FC236}">
                  <a16:creationId xmlns:a16="http://schemas.microsoft.com/office/drawing/2014/main" id="{C21B7A06-934E-A047-A57A-F457F0247271}"/>
                </a:ext>
              </a:extLst>
            </p:cNvPr>
            <p:cNvSpPr>
              <a:spLocks noEditPoints="1"/>
            </p:cNvSpPr>
            <p:nvPr/>
          </p:nvSpPr>
          <p:spPr bwMode="auto">
            <a:xfrm>
              <a:off x="7228352" y="3009706"/>
              <a:ext cx="30618" cy="42282"/>
            </a:xfrm>
            <a:custGeom>
              <a:avLst/>
              <a:gdLst>
                <a:gd name="T0" fmla="*/ 5 w 21"/>
                <a:gd name="T1" fmla="*/ 22 h 29"/>
                <a:gd name="T2" fmla="*/ 3 w 21"/>
                <a:gd name="T3" fmla="*/ 26 h 29"/>
                <a:gd name="T4" fmla="*/ 0 w 21"/>
                <a:gd name="T5" fmla="*/ 26 h 29"/>
                <a:gd name="T6" fmla="*/ 1 w 21"/>
                <a:gd name="T7" fmla="*/ 23 h 29"/>
                <a:gd name="T8" fmla="*/ 5 w 21"/>
                <a:gd name="T9" fmla="*/ 20 h 29"/>
                <a:gd name="T10" fmla="*/ 17 w 21"/>
                <a:gd name="T11" fmla="*/ 24 h 29"/>
                <a:gd name="T12" fmla="*/ 11 w 21"/>
                <a:gd name="T13" fmla="*/ 24 h 29"/>
                <a:gd name="T14" fmla="*/ 12 w 21"/>
                <a:gd name="T15" fmla="*/ 22 h 29"/>
                <a:gd name="T16" fmla="*/ 12 w 21"/>
                <a:gd name="T17" fmla="*/ 19 h 29"/>
                <a:gd name="T18" fmla="*/ 16 w 21"/>
                <a:gd name="T19" fmla="*/ 17 h 29"/>
                <a:gd name="T20" fmla="*/ 16 w 21"/>
                <a:gd name="T21" fmla="*/ 17 h 29"/>
                <a:gd name="T22" fmla="*/ 14 w 21"/>
                <a:gd name="T23" fmla="*/ 15 h 29"/>
                <a:gd name="T24" fmla="*/ 12 w 21"/>
                <a:gd name="T25" fmla="*/ 16 h 29"/>
                <a:gd name="T26" fmla="*/ 11 w 21"/>
                <a:gd name="T27" fmla="*/ 12 h 29"/>
                <a:gd name="T28" fmla="*/ 12 w 21"/>
                <a:gd name="T29" fmla="*/ 12 h 29"/>
                <a:gd name="T30" fmla="*/ 11 w 21"/>
                <a:gd name="T31" fmla="*/ 9 h 29"/>
                <a:gd name="T32" fmla="*/ 11 w 21"/>
                <a:gd name="T33" fmla="*/ 7 h 29"/>
                <a:gd name="T34" fmla="*/ 12 w 21"/>
                <a:gd name="T35" fmla="*/ 6 h 29"/>
                <a:gd name="T36" fmla="*/ 12 w 21"/>
                <a:gd name="T37" fmla="*/ 3 h 29"/>
                <a:gd name="T38" fmla="*/ 12 w 21"/>
                <a:gd name="T39" fmla="*/ 2 h 29"/>
                <a:gd name="T40" fmla="*/ 16 w 21"/>
                <a:gd name="T41" fmla="*/ 2 h 29"/>
                <a:gd name="T42" fmla="*/ 17 w 21"/>
                <a:gd name="T43" fmla="*/ 2 h 29"/>
                <a:gd name="T44" fmla="*/ 19 w 21"/>
                <a:gd name="T45" fmla="*/ 3 h 29"/>
                <a:gd name="T46" fmla="*/ 20 w 21"/>
                <a:gd name="T47" fmla="*/ 3 h 29"/>
                <a:gd name="T48" fmla="*/ 20 w 21"/>
                <a:gd name="T49" fmla="*/ 6 h 29"/>
                <a:gd name="T50" fmla="*/ 20 w 21"/>
                <a:gd name="T51" fmla="*/ 7 h 29"/>
                <a:gd name="T52" fmla="*/ 20 w 21"/>
                <a:gd name="T53" fmla="*/ 12 h 29"/>
                <a:gd name="T54" fmla="*/ 20 w 21"/>
                <a:gd name="T55" fmla="*/ 13 h 29"/>
                <a:gd name="T56" fmla="*/ 20 w 21"/>
                <a:gd name="T57" fmla="*/ 18 h 29"/>
                <a:gd name="T58" fmla="*/ 21 w 21"/>
                <a:gd name="T59" fmla="*/ 22 h 29"/>
                <a:gd name="T60" fmla="*/ 20 w 21"/>
                <a:gd name="T61" fmla="*/ 22 h 29"/>
                <a:gd name="T62" fmla="*/ 20 w 21"/>
                <a:gd name="T63" fmla="*/ 22 h 29"/>
                <a:gd name="T64" fmla="*/ 19 w 21"/>
                <a:gd name="T65" fmla="*/ 23 h 29"/>
                <a:gd name="T66" fmla="*/ 17 w 21"/>
                <a:gd name="T67" fmla="*/ 24 h 29"/>
                <a:gd name="T68" fmla="*/ 17 w 21"/>
                <a:gd name="T69" fmla="*/ 24 h 29"/>
                <a:gd name="T70" fmla="*/ 20 w 21"/>
                <a:gd name="T71" fmla="*/ 3 h 29"/>
                <a:gd name="T72" fmla="*/ 20 w 21"/>
                <a:gd name="T73" fmla="*/ 3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1" h="29">
                  <a:moveTo>
                    <a:pt x="5" y="20"/>
                  </a:moveTo>
                  <a:lnTo>
                    <a:pt x="5" y="22"/>
                  </a:lnTo>
                  <a:lnTo>
                    <a:pt x="3" y="25"/>
                  </a:lnTo>
                  <a:lnTo>
                    <a:pt x="3" y="26"/>
                  </a:lnTo>
                  <a:lnTo>
                    <a:pt x="0" y="29"/>
                  </a:lnTo>
                  <a:lnTo>
                    <a:pt x="0" y="26"/>
                  </a:lnTo>
                  <a:lnTo>
                    <a:pt x="0" y="26"/>
                  </a:lnTo>
                  <a:lnTo>
                    <a:pt x="1" y="23"/>
                  </a:lnTo>
                  <a:lnTo>
                    <a:pt x="4" y="22"/>
                  </a:lnTo>
                  <a:lnTo>
                    <a:pt x="5" y="20"/>
                  </a:lnTo>
                  <a:lnTo>
                    <a:pt x="5" y="20"/>
                  </a:lnTo>
                  <a:close/>
                  <a:moveTo>
                    <a:pt x="17" y="24"/>
                  </a:moveTo>
                  <a:lnTo>
                    <a:pt x="12" y="25"/>
                  </a:lnTo>
                  <a:lnTo>
                    <a:pt x="11" y="24"/>
                  </a:lnTo>
                  <a:lnTo>
                    <a:pt x="11" y="24"/>
                  </a:lnTo>
                  <a:lnTo>
                    <a:pt x="12" y="22"/>
                  </a:lnTo>
                  <a:lnTo>
                    <a:pt x="12" y="22"/>
                  </a:lnTo>
                  <a:lnTo>
                    <a:pt x="12" y="19"/>
                  </a:lnTo>
                  <a:lnTo>
                    <a:pt x="16" y="17"/>
                  </a:lnTo>
                  <a:lnTo>
                    <a:pt x="16" y="17"/>
                  </a:lnTo>
                  <a:lnTo>
                    <a:pt x="16" y="17"/>
                  </a:lnTo>
                  <a:lnTo>
                    <a:pt x="16" y="17"/>
                  </a:lnTo>
                  <a:lnTo>
                    <a:pt x="16" y="17"/>
                  </a:lnTo>
                  <a:lnTo>
                    <a:pt x="14" y="15"/>
                  </a:lnTo>
                  <a:lnTo>
                    <a:pt x="13" y="16"/>
                  </a:lnTo>
                  <a:lnTo>
                    <a:pt x="12" y="16"/>
                  </a:lnTo>
                  <a:lnTo>
                    <a:pt x="11" y="15"/>
                  </a:lnTo>
                  <a:lnTo>
                    <a:pt x="11" y="12"/>
                  </a:lnTo>
                  <a:lnTo>
                    <a:pt x="11" y="12"/>
                  </a:lnTo>
                  <a:lnTo>
                    <a:pt x="12" y="12"/>
                  </a:lnTo>
                  <a:lnTo>
                    <a:pt x="12" y="11"/>
                  </a:lnTo>
                  <a:lnTo>
                    <a:pt x="11" y="9"/>
                  </a:lnTo>
                  <a:lnTo>
                    <a:pt x="11" y="9"/>
                  </a:lnTo>
                  <a:lnTo>
                    <a:pt x="11" y="7"/>
                  </a:lnTo>
                  <a:lnTo>
                    <a:pt x="12" y="6"/>
                  </a:lnTo>
                  <a:lnTo>
                    <a:pt x="12" y="6"/>
                  </a:lnTo>
                  <a:lnTo>
                    <a:pt x="12" y="4"/>
                  </a:lnTo>
                  <a:lnTo>
                    <a:pt x="12" y="3"/>
                  </a:lnTo>
                  <a:lnTo>
                    <a:pt x="12" y="2"/>
                  </a:lnTo>
                  <a:lnTo>
                    <a:pt x="12" y="2"/>
                  </a:lnTo>
                  <a:lnTo>
                    <a:pt x="14" y="0"/>
                  </a:lnTo>
                  <a:lnTo>
                    <a:pt x="16" y="2"/>
                  </a:lnTo>
                  <a:lnTo>
                    <a:pt x="17" y="0"/>
                  </a:lnTo>
                  <a:lnTo>
                    <a:pt x="17" y="2"/>
                  </a:lnTo>
                  <a:lnTo>
                    <a:pt x="18" y="2"/>
                  </a:lnTo>
                  <a:lnTo>
                    <a:pt x="19" y="3"/>
                  </a:lnTo>
                  <a:lnTo>
                    <a:pt x="19" y="3"/>
                  </a:lnTo>
                  <a:lnTo>
                    <a:pt x="20" y="3"/>
                  </a:lnTo>
                  <a:lnTo>
                    <a:pt x="19" y="5"/>
                  </a:lnTo>
                  <a:lnTo>
                    <a:pt x="20" y="6"/>
                  </a:lnTo>
                  <a:lnTo>
                    <a:pt x="20" y="6"/>
                  </a:lnTo>
                  <a:lnTo>
                    <a:pt x="20" y="7"/>
                  </a:lnTo>
                  <a:lnTo>
                    <a:pt x="20" y="9"/>
                  </a:lnTo>
                  <a:lnTo>
                    <a:pt x="20" y="12"/>
                  </a:lnTo>
                  <a:lnTo>
                    <a:pt x="20" y="12"/>
                  </a:lnTo>
                  <a:lnTo>
                    <a:pt x="20" y="13"/>
                  </a:lnTo>
                  <a:lnTo>
                    <a:pt x="20" y="16"/>
                  </a:lnTo>
                  <a:lnTo>
                    <a:pt x="20" y="18"/>
                  </a:lnTo>
                  <a:lnTo>
                    <a:pt x="20" y="20"/>
                  </a:lnTo>
                  <a:lnTo>
                    <a:pt x="21" y="22"/>
                  </a:lnTo>
                  <a:lnTo>
                    <a:pt x="21" y="22"/>
                  </a:lnTo>
                  <a:lnTo>
                    <a:pt x="20" y="22"/>
                  </a:lnTo>
                  <a:lnTo>
                    <a:pt x="20" y="22"/>
                  </a:lnTo>
                  <a:lnTo>
                    <a:pt x="20" y="22"/>
                  </a:lnTo>
                  <a:lnTo>
                    <a:pt x="20" y="22"/>
                  </a:lnTo>
                  <a:lnTo>
                    <a:pt x="19" y="23"/>
                  </a:lnTo>
                  <a:lnTo>
                    <a:pt x="18" y="24"/>
                  </a:lnTo>
                  <a:lnTo>
                    <a:pt x="17" y="24"/>
                  </a:lnTo>
                  <a:lnTo>
                    <a:pt x="17" y="24"/>
                  </a:lnTo>
                  <a:lnTo>
                    <a:pt x="17" y="24"/>
                  </a:lnTo>
                  <a:close/>
                  <a:moveTo>
                    <a:pt x="20" y="3"/>
                  </a:moveTo>
                  <a:lnTo>
                    <a:pt x="20" y="3"/>
                  </a:lnTo>
                  <a:lnTo>
                    <a:pt x="20" y="3"/>
                  </a:lnTo>
                  <a:lnTo>
                    <a:pt x="20" y="3"/>
                  </a:lnTo>
                  <a:lnTo>
                    <a:pt x="20" y="3"/>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256" name="Venezuela">
              <a:extLst>
                <a:ext uri="{FF2B5EF4-FFF2-40B4-BE49-F238E27FC236}">
                  <a16:creationId xmlns:a16="http://schemas.microsoft.com/office/drawing/2014/main" id="{A7EC6737-9523-DD4C-84CA-28830FC2C217}"/>
                </a:ext>
              </a:extLst>
            </p:cNvPr>
            <p:cNvSpPr>
              <a:spLocks/>
            </p:cNvSpPr>
            <p:nvPr/>
          </p:nvSpPr>
          <p:spPr bwMode="auto">
            <a:xfrm>
              <a:off x="4430549" y="3622044"/>
              <a:ext cx="355739" cy="346991"/>
            </a:xfrm>
            <a:custGeom>
              <a:avLst/>
              <a:gdLst>
                <a:gd name="T0" fmla="*/ 100 w 244"/>
                <a:gd name="T1" fmla="*/ 193 h 238"/>
                <a:gd name="T2" fmla="*/ 96 w 244"/>
                <a:gd name="T3" fmla="*/ 160 h 238"/>
                <a:gd name="T4" fmla="*/ 104 w 244"/>
                <a:gd name="T5" fmla="*/ 124 h 238"/>
                <a:gd name="T6" fmla="*/ 49 w 244"/>
                <a:gd name="T7" fmla="*/ 105 h 238"/>
                <a:gd name="T8" fmla="*/ 21 w 244"/>
                <a:gd name="T9" fmla="*/ 103 h 238"/>
                <a:gd name="T10" fmla="*/ 7 w 244"/>
                <a:gd name="T11" fmla="*/ 63 h 238"/>
                <a:gd name="T12" fmla="*/ 33 w 244"/>
                <a:gd name="T13" fmla="*/ 11 h 238"/>
                <a:gd name="T14" fmla="*/ 35 w 244"/>
                <a:gd name="T15" fmla="*/ 12 h 238"/>
                <a:gd name="T16" fmla="*/ 33 w 244"/>
                <a:gd name="T17" fmla="*/ 24 h 238"/>
                <a:gd name="T18" fmla="*/ 33 w 244"/>
                <a:gd name="T19" fmla="*/ 37 h 238"/>
                <a:gd name="T20" fmla="*/ 26 w 244"/>
                <a:gd name="T21" fmla="*/ 53 h 238"/>
                <a:gd name="T22" fmla="*/ 29 w 244"/>
                <a:gd name="T23" fmla="*/ 59 h 238"/>
                <a:gd name="T24" fmla="*/ 30 w 244"/>
                <a:gd name="T25" fmla="*/ 65 h 238"/>
                <a:gd name="T26" fmla="*/ 42 w 244"/>
                <a:gd name="T27" fmla="*/ 57 h 238"/>
                <a:gd name="T28" fmla="*/ 39 w 244"/>
                <a:gd name="T29" fmla="*/ 41 h 238"/>
                <a:gd name="T30" fmla="*/ 34 w 244"/>
                <a:gd name="T31" fmla="*/ 28 h 238"/>
                <a:gd name="T32" fmla="*/ 39 w 244"/>
                <a:gd name="T33" fmla="*/ 23 h 238"/>
                <a:gd name="T34" fmla="*/ 59 w 244"/>
                <a:gd name="T35" fmla="*/ 17 h 238"/>
                <a:gd name="T36" fmla="*/ 63 w 244"/>
                <a:gd name="T37" fmla="*/ 14 h 238"/>
                <a:gd name="T38" fmla="*/ 61 w 244"/>
                <a:gd name="T39" fmla="*/ 11 h 238"/>
                <a:gd name="T40" fmla="*/ 61 w 244"/>
                <a:gd name="T41" fmla="*/ 4 h 238"/>
                <a:gd name="T42" fmla="*/ 67 w 244"/>
                <a:gd name="T43" fmla="*/ 3 h 238"/>
                <a:gd name="T44" fmla="*/ 72 w 244"/>
                <a:gd name="T45" fmla="*/ 16 h 238"/>
                <a:gd name="T46" fmla="*/ 89 w 244"/>
                <a:gd name="T47" fmla="*/ 20 h 238"/>
                <a:gd name="T48" fmla="*/ 94 w 244"/>
                <a:gd name="T49" fmla="*/ 32 h 238"/>
                <a:gd name="T50" fmla="*/ 113 w 244"/>
                <a:gd name="T51" fmla="*/ 34 h 238"/>
                <a:gd name="T52" fmla="*/ 134 w 244"/>
                <a:gd name="T53" fmla="*/ 34 h 238"/>
                <a:gd name="T54" fmla="*/ 136 w 244"/>
                <a:gd name="T55" fmla="*/ 39 h 238"/>
                <a:gd name="T56" fmla="*/ 157 w 244"/>
                <a:gd name="T57" fmla="*/ 41 h 238"/>
                <a:gd name="T58" fmla="*/ 163 w 244"/>
                <a:gd name="T59" fmla="*/ 38 h 238"/>
                <a:gd name="T60" fmla="*/ 175 w 244"/>
                <a:gd name="T61" fmla="*/ 34 h 238"/>
                <a:gd name="T62" fmla="*/ 168 w 244"/>
                <a:gd name="T63" fmla="*/ 32 h 238"/>
                <a:gd name="T64" fmla="*/ 180 w 244"/>
                <a:gd name="T65" fmla="*/ 31 h 238"/>
                <a:gd name="T66" fmla="*/ 193 w 244"/>
                <a:gd name="T67" fmla="*/ 30 h 238"/>
                <a:gd name="T68" fmla="*/ 210 w 244"/>
                <a:gd name="T69" fmla="*/ 31 h 238"/>
                <a:gd name="T70" fmla="*/ 195 w 244"/>
                <a:gd name="T71" fmla="*/ 36 h 238"/>
                <a:gd name="T72" fmla="*/ 191 w 244"/>
                <a:gd name="T73" fmla="*/ 37 h 238"/>
                <a:gd name="T74" fmla="*/ 194 w 244"/>
                <a:gd name="T75" fmla="*/ 39 h 238"/>
                <a:gd name="T76" fmla="*/ 189 w 244"/>
                <a:gd name="T77" fmla="*/ 45 h 238"/>
                <a:gd name="T78" fmla="*/ 197 w 244"/>
                <a:gd name="T79" fmla="*/ 41 h 238"/>
                <a:gd name="T80" fmla="*/ 203 w 244"/>
                <a:gd name="T81" fmla="*/ 48 h 238"/>
                <a:gd name="T82" fmla="*/ 203 w 244"/>
                <a:gd name="T83" fmla="*/ 46 h 238"/>
                <a:gd name="T84" fmla="*/ 210 w 244"/>
                <a:gd name="T85" fmla="*/ 52 h 238"/>
                <a:gd name="T86" fmla="*/ 216 w 244"/>
                <a:gd name="T87" fmla="*/ 51 h 238"/>
                <a:gd name="T88" fmla="*/ 226 w 244"/>
                <a:gd name="T89" fmla="*/ 60 h 238"/>
                <a:gd name="T90" fmla="*/ 223 w 244"/>
                <a:gd name="T91" fmla="*/ 71 h 238"/>
                <a:gd name="T92" fmla="*/ 231 w 244"/>
                <a:gd name="T93" fmla="*/ 73 h 238"/>
                <a:gd name="T94" fmla="*/ 242 w 244"/>
                <a:gd name="T95" fmla="*/ 81 h 238"/>
                <a:gd name="T96" fmla="*/ 230 w 244"/>
                <a:gd name="T97" fmla="*/ 104 h 238"/>
                <a:gd name="T98" fmla="*/ 216 w 244"/>
                <a:gd name="T99" fmla="*/ 125 h 238"/>
                <a:gd name="T100" fmla="*/ 224 w 244"/>
                <a:gd name="T101" fmla="*/ 153 h 238"/>
                <a:gd name="T102" fmla="*/ 211 w 244"/>
                <a:gd name="T103" fmla="*/ 160 h 238"/>
                <a:gd name="T104" fmla="*/ 201 w 244"/>
                <a:gd name="T105" fmla="*/ 165 h 238"/>
                <a:gd name="T106" fmla="*/ 189 w 244"/>
                <a:gd name="T107" fmla="*/ 170 h 238"/>
                <a:gd name="T108" fmla="*/ 184 w 244"/>
                <a:gd name="T109" fmla="*/ 177 h 238"/>
                <a:gd name="T110" fmla="*/ 166 w 244"/>
                <a:gd name="T111" fmla="*/ 171 h 238"/>
                <a:gd name="T112" fmla="*/ 153 w 244"/>
                <a:gd name="T113" fmla="*/ 165 h 238"/>
                <a:gd name="T114" fmla="*/ 162 w 244"/>
                <a:gd name="T115" fmla="*/ 187 h 238"/>
                <a:gd name="T116" fmla="*/ 176 w 244"/>
                <a:gd name="T117" fmla="*/ 201 h 238"/>
                <a:gd name="T118" fmla="*/ 163 w 244"/>
                <a:gd name="T119" fmla="*/ 212 h 238"/>
                <a:gd name="T120" fmla="*/ 154 w 244"/>
                <a:gd name="T121" fmla="*/ 224 h 238"/>
                <a:gd name="T122" fmla="*/ 137 w 244"/>
                <a:gd name="T123" fmla="*/ 238 h 238"/>
                <a:gd name="T124" fmla="*/ 129 w 244"/>
                <a:gd name="T125" fmla="*/ 234 h 2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4" h="238">
                  <a:moveTo>
                    <a:pt x="113" y="224"/>
                  </a:moveTo>
                  <a:lnTo>
                    <a:pt x="113" y="224"/>
                  </a:lnTo>
                  <a:lnTo>
                    <a:pt x="110" y="218"/>
                  </a:lnTo>
                  <a:lnTo>
                    <a:pt x="108" y="210"/>
                  </a:lnTo>
                  <a:lnTo>
                    <a:pt x="108" y="207"/>
                  </a:lnTo>
                  <a:lnTo>
                    <a:pt x="107" y="204"/>
                  </a:lnTo>
                  <a:lnTo>
                    <a:pt x="102" y="195"/>
                  </a:lnTo>
                  <a:lnTo>
                    <a:pt x="100" y="193"/>
                  </a:lnTo>
                  <a:lnTo>
                    <a:pt x="95" y="193"/>
                  </a:lnTo>
                  <a:lnTo>
                    <a:pt x="104" y="184"/>
                  </a:lnTo>
                  <a:lnTo>
                    <a:pt x="106" y="179"/>
                  </a:lnTo>
                  <a:lnTo>
                    <a:pt x="103" y="175"/>
                  </a:lnTo>
                  <a:lnTo>
                    <a:pt x="101" y="174"/>
                  </a:lnTo>
                  <a:lnTo>
                    <a:pt x="99" y="170"/>
                  </a:lnTo>
                  <a:lnTo>
                    <a:pt x="96" y="164"/>
                  </a:lnTo>
                  <a:lnTo>
                    <a:pt x="96" y="160"/>
                  </a:lnTo>
                  <a:lnTo>
                    <a:pt x="96" y="159"/>
                  </a:lnTo>
                  <a:lnTo>
                    <a:pt x="96" y="153"/>
                  </a:lnTo>
                  <a:lnTo>
                    <a:pt x="97" y="147"/>
                  </a:lnTo>
                  <a:lnTo>
                    <a:pt x="97" y="144"/>
                  </a:lnTo>
                  <a:lnTo>
                    <a:pt x="97" y="140"/>
                  </a:lnTo>
                  <a:lnTo>
                    <a:pt x="101" y="134"/>
                  </a:lnTo>
                  <a:lnTo>
                    <a:pt x="104" y="127"/>
                  </a:lnTo>
                  <a:lnTo>
                    <a:pt x="104" y="124"/>
                  </a:lnTo>
                  <a:lnTo>
                    <a:pt x="97" y="121"/>
                  </a:lnTo>
                  <a:lnTo>
                    <a:pt x="94" y="124"/>
                  </a:lnTo>
                  <a:lnTo>
                    <a:pt x="83" y="125"/>
                  </a:lnTo>
                  <a:lnTo>
                    <a:pt x="73" y="125"/>
                  </a:lnTo>
                  <a:lnTo>
                    <a:pt x="70" y="124"/>
                  </a:lnTo>
                  <a:lnTo>
                    <a:pt x="57" y="107"/>
                  </a:lnTo>
                  <a:lnTo>
                    <a:pt x="52" y="106"/>
                  </a:lnTo>
                  <a:lnTo>
                    <a:pt x="49" y="105"/>
                  </a:lnTo>
                  <a:lnTo>
                    <a:pt x="43" y="105"/>
                  </a:lnTo>
                  <a:lnTo>
                    <a:pt x="40" y="107"/>
                  </a:lnTo>
                  <a:lnTo>
                    <a:pt x="37" y="107"/>
                  </a:lnTo>
                  <a:lnTo>
                    <a:pt x="32" y="106"/>
                  </a:lnTo>
                  <a:lnTo>
                    <a:pt x="30" y="106"/>
                  </a:lnTo>
                  <a:lnTo>
                    <a:pt x="29" y="106"/>
                  </a:lnTo>
                  <a:lnTo>
                    <a:pt x="26" y="107"/>
                  </a:lnTo>
                  <a:lnTo>
                    <a:pt x="21" y="103"/>
                  </a:lnTo>
                  <a:lnTo>
                    <a:pt x="16" y="99"/>
                  </a:lnTo>
                  <a:lnTo>
                    <a:pt x="15" y="88"/>
                  </a:lnTo>
                  <a:lnTo>
                    <a:pt x="16" y="85"/>
                  </a:lnTo>
                  <a:lnTo>
                    <a:pt x="16" y="81"/>
                  </a:lnTo>
                  <a:lnTo>
                    <a:pt x="16" y="79"/>
                  </a:lnTo>
                  <a:lnTo>
                    <a:pt x="10" y="64"/>
                  </a:lnTo>
                  <a:lnTo>
                    <a:pt x="10" y="63"/>
                  </a:lnTo>
                  <a:lnTo>
                    <a:pt x="7" y="63"/>
                  </a:lnTo>
                  <a:lnTo>
                    <a:pt x="7" y="59"/>
                  </a:lnTo>
                  <a:lnTo>
                    <a:pt x="0" y="61"/>
                  </a:lnTo>
                  <a:lnTo>
                    <a:pt x="8" y="45"/>
                  </a:lnTo>
                  <a:lnTo>
                    <a:pt x="9" y="36"/>
                  </a:lnTo>
                  <a:lnTo>
                    <a:pt x="16" y="25"/>
                  </a:lnTo>
                  <a:lnTo>
                    <a:pt x="22" y="21"/>
                  </a:lnTo>
                  <a:lnTo>
                    <a:pt x="32" y="11"/>
                  </a:lnTo>
                  <a:lnTo>
                    <a:pt x="33" y="11"/>
                  </a:lnTo>
                  <a:lnTo>
                    <a:pt x="36" y="10"/>
                  </a:lnTo>
                  <a:lnTo>
                    <a:pt x="37" y="9"/>
                  </a:lnTo>
                  <a:lnTo>
                    <a:pt x="40" y="7"/>
                  </a:lnTo>
                  <a:lnTo>
                    <a:pt x="40" y="9"/>
                  </a:lnTo>
                  <a:lnTo>
                    <a:pt x="39" y="10"/>
                  </a:lnTo>
                  <a:lnTo>
                    <a:pt x="37" y="11"/>
                  </a:lnTo>
                  <a:lnTo>
                    <a:pt x="36" y="12"/>
                  </a:lnTo>
                  <a:lnTo>
                    <a:pt x="35" y="12"/>
                  </a:lnTo>
                  <a:lnTo>
                    <a:pt x="32" y="13"/>
                  </a:lnTo>
                  <a:lnTo>
                    <a:pt x="29" y="16"/>
                  </a:lnTo>
                  <a:lnTo>
                    <a:pt x="28" y="16"/>
                  </a:lnTo>
                  <a:lnTo>
                    <a:pt x="28" y="17"/>
                  </a:lnTo>
                  <a:lnTo>
                    <a:pt x="29" y="20"/>
                  </a:lnTo>
                  <a:lnTo>
                    <a:pt x="30" y="23"/>
                  </a:lnTo>
                  <a:lnTo>
                    <a:pt x="32" y="23"/>
                  </a:lnTo>
                  <a:lnTo>
                    <a:pt x="33" y="24"/>
                  </a:lnTo>
                  <a:lnTo>
                    <a:pt x="33" y="25"/>
                  </a:lnTo>
                  <a:lnTo>
                    <a:pt x="30" y="25"/>
                  </a:lnTo>
                  <a:lnTo>
                    <a:pt x="32" y="26"/>
                  </a:lnTo>
                  <a:lnTo>
                    <a:pt x="32" y="27"/>
                  </a:lnTo>
                  <a:lnTo>
                    <a:pt x="33" y="28"/>
                  </a:lnTo>
                  <a:lnTo>
                    <a:pt x="34" y="32"/>
                  </a:lnTo>
                  <a:lnTo>
                    <a:pt x="33" y="36"/>
                  </a:lnTo>
                  <a:lnTo>
                    <a:pt x="33" y="37"/>
                  </a:lnTo>
                  <a:lnTo>
                    <a:pt x="30" y="38"/>
                  </a:lnTo>
                  <a:lnTo>
                    <a:pt x="29" y="40"/>
                  </a:lnTo>
                  <a:lnTo>
                    <a:pt x="27" y="43"/>
                  </a:lnTo>
                  <a:lnTo>
                    <a:pt x="23" y="46"/>
                  </a:lnTo>
                  <a:lnTo>
                    <a:pt x="23" y="48"/>
                  </a:lnTo>
                  <a:lnTo>
                    <a:pt x="23" y="51"/>
                  </a:lnTo>
                  <a:lnTo>
                    <a:pt x="24" y="53"/>
                  </a:lnTo>
                  <a:lnTo>
                    <a:pt x="26" y="53"/>
                  </a:lnTo>
                  <a:lnTo>
                    <a:pt x="26" y="54"/>
                  </a:lnTo>
                  <a:lnTo>
                    <a:pt x="24" y="56"/>
                  </a:lnTo>
                  <a:lnTo>
                    <a:pt x="26" y="57"/>
                  </a:lnTo>
                  <a:lnTo>
                    <a:pt x="26" y="56"/>
                  </a:lnTo>
                  <a:lnTo>
                    <a:pt x="27" y="56"/>
                  </a:lnTo>
                  <a:lnTo>
                    <a:pt x="27" y="57"/>
                  </a:lnTo>
                  <a:lnTo>
                    <a:pt x="27" y="57"/>
                  </a:lnTo>
                  <a:lnTo>
                    <a:pt x="29" y="59"/>
                  </a:lnTo>
                  <a:lnTo>
                    <a:pt x="29" y="60"/>
                  </a:lnTo>
                  <a:lnTo>
                    <a:pt x="28" y="60"/>
                  </a:lnTo>
                  <a:lnTo>
                    <a:pt x="28" y="61"/>
                  </a:lnTo>
                  <a:lnTo>
                    <a:pt x="28" y="60"/>
                  </a:lnTo>
                  <a:lnTo>
                    <a:pt x="29" y="60"/>
                  </a:lnTo>
                  <a:lnTo>
                    <a:pt x="29" y="61"/>
                  </a:lnTo>
                  <a:lnTo>
                    <a:pt x="29" y="64"/>
                  </a:lnTo>
                  <a:lnTo>
                    <a:pt x="30" y="65"/>
                  </a:lnTo>
                  <a:lnTo>
                    <a:pt x="32" y="64"/>
                  </a:lnTo>
                  <a:lnTo>
                    <a:pt x="33" y="64"/>
                  </a:lnTo>
                  <a:lnTo>
                    <a:pt x="35" y="65"/>
                  </a:lnTo>
                  <a:lnTo>
                    <a:pt x="36" y="65"/>
                  </a:lnTo>
                  <a:lnTo>
                    <a:pt x="37" y="64"/>
                  </a:lnTo>
                  <a:lnTo>
                    <a:pt x="39" y="63"/>
                  </a:lnTo>
                  <a:lnTo>
                    <a:pt x="41" y="60"/>
                  </a:lnTo>
                  <a:lnTo>
                    <a:pt x="42" y="57"/>
                  </a:lnTo>
                  <a:lnTo>
                    <a:pt x="41" y="54"/>
                  </a:lnTo>
                  <a:lnTo>
                    <a:pt x="42" y="53"/>
                  </a:lnTo>
                  <a:lnTo>
                    <a:pt x="43" y="51"/>
                  </a:lnTo>
                  <a:lnTo>
                    <a:pt x="42" y="50"/>
                  </a:lnTo>
                  <a:lnTo>
                    <a:pt x="42" y="48"/>
                  </a:lnTo>
                  <a:lnTo>
                    <a:pt x="40" y="46"/>
                  </a:lnTo>
                  <a:lnTo>
                    <a:pt x="40" y="44"/>
                  </a:lnTo>
                  <a:lnTo>
                    <a:pt x="39" y="41"/>
                  </a:lnTo>
                  <a:lnTo>
                    <a:pt x="39" y="39"/>
                  </a:lnTo>
                  <a:lnTo>
                    <a:pt x="36" y="38"/>
                  </a:lnTo>
                  <a:lnTo>
                    <a:pt x="35" y="37"/>
                  </a:lnTo>
                  <a:lnTo>
                    <a:pt x="35" y="34"/>
                  </a:lnTo>
                  <a:lnTo>
                    <a:pt x="34" y="33"/>
                  </a:lnTo>
                  <a:lnTo>
                    <a:pt x="35" y="32"/>
                  </a:lnTo>
                  <a:lnTo>
                    <a:pt x="35" y="30"/>
                  </a:lnTo>
                  <a:lnTo>
                    <a:pt x="34" y="28"/>
                  </a:lnTo>
                  <a:lnTo>
                    <a:pt x="35" y="28"/>
                  </a:lnTo>
                  <a:lnTo>
                    <a:pt x="36" y="28"/>
                  </a:lnTo>
                  <a:lnTo>
                    <a:pt x="36" y="27"/>
                  </a:lnTo>
                  <a:lnTo>
                    <a:pt x="36" y="26"/>
                  </a:lnTo>
                  <a:lnTo>
                    <a:pt x="36" y="25"/>
                  </a:lnTo>
                  <a:lnTo>
                    <a:pt x="36" y="24"/>
                  </a:lnTo>
                  <a:lnTo>
                    <a:pt x="37" y="24"/>
                  </a:lnTo>
                  <a:lnTo>
                    <a:pt x="39" y="23"/>
                  </a:lnTo>
                  <a:lnTo>
                    <a:pt x="42" y="23"/>
                  </a:lnTo>
                  <a:lnTo>
                    <a:pt x="44" y="23"/>
                  </a:lnTo>
                  <a:lnTo>
                    <a:pt x="48" y="20"/>
                  </a:lnTo>
                  <a:lnTo>
                    <a:pt x="49" y="20"/>
                  </a:lnTo>
                  <a:lnTo>
                    <a:pt x="50" y="19"/>
                  </a:lnTo>
                  <a:lnTo>
                    <a:pt x="54" y="18"/>
                  </a:lnTo>
                  <a:lnTo>
                    <a:pt x="56" y="18"/>
                  </a:lnTo>
                  <a:lnTo>
                    <a:pt x="59" y="17"/>
                  </a:lnTo>
                  <a:lnTo>
                    <a:pt x="61" y="16"/>
                  </a:lnTo>
                  <a:lnTo>
                    <a:pt x="62" y="17"/>
                  </a:lnTo>
                  <a:lnTo>
                    <a:pt x="62" y="16"/>
                  </a:lnTo>
                  <a:lnTo>
                    <a:pt x="63" y="14"/>
                  </a:lnTo>
                  <a:lnTo>
                    <a:pt x="61" y="14"/>
                  </a:lnTo>
                  <a:lnTo>
                    <a:pt x="62" y="13"/>
                  </a:lnTo>
                  <a:lnTo>
                    <a:pt x="63" y="13"/>
                  </a:lnTo>
                  <a:lnTo>
                    <a:pt x="63" y="14"/>
                  </a:lnTo>
                  <a:lnTo>
                    <a:pt x="64" y="16"/>
                  </a:lnTo>
                  <a:lnTo>
                    <a:pt x="67" y="16"/>
                  </a:lnTo>
                  <a:lnTo>
                    <a:pt x="67" y="16"/>
                  </a:lnTo>
                  <a:lnTo>
                    <a:pt x="68" y="14"/>
                  </a:lnTo>
                  <a:lnTo>
                    <a:pt x="67" y="11"/>
                  </a:lnTo>
                  <a:lnTo>
                    <a:pt x="66" y="11"/>
                  </a:lnTo>
                  <a:lnTo>
                    <a:pt x="63" y="11"/>
                  </a:lnTo>
                  <a:lnTo>
                    <a:pt x="61" y="11"/>
                  </a:lnTo>
                  <a:lnTo>
                    <a:pt x="60" y="12"/>
                  </a:lnTo>
                  <a:lnTo>
                    <a:pt x="60" y="12"/>
                  </a:lnTo>
                  <a:lnTo>
                    <a:pt x="59" y="12"/>
                  </a:lnTo>
                  <a:lnTo>
                    <a:pt x="60" y="10"/>
                  </a:lnTo>
                  <a:lnTo>
                    <a:pt x="60" y="9"/>
                  </a:lnTo>
                  <a:lnTo>
                    <a:pt x="61" y="7"/>
                  </a:lnTo>
                  <a:lnTo>
                    <a:pt x="61" y="6"/>
                  </a:lnTo>
                  <a:lnTo>
                    <a:pt x="61" y="4"/>
                  </a:lnTo>
                  <a:lnTo>
                    <a:pt x="60" y="3"/>
                  </a:lnTo>
                  <a:lnTo>
                    <a:pt x="61" y="1"/>
                  </a:lnTo>
                  <a:lnTo>
                    <a:pt x="61" y="0"/>
                  </a:lnTo>
                  <a:lnTo>
                    <a:pt x="62" y="0"/>
                  </a:lnTo>
                  <a:lnTo>
                    <a:pt x="63" y="0"/>
                  </a:lnTo>
                  <a:lnTo>
                    <a:pt x="64" y="0"/>
                  </a:lnTo>
                  <a:lnTo>
                    <a:pt x="66" y="1"/>
                  </a:lnTo>
                  <a:lnTo>
                    <a:pt x="67" y="3"/>
                  </a:lnTo>
                  <a:lnTo>
                    <a:pt x="67" y="4"/>
                  </a:lnTo>
                  <a:lnTo>
                    <a:pt x="68" y="5"/>
                  </a:lnTo>
                  <a:lnTo>
                    <a:pt x="69" y="7"/>
                  </a:lnTo>
                  <a:lnTo>
                    <a:pt x="68" y="10"/>
                  </a:lnTo>
                  <a:lnTo>
                    <a:pt x="68" y="11"/>
                  </a:lnTo>
                  <a:lnTo>
                    <a:pt x="69" y="13"/>
                  </a:lnTo>
                  <a:lnTo>
                    <a:pt x="69" y="16"/>
                  </a:lnTo>
                  <a:lnTo>
                    <a:pt x="72" y="16"/>
                  </a:lnTo>
                  <a:lnTo>
                    <a:pt x="74" y="16"/>
                  </a:lnTo>
                  <a:lnTo>
                    <a:pt x="75" y="14"/>
                  </a:lnTo>
                  <a:lnTo>
                    <a:pt x="76" y="16"/>
                  </a:lnTo>
                  <a:lnTo>
                    <a:pt x="79" y="14"/>
                  </a:lnTo>
                  <a:lnTo>
                    <a:pt x="81" y="16"/>
                  </a:lnTo>
                  <a:lnTo>
                    <a:pt x="83" y="17"/>
                  </a:lnTo>
                  <a:lnTo>
                    <a:pt x="86" y="19"/>
                  </a:lnTo>
                  <a:lnTo>
                    <a:pt x="89" y="20"/>
                  </a:lnTo>
                  <a:lnTo>
                    <a:pt x="92" y="21"/>
                  </a:lnTo>
                  <a:lnTo>
                    <a:pt x="93" y="21"/>
                  </a:lnTo>
                  <a:lnTo>
                    <a:pt x="94" y="21"/>
                  </a:lnTo>
                  <a:lnTo>
                    <a:pt x="94" y="24"/>
                  </a:lnTo>
                  <a:lnTo>
                    <a:pt x="94" y="26"/>
                  </a:lnTo>
                  <a:lnTo>
                    <a:pt x="94" y="27"/>
                  </a:lnTo>
                  <a:lnTo>
                    <a:pt x="93" y="30"/>
                  </a:lnTo>
                  <a:lnTo>
                    <a:pt x="94" y="32"/>
                  </a:lnTo>
                  <a:lnTo>
                    <a:pt x="99" y="34"/>
                  </a:lnTo>
                  <a:lnTo>
                    <a:pt x="101" y="34"/>
                  </a:lnTo>
                  <a:lnTo>
                    <a:pt x="101" y="36"/>
                  </a:lnTo>
                  <a:lnTo>
                    <a:pt x="103" y="34"/>
                  </a:lnTo>
                  <a:lnTo>
                    <a:pt x="104" y="36"/>
                  </a:lnTo>
                  <a:lnTo>
                    <a:pt x="107" y="36"/>
                  </a:lnTo>
                  <a:lnTo>
                    <a:pt x="110" y="34"/>
                  </a:lnTo>
                  <a:lnTo>
                    <a:pt x="113" y="34"/>
                  </a:lnTo>
                  <a:lnTo>
                    <a:pt x="114" y="32"/>
                  </a:lnTo>
                  <a:lnTo>
                    <a:pt x="120" y="32"/>
                  </a:lnTo>
                  <a:lnTo>
                    <a:pt x="126" y="32"/>
                  </a:lnTo>
                  <a:lnTo>
                    <a:pt x="129" y="32"/>
                  </a:lnTo>
                  <a:lnTo>
                    <a:pt x="132" y="33"/>
                  </a:lnTo>
                  <a:lnTo>
                    <a:pt x="134" y="33"/>
                  </a:lnTo>
                  <a:lnTo>
                    <a:pt x="134" y="34"/>
                  </a:lnTo>
                  <a:lnTo>
                    <a:pt x="134" y="34"/>
                  </a:lnTo>
                  <a:lnTo>
                    <a:pt x="133" y="36"/>
                  </a:lnTo>
                  <a:lnTo>
                    <a:pt x="133" y="36"/>
                  </a:lnTo>
                  <a:lnTo>
                    <a:pt x="133" y="37"/>
                  </a:lnTo>
                  <a:lnTo>
                    <a:pt x="134" y="38"/>
                  </a:lnTo>
                  <a:lnTo>
                    <a:pt x="136" y="39"/>
                  </a:lnTo>
                  <a:lnTo>
                    <a:pt x="135" y="39"/>
                  </a:lnTo>
                  <a:lnTo>
                    <a:pt x="136" y="40"/>
                  </a:lnTo>
                  <a:lnTo>
                    <a:pt x="136" y="39"/>
                  </a:lnTo>
                  <a:lnTo>
                    <a:pt x="139" y="39"/>
                  </a:lnTo>
                  <a:lnTo>
                    <a:pt x="142" y="40"/>
                  </a:lnTo>
                  <a:lnTo>
                    <a:pt x="144" y="43"/>
                  </a:lnTo>
                  <a:lnTo>
                    <a:pt x="147" y="44"/>
                  </a:lnTo>
                  <a:lnTo>
                    <a:pt x="150" y="45"/>
                  </a:lnTo>
                  <a:lnTo>
                    <a:pt x="155" y="45"/>
                  </a:lnTo>
                  <a:lnTo>
                    <a:pt x="157" y="44"/>
                  </a:lnTo>
                  <a:lnTo>
                    <a:pt x="157" y="41"/>
                  </a:lnTo>
                  <a:lnTo>
                    <a:pt x="159" y="40"/>
                  </a:lnTo>
                  <a:lnTo>
                    <a:pt x="160" y="40"/>
                  </a:lnTo>
                  <a:lnTo>
                    <a:pt x="162" y="40"/>
                  </a:lnTo>
                  <a:lnTo>
                    <a:pt x="163" y="39"/>
                  </a:lnTo>
                  <a:lnTo>
                    <a:pt x="162" y="38"/>
                  </a:lnTo>
                  <a:lnTo>
                    <a:pt x="162" y="38"/>
                  </a:lnTo>
                  <a:lnTo>
                    <a:pt x="163" y="38"/>
                  </a:lnTo>
                  <a:lnTo>
                    <a:pt x="163" y="38"/>
                  </a:lnTo>
                  <a:lnTo>
                    <a:pt x="166" y="38"/>
                  </a:lnTo>
                  <a:lnTo>
                    <a:pt x="167" y="37"/>
                  </a:lnTo>
                  <a:lnTo>
                    <a:pt x="168" y="36"/>
                  </a:lnTo>
                  <a:lnTo>
                    <a:pt x="168" y="36"/>
                  </a:lnTo>
                  <a:lnTo>
                    <a:pt x="172" y="36"/>
                  </a:lnTo>
                  <a:lnTo>
                    <a:pt x="176" y="36"/>
                  </a:lnTo>
                  <a:lnTo>
                    <a:pt x="176" y="36"/>
                  </a:lnTo>
                  <a:lnTo>
                    <a:pt x="175" y="34"/>
                  </a:lnTo>
                  <a:lnTo>
                    <a:pt x="173" y="34"/>
                  </a:lnTo>
                  <a:lnTo>
                    <a:pt x="169" y="34"/>
                  </a:lnTo>
                  <a:lnTo>
                    <a:pt x="168" y="33"/>
                  </a:lnTo>
                  <a:lnTo>
                    <a:pt x="166" y="33"/>
                  </a:lnTo>
                  <a:lnTo>
                    <a:pt x="166" y="33"/>
                  </a:lnTo>
                  <a:lnTo>
                    <a:pt x="166" y="32"/>
                  </a:lnTo>
                  <a:lnTo>
                    <a:pt x="167" y="32"/>
                  </a:lnTo>
                  <a:lnTo>
                    <a:pt x="168" y="32"/>
                  </a:lnTo>
                  <a:lnTo>
                    <a:pt x="169" y="32"/>
                  </a:lnTo>
                  <a:lnTo>
                    <a:pt x="172" y="32"/>
                  </a:lnTo>
                  <a:lnTo>
                    <a:pt x="174" y="32"/>
                  </a:lnTo>
                  <a:lnTo>
                    <a:pt x="175" y="32"/>
                  </a:lnTo>
                  <a:lnTo>
                    <a:pt x="175" y="32"/>
                  </a:lnTo>
                  <a:lnTo>
                    <a:pt x="176" y="31"/>
                  </a:lnTo>
                  <a:lnTo>
                    <a:pt x="177" y="30"/>
                  </a:lnTo>
                  <a:lnTo>
                    <a:pt x="180" y="31"/>
                  </a:lnTo>
                  <a:lnTo>
                    <a:pt x="182" y="31"/>
                  </a:lnTo>
                  <a:lnTo>
                    <a:pt x="183" y="31"/>
                  </a:lnTo>
                  <a:lnTo>
                    <a:pt x="186" y="30"/>
                  </a:lnTo>
                  <a:lnTo>
                    <a:pt x="188" y="30"/>
                  </a:lnTo>
                  <a:lnTo>
                    <a:pt x="190" y="30"/>
                  </a:lnTo>
                  <a:lnTo>
                    <a:pt x="190" y="31"/>
                  </a:lnTo>
                  <a:lnTo>
                    <a:pt x="191" y="30"/>
                  </a:lnTo>
                  <a:lnTo>
                    <a:pt x="193" y="30"/>
                  </a:lnTo>
                  <a:lnTo>
                    <a:pt x="194" y="30"/>
                  </a:lnTo>
                  <a:lnTo>
                    <a:pt x="197" y="28"/>
                  </a:lnTo>
                  <a:lnTo>
                    <a:pt x="200" y="30"/>
                  </a:lnTo>
                  <a:lnTo>
                    <a:pt x="203" y="31"/>
                  </a:lnTo>
                  <a:lnTo>
                    <a:pt x="207" y="30"/>
                  </a:lnTo>
                  <a:lnTo>
                    <a:pt x="209" y="30"/>
                  </a:lnTo>
                  <a:lnTo>
                    <a:pt x="209" y="30"/>
                  </a:lnTo>
                  <a:lnTo>
                    <a:pt x="210" y="31"/>
                  </a:lnTo>
                  <a:lnTo>
                    <a:pt x="209" y="32"/>
                  </a:lnTo>
                  <a:lnTo>
                    <a:pt x="207" y="32"/>
                  </a:lnTo>
                  <a:lnTo>
                    <a:pt x="206" y="33"/>
                  </a:lnTo>
                  <a:lnTo>
                    <a:pt x="203" y="33"/>
                  </a:lnTo>
                  <a:lnTo>
                    <a:pt x="200" y="33"/>
                  </a:lnTo>
                  <a:lnTo>
                    <a:pt x="197" y="33"/>
                  </a:lnTo>
                  <a:lnTo>
                    <a:pt x="194" y="33"/>
                  </a:lnTo>
                  <a:lnTo>
                    <a:pt x="195" y="36"/>
                  </a:lnTo>
                  <a:lnTo>
                    <a:pt x="193" y="36"/>
                  </a:lnTo>
                  <a:lnTo>
                    <a:pt x="193" y="34"/>
                  </a:lnTo>
                  <a:lnTo>
                    <a:pt x="191" y="34"/>
                  </a:lnTo>
                  <a:lnTo>
                    <a:pt x="190" y="34"/>
                  </a:lnTo>
                  <a:lnTo>
                    <a:pt x="190" y="34"/>
                  </a:lnTo>
                  <a:lnTo>
                    <a:pt x="189" y="34"/>
                  </a:lnTo>
                  <a:lnTo>
                    <a:pt x="189" y="36"/>
                  </a:lnTo>
                  <a:lnTo>
                    <a:pt x="191" y="37"/>
                  </a:lnTo>
                  <a:lnTo>
                    <a:pt x="189" y="38"/>
                  </a:lnTo>
                  <a:lnTo>
                    <a:pt x="189" y="39"/>
                  </a:lnTo>
                  <a:lnTo>
                    <a:pt x="189" y="39"/>
                  </a:lnTo>
                  <a:lnTo>
                    <a:pt x="190" y="39"/>
                  </a:lnTo>
                  <a:lnTo>
                    <a:pt x="190" y="38"/>
                  </a:lnTo>
                  <a:lnTo>
                    <a:pt x="193" y="37"/>
                  </a:lnTo>
                  <a:lnTo>
                    <a:pt x="194" y="38"/>
                  </a:lnTo>
                  <a:lnTo>
                    <a:pt x="194" y="39"/>
                  </a:lnTo>
                  <a:lnTo>
                    <a:pt x="194" y="40"/>
                  </a:lnTo>
                  <a:lnTo>
                    <a:pt x="193" y="43"/>
                  </a:lnTo>
                  <a:lnTo>
                    <a:pt x="193" y="44"/>
                  </a:lnTo>
                  <a:lnTo>
                    <a:pt x="191" y="45"/>
                  </a:lnTo>
                  <a:lnTo>
                    <a:pt x="189" y="43"/>
                  </a:lnTo>
                  <a:lnTo>
                    <a:pt x="188" y="44"/>
                  </a:lnTo>
                  <a:lnTo>
                    <a:pt x="188" y="45"/>
                  </a:lnTo>
                  <a:lnTo>
                    <a:pt x="189" y="45"/>
                  </a:lnTo>
                  <a:lnTo>
                    <a:pt x="189" y="44"/>
                  </a:lnTo>
                  <a:lnTo>
                    <a:pt x="190" y="46"/>
                  </a:lnTo>
                  <a:lnTo>
                    <a:pt x="191" y="46"/>
                  </a:lnTo>
                  <a:lnTo>
                    <a:pt x="193" y="45"/>
                  </a:lnTo>
                  <a:lnTo>
                    <a:pt x="194" y="44"/>
                  </a:lnTo>
                  <a:lnTo>
                    <a:pt x="195" y="44"/>
                  </a:lnTo>
                  <a:lnTo>
                    <a:pt x="195" y="40"/>
                  </a:lnTo>
                  <a:lnTo>
                    <a:pt x="197" y="41"/>
                  </a:lnTo>
                  <a:lnTo>
                    <a:pt x="199" y="44"/>
                  </a:lnTo>
                  <a:lnTo>
                    <a:pt x="199" y="46"/>
                  </a:lnTo>
                  <a:lnTo>
                    <a:pt x="199" y="50"/>
                  </a:lnTo>
                  <a:lnTo>
                    <a:pt x="200" y="51"/>
                  </a:lnTo>
                  <a:lnTo>
                    <a:pt x="201" y="51"/>
                  </a:lnTo>
                  <a:lnTo>
                    <a:pt x="201" y="46"/>
                  </a:lnTo>
                  <a:lnTo>
                    <a:pt x="202" y="47"/>
                  </a:lnTo>
                  <a:lnTo>
                    <a:pt x="203" y="48"/>
                  </a:lnTo>
                  <a:lnTo>
                    <a:pt x="203" y="51"/>
                  </a:lnTo>
                  <a:lnTo>
                    <a:pt x="203" y="51"/>
                  </a:lnTo>
                  <a:lnTo>
                    <a:pt x="204" y="51"/>
                  </a:lnTo>
                  <a:lnTo>
                    <a:pt x="206" y="50"/>
                  </a:lnTo>
                  <a:lnTo>
                    <a:pt x="206" y="48"/>
                  </a:lnTo>
                  <a:lnTo>
                    <a:pt x="204" y="47"/>
                  </a:lnTo>
                  <a:lnTo>
                    <a:pt x="202" y="46"/>
                  </a:lnTo>
                  <a:lnTo>
                    <a:pt x="203" y="46"/>
                  </a:lnTo>
                  <a:lnTo>
                    <a:pt x="204" y="46"/>
                  </a:lnTo>
                  <a:lnTo>
                    <a:pt x="206" y="46"/>
                  </a:lnTo>
                  <a:lnTo>
                    <a:pt x="208" y="48"/>
                  </a:lnTo>
                  <a:lnTo>
                    <a:pt x="208" y="51"/>
                  </a:lnTo>
                  <a:lnTo>
                    <a:pt x="209" y="52"/>
                  </a:lnTo>
                  <a:lnTo>
                    <a:pt x="210" y="52"/>
                  </a:lnTo>
                  <a:lnTo>
                    <a:pt x="210" y="50"/>
                  </a:lnTo>
                  <a:lnTo>
                    <a:pt x="210" y="52"/>
                  </a:lnTo>
                  <a:lnTo>
                    <a:pt x="211" y="51"/>
                  </a:lnTo>
                  <a:lnTo>
                    <a:pt x="213" y="50"/>
                  </a:lnTo>
                  <a:lnTo>
                    <a:pt x="213" y="50"/>
                  </a:lnTo>
                  <a:lnTo>
                    <a:pt x="213" y="47"/>
                  </a:lnTo>
                  <a:lnTo>
                    <a:pt x="213" y="47"/>
                  </a:lnTo>
                  <a:lnTo>
                    <a:pt x="214" y="48"/>
                  </a:lnTo>
                  <a:lnTo>
                    <a:pt x="215" y="48"/>
                  </a:lnTo>
                  <a:lnTo>
                    <a:pt x="216" y="51"/>
                  </a:lnTo>
                  <a:lnTo>
                    <a:pt x="220" y="53"/>
                  </a:lnTo>
                  <a:lnTo>
                    <a:pt x="222" y="54"/>
                  </a:lnTo>
                  <a:lnTo>
                    <a:pt x="224" y="54"/>
                  </a:lnTo>
                  <a:lnTo>
                    <a:pt x="224" y="56"/>
                  </a:lnTo>
                  <a:lnTo>
                    <a:pt x="226" y="57"/>
                  </a:lnTo>
                  <a:lnTo>
                    <a:pt x="226" y="58"/>
                  </a:lnTo>
                  <a:lnTo>
                    <a:pt x="227" y="60"/>
                  </a:lnTo>
                  <a:lnTo>
                    <a:pt x="226" y="60"/>
                  </a:lnTo>
                  <a:lnTo>
                    <a:pt x="227" y="64"/>
                  </a:lnTo>
                  <a:lnTo>
                    <a:pt x="228" y="65"/>
                  </a:lnTo>
                  <a:lnTo>
                    <a:pt x="227" y="65"/>
                  </a:lnTo>
                  <a:lnTo>
                    <a:pt x="226" y="67"/>
                  </a:lnTo>
                  <a:lnTo>
                    <a:pt x="224" y="67"/>
                  </a:lnTo>
                  <a:lnTo>
                    <a:pt x="223" y="67"/>
                  </a:lnTo>
                  <a:lnTo>
                    <a:pt x="222" y="68"/>
                  </a:lnTo>
                  <a:lnTo>
                    <a:pt x="223" y="71"/>
                  </a:lnTo>
                  <a:lnTo>
                    <a:pt x="216" y="76"/>
                  </a:lnTo>
                  <a:lnTo>
                    <a:pt x="220" y="74"/>
                  </a:lnTo>
                  <a:lnTo>
                    <a:pt x="222" y="73"/>
                  </a:lnTo>
                  <a:lnTo>
                    <a:pt x="224" y="74"/>
                  </a:lnTo>
                  <a:lnTo>
                    <a:pt x="227" y="76"/>
                  </a:lnTo>
                  <a:lnTo>
                    <a:pt x="229" y="76"/>
                  </a:lnTo>
                  <a:lnTo>
                    <a:pt x="231" y="76"/>
                  </a:lnTo>
                  <a:lnTo>
                    <a:pt x="231" y="73"/>
                  </a:lnTo>
                  <a:lnTo>
                    <a:pt x="233" y="73"/>
                  </a:lnTo>
                  <a:lnTo>
                    <a:pt x="236" y="73"/>
                  </a:lnTo>
                  <a:lnTo>
                    <a:pt x="237" y="73"/>
                  </a:lnTo>
                  <a:lnTo>
                    <a:pt x="239" y="73"/>
                  </a:lnTo>
                  <a:lnTo>
                    <a:pt x="241" y="74"/>
                  </a:lnTo>
                  <a:lnTo>
                    <a:pt x="242" y="76"/>
                  </a:lnTo>
                  <a:lnTo>
                    <a:pt x="244" y="80"/>
                  </a:lnTo>
                  <a:lnTo>
                    <a:pt x="242" y="81"/>
                  </a:lnTo>
                  <a:lnTo>
                    <a:pt x="239" y="85"/>
                  </a:lnTo>
                  <a:lnTo>
                    <a:pt x="236" y="87"/>
                  </a:lnTo>
                  <a:lnTo>
                    <a:pt x="231" y="90"/>
                  </a:lnTo>
                  <a:lnTo>
                    <a:pt x="230" y="93"/>
                  </a:lnTo>
                  <a:lnTo>
                    <a:pt x="228" y="96"/>
                  </a:lnTo>
                  <a:lnTo>
                    <a:pt x="228" y="99"/>
                  </a:lnTo>
                  <a:lnTo>
                    <a:pt x="228" y="101"/>
                  </a:lnTo>
                  <a:lnTo>
                    <a:pt x="230" y="104"/>
                  </a:lnTo>
                  <a:lnTo>
                    <a:pt x="234" y="103"/>
                  </a:lnTo>
                  <a:lnTo>
                    <a:pt x="235" y="106"/>
                  </a:lnTo>
                  <a:lnTo>
                    <a:pt x="233" y="108"/>
                  </a:lnTo>
                  <a:lnTo>
                    <a:pt x="228" y="111"/>
                  </a:lnTo>
                  <a:lnTo>
                    <a:pt x="223" y="111"/>
                  </a:lnTo>
                  <a:lnTo>
                    <a:pt x="220" y="112"/>
                  </a:lnTo>
                  <a:lnTo>
                    <a:pt x="219" y="119"/>
                  </a:lnTo>
                  <a:lnTo>
                    <a:pt x="216" y="125"/>
                  </a:lnTo>
                  <a:lnTo>
                    <a:pt x="214" y="128"/>
                  </a:lnTo>
                  <a:lnTo>
                    <a:pt x="226" y="144"/>
                  </a:lnTo>
                  <a:lnTo>
                    <a:pt x="227" y="144"/>
                  </a:lnTo>
                  <a:lnTo>
                    <a:pt x="228" y="146"/>
                  </a:lnTo>
                  <a:lnTo>
                    <a:pt x="228" y="146"/>
                  </a:lnTo>
                  <a:lnTo>
                    <a:pt x="228" y="148"/>
                  </a:lnTo>
                  <a:lnTo>
                    <a:pt x="227" y="152"/>
                  </a:lnTo>
                  <a:lnTo>
                    <a:pt x="224" y="153"/>
                  </a:lnTo>
                  <a:lnTo>
                    <a:pt x="223" y="153"/>
                  </a:lnTo>
                  <a:lnTo>
                    <a:pt x="221" y="158"/>
                  </a:lnTo>
                  <a:lnTo>
                    <a:pt x="217" y="158"/>
                  </a:lnTo>
                  <a:lnTo>
                    <a:pt x="215" y="158"/>
                  </a:lnTo>
                  <a:lnTo>
                    <a:pt x="215" y="159"/>
                  </a:lnTo>
                  <a:lnTo>
                    <a:pt x="214" y="160"/>
                  </a:lnTo>
                  <a:lnTo>
                    <a:pt x="213" y="159"/>
                  </a:lnTo>
                  <a:lnTo>
                    <a:pt x="211" y="160"/>
                  </a:lnTo>
                  <a:lnTo>
                    <a:pt x="210" y="163"/>
                  </a:lnTo>
                  <a:lnTo>
                    <a:pt x="210" y="163"/>
                  </a:lnTo>
                  <a:lnTo>
                    <a:pt x="210" y="164"/>
                  </a:lnTo>
                  <a:lnTo>
                    <a:pt x="210" y="164"/>
                  </a:lnTo>
                  <a:lnTo>
                    <a:pt x="209" y="164"/>
                  </a:lnTo>
                  <a:lnTo>
                    <a:pt x="208" y="163"/>
                  </a:lnTo>
                  <a:lnTo>
                    <a:pt x="203" y="165"/>
                  </a:lnTo>
                  <a:lnTo>
                    <a:pt x="201" y="165"/>
                  </a:lnTo>
                  <a:lnTo>
                    <a:pt x="201" y="166"/>
                  </a:lnTo>
                  <a:lnTo>
                    <a:pt x="194" y="165"/>
                  </a:lnTo>
                  <a:lnTo>
                    <a:pt x="194" y="165"/>
                  </a:lnTo>
                  <a:lnTo>
                    <a:pt x="193" y="166"/>
                  </a:lnTo>
                  <a:lnTo>
                    <a:pt x="191" y="168"/>
                  </a:lnTo>
                  <a:lnTo>
                    <a:pt x="190" y="167"/>
                  </a:lnTo>
                  <a:lnTo>
                    <a:pt x="188" y="168"/>
                  </a:lnTo>
                  <a:lnTo>
                    <a:pt x="189" y="170"/>
                  </a:lnTo>
                  <a:lnTo>
                    <a:pt x="188" y="171"/>
                  </a:lnTo>
                  <a:lnTo>
                    <a:pt x="189" y="173"/>
                  </a:lnTo>
                  <a:lnTo>
                    <a:pt x="189" y="175"/>
                  </a:lnTo>
                  <a:lnTo>
                    <a:pt x="188" y="177"/>
                  </a:lnTo>
                  <a:lnTo>
                    <a:pt x="187" y="177"/>
                  </a:lnTo>
                  <a:lnTo>
                    <a:pt x="187" y="178"/>
                  </a:lnTo>
                  <a:lnTo>
                    <a:pt x="184" y="178"/>
                  </a:lnTo>
                  <a:lnTo>
                    <a:pt x="184" y="177"/>
                  </a:lnTo>
                  <a:lnTo>
                    <a:pt x="177" y="170"/>
                  </a:lnTo>
                  <a:lnTo>
                    <a:pt x="176" y="170"/>
                  </a:lnTo>
                  <a:lnTo>
                    <a:pt x="176" y="171"/>
                  </a:lnTo>
                  <a:lnTo>
                    <a:pt x="175" y="171"/>
                  </a:lnTo>
                  <a:lnTo>
                    <a:pt x="173" y="170"/>
                  </a:lnTo>
                  <a:lnTo>
                    <a:pt x="169" y="170"/>
                  </a:lnTo>
                  <a:lnTo>
                    <a:pt x="169" y="170"/>
                  </a:lnTo>
                  <a:lnTo>
                    <a:pt x="166" y="171"/>
                  </a:lnTo>
                  <a:lnTo>
                    <a:pt x="163" y="166"/>
                  </a:lnTo>
                  <a:lnTo>
                    <a:pt x="161" y="165"/>
                  </a:lnTo>
                  <a:lnTo>
                    <a:pt x="155" y="166"/>
                  </a:lnTo>
                  <a:lnTo>
                    <a:pt x="154" y="164"/>
                  </a:lnTo>
                  <a:lnTo>
                    <a:pt x="153" y="163"/>
                  </a:lnTo>
                  <a:lnTo>
                    <a:pt x="152" y="163"/>
                  </a:lnTo>
                  <a:lnTo>
                    <a:pt x="152" y="164"/>
                  </a:lnTo>
                  <a:lnTo>
                    <a:pt x="153" y="165"/>
                  </a:lnTo>
                  <a:lnTo>
                    <a:pt x="154" y="168"/>
                  </a:lnTo>
                  <a:lnTo>
                    <a:pt x="157" y="173"/>
                  </a:lnTo>
                  <a:lnTo>
                    <a:pt x="160" y="174"/>
                  </a:lnTo>
                  <a:lnTo>
                    <a:pt x="162" y="177"/>
                  </a:lnTo>
                  <a:lnTo>
                    <a:pt x="162" y="178"/>
                  </a:lnTo>
                  <a:lnTo>
                    <a:pt x="161" y="180"/>
                  </a:lnTo>
                  <a:lnTo>
                    <a:pt x="161" y="187"/>
                  </a:lnTo>
                  <a:lnTo>
                    <a:pt x="162" y="187"/>
                  </a:lnTo>
                  <a:lnTo>
                    <a:pt x="166" y="195"/>
                  </a:lnTo>
                  <a:lnTo>
                    <a:pt x="164" y="199"/>
                  </a:lnTo>
                  <a:lnTo>
                    <a:pt x="164" y="200"/>
                  </a:lnTo>
                  <a:lnTo>
                    <a:pt x="168" y="201"/>
                  </a:lnTo>
                  <a:lnTo>
                    <a:pt x="172" y="200"/>
                  </a:lnTo>
                  <a:lnTo>
                    <a:pt x="176" y="201"/>
                  </a:lnTo>
                  <a:lnTo>
                    <a:pt x="177" y="201"/>
                  </a:lnTo>
                  <a:lnTo>
                    <a:pt x="176" y="201"/>
                  </a:lnTo>
                  <a:lnTo>
                    <a:pt x="177" y="204"/>
                  </a:lnTo>
                  <a:lnTo>
                    <a:pt x="176" y="206"/>
                  </a:lnTo>
                  <a:lnTo>
                    <a:pt x="176" y="206"/>
                  </a:lnTo>
                  <a:lnTo>
                    <a:pt x="172" y="207"/>
                  </a:lnTo>
                  <a:lnTo>
                    <a:pt x="169" y="211"/>
                  </a:lnTo>
                  <a:lnTo>
                    <a:pt x="166" y="210"/>
                  </a:lnTo>
                  <a:lnTo>
                    <a:pt x="164" y="211"/>
                  </a:lnTo>
                  <a:lnTo>
                    <a:pt x="163" y="212"/>
                  </a:lnTo>
                  <a:lnTo>
                    <a:pt x="163" y="215"/>
                  </a:lnTo>
                  <a:lnTo>
                    <a:pt x="163" y="218"/>
                  </a:lnTo>
                  <a:lnTo>
                    <a:pt x="159" y="223"/>
                  </a:lnTo>
                  <a:lnTo>
                    <a:pt x="157" y="221"/>
                  </a:lnTo>
                  <a:lnTo>
                    <a:pt x="159" y="220"/>
                  </a:lnTo>
                  <a:lnTo>
                    <a:pt x="157" y="219"/>
                  </a:lnTo>
                  <a:lnTo>
                    <a:pt x="155" y="221"/>
                  </a:lnTo>
                  <a:lnTo>
                    <a:pt x="154" y="224"/>
                  </a:lnTo>
                  <a:lnTo>
                    <a:pt x="152" y="225"/>
                  </a:lnTo>
                  <a:lnTo>
                    <a:pt x="149" y="224"/>
                  </a:lnTo>
                  <a:lnTo>
                    <a:pt x="147" y="227"/>
                  </a:lnTo>
                  <a:lnTo>
                    <a:pt x="144" y="227"/>
                  </a:lnTo>
                  <a:lnTo>
                    <a:pt x="143" y="232"/>
                  </a:lnTo>
                  <a:lnTo>
                    <a:pt x="141" y="232"/>
                  </a:lnTo>
                  <a:lnTo>
                    <a:pt x="139" y="237"/>
                  </a:lnTo>
                  <a:lnTo>
                    <a:pt x="137" y="238"/>
                  </a:lnTo>
                  <a:lnTo>
                    <a:pt x="136" y="237"/>
                  </a:lnTo>
                  <a:lnTo>
                    <a:pt x="136" y="235"/>
                  </a:lnTo>
                  <a:lnTo>
                    <a:pt x="137" y="233"/>
                  </a:lnTo>
                  <a:lnTo>
                    <a:pt x="137" y="232"/>
                  </a:lnTo>
                  <a:lnTo>
                    <a:pt x="136" y="231"/>
                  </a:lnTo>
                  <a:lnTo>
                    <a:pt x="134" y="231"/>
                  </a:lnTo>
                  <a:lnTo>
                    <a:pt x="130" y="232"/>
                  </a:lnTo>
                  <a:lnTo>
                    <a:pt x="129" y="234"/>
                  </a:lnTo>
                  <a:lnTo>
                    <a:pt x="127" y="234"/>
                  </a:lnTo>
                  <a:lnTo>
                    <a:pt x="126" y="235"/>
                  </a:lnTo>
                  <a:lnTo>
                    <a:pt x="124" y="234"/>
                  </a:lnTo>
                  <a:lnTo>
                    <a:pt x="122" y="235"/>
                  </a:lnTo>
                  <a:lnTo>
                    <a:pt x="113" y="224"/>
                  </a:lnTo>
                  <a:lnTo>
                    <a:pt x="113" y="224"/>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257" name="St. Vincent and the Grenadines">
              <a:extLst>
                <a:ext uri="{FF2B5EF4-FFF2-40B4-BE49-F238E27FC236}">
                  <a16:creationId xmlns:a16="http://schemas.microsoft.com/office/drawing/2014/main" id="{29B2608F-E06C-9541-8404-1F8722CA0947}"/>
                </a:ext>
              </a:extLst>
            </p:cNvPr>
            <p:cNvSpPr>
              <a:spLocks noEditPoints="1"/>
            </p:cNvSpPr>
            <p:nvPr/>
          </p:nvSpPr>
          <p:spPr bwMode="auto">
            <a:xfrm>
              <a:off x="4752755" y="3582680"/>
              <a:ext cx="8748" cy="24786"/>
            </a:xfrm>
            <a:custGeom>
              <a:avLst/>
              <a:gdLst>
                <a:gd name="T0" fmla="*/ 3 w 6"/>
                <a:gd name="T1" fmla="*/ 8 h 17"/>
                <a:gd name="T2" fmla="*/ 3 w 6"/>
                <a:gd name="T3" fmla="*/ 8 h 17"/>
                <a:gd name="T4" fmla="*/ 5 w 6"/>
                <a:gd name="T5" fmla="*/ 7 h 17"/>
                <a:gd name="T6" fmla="*/ 5 w 6"/>
                <a:gd name="T7" fmla="*/ 7 h 17"/>
                <a:gd name="T8" fmla="*/ 5 w 6"/>
                <a:gd name="T9" fmla="*/ 7 h 17"/>
                <a:gd name="T10" fmla="*/ 5 w 6"/>
                <a:gd name="T11" fmla="*/ 8 h 17"/>
                <a:gd name="T12" fmla="*/ 6 w 6"/>
                <a:gd name="T13" fmla="*/ 8 h 17"/>
                <a:gd name="T14" fmla="*/ 6 w 6"/>
                <a:gd name="T15" fmla="*/ 8 h 17"/>
                <a:gd name="T16" fmla="*/ 6 w 6"/>
                <a:gd name="T17" fmla="*/ 10 h 17"/>
                <a:gd name="T18" fmla="*/ 6 w 6"/>
                <a:gd name="T19" fmla="*/ 10 h 17"/>
                <a:gd name="T20" fmla="*/ 6 w 6"/>
                <a:gd name="T21" fmla="*/ 11 h 17"/>
                <a:gd name="T22" fmla="*/ 5 w 6"/>
                <a:gd name="T23" fmla="*/ 11 h 17"/>
                <a:gd name="T24" fmla="*/ 5 w 6"/>
                <a:gd name="T25" fmla="*/ 8 h 17"/>
                <a:gd name="T26" fmla="*/ 5 w 6"/>
                <a:gd name="T27" fmla="*/ 8 h 17"/>
                <a:gd name="T28" fmla="*/ 5 w 6"/>
                <a:gd name="T29" fmla="*/ 8 h 17"/>
                <a:gd name="T30" fmla="*/ 1 w 6"/>
                <a:gd name="T31" fmla="*/ 17 h 17"/>
                <a:gd name="T32" fmla="*/ 1 w 6"/>
                <a:gd name="T33" fmla="*/ 17 h 17"/>
                <a:gd name="T34" fmla="*/ 1 w 6"/>
                <a:gd name="T35" fmla="*/ 16 h 17"/>
                <a:gd name="T36" fmla="*/ 0 w 6"/>
                <a:gd name="T37" fmla="*/ 17 h 17"/>
                <a:gd name="T38" fmla="*/ 0 w 6"/>
                <a:gd name="T39" fmla="*/ 16 h 17"/>
                <a:gd name="T40" fmla="*/ 2 w 6"/>
                <a:gd name="T41" fmla="*/ 16 h 17"/>
                <a:gd name="T42" fmla="*/ 1 w 6"/>
                <a:gd name="T43" fmla="*/ 16 h 17"/>
                <a:gd name="T44" fmla="*/ 2 w 6"/>
                <a:gd name="T45" fmla="*/ 16 h 17"/>
                <a:gd name="T46" fmla="*/ 2 w 6"/>
                <a:gd name="T47" fmla="*/ 14 h 17"/>
                <a:gd name="T48" fmla="*/ 2 w 6"/>
                <a:gd name="T49" fmla="*/ 13 h 17"/>
                <a:gd name="T50" fmla="*/ 2 w 6"/>
                <a:gd name="T51" fmla="*/ 13 h 17"/>
                <a:gd name="T52" fmla="*/ 3 w 6"/>
                <a:gd name="T53" fmla="*/ 13 h 17"/>
                <a:gd name="T54" fmla="*/ 6 w 6"/>
                <a:gd name="T55" fmla="*/ 8 h 17"/>
                <a:gd name="T56" fmla="*/ 6 w 6"/>
                <a:gd name="T57" fmla="*/ 8 h 17"/>
                <a:gd name="T58" fmla="*/ 6 w 6"/>
                <a:gd name="T59" fmla="*/ 8 h 17"/>
                <a:gd name="T60" fmla="*/ 5 w 6"/>
                <a:gd name="T61" fmla="*/ 5 h 17"/>
                <a:gd name="T62" fmla="*/ 5 w 6"/>
                <a:gd name="T63" fmla="*/ 5 h 17"/>
                <a:gd name="T64" fmla="*/ 5 w 6"/>
                <a:gd name="T65" fmla="*/ 5 h 17"/>
                <a:gd name="T66" fmla="*/ 3 w 6"/>
                <a:gd name="T67" fmla="*/ 4 h 17"/>
                <a:gd name="T68" fmla="*/ 3 w 6"/>
                <a:gd name="T69" fmla="*/ 4 h 17"/>
                <a:gd name="T70" fmla="*/ 3 w 6"/>
                <a:gd name="T71" fmla="*/ 4 h 17"/>
                <a:gd name="T72" fmla="*/ 3 w 6"/>
                <a:gd name="T73" fmla="*/ 3 h 17"/>
                <a:gd name="T74" fmla="*/ 3 w 6"/>
                <a:gd name="T75" fmla="*/ 1 h 17"/>
                <a:gd name="T76" fmla="*/ 5 w 6"/>
                <a:gd name="T77" fmla="*/ 1 h 17"/>
                <a:gd name="T78" fmla="*/ 5 w 6"/>
                <a:gd name="T79" fmla="*/ 1 h 17"/>
                <a:gd name="T80" fmla="*/ 5 w 6"/>
                <a:gd name="T81" fmla="*/ 0 h 17"/>
                <a:gd name="T82" fmla="*/ 5 w 6"/>
                <a:gd name="T83" fmla="*/ 0 h 17"/>
                <a:gd name="T84" fmla="*/ 5 w 6"/>
                <a:gd name="T85" fmla="*/ 0 h 17"/>
                <a:gd name="T86" fmla="*/ 6 w 6"/>
                <a:gd name="T87" fmla="*/ 0 h 17"/>
                <a:gd name="T88" fmla="*/ 6 w 6"/>
                <a:gd name="T89" fmla="*/ 0 h 17"/>
                <a:gd name="T90" fmla="*/ 6 w 6"/>
                <a:gd name="T91" fmla="*/ 0 h 17"/>
                <a:gd name="T92" fmla="*/ 6 w 6"/>
                <a:gd name="T93" fmla="*/ 1 h 17"/>
                <a:gd name="T94" fmla="*/ 6 w 6"/>
                <a:gd name="T95" fmla="*/ 1 h 17"/>
                <a:gd name="T96" fmla="*/ 6 w 6"/>
                <a:gd name="T97" fmla="*/ 3 h 17"/>
                <a:gd name="T98" fmla="*/ 6 w 6"/>
                <a:gd name="T99" fmla="*/ 4 h 17"/>
                <a:gd name="T100" fmla="*/ 6 w 6"/>
                <a:gd name="T101" fmla="*/ 4 h 17"/>
                <a:gd name="T102" fmla="*/ 6 w 6"/>
                <a:gd name="T103" fmla="*/ 4 h 17"/>
                <a:gd name="T104" fmla="*/ 6 w 6"/>
                <a:gd name="T105" fmla="*/ 5 h 17"/>
                <a:gd name="T106" fmla="*/ 6 w 6"/>
                <a:gd name="T107" fmla="*/ 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 h="17">
                  <a:moveTo>
                    <a:pt x="5" y="8"/>
                  </a:moveTo>
                  <a:lnTo>
                    <a:pt x="5" y="8"/>
                  </a:lnTo>
                  <a:lnTo>
                    <a:pt x="5" y="8"/>
                  </a:lnTo>
                  <a:lnTo>
                    <a:pt x="5" y="8"/>
                  </a:lnTo>
                  <a:lnTo>
                    <a:pt x="3" y="8"/>
                  </a:lnTo>
                  <a:lnTo>
                    <a:pt x="3" y="8"/>
                  </a:lnTo>
                  <a:lnTo>
                    <a:pt x="3" y="8"/>
                  </a:lnTo>
                  <a:lnTo>
                    <a:pt x="3" y="8"/>
                  </a:lnTo>
                  <a:lnTo>
                    <a:pt x="3" y="8"/>
                  </a:lnTo>
                  <a:lnTo>
                    <a:pt x="3" y="8"/>
                  </a:lnTo>
                  <a:lnTo>
                    <a:pt x="5" y="8"/>
                  </a:lnTo>
                  <a:lnTo>
                    <a:pt x="5" y="7"/>
                  </a:lnTo>
                  <a:lnTo>
                    <a:pt x="5" y="7"/>
                  </a:lnTo>
                  <a:lnTo>
                    <a:pt x="5" y="7"/>
                  </a:lnTo>
                  <a:lnTo>
                    <a:pt x="5" y="7"/>
                  </a:lnTo>
                  <a:lnTo>
                    <a:pt x="5" y="7"/>
                  </a:lnTo>
                  <a:lnTo>
                    <a:pt x="5" y="7"/>
                  </a:lnTo>
                  <a:lnTo>
                    <a:pt x="5" y="7"/>
                  </a:lnTo>
                  <a:lnTo>
                    <a:pt x="5" y="7"/>
                  </a:lnTo>
                  <a:lnTo>
                    <a:pt x="5" y="7"/>
                  </a:lnTo>
                  <a:lnTo>
                    <a:pt x="5" y="7"/>
                  </a:lnTo>
                  <a:lnTo>
                    <a:pt x="5" y="7"/>
                  </a:lnTo>
                  <a:lnTo>
                    <a:pt x="5" y="7"/>
                  </a:lnTo>
                  <a:lnTo>
                    <a:pt x="5" y="7"/>
                  </a:lnTo>
                  <a:lnTo>
                    <a:pt x="5" y="7"/>
                  </a:lnTo>
                  <a:lnTo>
                    <a:pt x="5" y="7"/>
                  </a:lnTo>
                  <a:lnTo>
                    <a:pt x="5" y="7"/>
                  </a:lnTo>
                  <a:lnTo>
                    <a:pt x="5" y="7"/>
                  </a:lnTo>
                  <a:lnTo>
                    <a:pt x="5" y="8"/>
                  </a:lnTo>
                  <a:lnTo>
                    <a:pt x="5" y="8"/>
                  </a:lnTo>
                  <a:close/>
                  <a:moveTo>
                    <a:pt x="6" y="8"/>
                  </a:moveTo>
                  <a:lnTo>
                    <a:pt x="6" y="8"/>
                  </a:lnTo>
                  <a:lnTo>
                    <a:pt x="6" y="8"/>
                  </a:lnTo>
                  <a:lnTo>
                    <a:pt x="6" y="8"/>
                  </a:lnTo>
                  <a:lnTo>
                    <a:pt x="6" y="8"/>
                  </a:lnTo>
                  <a:lnTo>
                    <a:pt x="6" y="8"/>
                  </a:lnTo>
                  <a:lnTo>
                    <a:pt x="6" y="8"/>
                  </a:lnTo>
                  <a:lnTo>
                    <a:pt x="6" y="8"/>
                  </a:lnTo>
                  <a:lnTo>
                    <a:pt x="6" y="8"/>
                  </a:lnTo>
                  <a:lnTo>
                    <a:pt x="6" y="8"/>
                  </a:lnTo>
                  <a:lnTo>
                    <a:pt x="6" y="8"/>
                  </a:lnTo>
                  <a:close/>
                  <a:moveTo>
                    <a:pt x="5" y="11"/>
                  </a:moveTo>
                  <a:lnTo>
                    <a:pt x="5" y="10"/>
                  </a:lnTo>
                  <a:lnTo>
                    <a:pt x="6" y="10"/>
                  </a:lnTo>
                  <a:lnTo>
                    <a:pt x="6" y="10"/>
                  </a:lnTo>
                  <a:lnTo>
                    <a:pt x="6" y="10"/>
                  </a:lnTo>
                  <a:lnTo>
                    <a:pt x="6" y="10"/>
                  </a:lnTo>
                  <a:lnTo>
                    <a:pt x="6" y="10"/>
                  </a:lnTo>
                  <a:lnTo>
                    <a:pt x="6" y="10"/>
                  </a:lnTo>
                  <a:lnTo>
                    <a:pt x="6" y="10"/>
                  </a:lnTo>
                  <a:lnTo>
                    <a:pt x="6" y="10"/>
                  </a:lnTo>
                  <a:lnTo>
                    <a:pt x="6" y="11"/>
                  </a:lnTo>
                  <a:lnTo>
                    <a:pt x="6" y="11"/>
                  </a:lnTo>
                  <a:lnTo>
                    <a:pt x="6" y="11"/>
                  </a:lnTo>
                  <a:lnTo>
                    <a:pt x="6" y="11"/>
                  </a:lnTo>
                  <a:lnTo>
                    <a:pt x="6" y="11"/>
                  </a:lnTo>
                  <a:lnTo>
                    <a:pt x="5" y="11"/>
                  </a:lnTo>
                  <a:lnTo>
                    <a:pt x="5" y="11"/>
                  </a:lnTo>
                  <a:lnTo>
                    <a:pt x="5" y="11"/>
                  </a:lnTo>
                  <a:lnTo>
                    <a:pt x="5" y="11"/>
                  </a:lnTo>
                  <a:lnTo>
                    <a:pt x="5" y="11"/>
                  </a:lnTo>
                  <a:lnTo>
                    <a:pt x="5" y="11"/>
                  </a:lnTo>
                  <a:close/>
                  <a:moveTo>
                    <a:pt x="5" y="8"/>
                  </a:moveTo>
                  <a:lnTo>
                    <a:pt x="5" y="8"/>
                  </a:lnTo>
                  <a:lnTo>
                    <a:pt x="5" y="8"/>
                  </a:lnTo>
                  <a:lnTo>
                    <a:pt x="3" y="8"/>
                  </a:lnTo>
                  <a:lnTo>
                    <a:pt x="3" y="8"/>
                  </a:lnTo>
                  <a:lnTo>
                    <a:pt x="3" y="8"/>
                  </a:lnTo>
                  <a:lnTo>
                    <a:pt x="3" y="8"/>
                  </a:lnTo>
                  <a:lnTo>
                    <a:pt x="5" y="8"/>
                  </a:lnTo>
                  <a:lnTo>
                    <a:pt x="5" y="8"/>
                  </a:lnTo>
                  <a:lnTo>
                    <a:pt x="5" y="8"/>
                  </a:lnTo>
                  <a:lnTo>
                    <a:pt x="5" y="8"/>
                  </a:lnTo>
                  <a:lnTo>
                    <a:pt x="5" y="8"/>
                  </a:lnTo>
                  <a:lnTo>
                    <a:pt x="5" y="8"/>
                  </a:lnTo>
                  <a:close/>
                  <a:moveTo>
                    <a:pt x="1" y="17"/>
                  </a:moveTo>
                  <a:lnTo>
                    <a:pt x="1" y="17"/>
                  </a:lnTo>
                  <a:lnTo>
                    <a:pt x="1" y="17"/>
                  </a:lnTo>
                  <a:lnTo>
                    <a:pt x="1" y="17"/>
                  </a:lnTo>
                  <a:lnTo>
                    <a:pt x="1" y="17"/>
                  </a:lnTo>
                  <a:lnTo>
                    <a:pt x="1" y="17"/>
                  </a:lnTo>
                  <a:lnTo>
                    <a:pt x="2" y="17"/>
                  </a:lnTo>
                  <a:lnTo>
                    <a:pt x="2" y="17"/>
                  </a:lnTo>
                  <a:lnTo>
                    <a:pt x="1" y="17"/>
                  </a:lnTo>
                  <a:lnTo>
                    <a:pt x="1" y="17"/>
                  </a:lnTo>
                  <a:close/>
                  <a:moveTo>
                    <a:pt x="1" y="16"/>
                  </a:moveTo>
                  <a:lnTo>
                    <a:pt x="1" y="16"/>
                  </a:lnTo>
                  <a:lnTo>
                    <a:pt x="1" y="16"/>
                  </a:lnTo>
                  <a:lnTo>
                    <a:pt x="1" y="16"/>
                  </a:lnTo>
                  <a:lnTo>
                    <a:pt x="1" y="16"/>
                  </a:lnTo>
                  <a:lnTo>
                    <a:pt x="1" y="16"/>
                  </a:lnTo>
                  <a:lnTo>
                    <a:pt x="1" y="17"/>
                  </a:lnTo>
                  <a:lnTo>
                    <a:pt x="1" y="17"/>
                  </a:lnTo>
                  <a:lnTo>
                    <a:pt x="1" y="17"/>
                  </a:lnTo>
                  <a:lnTo>
                    <a:pt x="0" y="17"/>
                  </a:lnTo>
                  <a:lnTo>
                    <a:pt x="0" y="17"/>
                  </a:lnTo>
                  <a:lnTo>
                    <a:pt x="0" y="16"/>
                  </a:lnTo>
                  <a:lnTo>
                    <a:pt x="1" y="16"/>
                  </a:lnTo>
                  <a:lnTo>
                    <a:pt x="1" y="16"/>
                  </a:lnTo>
                  <a:lnTo>
                    <a:pt x="0" y="16"/>
                  </a:lnTo>
                  <a:lnTo>
                    <a:pt x="1" y="16"/>
                  </a:lnTo>
                  <a:lnTo>
                    <a:pt x="1" y="16"/>
                  </a:lnTo>
                  <a:lnTo>
                    <a:pt x="1" y="16"/>
                  </a:lnTo>
                  <a:close/>
                  <a:moveTo>
                    <a:pt x="2" y="16"/>
                  </a:moveTo>
                  <a:lnTo>
                    <a:pt x="2" y="16"/>
                  </a:lnTo>
                  <a:lnTo>
                    <a:pt x="2" y="16"/>
                  </a:lnTo>
                  <a:lnTo>
                    <a:pt x="2" y="16"/>
                  </a:lnTo>
                  <a:lnTo>
                    <a:pt x="1" y="16"/>
                  </a:lnTo>
                  <a:lnTo>
                    <a:pt x="1" y="16"/>
                  </a:lnTo>
                  <a:lnTo>
                    <a:pt x="1" y="16"/>
                  </a:lnTo>
                  <a:lnTo>
                    <a:pt x="1" y="16"/>
                  </a:lnTo>
                  <a:lnTo>
                    <a:pt x="1" y="16"/>
                  </a:lnTo>
                  <a:lnTo>
                    <a:pt x="1" y="16"/>
                  </a:lnTo>
                  <a:lnTo>
                    <a:pt x="1" y="16"/>
                  </a:lnTo>
                  <a:lnTo>
                    <a:pt x="2" y="16"/>
                  </a:lnTo>
                  <a:lnTo>
                    <a:pt x="2" y="16"/>
                  </a:lnTo>
                  <a:close/>
                  <a:moveTo>
                    <a:pt x="3" y="13"/>
                  </a:moveTo>
                  <a:lnTo>
                    <a:pt x="3" y="13"/>
                  </a:lnTo>
                  <a:lnTo>
                    <a:pt x="3" y="13"/>
                  </a:lnTo>
                  <a:lnTo>
                    <a:pt x="2" y="14"/>
                  </a:lnTo>
                  <a:lnTo>
                    <a:pt x="2" y="14"/>
                  </a:lnTo>
                  <a:lnTo>
                    <a:pt x="2" y="14"/>
                  </a:lnTo>
                  <a:lnTo>
                    <a:pt x="2" y="14"/>
                  </a:lnTo>
                  <a:lnTo>
                    <a:pt x="2" y="14"/>
                  </a:lnTo>
                  <a:lnTo>
                    <a:pt x="2" y="13"/>
                  </a:lnTo>
                  <a:lnTo>
                    <a:pt x="2" y="13"/>
                  </a:lnTo>
                  <a:lnTo>
                    <a:pt x="2" y="13"/>
                  </a:lnTo>
                  <a:lnTo>
                    <a:pt x="2" y="13"/>
                  </a:lnTo>
                  <a:lnTo>
                    <a:pt x="2" y="13"/>
                  </a:lnTo>
                  <a:lnTo>
                    <a:pt x="2" y="13"/>
                  </a:lnTo>
                  <a:lnTo>
                    <a:pt x="2" y="13"/>
                  </a:lnTo>
                  <a:lnTo>
                    <a:pt x="2" y="13"/>
                  </a:lnTo>
                  <a:lnTo>
                    <a:pt x="2" y="13"/>
                  </a:lnTo>
                  <a:lnTo>
                    <a:pt x="3" y="13"/>
                  </a:lnTo>
                  <a:lnTo>
                    <a:pt x="3" y="13"/>
                  </a:lnTo>
                  <a:lnTo>
                    <a:pt x="3" y="13"/>
                  </a:lnTo>
                  <a:lnTo>
                    <a:pt x="3" y="13"/>
                  </a:lnTo>
                  <a:lnTo>
                    <a:pt x="3" y="13"/>
                  </a:lnTo>
                  <a:close/>
                  <a:moveTo>
                    <a:pt x="6" y="8"/>
                  </a:moveTo>
                  <a:lnTo>
                    <a:pt x="6" y="8"/>
                  </a:lnTo>
                  <a:lnTo>
                    <a:pt x="6" y="8"/>
                  </a:lnTo>
                  <a:lnTo>
                    <a:pt x="6" y="8"/>
                  </a:lnTo>
                  <a:lnTo>
                    <a:pt x="6" y="8"/>
                  </a:lnTo>
                  <a:lnTo>
                    <a:pt x="6" y="8"/>
                  </a:lnTo>
                  <a:lnTo>
                    <a:pt x="6" y="8"/>
                  </a:lnTo>
                  <a:lnTo>
                    <a:pt x="6" y="10"/>
                  </a:lnTo>
                  <a:lnTo>
                    <a:pt x="6" y="10"/>
                  </a:lnTo>
                  <a:lnTo>
                    <a:pt x="6" y="10"/>
                  </a:lnTo>
                  <a:lnTo>
                    <a:pt x="6" y="8"/>
                  </a:lnTo>
                  <a:lnTo>
                    <a:pt x="6" y="8"/>
                  </a:lnTo>
                  <a:close/>
                  <a:moveTo>
                    <a:pt x="6" y="5"/>
                  </a:moveTo>
                  <a:lnTo>
                    <a:pt x="5" y="5"/>
                  </a:lnTo>
                  <a:lnTo>
                    <a:pt x="5" y="5"/>
                  </a:lnTo>
                  <a:lnTo>
                    <a:pt x="5" y="5"/>
                  </a:lnTo>
                  <a:lnTo>
                    <a:pt x="5" y="5"/>
                  </a:lnTo>
                  <a:lnTo>
                    <a:pt x="5" y="5"/>
                  </a:lnTo>
                  <a:lnTo>
                    <a:pt x="5" y="5"/>
                  </a:lnTo>
                  <a:lnTo>
                    <a:pt x="5" y="5"/>
                  </a:lnTo>
                  <a:lnTo>
                    <a:pt x="5" y="5"/>
                  </a:lnTo>
                  <a:lnTo>
                    <a:pt x="5" y="5"/>
                  </a:lnTo>
                  <a:lnTo>
                    <a:pt x="5" y="5"/>
                  </a:lnTo>
                  <a:lnTo>
                    <a:pt x="5" y="5"/>
                  </a:lnTo>
                  <a:lnTo>
                    <a:pt x="5" y="5"/>
                  </a:lnTo>
                  <a:lnTo>
                    <a:pt x="5" y="5"/>
                  </a:lnTo>
                  <a:lnTo>
                    <a:pt x="5" y="5"/>
                  </a:lnTo>
                  <a:lnTo>
                    <a:pt x="5" y="5"/>
                  </a:lnTo>
                  <a:lnTo>
                    <a:pt x="3" y="4"/>
                  </a:lnTo>
                  <a:lnTo>
                    <a:pt x="3" y="4"/>
                  </a:lnTo>
                  <a:lnTo>
                    <a:pt x="3" y="4"/>
                  </a:lnTo>
                  <a:lnTo>
                    <a:pt x="3" y="4"/>
                  </a:lnTo>
                  <a:lnTo>
                    <a:pt x="3" y="4"/>
                  </a:lnTo>
                  <a:lnTo>
                    <a:pt x="3" y="4"/>
                  </a:lnTo>
                  <a:lnTo>
                    <a:pt x="3" y="4"/>
                  </a:lnTo>
                  <a:lnTo>
                    <a:pt x="3" y="4"/>
                  </a:lnTo>
                  <a:lnTo>
                    <a:pt x="3" y="4"/>
                  </a:lnTo>
                  <a:lnTo>
                    <a:pt x="3" y="4"/>
                  </a:lnTo>
                  <a:lnTo>
                    <a:pt x="3" y="4"/>
                  </a:lnTo>
                  <a:lnTo>
                    <a:pt x="3" y="4"/>
                  </a:lnTo>
                  <a:lnTo>
                    <a:pt x="3" y="4"/>
                  </a:lnTo>
                  <a:lnTo>
                    <a:pt x="3" y="4"/>
                  </a:lnTo>
                  <a:lnTo>
                    <a:pt x="3" y="3"/>
                  </a:lnTo>
                  <a:lnTo>
                    <a:pt x="3" y="3"/>
                  </a:lnTo>
                  <a:lnTo>
                    <a:pt x="3" y="3"/>
                  </a:lnTo>
                  <a:lnTo>
                    <a:pt x="3" y="3"/>
                  </a:lnTo>
                  <a:lnTo>
                    <a:pt x="3" y="3"/>
                  </a:lnTo>
                  <a:lnTo>
                    <a:pt x="3" y="3"/>
                  </a:lnTo>
                  <a:lnTo>
                    <a:pt x="3" y="3"/>
                  </a:lnTo>
                  <a:lnTo>
                    <a:pt x="3" y="3"/>
                  </a:lnTo>
                  <a:lnTo>
                    <a:pt x="3" y="3"/>
                  </a:lnTo>
                  <a:lnTo>
                    <a:pt x="3" y="1"/>
                  </a:lnTo>
                  <a:lnTo>
                    <a:pt x="3" y="1"/>
                  </a:lnTo>
                  <a:lnTo>
                    <a:pt x="3" y="1"/>
                  </a:lnTo>
                  <a:lnTo>
                    <a:pt x="5" y="1"/>
                  </a:lnTo>
                  <a:lnTo>
                    <a:pt x="5" y="1"/>
                  </a:lnTo>
                  <a:lnTo>
                    <a:pt x="5" y="1"/>
                  </a:lnTo>
                  <a:lnTo>
                    <a:pt x="5" y="1"/>
                  </a:lnTo>
                  <a:lnTo>
                    <a:pt x="5" y="1"/>
                  </a:lnTo>
                  <a:lnTo>
                    <a:pt x="5" y="1"/>
                  </a:lnTo>
                  <a:lnTo>
                    <a:pt x="5" y="1"/>
                  </a:lnTo>
                  <a:lnTo>
                    <a:pt x="5" y="1"/>
                  </a:lnTo>
                  <a:lnTo>
                    <a:pt x="5" y="1"/>
                  </a:lnTo>
                  <a:lnTo>
                    <a:pt x="5" y="1"/>
                  </a:lnTo>
                  <a:lnTo>
                    <a:pt x="5" y="1"/>
                  </a:lnTo>
                  <a:lnTo>
                    <a:pt x="5" y="1"/>
                  </a:lnTo>
                  <a:lnTo>
                    <a:pt x="5" y="0"/>
                  </a:lnTo>
                  <a:lnTo>
                    <a:pt x="5" y="0"/>
                  </a:lnTo>
                  <a:lnTo>
                    <a:pt x="5" y="0"/>
                  </a:lnTo>
                  <a:lnTo>
                    <a:pt x="5" y="0"/>
                  </a:lnTo>
                  <a:lnTo>
                    <a:pt x="5" y="0"/>
                  </a:lnTo>
                  <a:lnTo>
                    <a:pt x="5" y="0"/>
                  </a:lnTo>
                  <a:lnTo>
                    <a:pt x="5" y="0"/>
                  </a:lnTo>
                  <a:lnTo>
                    <a:pt x="5" y="0"/>
                  </a:lnTo>
                  <a:lnTo>
                    <a:pt x="5" y="0"/>
                  </a:lnTo>
                  <a:lnTo>
                    <a:pt x="5" y="0"/>
                  </a:lnTo>
                  <a:lnTo>
                    <a:pt x="5" y="0"/>
                  </a:lnTo>
                  <a:lnTo>
                    <a:pt x="6" y="0"/>
                  </a:lnTo>
                  <a:lnTo>
                    <a:pt x="6" y="0"/>
                  </a:lnTo>
                  <a:lnTo>
                    <a:pt x="6" y="0"/>
                  </a:lnTo>
                  <a:lnTo>
                    <a:pt x="6" y="0"/>
                  </a:lnTo>
                  <a:lnTo>
                    <a:pt x="6" y="0"/>
                  </a:lnTo>
                  <a:lnTo>
                    <a:pt x="6" y="0"/>
                  </a:lnTo>
                  <a:lnTo>
                    <a:pt x="6" y="0"/>
                  </a:lnTo>
                  <a:lnTo>
                    <a:pt x="6" y="0"/>
                  </a:lnTo>
                  <a:lnTo>
                    <a:pt x="6" y="0"/>
                  </a:lnTo>
                  <a:lnTo>
                    <a:pt x="6" y="0"/>
                  </a:lnTo>
                  <a:lnTo>
                    <a:pt x="6" y="0"/>
                  </a:lnTo>
                  <a:lnTo>
                    <a:pt x="6" y="0"/>
                  </a:lnTo>
                  <a:lnTo>
                    <a:pt x="6" y="0"/>
                  </a:lnTo>
                  <a:lnTo>
                    <a:pt x="6" y="0"/>
                  </a:lnTo>
                  <a:lnTo>
                    <a:pt x="6" y="0"/>
                  </a:lnTo>
                  <a:lnTo>
                    <a:pt x="6" y="0"/>
                  </a:lnTo>
                  <a:lnTo>
                    <a:pt x="6" y="1"/>
                  </a:lnTo>
                  <a:lnTo>
                    <a:pt x="6" y="1"/>
                  </a:lnTo>
                  <a:lnTo>
                    <a:pt x="6" y="1"/>
                  </a:lnTo>
                  <a:lnTo>
                    <a:pt x="6" y="1"/>
                  </a:lnTo>
                  <a:lnTo>
                    <a:pt x="6" y="1"/>
                  </a:lnTo>
                  <a:lnTo>
                    <a:pt x="6" y="1"/>
                  </a:lnTo>
                  <a:lnTo>
                    <a:pt x="6" y="1"/>
                  </a:lnTo>
                  <a:lnTo>
                    <a:pt x="6" y="1"/>
                  </a:lnTo>
                  <a:lnTo>
                    <a:pt x="6" y="1"/>
                  </a:lnTo>
                  <a:lnTo>
                    <a:pt x="6" y="1"/>
                  </a:lnTo>
                  <a:lnTo>
                    <a:pt x="6" y="3"/>
                  </a:lnTo>
                  <a:lnTo>
                    <a:pt x="6" y="3"/>
                  </a:lnTo>
                  <a:lnTo>
                    <a:pt x="6" y="3"/>
                  </a:lnTo>
                  <a:lnTo>
                    <a:pt x="6" y="3"/>
                  </a:lnTo>
                  <a:lnTo>
                    <a:pt x="6" y="3"/>
                  </a:lnTo>
                  <a:lnTo>
                    <a:pt x="6" y="3"/>
                  </a:lnTo>
                  <a:lnTo>
                    <a:pt x="6" y="3"/>
                  </a:lnTo>
                  <a:lnTo>
                    <a:pt x="6" y="3"/>
                  </a:lnTo>
                  <a:lnTo>
                    <a:pt x="6" y="4"/>
                  </a:lnTo>
                  <a:lnTo>
                    <a:pt x="6" y="4"/>
                  </a:lnTo>
                  <a:lnTo>
                    <a:pt x="6" y="4"/>
                  </a:lnTo>
                  <a:lnTo>
                    <a:pt x="6" y="4"/>
                  </a:lnTo>
                  <a:lnTo>
                    <a:pt x="6" y="4"/>
                  </a:lnTo>
                  <a:lnTo>
                    <a:pt x="6" y="4"/>
                  </a:lnTo>
                  <a:lnTo>
                    <a:pt x="6" y="4"/>
                  </a:lnTo>
                  <a:lnTo>
                    <a:pt x="6" y="4"/>
                  </a:lnTo>
                  <a:lnTo>
                    <a:pt x="6" y="4"/>
                  </a:lnTo>
                  <a:lnTo>
                    <a:pt x="6" y="4"/>
                  </a:lnTo>
                  <a:lnTo>
                    <a:pt x="6" y="4"/>
                  </a:lnTo>
                  <a:lnTo>
                    <a:pt x="6" y="5"/>
                  </a:lnTo>
                  <a:lnTo>
                    <a:pt x="6" y="5"/>
                  </a:lnTo>
                  <a:lnTo>
                    <a:pt x="6" y="5"/>
                  </a:lnTo>
                  <a:lnTo>
                    <a:pt x="6" y="5"/>
                  </a:lnTo>
                  <a:lnTo>
                    <a:pt x="6" y="5"/>
                  </a:lnTo>
                  <a:lnTo>
                    <a:pt x="6" y="5"/>
                  </a:lnTo>
                  <a:lnTo>
                    <a:pt x="6" y="5"/>
                  </a:lnTo>
                  <a:lnTo>
                    <a:pt x="6" y="5"/>
                  </a:lnTo>
                  <a:lnTo>
                    <a:pt x="6" y="5"/>
                  </a:lnTo>
                  <a:lnTo>
                    <a:pt x="6" y="5"/>
                  </a:lnTo>
                  <a:lnTo>
                    <a:pt x="6" y="5"/>
                  </a:lnTo>
                  <a:lnTo>
                    <a:pt x="6" y="5"/>
                  </a:lnTo>
                  <a:lnTo>
                    <a:pt x="6" y="5"/>
                  </a:lnTo>
                  <a:lnTo>
                    <a:pt x="6" y="5"/>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258" name="Vatikan">
              <a:extLst>
                <a:ext uri="{FF2B5EF4-FFF2-40B4-BE49-F238E27FC236}">
                  <a16:creationId xmlns:a16="http://schemas.microsoft.com/office/drawing/2014/main" id="{275C9875-A9DF-B745-8536-31C3616CF256}"/>
                </a:ext>
              </a:extLst>
            </p:cNvPr>
            <p:cNvSpPr>
              <a:spLocks/>
            </p:cNvSpPr>
            <p:nvPr/>
          </p:nvSpPr>
          <p:spPr bwMode="auto">
            <a:xfrm>
              <a:off x="6667042" y="2734154"/>
              <a:ext cx="0" cy="1458"/>
            </a:xfrm>
            <a:custGeom>
              <a:avLst/>
              <a:gdLst>
                <a:gd name="T0" fmla="*/ 1 h 1"/>
                <a:gd name="T1" fmla="*/ 1 h 1"/>
                <a:gd name="T2" fmla="*/ 0 h 1"/>
                <a:gd name="T3" fmla="*/ 0 h 1"/>
                <a:gd name="T4" fmla="*/ 0 h 1"/>
                <a:gd name="T5" fmla="*/ 0 h 1"/>
                <a:gd name="T6" fmla="*/ 1 h 1"/>
                <a:gd name="T7" fmla="*/ 1 h 1"/>
                <a:gd name="T8" fmla="*/ 1 h 1"/>
                <a:gd name="T9" fmla="*/ 1 h 1"/>
              </a:gdLst>
              <a:ahLst/>
              <a:cxnLst>
                <a:cxn ang="0">
                  <a:pos x="0" y="T0"/>
                </a:cxn>
                <a:cxn ang="0">
                  <a:pos x="0" y="T1"/>
                </a:cxn>
                <a:cxn ang="0">
                  <a:pos x="0" y="T2"/>
                </a:cxn>
                <a:cxn ang="0">
                  <a:pos x="0" y="T3"/>
                </a:cxn>
                <a:cxn ang="0">
                  <a:pos x="0" y="T4"/>
                </a:cxn>
                <a:cxn ang="0">
                  <a:pos x="0" y="T5"/>
                </a:cxn>
                <a:cxn ang="0">
                  <a:pos x="0" y="T6"/>
                </a:cxn>
                <a:cxn ang="0">
                  <a:pos x="0" y="T7"/>
                </a:cxn>
                <a:cxn ang="0">
                  <a:pos x="0" y="T8"/>
                </a:cxn>
                <a:cxn ang="0">
                  <a:pos x="0" y="T9"/>
                </a:cxn>
              </a:cxnLst>
              <a:rect l="0" t="0" r="r" b="b"/>
              <a:pathLst>
                <a:path h="1">
                  <a:moveTo>
                    <a:pt x="0" y="1"/>
                  </a:moveTo>
                  <a:lnTo>
                    <a:pt x="0" y="1"/>
                  </a:lnTo>
                  <a:lnTo>
                    <a:pt x="0" y="0"/>
                  </a:lnTo>
                  <a:lnTo>
                    <a:pt x="0" y="0"/>
                  </a:lnTo>
                  <a:lnTo>
                    <a:pt x="0" y="0"/>
                  </a:lnTo>
                  <a:lnTo>
                    <a:pt x="0" y="0"/>
                  </a:lnTo>
                  <a:lnTo>
                    <a:pt x="0" y="1"/>
                  </a:lnTo>
                  <a:lnTo>
                    <a:pt x="0" y="1"/>
                  </a:lnTo>
                  <a:lnTo>
                    <a:pt x="0" y="1"/>
                  </a:lnTo>
                  <a:lnTo>
                    <a:pt x="0" y="1"/>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259" name="Vanuatu">
              <a:extLst>
                <a:ext uri="{FF2B5EF4-FFF2-40B4-BE49-F238E27FC236}">
                  <a16:creationId xmlns:a16="http://schemas.microsoft.com/office/drawing/2014/main" id="{AFABB986-DB90-0E4D-9BB9-474DD77B135B}"/>
                </a:ext>
              </a:extLst>
            </p:cNvPr>
            <p:cNvSpPr>
              <a:spLocks noEditPoints="1"/>
            </p:cNvSpPr>
            <p:nvPr/>
          </p:nvSpPr>
          <p:spPr bwMode="auto">
            <a:xfrm>
              <a:off x="10714307" y="4305822"/>
              <a:ext cx="45197" cy="281385"/>
            </a:xfrm>
            <a:custGeom>
              <a:avLst/>
              <a:gdLst>
                <a:gd name="T0" fmla="*/ 15 w 31"/>
                <a:gd name="T1" fmla="*/ 125 h 193"/>
                <a:gd name="T2" fmla="*/ 19 w 31"/>
                <a:gd name="T3" fmla="*/ 124 h 193"/>
                <a:gd name="T4" fmla="*/ 22 w 31"/>
                <a:gd name="T5" fmla="*/ 129 h 193"/>
                <a:gd name="T6" fmla="*/ 18 w 31"/>
                <a:gd name="T7" fmla="*/ 129 h 193"/>
                <a:gd name="T8" fmla="*/ 18 w 31"/>
                <a:gd name="T9" fmla="*/ 152 h 193"/>
                <a:gd name="T10" fmla="*/ 17 w 31"/>
                <a:gd name="T11" fmla="*/ 150 h 193"/>
                <a:gd name="T12" fmla="*/ 19 w 31"/>
                <a:gd name="T13" fmla="*/ 146 h 193"/>
                <a:gd name="T14" fmla="*/ 24 w 31"/>
                <a:gd name="T15" fmla="*/ 151 h 193"/>
                <a:gd name="T16" fmla="*/ 19 w 31"/>
                <a:gd name="T17" fmla="*/ 153 h 193"/>
                <a:gd name="T18" fmla="*/ 25 w 31"/>
                <a:gd name="T19" fmla="*/ 175 h 193"/>
                <a:gd name="T20" fmla="*/ 26 w 31"/>
                <a:gd name="T21" fmla="*/ 170 h 193"/>
                <a:gd name="T22" fmla="*/ 29 w 31"/>
                <a:gd name="T23" fmla="*/ 172 h 193"/>
                <a:gd name="T24" fmla="*/ 30 w 31"/>
                <a:gd name="T25" fmla="*/ 173 h 193"/>
                <a:gd name="T26" fmla="*/ 31 w 31"/>
                <a:gd name="T27" fmla="*/ 177 h 193"/>
                <a:gd name="T28" fmla="*/ 30 w 31"/>
                <a:gd name="T29" fmla="*/ 178 h 193"/>
                <a:gd name="T30" fmla="*/ 23 w 31"/>
                <a:gd name="T31" fmla="*/ 133 h 193"/>
                <a:gd name="T32" fmla="*/ 24 w 31"/>
                <a:gd name="T33" fmla="*/ 129 h 193"/>
                <a:gd name="T34" fmla="*/ 26 w 31"/>
                <a:gd name="T35" fmla="*/ 133 h 193"/>
                <a:gd name="T36" fmla="*/ 27 w 31"/>
                <a:gd name="T37" fmla="*/ 135 h 193"/>
                <a:gd name="T38" fmla="*/ 26 w 31"/>
                <a:gd name="T39" fmla="*/ 189 h 193"/>
                <a:gd name="T40" fmla="*/ 30 w 31"/>
                <a:gd name="T41" fmla="*/ 186 h 193"/>
                <a:gd name="T42" fmla="*/ 31 w 31"/>
                <a:gd name="T43" fmla="*/ 192 h 193"/>
                <a:gd name="T44" fmla="*/ 19 w 31"/>
                <a:gd name="T45" fmla="*/ 119 h 193"/>
                <a:gd name="T46" fmla="*/ 19 w 31"/>
                <a:gd name="T47" fmla="*/ 116 h 193"/>
                <a:gd name="T48" fmla="*/ 20 w 31"/>
                <a:gd name="T49" fmla="*/ 109 h 193"/>
                <a:gd name="T50" fmla="*/ 19 w 31"/>
                <a:gd name="T51" fmla="*/ 119 h 193"/>
                <a:gd name="T52" fmla="*/ 10 w 31"/>
                <a:gd name="T53" fmla="*/ 123 h 193"/>
                <a:gd name="T54" fmla="*/ 9 w 31"/>
                <a:gd name="T55" fmla="*/ 115 h 193"/>
                <a:gd name="T56" fmla="*/ 6 w 31"/>
                <a:gd name="T57" fmla="*/ 110 h 193"/>
                <a:gd name="T58" fmla="*/ 11 w 31"/>
                <a:gd name="T59" fmla="*/ 115 h 193"/>
                <a:gd name="T60" fmla="*/ 16 w 31"/>
                <a:gd name="T61" fmla="*/ 122 h 193"/>
                <a:gd name="T62" fmla="*/ 12 w 31"/>
                <a:gd name="T63" fmla="*/ 123 h 193"/>
                <a:gd name="T64" fmla="*/ 17 w 31"/>
                <a:gd name="T65" fmla="*/ 108 h 193"/>
                <a:gd name="T66" fmla="*/ 15 w 31"/>
                <a:gd name="T67" fmla="*/ 105 h 193"/>
                <a:gd name="T68" fmla="*/ 20 w 31"/>
                <a:gd name="T69" fmla="*/ 104 h 193"/>
                <a:gd name="T70" fmla="*/ 3 w 31"/>
                <a:gd name="T71" fmla="*/ 4 h 193"/>
                <a:gd name="T72" fmla="*/ 0 w 31"/>
                <a:gd name="T73" fmla="*/ 3 h 193"/>
                <a:gd name="T74" fmla="*/ 3 w 31"/>
                <a:gd name="T75" fmla="*/ 2 h 193"/>
                <a:gd name="T76" fmla="*/ 7 w 31"/>
                <a:gd name="T77" fmla="*/ 2 h 193"/>
                <a:gd name="T78" fmla="*/ 3 w 31"/>
                <a:gd name="T79" fmla="*/ 4 h 193"/>
                <a:gd name="T80" fmla="*/ 2 w 31"/>
                <a:gd name="T81" fmla="*/ 108 h 193"/>
                <a:gd name="T82" fmla="*/ 0 w 31"/>
                <a:gd name="T83" fmla="*/ 90 h 193"/>
                <a:gd name="T84" fmla="*/ 3 w 31"/>
                <a:gd name="T85" fmla="*/ 89 h 193"/>
                <a:gd name="T86" fmla="*/ 4 w 31"/>
                <a:gd name="T87" fmla="*/ 97 h 193"/>
                <a:gd name="T88" fmla="*/ 9 w 31"/>
                <a:gd name="T89" fmla="*/ 93 h 193"/>
                <a:gd name="T90" fmla="*/ 10 w 31"/>
                <a:gd name="T91" fmla="*/ 98 h 193"/>
                <a:gd name="T92" fmla="*/ 7 w 31"/>
                <a:gd name="T93" fmla="*/ 108 h 193"/>
                <a:gd name="T94" fmla="*/ 3 w 31"/>
                <a:gd name="T95" fmla="*/ 108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1" h="193">
                  <a:moveTo>
                    <a:pt x="18" y="129"/>
                  </a:moveTo>
                  <a:lnTo>
                    <a:pt x="15" y="126"/>
                  </a:lnTo>
                  <a:lnTo>
                    <a:pt x="15" y="125"/>
                  </a:lnTo>
                  <a:lnTo>
                    <a:pt x="18" y="125"/>
                  </a:lnTo>
                  <a:lnTo>
                    <a:pt x="19" y="123"/>
                  </a:lnTo>
                  <a:lnTo>
                    <a:pt x="19" y="124"/>
                  </a:lnTo>
                  <a:lnTo>
                    <a:pt x="20" y="125"/>
                  </a:lnTo>
                  <a:lnTo>
                    <a:pt x="22" y="128"/>
                  </a:lnTo>
                  <a:lnTo>
                    <a:pt x="22" y="129"/>
                  </a:lnTo>
                  <a:lnTo>
                    <a:pt x="22" y="129"/>
                  </a:lnTo>
                  <a:lnTo>
                    <a:pt x="18" y="129"/>
                  </a:lnTo>
                  <a:lnTo>
                    <a:pt x="18" y="129"/>
                  </a:lnTo>
                  <a:close/>
                  <a:moveTo>
                    <a:pt x="19" y="153"/>
                  </a:moveTo>
                  <a:lnTo>
                    <a:pt x="19" y="152"/>
                  </a:lnTo>
                  <a:lnTo>
                    <a:pt x="18" y="152"/>
                  </a:lnTo>
                  <a:lnTo>
                    <a:pt x="19" y="151"/>
                  </a:lnTo>
                  <a:lnTo>
                    <a:pt x="18" y="150"/>
                  </a:lnTo>
                  <a:lnTo>
                    <a:pt x="17" y="150"/>
                  </a:lnTo>
                  <a:lnTo>
                    <a:pt x="16" y="151"/>
                  </a:lnTo>
                  <a:lnTo>
                    <a:pt x="16" y="150"/>
                  </a:lnTo>
                  <a:lnTo>
                    <a:pt x="19" y="146"/>
                  </a:lnTo>
                  <a:lnTo>
                    <a:pt x="22" y="147"/>
                  </a:lnTo>
                  <a:lnTo>
                    <a:pt x="23" y="150"/>
                  </a:lnTo>
                  <a:lnTo>
                    <a:pt x="24" y="151"/>
                  </a:lnTo>
                  <a:lnTo>
                    <a:pt x="23" y="153"/>
                  </a:lnTo>
                  <a:lnTo>
                    <a:pt x="19" y="153"/>
                  </a:lnTo>
                  <a:lnTo>
                    <a:pt x="19" y="153"/>
                  </a:lnTo>
                  <a:close/>
                  <a:moveTo>
                    <a:pt x="30" y="178"/>
                  </a:moveTo>
                  <a:lnTo>
                    <a:pt x="26" y="177"/>
                  </a:lnTo>
                  <a:lnTo>
                    <a:pt x="25" y="175"/>
                  </a:lnTo>
                  <a:lnTo>
                    <a:pt x="25" y="173"/>
                  </a:lnTo>
                  <a:lnTo>
                    <a:pt x="25" y="172"/>
                  </a:lnTo>
                  <a:lnTo>
                    <a:pt x="26" y="170"/>
                  </a:lnTo>
                  <a:lnTo>
                    <a:pt x="27" y="170"/>
                  </a:lnTo>
                  <a:lnTo>
                    <a:pt x="29" y="171"/>
                  </a:lnTo>
                  <a:lnTo>
                    <a:pt x="29" y="172"/>
                  </a:lnTo>
                  <a:lnTo>
                    <a:pt x="30" y="173"/>
                  </a:lnTo>
                  <a:lnTo>
                    <a:pt x="31" y="173"/>
                  </a:lnTo>
                  <a:lnTo>
                    <a:pt x="30" y="173"/>
                  </a:lnTo>
                  <a:lnTo>
                    <a:pt x="29" y="175"/>
                  </a:lnTo>
                  <a:lnTo>
                    <a:pt x="30" y="176"/>
                  </a:lnTo>
                  <a:lnTo>
                    <a:pt x="31" y="177"/>
                  </a:lnTo>
                  <a:lnTo>
                    <a:pt x="31" y="178"/>
                  </a:lnTo>
                  <a:lnTo>
                    <a:pt x="30" y="178"/>
                  </a:lnTo>
                  <a:lnTo>
                    <a:pt x="30" y="178"/>
                  </a:lnTo>
                  <a:close/>
                  <a:moveTo>
                    <a:pt x="27" y="135"/>
                  </a:moveTo>
                  <a:lnTo>
                    <a:pt x="26" y="133"/>
                  </a:lnTo>
                  <a:lnTo>
                    <a:pt x="23" y="133"/>
                  </a:lnTo>
                  <a:lnTo>
                    <a:pt x="22" y="131"/>
                  </a:lnTo>
                  <a:lnTo>
                    <a:pt x="23" y="129"/>
                  </a:lnTo>
                  <a:lnTo>
                    <a:pt x="24" y="129"/>
                  </a:lnTo>
                  <a:lnTo>
                    <a:pt x="24" y="131"/>
                  </a:lnTo>
                  <a:lnTo>
                    <a:pt x="25" y="131"/>
                  </a:lnTo>
                  <a:lnTo>
                    <a:pt x="26" y="133"/>
                  </a:lnTo>
                  <a:lnTo>
                    <a:pt x="27" y="133"/>
                  </a:lnTo>
                  <a:lnTo>
                    <a:pt x="27" y="135"/>
                  </a:lnTo>
                  <a:lnTo>
                    <a:pt x="27" y="135"/>
                  </a:lnTo>
                  <a:close/>
                  <a:moveTo>
                    <a:pt x="30" y="193"/>
                  </a:moveTo>
                  <a:lnTo>
                    <a:pt x="29" y="193"/>
                  </a:lnTo>
                  <a:lnTo>
                    <a:pt x="26" y="189"/>
                  </a:lnTo>
                  <a:lnTo>
                    <a:pt x="27" y="187"/>
                  </a:lnTo>
                  <a:lnTo>
                    <a:pt x="29" y="186"/>
                  </a:lnTo>
                  <a:lnTo>
                    <a:pt x="30" y="186"/>
                  </a:lnTo>
                  <a:lnTo>
                    <a:pt x="29" y="189"/>
                  </a:lnTo>
                  <a:lnTo>
                    <a:pt x="31" y="191"/>
                  </a:lnTo>
                  <a:lnTo>
                    <a:pt x="31" y="192"/>
                  </a:lnTo>
                  <a:lnTo>
                    <a:pt x="30" y="193"/>
                  </a:lnTo>
                  <a:lnTo>
                    <a:pt x="30" y="193"/>
                  </a:lnTo>
                  <a:close/>
                  <a:moveTo>
                    <a:pt x="19" y="119"/>
                  </a:moveTo>
                  <a:lnTo>
                    <a:pt x="19" y="118"/>
                  </a:lnTo>
                  <a:lnTo>
                    <a:pt x="19" y="117"/>
                  </a:lnTo>
                  <a:lnTo>
                    <a:pt x="19" y="116"/>
                  </a:lnTo>
                  <a:lnTo>
                    <a:pt x="19" y="112"/>
                  </a:lnTo>
                  <a:lnTo>
                    <a:pt x="20" y="109"/>
                  </a:lnTo>
                  <a:lnTo>
                    <a:pt x="20" y="109"/>
                  </a:lnTo>
                  <a:lnTo>
                    <a:pt x="20" y="119"/>
                  </a:lnTo>
                  <a:lnTo>
                    <a:pt x="19" y="119"/>
                  </a:lnTo>
                  <a:lnTo>
                    <a:pt x="19" y="119"/>
                  </a:lnTo>
                  <a:close/>
                  <a:moveTo>
                    <a:pt x="11" y="125"/>
                  </a:moveTo>
                  <a:lnTo>
                    <a:pt x="9" y="123"/>
                  </a:lnTo>
                  <a:lnTo>
                    <a:pt x="10" y="123"/>
                  </a:lnTo>
                  <a:lnTo>
                    <a:pt x="10" y="122"/>
                  </a:lnTo>
                  <a:lnTo>
                    <a:pt x="10" y="117"/>
                  </a:lnTo>
                  <a:lnTo>
                    <a:pt x="9" y="115"/>
                  </a:lnTo>
                  <a:lnTo>
                    <a:pt x="6" y="115"/>
                  </a:lnTo>
                  <a:lnTo>
                    <a:pt x="5" y="113"/>
                  </a:lnTo>
                  <a:lnTo>
                    <a:pt x="6" y="110"/>
                  </a:lnTo>
                  <a:lnTo>
                    <a:pt x="7" y="110"/>
                  </a:lnTo>
                  <a:lnTo>
                    <a:pt x="10" y="111"/>
                  </a:lnTo>
                  <a:lnTo>
                    <a:pt x="11" y="115"/>
                  </a:lnTo>
                  <a:lnTo>
                    <a:pt x="11" y="116"/>
                  </a:lnTo>
                  <a:lnTo>
                    <a:pt x="16" y="120"/>
                  </a:lnTo>
                  <a:lnTo>
                    <a:pt x="16" y="122"/>
                  </a:lnTo>
                  <a:lnTo>
                    <a:pt x="17" y="123"/>
                  </a:lnTo>
                  <a:lnTo>
                    <a:pt x="16" y="125"/>
                  </a:lnTo>
                  <a:lnTo>
                    <a:pt x="12" y="123"/>
                  </a:lnTo>
                  <a:lnTo>
                    <a:pt x="11" y="125"/>
                  </a:lnTo>
                  <a:lnTo>
                    <a:pt x="11" y="125"/>
                  </a:lnTo>
                  <a:close/>
                  <a:moveTo>
                    <a:pt x="17" y="108"/>
                  </a:moveTo>
                  <a:lnTo>
                    <a:pt x="15" y="108"/>
                  </a:lnTo>
                  <a:lnTo>
                    <a:pt x="13" y="106"/>
                  </a:lnTo>
                  <a:lnTo>
                    <a:pt x="15" y="105"/>
                  </a:lnTo>
                  <a:lnTo>
                    <a:pt x="18" y="104"/>
                  </a:lnTo>
                  <a:lnTo>
                    <a:pt x="19" y="104"/>
                  </a:lnTo>
                  <a:lnTo>
                    <a:pt x="20" y="104"/>
                  </a:lnTo>
                  <a:lnTo>
                    <a:pt x="17" y="108"/>
                  </a:lnTo>
                  <a:lnTo>
                    <a:pt x="17" y="108"/>
                  </a:lnTo>
                  <a:close/>
                  <a:moveTo>
                    <a:pt x="3" y="4"/>
                  </a:moveTo>
                  <a:lnTo>
                    <a:pt x="2" y="3"/>
                  </a:lnTo>
                  <a:lnTo>
                    <a:pt x="2" y="4"/>
                  </a:lnTo>
                  <a:lnTo>
                    <a:pt x="0" y="3"/>
                  </a:lnTo>
                  <a:lnTo>
                    <a:pt x="2" y="2"/>
                  </a:lnTo>
                  <a:lnTo>
                    <a:pt x="2" y="3"/>
                  </a:lnTo>
                  <a:lnTo>
                    <a:pt x="3" y="2"/>
                  </a:lnTo>
                  <a:lnTo>
                    <a:pt x="4" y="0"/>
                  </a:lnTo>
                  <a:lnTo>
                    <a:pt x="7" y="2"/>
                  </a:lnTo>
                  <a:lnTo>
                    <a:pt x="7" y="2"/>
                  </a:lnTo>
                  <a:lnTo>
                    <a:pt x="6" y="4"/>
                  </a:lnTo>
                  <a:lnTo>
                    <a:pt x="4" y="3"/>
                  </a:lnTo>
                  <a:lnTo>
                    <a:pt x="3" y="4"/>
                  </a:lnTo>
                  <a:lnTo>
                    <a:pt x="3" y="4"/>
                  </a:lnTo>
                  <a:close/>
                  <a:moveTo>
                    <a:pt x="3" y="108"/>
                  </a:moveTo>
                  <a:lnTo>
                    <a:pt x="2" y="108"/>
                  </a:lnTo>
                  <a:lnTo>
                    <a:pt x="0" y="102"/>
                  </a:lnTo>
                  <a:lnTo>
                    <a:pt x="0" y="100"/>
                  </a:lnTo>
                  <a:lnTo>
                    <a:pt x="0" y="90"/>
                  </a:lnTo>
                  <a:lnTo>
                    <a:pt x="2" y="86"/>
                  </a:lnTo>
                  <a:lnTo>
                    <a:pt x="3" y="86"/>
                  </a:lnTo>
                  <a:lnTo>
                    <a:pt x="3" y="89"/>
                  </a:lnTo>
                  <a:lnTo>
                    <a:pt x="4" y="90"/>
                  </a:lnTo>
                  <a:lnTo>
                    <a:pt x="4" y="93"/>
                  </a:lnTo>
                  <a:lnTo>
                    <a:pt x="4" y="97"/>
                  </a:lnTo>
                  <a:lnTo>
                    <a:pt x="6" y="97"/>
                  </a:lnTo>
                  <a:lnTo>
                    <a:pt x="7" y="93"/>
                  </a:lnTo>
                  <a:lnTo>
                    <a:pt x="9" y="93"/>
                  </a:lnTo>
                  <a:lnTo>
                    <a:pt x="10" y="93"/>
                  </a:lnTo>
                  <a:lnTo>
                    <a:pt x="9" y="93"/>
                  </a:lnTo>
                  <a:lnTo>
                    <a:pt x="10" y="98"/>
                  </a:lnTo>
                  <a:lnTo>
                    <a:pt x="10" y="97"/>
                  </a:lnTo>
                  <a:lnTo>
                    <a:pt x="11" y="106"/>
                  </a:lnTo>
                  <a:lnTo>
                    <a:pt x="7" y="108"/>
                  </a:lnTo>
                  <a:lnTo>
                    <a:pt x="4" y="106"/>
                  </a:lnTo>
                  <a:lnTo>
                    <a:pt x="3" y="108"/>
                  </a:lnTo>
                  <a:lnTo>
                    <a:pt x="3" y="108"/>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260" name="Uzbekistan">
              <a:extLst>
                <a:ext uri="{FF2B5EF4-FFF2-40B4-BE49-F238E27FC236}">
                  <a16:creationId xmlns:a16="http://schemas.microsoft.com/office/drawing/2014/main" id="{E32A71F6-CA9F-A246-B3EE-1681EF6146DB}"/>
                </a:ext>
              </a:extLst>
            </p:cNvPr>
            <p:cNvSpPr>
              <a:spLocks/>
            </p:cNvSpPr>
            <p:nvPr/>
          </p:nvSpPr>
          <p:spPr bwMode="auto">
            <a:xfrm>
              <a:off x="7686148" y="2616060"/>
              <a:ext cx="451964" cy="260972"/>
            </a:xfrm>
            <a:custGeom>
              <a:avLst/>
              <a:gdLst>
                <a:gd name="T0" fmla="*/ 234 w 310"/>
                <a:gd name="T1" fmla="*/ 174 h 179"/>
                <a:gd name="T2" fmla="*/ 243 w 310"/>
                <a:gd name="T3" fmla="*/ 178 h 179"/>
                <a:gd name="T4" fmla="*/ 239 w 310"/>
                <a:gd name="T5" fmla="*/ 143 h 179"/>
                <a:gd name="T6" fmla="*/ 230 w 310"/>
                <a:gd name="T7" fmla="*/ 132 h 179"/>
                <a:gd name="T8" fmla="*/ 243 w 310"/>
                <a:gd name="T9" fmla="*/ 123 h 179"/>
                <a:gd name="T10" fmla="*/ 250 w 310"/>
                <a:gd name="T11" fmla="*/ 108 h 179"/>
                <a:gd name="T12" fmla="*/ 263 w 310"/>
                <a:gd name="T13" fmla="*/ 96 h 179"/>
                <a:gd name="T14" fmla="*/ 268 w 310"/>
                <a:gd name="T15" fmla="*/ 108 h 179"/>
                <a:gd name="T16" fmla="*/ 299 w 310"/>
                <a:gd name="T17" fmla="*/ 107 h 179"/>
                <a:gd name="T18" fmla="*/ 310 w 310"/>
                <a:gd name="T19" fmla="*/ 99 h 179"/>
                <a:gd name="T20" fmla="*/ 286 w 310"/>
                <a:gd name="T21" fmla="*/ 83 h 179"/>
                <a:gd name="T22" fmla="*/ 265 w 310"/>
                <a:gd name="T23" fmla="*/ 85 h 179"/>
                <a:gd name="T24" fmla="*/ 271 w 310"/>
                <a:gd name="T25" fmla="*/ 72 h 179"/>
                <a:gd name="T26" fmla="*/ 253 w 310"/>
                <a:gd name="T27" fmla="*/ 75 h 179"/>
                <a:gd name="T28" fmla="*/ 238 w 310"/>
                <a:gd name="T29" fmla="*/ 92 h 179"/>
                <a:gd name="T30" fmla="*/ 230 w 310"/>
                <a:gd name="T31" fmla="*/ 103 h 179"/>
                <a:gd name="T32" fmla="*/ 217 w 310"/>
                <a:gd name="T33" fmla="*/ 91 h 179"/>
                <a:gd name="T34" fmla="*/ 193 w 310"/>
                <a:gd name="T35" fmla="*/ 75 h 179"/>
                <a:gd name="T36" fmla="*/ 173 w 310"/>
                <a:gd name="T37" fmla="*/ 48 h 179"/>
                <a:gd name="T38" fmla="*/ 154 w 310"/>
                <a:gd name="T39" fmla="*/ 40 h 179"/>
                <a:gd name="T40" fmla="*/ 94 w 310"/>
                <a:gd name="T41" fmla="*/ 36 h 179"/>
                <a:gd name="T42" fmla="*/ 80 w 310"/>
                <a:gd name="T43" fmla="*/ 33 h 179"/>
                <a:gd name="T44" fmla="*/ 72 w 310"/>
                <a:gd name="T45" fmla="*/ 38 h 179"/>
                <a:gd name="T46" fmla="*/ 63 w 310"/>
                <a:gd name="T47" fmla="*/ 40 h 179"/>
                <a:gd name="T48" fmla="*/ 60 w 310"/>
                <a:gd name="T49" fmla="*/ 35 h 179"/>
                <a:gd name="T50" fmla="*/ 57 w 310"/>
                <a:gd name="T51" fmla="*/ 32 h 179"/>
                <a:gd name="T52" fmla="*/ 46 w 310"/>
                <a:gd name="T53" fmla="*/ 31 h 179"/>
                <a:gd name="T54" fmla="*/ 44 w 310"/>
                <a:gd name="T55" fmla="*/ 26 h 179"/>
                <a:gd name="T56" fmla="*/ 41 w 310"/>
                <a:gd name="T57" fmla="*/ 21 h 179"/>
                <a:gd name="T58" fmla="*/ 41 w 310"/>
                <a:gd name="T59" fmla="*/ 14 h 179"/>
                <a:gd name="T60" fmla="*/ 43 w 310"/>
                <a:gd name="T61" fmla="*/ 6 h 179"/>
                <a:gd name="T62" fmla="*/ 47 w 310"/>
                <a:gd name="T63" fmla="*/ 6 h 179"/>
                <a:gd name="T64" fmla="*/ 49 w 310"/>
                <a:gd name="T65" fmla="*/ 16 h 179"/>
                <a:gd name="T66" fmla="*/ 52 w 310"/>
                <a:gd name="T67" fmla="*/ 25 h 179"/>
                <a:gd name="T68" fmla="*/ 59 w 310"/>
                <a:gd name="T69" fmla="*/ 25 h 179"/>
                <a:gd name="T70" fmla="*/ 60 w 310"/>
                <a:gd name="T71" fmla="*/ 19 h 179"/>
                <a:gd name="T72" fmla="*/ 58 w 310"/>
                <a:gd name="T73" fmla="*/ 11 h 179"/>
                <a:gd name="T74" fmla="*/ 50 w 310"/>
                <a:gd name="T75" fmla="*/ 2 h 179"/>
                <a:gd name="T76" fmla="*/ 23 w 310"/>
                <a:gd name="T77" fmla="*/ 87 h 179"/>
                <a:gd name="T78" fmla="*/ 34 w 310"/>
                <a:gd name="T79" fmla="*/ 76 h 179"/>
                <a:gd name="T80" fmla="*/ 54 w 310"/>
                <a:gd name="T81" fmla="*/ 67 h 179"/>
                <a:gd name="T82" fmla="*/ 71 w 310"/>
                <a:gd name="T83" fmla="*/ 65 h 179"/>
                <a:gd name="T84" fmla="*/ 89 w 310"/>
                <a:gd name="T85" fmla="*/ 86 h 179"/>
                <a:gd name="T86" fmla="*/ 119 w 310"/>
                <a:gd name="T87" fmla="*/ 91 h 179"/>
                <a:gd name="T88" fmla="*/ 144 w 310"/>
                <a:gd name="T89" fmla="*/ 120 h 179"/>
                <a:gd name="T90" fmla="*/ 198 w 310"/>
                <a:gd name="T91" fmla="*/ 148 h 179"/>
                <a:gd name="T92" fmla="*/ 221 w 310"/>
                <a:gd name="T93" fmla="*/ 156 h 179"/>
                <a:gd name="T94" fmla="*/ 219 w 310"/>
                <a:gd name="T95" fmla="*/ 174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310" h="179">
                  <a:moveTo>
                    <a:pt x="219" y="174"/>
                  </a:moveTo>
                  <a:lnTo>
                    <a:pt x="226" y="173"/>
                  </a:lnTo>
                  <a:lnTo>
                    <a:pt x="232" y="176"/>
                  </a:lnTo>
                  <a:lnTo>
                    <a:pt x="234" y="174"/>
                  </a:lnTo>
                  <a:lnTo>
                    <a:pt x="237" y="175"/>
                  </a:lnTo>
                  <a:lnTo>
                    <a:pt x="240" y="175"/>
                  </a:lnTo>
                  <a:lnTo>
                    <a:pt x="240" y="179"/>
                  </a:lnTo>
                  <a:lnTo>
                    <a:pt x="243" y="178"/>
                  </a:lnTo>
                  <a:lnTo>
                    <a:pt x="240" y="163"/>
                  </a:lnTo>
                  <a:lnTo>
                    <a:pt x="246" y="155"/>
                  </a:lnTo>
                  <a:lnTo>
                    <a:pt x="245" y="152"/>
                  </a:lnTo>
                  <a:lnTo>
                    <a:pt x="239" y="143"/>
                  </a:lnTo>
                  <a:lnTo>
                    <a:pt x="240" y="138"/>
                  </a:lnTo>
                  <a:lnTo>
                    <a:pt x="236" y="134"/>
                  </a:lnTo>
                  <a:lnTo>
                    <a:pt x="231" y="136"/>
                  </a:lnTo>
                  <a:lnTo>
                    <a:pt x="230" y="132"/>
                  </a:lnTo>
                  <a:lnTo>
                    <a:pt x="223" y="129"/>
                  </a:lnTo>
                  <a:lnTo>
                    <a:pt x="223" y="125"/>
                  </a:lnTo>
                  <a:lnTo>
                    <a:pt x="230" y="122"/>
                  </a:lnTo>
                  <a:lnTo>
                    <a:pt x="243" y="123"/>
                  </a:lnTo>
                  <a:lnTo>
                    <a:pt x="243" y="116"/>
                  </a:lnTo>
                  <a:lnTo>
                    <a:pt x="245" y="114"/>
                  </a:lnTo>
                  <a:lnTo>
                    <a:pt x="240" y="112"/>
                  </a:lnTo>
                  <a:lnTo>
                    <a:pt x="250" y="108"/>
                  </a:lnTo>
                  <a:lnTo>
                    <a:pt x="247" y="102"/>
                  </a:lnTo>
                  <a:lnTo>
                    <a:pt x="252" y="100"/>
                  </a:lnTo>
                  <a:lnTo>
                    <a:pt x="256" y="100"/>
                  </a:lnTo>
                  <a:lnTo>
                    <a:pt x="263" y="96"/>
                  </a:lnTo>
                  <a:lnTo>
                    <a:pt x="266" y="94"/>
                  </a:lnTo>
                  <a:lnTo>
                    <a:pt x="272" y="99"/>
                  </a:lnTo>
                  <a:lnTo>
                    <a:pt x="268" y="105"/>
                  </a:lnTo>
                  <a:lnTo>
                    <a:pt x="268" y="108"/>
                  </a:lnTo>
                  <a:lnTo>
                    <a:pt x="281" y="112"/>
                  </a:lnTo>
                  <a:lnTo>
                    <a:pt x="290" y="112"/>
                  </a:lnTo>
                  <a:lnTo>
                    <a:pt x="294" y="109"/>
                  </a:lnTo>
                  <a:lnTo>
                    <a:pt x="299" y="107"/>
                  </a:lnTo>
                  <a:lnTo>
                    <a:pt x="304" y="108"/>
                  </a:lnTo>
                  <a:lnTo>
                    <a:pt x="301" y="102"/>
                  </a:lnTo>
                  <a:lnTo>
                    <a:pt x="307" y="103"/>
                  </a:lnTo>
                  <a:lnTo>
                    <a:pt x="310" y="99"/>
                  </a:lnTo>
                  <a:lnTo>
                    <a:pt x="296" y="95"/>
                  </a:lnTo>
                  <a:lnTo>
                    <a:pt x="292" y="92"/>
                  </a:lnTo>
                  <a:lnTo>
                    <a:pt x="288" y="92"/>
                  </a:lnTo>
                  <a:lnTo>
                    <a:pt x="286" y="83"/>
                  </a:lnTo>
                  <a:lnTo>
                    <a:pt x="281" y="86"/>
                  </a:lnTo>
                  <a:lnTo>
                    <a:pt x="280" y="92"/>
                  </a:lnTo>
                  <a:lnTo>
                    <a:pt x="271" y="89"/>
                  </a:lnTo>
                  <a:lnTo>
                    <a:pt x="265" y="85"/>
                  </a:lnTo>
                  <a:lnTo>
                    <a:pt x="263" y="85"/>
                  </a:lnTo>
                  <a:lnTo>
                    <a:pt x="258" y="81"/>
                  </a:lnTo>
                  <a:lnTo>
                    <a:pt x="266" y="74"/>
                  </a:lnTo>
                  <a:lnTo>
                    <a:pt x="271" y="72"/>
                  </a:lnTo>
                  <a:lnTo>
                    <a:pt x="266" y="68"/>
                  </a:lnTo>
                  <a:lnTo>
                    <a:pt x="263" y="68"/>
                  </a:lnTo>
                  <a:lnTo>
                    <a:pt x="264" y="65"/>
                  </a:lnTo>
                  <a:lnTo>
                    <a:pt x="253" y="75"/>
                  </a:lnTo>
                  <a:lnTo>
                    <a:pt x="254" y="78"/>
                  </a:lnTo>
                  <a:lnTo>
                    <a:pt x="240" y="85"/>
                  </a:lnTo>
                  <a:lnTo>
                    <a:pt x="241" y="88"/>
                  </a:lnTo>
                  <a:lnTo>
                    <a:pt x="238" y="92"/>
                  </a:lnTo>
                  <a:lnTo>
                    <a:pt x="237" y="94"/>
                  </a:lnTo>
                  <a:lnTo>
                    <a:pt x="233" y="96"/>
                  </a:lnTo>
                  <a:lnTo>
                    <a:pt x="233" y="101"/>
                  </a:lnTo>
                  <a:lnTo>
                    <a:pt x="230" y="103"/>
                  </a:lnTo>
                  <a:lnTo>
                    <a:pt x="225" y="100"/>
                  </a:lnTo>
                  <a:lnTo>
                    <a:pt x="224" y="95"/>
                  </a:lnTo>
                  <a:lnTo>
                    <a:pt x="221" y="88"/>
                  </a:lnTo>
                  <a:lnTo>
                    <a:pt x="217" y="91"/>
                  </a:lnTo>
                  <a:lnTo>
                    <a:pt x="201" y="93"/>
                  </a:lnTo>
                  <a:lnTo>
                    <a:pt x="197" y="91"/>
                  </a:lnTo>
                  <a:lnTo>
                    <a:pt x="196" y="81"/>
                  </a:lnTo>
                  <a:lnTo>
                    <a:pt x="193" y="75"/>
                  </a:lnTo>
                  <a:lnTo>
                    <a:pt x="181" y="73"/>
                  </a:lnTo>
                  <a:lnTo>
                    <a:pt x="180" y="55"/>
                  </a:lnTo>
                  <a:lnTo>
                    <a:pt x="177" y="55"/>
                  </a:lnTo>
                  <a:lnTo>
                    <a:pt x="173" y="48"/>
                  </a:lnTo>
                  <a:lnTo>
                    <a:pt x="167" y="45"/>
                  </a:lnTo>
                  <a:lnTo>
                    <a:pt x="164" y="45"/>
                  </a:lnTo>
                  <a:lnTo>
                    <a:pt x="159" y="39"/>
                  </a:lnTo>
                  <a:lnTo>
                    <a:pt x="154" y="40"/>
                  </a:lnTo>
                  <a:lnTo>
                    <a:pt x="143" y="43"/>
                  </a:lnTo>
                  <a:lnTo>
                    <a:pt x="123" y="42"/>
                  </a:lnTo>
                  <a:lnTo>
                    <a:pt x="109" y="43"/>
                  </a:lnTo>
                  <a:lnTo>
                    <a:pt x="94" y="36"/>
                  </a:lnTo>
                  <a:lnTo>
                    <a:pt x="93" y="33"/>
                  </a:lnTo>
                  <a:lnTo>
                    <a:pt x="86" y="28"/>
                  </a:lnTo>
                  <a:lnTo>
                    <a:pt x="84" y="31"/>
                  </a:lnTo>
                  <a:lnTo>
                    <a:pt x="80" y="33"/>
                  </a:lnTo>
                  <a:lnTo>
                    <a:pt x="79" y="35"/>
                  </a:lnTo>
                  <a:lnTo>
                    <a:pt x="77" y="36"/>
                  </a:lnTo>
                  <a:lnTo>
                    <a:pt x="74" y="36"/>
                  </a:lnTo>
                  <a:lnTo>
                    <a:pt x="72" y="38"/>
                  </a:lnTo>
                  <a:lnTo>
                    <a:pt x="69" y="36"/>
                  </a:lnTo>
                  <a:lnTo>
                    <a:pt x="67" y="36"/>
                  </a:lnTo>
                  <a:lnTo>
                    <a:pt x="65" y="38"/>
                  </a:lnTo>
                  <a:lnTo>
                    <a:pt x="63" y="40"/>
                  </a:lnTo>
                  <a:lnTo>
                    <a:pt x="63" y="39"/>
                  </a:lnTo>
                  <a:lnTo>
                    <a:pt x="61" y="39"/>
                  </a:lnTo>
                  <a:lnTo>
                    <a:pt x="60" y="36"/>
                  </a:lnTo>
                  <a:lnTo>
                    <a:pt x="60" y="35"/>
                  </a:lnTo>
                  <a:lnTo>
                    <a:pt x="60" y="34"/>
                  </a:lnTo>
                  <a:lnTo>
                    <a:pt x="60" y="34"/>
                  </a:lnTo>
                  <a:lnTo>
                    <a:pt x="57" y="33"/>
                  </a:lnTo>
                  <a:lnTo>
                    <a:pt x="57" y="32"/>
                  </a:lnTo>
                  <a:lnTo>
                    <a:pt x="53" y="32"/>
                  </a:lnTo>
                  <a:lnTo>
                    <a:pt x="51" y="32"/>
                  </a:lnTo>
                  <a:lnTo>
                    <a:pt x="46" y="31"/>
                  </a:lnTo>
                  <a:lnTo>
                    <a:pt x="46" y="31"/>
                  </a:lnTo>
                  <a:lnTo>
                    <a:pt x="47" y="31"/>
                  </a:lnTo>
                  <a:lnTo>
                    <a:pt x="45" y="31"/>
                  </a:lnTo>
                  <a:lnTo>
                    <a:pt x="44" y="27"/>
                  </a:lnTo>
                  <a:lnTo>
                    <a:pt x="44" y="26"/>
                  </a:lnTo>
                  <a:lnTo>
                    <a:pt x="43" y="23"/>
                  </a:lnTo>
                  <a:lnTo>
                    <a:pt x="43" y="23"/>
                  </a:lnTo>
                  <a:lnTo>
                    <a:pt x="43" y="22"/>
                  </a:lnTo>
                  <a:lnTo>
                    <a:pt x="41" y="21"/>
                  </a:lnTo>
                  <a:lnTo>
                    <a:pt x="41" y="20"/>
                  </a:lnTo>
                  <a:lnTo>
                    <a:pt x="41" y="18"/>
                  </a:lnTo>
                  <a:lnTo>
                    <a:pt x="41" y="15"/>
                  </a:lnTo>
                  <a:lnTo>
                    <a:pt x="41" y="14"/>
                  </a:lnTo>
                  <a:lnTo>
                    <a:pt x="41" y="11"/>
                  </a:lnTo>
                  <a:lnTo>
                    <a:pt x="41" y="8"/>
                  </a:lnTo>
                  <a:lnTo>
                    <a:pt x="43" y="7"/>
                  </a:lnTo>
                  <a:lnTo>
                    <a:pt x="43" y="6"/>
                  </a:lnTo>
                  <a:lnTo>
                    <a:pt x="44" y="5"/>
                  </a:lnTo>
                  <a:lnTo>
                    <a:pt x="45" y="3"/>
                  </a:lnTo>
                  <a:lnTo>
                    <a:pt x="47" y="5"/>
                  </a:lnTo>
                  <a:lnTo>
                    <a:pt x="47" y="6"/>
                  </a:lnTo>
                  <a:lnTo>
                    <a:pt x="49" y="8"/>
                  </a:lnTo>
                  <a:lnTo>
                    <a:pt x="49" y="12"/>
                  </a:lnTo>
                  <a:lnTo>
                    <a:pt x="49" y="15"/>
                  </a:lnTo>
                  <a:lnTo>
                    <a:pt x="49" y="16"/>
                  </a:lnTo>
                  <a:lnTo>
                    <a:pt x="49" y="19"/>
                  </a:lnTo>
                  <a:lnTo>
                    <a:pt x="50" y="21"/>
                  </a:lnTo>
                  <a:lnTo>
                    <a:pt x="51" y="22"/>
                  </a:lnTo>
                  <a:lnTo>
                    <a:pt x="52" y="25"/>
                  </a:lnTo>
                  <a:lnTo>
                    <a:pt x="53" y="27"/>
                  </a:lnTo>
                  <a:lnTo>
                    <a:pt x="56" y="27"/>
                  </a:lnTo>
                  <a:lnTo>
                    <a:pt x="59" y="27"/>
                  </a:lnTo>
                  <a:lnTo>
                    <a:pt x="59" y="25"/>
                  </a:lnTo>
                  <a:lnTo>
                    <a:pt x="59" y="22"/>
                  </a:lnTo>
                  <a:lnTo>
                    <a:pt x="59" y="22"/>
                  </a:lnTo>
                  <a:lnTo>
                    <a:pt x="60" y="20"/>
                  </a:lnTo>
                  <a:lnTo>
                    <a:pt x="60" y="19"/>
                  </a:lnTo>
                  <a:lnTo>
                    <a:pt x="60" y="16"/>
                  </a:lnTo>
                  <a:lnTo>
                    <a:pt x="61" y="14"/>
                  </a:lnTo>
                  <a:lnTo>
                    <a:pt x="60" y="12"/>
                  </a:lnTo>
                  <a:lnTo>
                    <a:pt x="58" y="11"/>
                  </a:lnTo>
                  <a:lnTo>
                    <a:pt x="59" y="11"/>
                  </a:lnTo>
                  <a:lnTo>
                    <a:pt x="57" y="7"/>
                  </a:lnTo>
                  <a:lnTo>
                    <a:pt x="54" y="6"/>
                  </a:lnTo>
                  <a:lnTo>
                    <a:pt x="50" y="2"/>
                  </a:lnTo>
                  <a:lnTo>
                    <a:pt x="40" y="0"/>
                  </a:lnTo>
                  <a:lnTo>
                    <a:pt x="37" y="0"/>
                  </a:lnTo>
                  <a:lnTo>
                    <a:pt x="0" y="13"/>
                  </a:lnTo>
                  <a:lnTo>
                    <a:pt x="23" y="87"/>
                  </a:lnTo>
                  <a:lnTo>
                    <a:pt x="33" y="87"/>
                  </a:lnTo>
                  <a:lnTo>
                    <a:pt x="38" y="88"/>
                  </a:lnTo>
                  <a:lnTo>
                    <a:pt x="36" y="81"/>
                  </a:lnTo>
                  <a:lnTo>
                    <a:pt x="34" y="76"/>
                  </a:lnTo>
                  <a:lnTo>
                    <a:pt x="37" y="74"/>
                  </a:lnTo>
                  <a:lnTo>
                    <a:pt x="44" y="73"/>
                  </a:lnTo>
                  <a:lnTo>
                    <a:pt x="50" y="69"/>
                  </a:lnTo>
                  <a:lnTo>
                    <a:pt x="54" y="67"/>
                  </a:lnTo>
                  <a:lnTo>
                    <a:pt x="53" y="60"/>
                  </a:lnTo>
                  <a:lnTo>
                    <a:pt x="59" y="60"/>
                  </a:lnTo>
                  <a:lnTo>
                    <a:pt x="67" y="60"/>
                  </a:lnTo>
                  <a:lnTo>
                    <a:pt x="71" y="65"/>
                  </a:lnTo>
                  <a:lnTo>
                    <a:pt x="81" y="65"/>
                  </a:lnTo>
                  <a:lnTo>
                    <a:pt x="89" y="78"/>
                  </a:lnTo>
                  <a:lnTo>
                    <a:pt x="89" y="82"/>
                  </a:lnTo>
                  <a:lnTo>
                    <a:pt x="89" y="86"/>
                  </a:lnTo>
                  <a:lnTo>
                    <a:pt x="106" y="91"/>
                  </a:lnTo>
                  <a:lnTo>
                    <a:pt x="112" y="91"/>
                  </a:lnTo>
                  <a:lnTo>
                    <a:pt x="114" y="91"/>
                  </a:lnTo>
                  <a:lnTo>
                    <a:pt x="119" y="91"/>
                  </a:lnTo>
                  <a:lnTo>
                    <a:pt x="126" y="103"/>
                  </a:lnTo>
                  <a:lnTo>
                    <a:pt x="133" y="109"/>
                  </a:lnTo>
                  <a:lnTo>
                    <a:pt x="134" y="112"/>
                  </a:lnTo>
                  <a:lnTo>
                    <a:pt x="144" y="120"/>
                  </a:lnTo>
                  <a:lnTo>
                    <a:pt x="159" y="126"/>
                  </a:lnTo>
                  <a:lnTo>
                    <a:pt x="170" y="136"/>
                  </a:lnTo>
                  <a:lnTo>
                    <a:pt x="174" y="136"/>
                  </a:lnTo>
                  <a:lnTo>
                    <a:pt x="198" y="148"/>
                  </a:lnTo>
                  <a:lnTo>
                    <a:pt x="200" y="152"/>
                  </a:lnTo>
                  <a:lnTo>
                    <a:pt x="205" y="152"/>
                  </a:lnTo>
                  <a:lnTo>
                    <a:pt x="218" y="154"/>
                  </a:lnTo>
                  <a:lnTo>
                    <a:pt x="221" y="156"/>
                  </a:lnTo>
                  <a:lnTo>
                    <a:pt x="219" y="159"/>
                  </a:lnTo>
                  <a:lnTo>
                    <a:pt x="217" y="162"/>
                  </a:lnTo>
                  <a:lnTo>
                    <a:pt x="219" y="168"/>
                  </a:lnTo>
                  <a:lnTo>
                    <a:pt x="219" y="174"/>
                  </a:lnTo>
                  <a:lnTo>
                    <a:pt x="219" y="174"/>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261" name="Uruguay">
              <a:extLst>
                <a:ext uri="{FF2B5EF4-FFF2-40B4-BE49-F238E27FC236}">
                  <a16:creationId xmlns:a16="http://schemas.microsoft.com/office/drawing/2014/main" id="{CE5DFBF2-6A9A-8748-A704-86F700488C85}"/>
                </a:ext>
              </a:extLst>
            </p:cNvPr>
            <p:cNvSpPr>
              <a:spLocks/>
            </p:cNvSpPr>
            <p:nvPr/>
          </p:nvSpPr>
          <p:spPr bwMode="auto">
            <a:xfrm>
              <a:off x="4895634" y="4889001"/>
              <a:ext cx="131215" cy="145795"/>
            </a:xfrm>
            <a:custGeom>
              <a:avLst/>
              <a:gdLst>
                <a:gd name="T0" fmla="*/ 87 w 90"/>
                <a:gd name="T1" fmla="*/ 73 h 100"/>
                <a:gd name="T2" fmla="*/ 90 w 90"/>
                <a:gd name="T3" fmla="*/ 54 h 100"/>
                <a:gd name="T4" fmla="*/ 80 w 90"/>
                <a:gd name="T5" fmla="*/ 45 h 100"/>
                <a:gd name="T6" fmla="*/ 71 w 90"/>
                <a:gd name="T7" fmla="*/ 37 h 100"/>
                <a:gd name="T8" fmla="*/ 56 w 90"/>
                <a:gd name="T9" fmla="*/ 27 h 100"/>
                <a:gd name="T10" fmla="*/ 45 w 90"/>
                <a:gd name="T11" fmla="*/ 18 h 100"/>
                <a:gd name="T12" fmla="*/ 35 w 90"/>
                <a:gd name="T13" fmla="*/ 20 h 100"/>
                <a:gd name="T14" fmla="*/ 22 w 90"/>
                <a:gd name="T15" fmla="*/ 4 h 100"/>
                <a:gd name="T16" fmla="*/ 9 w 90"/>
                <a:gd name="T17" fmla="*/ 4 h 100"/>
                <a:gd name="T18" fmla="*/ 4 w 90"/>
                <a:gd name="T19" fmla="*/ 3 h 100"/>
                <a:gd name="T20" fmla="*/ 1 w 90"/>
                <a:gd name="T21" fmla="*/ 11 h 100"/>
                <a:gd name="T22" fmla="*/ 1 w 90"/>
                <a:gd name="T23" fmla="*/ 17 h 100"/>
                <a:gd name="T24" fmla="*/ 1 w 90"/>
                <a:gd name="T25" fmla="*/ 25 h 100"/>
                <a:gd name="T26" fmla="*/ 2 w 90"/>
                <a:gd name="T27" fmla="*/ 34 h 100"/>
                <a:gd name="T28" fmla="*/ 1 w 90"/>
                <a:gd name="T29" fmla="*/ 41 h 100"/>
                <a:gd name="T30" fmla="*/ 3 w 90"/>
                <a:gd name="T31" fmla="*/ 51 h 100"/>
                <a:gd name="T32" fmla="*/ 5 w 90"/>
                <a:gd name="T33" fmla="*/ 58 h 100"/>
                <a:gd name="T34" fmla="*/ 3 w 90"/>
                <a:gd name="T35" fmla="*/ 63 h 100"/>
                <a:gd name="T36" fmla="*/ 2 w 90"/>
                <a:gd name="T37" fmla="*/ 65 h 100"/>
                <a:gd name="T38" fmla="*/ 2 w 90"/>
                <a:gd name="T39" fmla="*/ 67 h 100"/>
                <a:gd name="T40" fmla="*/ 2 w 90"/>
                <a:gd name="T41" fmla="*/ 72 h 100"/>
                <a:gd name="T42" fmla="*/ 4 w 90"/>
                <a:gd name="T43" fmla="*/ 79 h 100"/>
                <a:gd name="T44" fmla="*/ 8 w 90"/>
                <a:gd name="T45" fmla="*/ 84 h 100"/>
                <a:gd name="T46" fmla="*/ 11 w 90"/>
                <a:gd name="T47" fmla="*/ 85 h 100"/>
                <a:gd name="T48" fmla="*/ 20 w 90"/>
                <a:gd name="T49" fmla="*/ 91 h 100"/>
                <a:gd name="T50" fmla="*/ 23 w 90"/>
                <a:gd name="T51" fmla="*/ 90 h 100"/>
                <a:gd name="T52" fmla="*/ 28 w 90"/>
                <a:gd name="T53" fmla="*/ 90 h 100"/>
                <a:gd name="T54" fmla="*/ 32 w 90"/>
                <a:gd name="T55" fmla="*/ 93 h 100"/>
                <a:gd name="T56" fmla="*/ 37 w 90"/>
                <a:gd name="T57" fmla="*/ 96 h 100"/>
                <a:gd name="T58" fmla="*/ 42 w 90"/>
                <a:gd name="T59" fmla="*/ 97 h 100"/>
                <a:gd name="T60" fmla="*/ 44 w 90"/>
                <a:gd name="T61" fmla="*/ 99 h 100"/>
                <a:gd name="T62" fmla="*/ 45 w 90"/>
                <a:gd name="T63" fmla="*/ 99 h 100"/>
                <a:gd name="T64" fmla="*/ 48 w 90"/>
                <a:gd name="T65" fmla="*/ 98 h 100"/>
                <a:gd name="T66" fmla="*/ 54 w 90"/>
                <a:gd name="T67" fmla="*/ 99 h 100"/>
                <a:gd name="T68" fmla="*/ 56 w 90"/>
                <a:gd name="T69" fmla="*/ 97 h 100"/>
                <a:gd name="T70" fmla="*/ 61 w 90"/>
                <a:gd name="T71" fmla="*/ 98 h 100"/>
                <a:gd name="T72" fmla="*/ 63 w 90"/>
                <a:gd name="T73" fmla="*/ 100 h 100"/>
                <a:gd name="T74" fmla="*/ 69 w 90"/>
                <a:gd name="T75" fmla="*/ 100 h 100"/>
                <a:gd name="T76" fmla="*/ 74 w 90"/>
                <a:gd name="T77" fmla="*/ 99 h 100"/>
                <a:gd name="T78" fmla="*/ 82 w 90"/>
                <a:gd name="T79" fmla="*/ 96 h 100"/>
                <a:gd name="T80" fmla="*/ 83 w 90"/>
                <a:gd name="T81" fmla="*/ 92 h 100"/>
                <a:gd name="T82" fmla="*/ 87 w 90"/>
                <a:gd name="T83" fmla="*/ 90 h 100"/>
                <a:gd name="T84" fmla="*/ 89 w 90"/>
                <a:gd name="T85" fmla="*/ 86 h 100"/>
                <a:gd name="T86" fmla="*/ 88 w 90"/>
                <a:gd name="T87" fmla="*/ 79 h 100"/>
                <a:gd name="T88" fmla="*/ 89 w 90"/>
                <a:gd name="T89" fmla="*/ 76 h 100"/>
                <a:gd name="T90" fmla="*/ 89 w 90"/>
                <a:gd name="T91" fmla="*/ 74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90" h="100">
                  <a:moveTo>
                    <a:pt x="89" y="74"/>
                  </a:moveTo>
                  <a:lnTo>
                    <a:pt x="89" y="74"/>
                  </a:lnTo>
                  <a:lnTo>
                    <a:pt x="87" y="73"/>
                  </a:lnTo>
                  <a:lnTo>
                    <a:pt x="85" y="64"/>
                  </a:lnTo>
                  <a:lnTo>
                    <a:pt x="88" y="59"/>
                  </a:lnTo>
                  <a:lnTo>
                    <a:pt x="90" y="54"/>
                  </a:lnTo>
                  <a:lnTo>
                    <a:pt x="85" y="51"/>
                  </a:lnTo>
                  <a:lnTo>
                    <a:pt x="81" y="46"/>
                  </a:lnTo>
                  <a:lnTo>
                    <a:pt x="80" y="45"/>
                  </a:lnTo>
                  <a:lnTo>
                    <a:pt x="77" y="39"/>
                  </a:lnTo>
                  <a:lnTo>
                    <a:pt x="74" y="38"/>
                  </a:lnTo>
                  <a:lnTo>
                    <a:pt x="71" y="37"/>
                  </a:lnTo>
                  <a:lnTo>
                    <a:pt x="70" y="38"/>
                  </a:lnTo>
                  <a:lnTo>
                    <a:pt x="63" y="30"/>
                  </a:lnTo>
                  <a:lnTo>
                    <a:pt x="56" y="27"/>
                  </a:lnTo>
                  <a:lnTo>
                    <a:pt x="52" y="25"/>
                  </a:lnTo>
                  <a:lnTo>
                    <a:pt x="50" y="24"/>
                  </a:lnTo>
                  <a:lnTo>
                    <a:pt x="45" y="18"/>
                  </a:lnTo>
                  <a:lnTo>
                    <a:pt x="41" y="16"/>
                  </a:lnTo>
                  <a:lnTo>
                    <a:pt x="40" y="18"/>
                  </a:lnTo>
                  <a:lnTo>
                    <a:pt x="35" y="20"/>
                  </a:lnTo>
                  <a:lnTo>
                    <a:pt x="31" y="12"/>
                  </a:lnTo>
                  <a:lnTo>
                    <a:pt x="29" y="10"/>
                  </a:lnTo>
                  <a:lnTo>
                    <a:pt x="22" y="4"/>
                  </a:lnTo>
                  <a:lnTo>
                    <a:pt x="22" y="3"/>
                  </a:lnTo>
                  <a:lnTo>
                    <a:pt x="12" y="0"/>
                  </a:lnTo>
                  <a:lnTo>
                    <a:pt x="9" y="4"/>
                  </a:lnTo>
                  <a:lnTo>
                    <a:pt x="8" y="4"/>
                  </a:lnTo>
                  <a:lnTo>
                    <a:pt x="5" y="3"/>
                  </a:lnTo>
                  <a:lnTo>
                    <a:pt x="4" y="3"/>
                  </a:lnTo>
                  <a:lnTo>
                    <a:pt x="4" y="4"/>
                  </a:lnTo>
                  <a:lnTo>
                    <a:pt x="1" y="9"/>
                  </a:lnTo>
                  <a:lnTo>
                    <a:pt x="1" y="11"/>
                  </a:lnTo>
                  <a:lnTo>
                    <a:pt x="2" y="12"/>
                  </a:lnTo>
                  <a:lnTo>
                    <a:pt x="3" y="17"/>
                  </a:lnTo>
                  <a:lnTo>
                    <a:pt x="1" y="17"/>
                  </a:lnTo>
                  <a:lnTo>
                    <a:pt x="3" y="20"/>
                  </a:lnTo>
                  <a:lnTo>
                    <a:pt x="3" y="24"/>
                  </a:lnTo>
                  <a:lnTo>
                    <a:pt x="1" y="25"/>
                  </a:lnTo>
                  <a:lnTo>
                    <a:pt x="1" y="29"/>
                  </a:lnTo>
                  <a:lnTo>
                    <a:pt x="2" y="30"/>
                  </a:lnTo>
                  <a:lnTo>
                    <a:pt x="2" y="34"/>
                  </a:lnTo>
                  <a:lnTo>
                    <a:pt x="0" y="36"/>
                  </a:lnTo>
                  <a:lnTo>
                    <a:pt x="1" y="38"/>
                  </a:lnTo>
                  <a:lnTo>
                    <a:pt x="1" y="41"/>
                  </a:lnTo>
                  <a:lnTo>
                    <a:pt x="2" y="44"/>
                  </a:lnTo>
                  <a:lnTo>
                    <a:pt x="2" y="49"/>
                  </a:lnTo>
                  <a:lnTo>
                    <a:pt x="3" y="51"/>
                  </a:lnTo>
                  <a:lnTo>
                    <a:pt x="4" y="56"/>
                  </a:lnTo>
                  <a:lnTo>
                    <a:pt x="5" y="57"/>
                  </a:lnTo>
                  <a:lnTo>
                    <a:pt x="5" y="58"/>
                  </a:lnTo>
                  <a:lnTo>
                    <a:pt x="5" y="60"/>
                  </a:lnTo>
                  <a:lnTo>
                    <a:pt x="4" y="61"/>
                  </a:lnTo>
                  <a:lnTo>
                    <a:pt x="3" y="63"/>
                  </a:lnTo>
                  <a:lnTo>
                    <a:pt x="2" y="63"/>
                  </a:lnTo>
                  <a:lnTo>
                    <a:pt x="1" y="63"/>
                  </a:lnTo>
                  <a:lnTo>
                    <a:pt x="2" y="65"/>
                  </a:lnTo>
                  <a:lnTo>
                    <a:pt x="2" y="66"/>
                  </a:lnTo>
                  <a:lnTo>
                    <a:pt x="2" y="67"/>
                  </a:lnTo>
                  <a:lnTo>
                    <a:pt x="2" y="67"/>
                  </a:lnTo>
                  <a:lnTo>
                    <a:pt x="2" y="69"/>
                  </a:lnTo>
                  <a:lnTo>
                    <a:pt x="2" y="71"/>
                  </a:lnTo>
                  <a:lnTo>
                    <a:pt x="2" y="72"/>
                  </a:lnTo>
                  <a:lnTo>
                    <a:pt x="2" y="73"/>
                  </a:lnTo>
                  <a:lnTo>
                    <a:pt x="3" y="77"/>
                  </a:lnTo>
                  <a:lnTo>
                    <a:pt x="4" y="79"/>
                  </a:lnTo>
                  <a:lnTo>
                    <a:pt x="5" y="80"/>
                  </a:lnTo>
                  <a:lnTo>
                    <a:pt x="8" y="83"/>
                  </a:lnTo>
                  <a:lnTo>
                    <a:pt x="8" y="84"/>
                  </a:lnTo>
                  <a:lnTo>
                    <a:pt x="10" y="84"/>
                  </a:lnTo>
                  <a:lnTo>
                    <a:pt x="11" y="85"/>
                  </a:lnTo>
                  <a:lnTo>
                    <a:pt x="11" y="85"/>
                  </a:lnTo>
                  <a:lnTo>
                    <a:pt x="14" y="87"/>
                  </a:lnTo>
                  <a:lnTo>
                    <a:pt x="16" y="91"/>
                  </a:lnTo>
                  <a:lnTo>
                    <a:pt x="20" y="91"/>
                  </a:lnTo>
                  <a:lnTo>
                    <a:pt x="21" y="91"/>
                  </a:lnTo>
                  <a:lnTo>
                    <a:pt x="22" y="90"/>
                  </a:lnTo>
                  <a:lnTo>
                    <a:pt x="23" y="90"/>
                  </a:lnTo>
                  <a:lnTo>
                    <a:pt x="24" y="91"/>
                  </a:lnTo>
                  <a:lnTo>
                    <a:pt x="27" y="90"/>
                  </a:lnTo>
                  <a:lnTo>
                    <a:pt x="28" y="90"/>
                  </a:lnTo>
                  <a:lnTo>
                    <a:pt x="29" y="91"/>
                  </a:lnTo>
                  <a:lnTo>
                    <a:pt x="29" y="92"/>
                  </a:lnTo>
                  <a:lnTo>
                    <a:pt x="32" y="93"/>
                  </a:lnTo>
                  <a:lnTo>
                    <a:pt x="32" y="93"/>
                  </a:lnTo>
                  <a:lnTo>
                    <a:pt x="35" y="94"/>
                  </a:lnTo>
                  <a:lnTo>
                    <a:pt x="37" y="96"/>
                  </a:lnTo>
                  <a:lnTo>
                    <a:pt x="38" y="96"/>
                  </a:lnTo>
                  <a:lnTo>
                    <a:pt x="41" y="96"/>
                  </a:lnTo>
                  <a:lnTo>
                    <a:pt x="42" y="97"/>
                  </a:lnTo>
                  <a:lnTo>
                    <a:pt x="41" y="98"/>
                  </a:lnTo>
                  <a:lnTo>
                    <a:pt x="43" y="99"/>
                  </a:lnTo>
                  <a:lnTo>
                    <a:pt x="44" y="99"/>
                  </a:lnTo>
                  <a:lnTo>
                    <a:pt x="45" y="98"/>
                  </a:lnTo>
                  <a:lnTo>
                    <a:pt x="45" y="98"/>
                  </a:lnTo>
                  <a:lnTo>
                    <a:pt x="45" y="99"/>
                  </a:lnTo>
                  <a:lnTo>
                    <a:pt x="45" y="99"/>
                  </a:lnTo>
                  <a:lnTo>
                    <a:pt x="47" y="99"/>
                  </a:lnTo>
                  <a:lnTo>
                    <a:pt x="48" y="98"/>
                  </a:lnTo>
                  <a:lnTo>
                    <a:pt x="48" y="100"/>
                  </a:lnTo>
                  <a:lnTo>
                    <a:pt x="51" y="99"/>
                  </a:lnTo>
                  <a:lnTo>
                    <a:pt x="54" y="99"/>
                  </a:lnTo>
                  <a:lnTo>
                    <a:pt x="55" y="99"/>
                  </a:lnTo>
                  <a:lnTo>
                    <a:pt x="55" y="97"/>
                  </a:lnTo>
                  <a:lnTo>
                    <a:pt x="56" y="97"/>
                  </a:lnTo>
                  <a:lnTo>
                    <a:pt x="58" y="98"/>
                  </a:lnTo>
                  <a:lnTo>
                    <a:pt x="60" y="97"/>
                  </a:lnTo>
                  <a:lnTo>
                    <a:pt x="61" y="98"/>
                  </a:lnTo>
                  <a:lnTo>
                    <a:pt x="61" y="98"/>
                  </a:lnTo>
                  <a:lnTo>
                    <a:pt x="62" y="98"/>
                  </a:lnTo>
                  <a:lnTo>
                    <a:pt x="63" y="100"/>
                  </a:lnTo>
                  <a:lnTo>
                    <a:pt x="64" y="100"/>
                  </a:lnTo>
                  <a:lnTo>
                    <a:pt x="67" y="100"/>
                  </a:lnTo>
                  <a:lnTo>
                    <a:pt x="69" y="100"/>
                  </a:lnTo>
                  <a:lnTo>
                    <a:pt x="70" y="99"/>
                  </a:lnTo>
                  <a:lnTo>
                    <a:pt x="71" y="100"/>
                  </a:lnTo>
                  <a:lnTo>
                    <a:pt x="74" y="99"/>
                  </a:lnTo>
                  <a:lnTo>
                    <a:pt x="76" y="98"/>
                  </a:lnTo>
                  <a:lnTo>
                    <a:pt x="78" y="97"/>
                  </a:lnTo>
                  <a:lnTo>
                    <a:pt x="82" y="96"/>
                  </a:lnTo>
                  <a:lnTo>
                    <a:pt x="82" y="96"/>
                  </a:lnTo>
                  <a:lnTo>
                    <a:pt x="82" y="94"/>
                  </a:lnTo>
                  <a:lnTo>
                    <a:pt x="83" y="92"/>
                  </a:lnTo>
                  <a:lnTo>
                    <a:pt x="85" y="92"/>
                  </a:lnTo>
                  <a:lnTo>
                    <a:pt x="88" y="91"/>
                  </a:lnTo>
                  <a:lnTo>
                    <a:pt x="87" y="90"/>
                  </a:lnTo>
                  <a:lnTo>
                    <a:pt x="87" y="89"/>
                  </a:lnTo>
                  <a:lnTo>
                    <a:pt x="88" y="87"/>
                  </a:lnTo>
                  <a:lnTo>
                    <a:pt x="89" y="86"/>
                  </a:lnTo>
                  <a:lnTo>
                    <a:pt x="89" y="84"/>
                  </a:lnTo>
                  <a:lnTo>
                    <a:pt x="90" y="81"/>
                  </a:lnTo>
                  <a:lnTo>
                    <a:pt x="88" y="79"/>
                  </a:lnTo>
                  <a:lnTo>
                    <a:pt x="88" y="78"/>
                  </a:lnTo>
                  <a:lnTo>
                    <a:pt x="89" y="77"/>
                  </a:lnTo>
                  <a:lnTo>
                    <a:pt x="89" y="76"/>
                  </a:lnTo>
                  <a:lnTo>
                    <a:pt x="90" y="74"/>
                  </a:lnTo>
                  <a:lnTo>
                    <a:pt x="89" y="74"/>
                  </a:lnTo>
                  <a:lnTo>
                    <a:pt x="89" y="74"/>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262" name="Uganda">
              <a:extLst>
                <a:ext uri="{FF2B5EF4-FFF2-40B4-BE49-F238E27FC236}">
                  <a16:creationId xmlns:a16="http://schemas.microsoft.com/office/drawing/2014/main" id="{657912C0-7A7B-0D4B-9AA3-A373A6BDAF48}"/>
                </a:ext>
              </a:extLst>
            </p:cNvPr>
            <p:cNvSpPr>
              <a:spLocks/>
            </p:cNvSpPr>
            <p:nvPr/>
          </p:nvSpPr>
          <p:spPr bwMode="auto">
            <a:xfrm>
              <a:off x="7146706" y="3861148"/>
              <a:ext cx="144337" cy="170580"/>
            </a:xfrm>
            <a:custGeom>
              <a:avLst/>
              <a:gdLst>
                <a:gd name="T0" fmla="*/ 6 w 99"/>
                <a:gd name="T1" fmla="*/ 117 h 117"/>
                <a:gd name="T2" fmla="*/ 14 w 99"/>
                <a:gd name="T3" fmla="*/ 108 h 117"/>
                <a:gd name="T4" fmla="*/ 80 w 99"/>
                <a:gd name="T5" fmla="*/ 106 h 117"/>
                <a:gd name="T6" fmla="*/ 80 w 99"/>
                <a:gd name="T7" fmla="*/ 89 h 117"/>
                <a:gd name="T8" fmla="*/ 81 w 99"/>
                <a:gd name="T9" fmla="*/ 79 h 117"/>
                <a:gd name="T10" fmla="*/ 85 w 99"/>
                <a:gd name="T11" fmla="*/ 73 h 117"/>
                <a:gd name="T12" fmla="*/ 89 w 99"/>
                <a:gd name="T13" fmla="*/ 68 h 117"/>
                <a:gd name="T14" fmla="*/ 90 w 99"/>
                <a:gd name="T15" fmla="*/ 64 h 117"/>
                <a:gd name="T16" fmla="*/ 93 w 99"/>
                <a:gd name="T17" fmla="*/ 61 h 117"/>
                <a:gd name="T18" fmla="*/ 94 w 99"/>
                <a:gd name="T19" fmla="*/ 57 h 117"/>
                <a:gd name="T20" fmla="*/ 97 w 99"/>
                <a:gd name="T21" fmla="*/ 54 h 117"/>
                <a:gd name="T22" fmla="*/ 99 w 99"/>
                <a:gd name="T23" fmla="*/ 47 h 117"/>
                <a:gd name="T24" fmla="*/ 99 w 99"/>
                <a:gd name="T25" fmla="*/ 43 h 117"/>
                <a:gd name="T26" fmla="*/ 96 w 99"/>
                <a:gd name="T27" fmla="*/ 35 h 117"/>
                <a:gd name="T28" fmla="*/ 94 w 99"/>
                <a:gd name="T29" fmla="*/ 29 h 117"/>
                <a:gd name="T30" fmla="*/ 92 w 99"/>
                <a:gd name="T31" fmla="*/ 29 h 117"/>
                <a:gd name="T32" fmla="*/ 88 w 99"/>
                <a:gd name="T33" fmla="*/ 22 h 117"/>
                <a:gd name="T34" fmla="*/ 87 w 99"/>
                <a:gd name="T35" fmla="*/ 17 h 117"/>
                <a:gd name="T36" fmla="*/ 87 w 99"/>
                <a:gd name="T37" fmla="*/ 14 h 117"/>
                <a:gd name="T38" fmla="*/ 87 w 99"/>
                <a:gd name="T39" fmla="*/ 10 h 117"/>
                <a:gd name="T40" fmla="*/ 85 w 99"/>
                <a:gd name="T41" fmla="*/ 7 h 117"/>
                <a:gd name="T42" fmla="*/ 83 w 99"/>
                <a:gd name="T43" fmla="*/ 7 h 117"/>
                <a:gd name="T44" fmla="*/ 82 w 99"/>
                <a:gd name="T45" fmla="*/ 6 h 117"/>
                <a:gd name="T46" fmla="*/ 80 w 99"/>
                <a:gd name="T47" fmla="*/ 2 h 117"/>
                <a:gd name="T48" fmla="*/ 79 w 99"/>
                <a:gd name="T49" fmla="*/ 0 h 117"/>
                <a:gd name="T50" fmla="*/ 61 w 99"/>
                <a:gd name="T51" fmla="*/ 6 h 117"/>
                <a:gd name="T52" fmla="*/ 50 w 99"/>
                <a:gd name="T53" fmla="*/ 9 h 117"/>
                <a:gd name="T54" fmla="*/ 45 w 99"/>
                <a:gd name="T55" fmla="*/ 14 h 117"/>
                <a:gd name="T56" fmla="*/ 42 w 99"/>
                <a:gd name="T57" fmla="*/ 10 h 117"/>
                <a:gd name="T58" fmla="*/ 37 w 99"/>
                <a:gd name="T59" fmla="*/ 10 h 117"/>
                <a:gd name="T60" fmla="*/ 30 w 99"/>
                <a:gd name="T61" fmla="*/ 8 h 117"/>
                <a:gd name="T62" fmla="*/ 25 w 99"/>
                <a:gd name="T63" fmla="*/ 10 h 117"/>
                <a:gd name="T64" fmla="*/ 25 w 99"/>
                <a:gd name="T65" fmla="*/ 14 h 117"/>
                <a:gd name="T66" fmla="*/ 22 w 99"/>
                <a:gd name="T67" fmla="*/ 17 h 117"/>
                <a:gd name="T68" fmla="*/ 21 w 99"/>
                <a:gd name="T69" fmla="*/ 23 h 117"/>
                <a:gd name="T70" fmla="*/ 23 w 99"/>
                <a:gd name="T71" fmla="*/ 29 h 117"/>
                <a:gd name="T72" fmla="*/ 21 w 99"/>
                <a:gd name="T73" fmla="*/ 31 h 117"/>
                <a:gd name="T74" fmla="*/ 20 w 99"/>
                <a:gd name="T75" fmla="*/ 35 h 117"/>
                <a:gd name="T76" fmla="*/ 23 w 99"/>
                <a:gd name="T77" fmla="*/ 37 h 117"/>
                <a:gd name="T78" fmla="*/ 27 w 99"/>
                <a:gd name="T79" fmla="*/ 39 h 117"/>
                <a:gd name="T80" fmla="*/ 30 w 99"/>
                <a:gd name="T81" fmla="*/ 42 h 117"/>
                <a:gd name="T82" fmla="*/ 15 w 99"/>
                <a:gd name="T83" fmla="*/ 61 h 117"/>
                <a:gd name="T84" fmla="*/ 13 w 99"/>
                <a:gd name="T85" fmla="*/ 62 h 117"/>
                <a:gd name="T86" fmla="*/ 10 w 99"/>
                <a:gd name="T87" fmla="*/ 66 h 117"/>
                <a:gd name="T88" fmla="*/ 6 w 99"/>
                <a:gd name="T89" fmla="*/ 69 h 117"/>
                <a:gd name="T90" fmla="*/ 6 w 99"/>
                <a:gd name="T91" fmla="*/ 76 h 117"/>
                <a:gd name="T92" fmla="*/ 2 w 99"/>
                <a:gd name="T93" fmla="*/ 82 h 117"/>
                <a:gd name="T94" fmla="*/ 1 w 99"/>
                <a:gd name="T95" fmla="*/ 87 h 117"/>
                <a:gd name="T96" fmla="*/ 1 w 99"/>
                <a:gd name="T97" fmla="*/ 96 h 117"/>
                <a:gd name="T98" fmla="*/ 0 w 99"/>
                <a:gd name="T99" fmla="*/ 103 h 117"/>
                <a:gd name="T100" fmla="*/ 0 w 99"/>
                <a:gd name="T101" fmla="*/ 109 h 117"/>
                <a:gd name="T102" fmla="*/ 0 w 99"/>
                <a:gd name="T103" fmla="*/ 11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99" h="117">
                  <a:moveTo>
                    <a:pt x="0" y="115"/>
                  </a:moveTo>
                  <a:lnTo>
                    <a:pt x="3" y="114"/>
                  </a:lnTo>
                  <a:lnTo>
                    <a:pt x="6" y="117"/>
                  </a:lnTo>
                  <a:lnTo>
                    <a:pt x="7" y="116"/>
                  </a:lnTo>
                  <a:lnTo>
                    <a:pt x="13" y="111"/>
                  </a:lnTo>
                  <a:lnTo>
                    <a:pt x="14" y="108"/>
                  </a:lnTo>
                  <a:lnTo>
                    <a:pt x="16" y="108"/>
                  </a:lnTo>
                  <a:lnTo>
                    <a:pt x="20" y="106"/>
                  </a:lnTo>
                  <a:lnTo>
                    <a:pt x="80" y="106"/>
                  </a:lnTo>
                  <a:lnTo>
                    <a:pt x="77" y="99"/>
                  </a:lnTo>
                  <a:lnTo>
                    <a:pt x="77" y="94"/>
                  </a:lnTo>
                  <a:lnTo>
                    <a:pt x="80" y="89"/>
                  </a:lnTo>
                  <a:lnTo>
                    <a:pt x="79" y="84"/>
                  </a:lnTo>
                  <a:lnTo>
                    <a:pt x="80" y="80"/>
                  </a:lnTo>
                  <a:lnTo>
                    <a:pt x="81" y="79"/>
                  </a:lnTo>
                  <a:lnTo>
                    <a:pt x="81" y="77"/>
                  </a:lnTo>
                  <a:lnTo>
                    <a:pt x="83" y="74"/>
                  </a:lnTo>
                  <a:lnTo>
                    <a:pt x="85" y="73"/>
                  </a:lnTo>
                  <a:lnTo>
                    <a:pt x="86" y="71"/>
                  </a:lnTo>
                  <a:lnTo>
                    <a:pt x="87" y="70"/>
                  </a:lnTo>
                  <a:lnTo>
                    <a:pt x="89" y="68"/>
                  </a:lnTo>
                  <a:lnTo>
                    <a:pt x="89" y="66"/>
                  </a:lnTo>
                  <a:lnTo>
                    <a:pt x="89" y="64"/>
                  </a:lnTo>
                  <a:lnTo>
                    <a:pt x="90" y="64"/>
                  </a:lnTo>
                  <a:lnTo>
                    <a:pt x="90" y="64"/>
                  </a:lnTo>
                  <a:lnTo>
                    <a:pt x="93" y="62"/>
                  </a:lnTo>
                  <a:lnTo>
                    <a:pt x="93" y="61"/>
                  </a:lnTo>
                  <a:lnTo>
                    <a:pt x="95" y="59"/>
                  </a:lnTo>
                  <a:lnTo>
                    <a:pt x="94" y="59"/>
                  </a:lnTo>
                  <a:lnTo>
                    <a:pt x="94" y="57"/>
                  </a:lnTo>
                  <a:lnTo>
                    <a:pt x="95" y="57"/>
                  </a:lnTo>
                  <a:lnTo>
                    <a:pt x="96" y="55"/>
                  </a:lnTo>
                  <a:lnTo>
                    <a:pt x="97" y="54"/>
                  </a:lnTo>
                  <a:lnTo>
                    <a:pt x="97" y="51"/>
                  </a:lnTo>
                  <a:lnTo>
                    <a:pt x="97" y="47"/>
                  </a:lnTo>
                  <a:lnTo>
                    <a:pt x="99" y="47"/>
                  </a:lnTo>
                  <a:lnTo>
                    <a:pt x="97" y="46"/>
                  </a:lnTo>
                  <a:lnTo>
                    <a:pt x="97" y="44"/>
                  </a:lnTo>
                  <a:lnTo>
                    <a:pt x="99" y="43"/>
                  </a:lnTo>
                  <a:lnTo>
                    <a:pt x="95" y="37"/>
                  </a:lnTo>
                  <a:lnTo>
                    <a:pt x="96" y="36"/>
                  </a:lnTo>
                  <a:lnTo>
                    <a:pt x="96" y="35"/>
                  </a:lnTo>
                  <a:lnTo>
                    <a:pt x="96" y="34"/>
                  </a:lnTo>
                  <a:lnTo>
                    <a:pt x="94" y="31"/>
                  </a:lnTo>
                  <a:lnTo>
                    <a:pt x="94" y="29"/>
                  </a:lnTo>
                  <a:lnTo>
                    <a:pt x="94" y="29"/>
                  </a:lnTo>
                  <a:lnTo>
                    <a:pt x="93" y="29"/>
                  </a:lnTo>
                  <a:lnTo>
                    <a:pt x="92" y="29"/>
                  </a:lnTo>
                  <a:lnTo>
                    <a:pt x="90" y="26"/>
                  </a:lnTo>
                  <a:lnTo>
                    <a:pt x="90" y="22"/>
                  </a:lnTo>
                  <a:lnTo>
                    <a:pt x="88" y="22"/>
                  </a:lnTo>
                  <a:lnTo>
                    <a:pt x="87" y="20"/>
                  </a:lnTo>
                  <a:lnTo>
                    <a:pt x="88" y="19"/>
                  </a:lnTo>
                  <a:lnTo>
                    <a:pt x="87" y="17"/>
                  </a:lnTo>
                  <a:lnTo>
                    <a:pt x="87" y="16"/>
                  </a:lnTo>
                  <a:lnTo>
                    <a:pt x="87" y="15"/>
                  </a:lnTo>
                  <a:lnTo>
                    <a:pt x="87" y="14"/>
                  </a:lnTo>
                  <a:lnTo>
                    <a:pt x="88" y="14"/>
                  </a:lnTo>
                  <a:lnTo>
                    <a:pt x="87" y="11"/>
                  </a:lnTo>
                  <a:lnTo>
                    <a:pt x="87" y="10"/>
                  </a:lnTo>
                  <a:lnTo>
                    <a:pt x="86" y="9"/>
                  </a:lnTo>
                  <a:lnTo>
                    <a:pt x="83" y="9"/>
                  </a:lnTo>
                  <a:lnTo>
                    <a:pt x="85" y="7"/>
                  </a:lnTo>
                  <a:lnTo>
                    <a:pt x="85" y="6"/>
                  </a:lnTo>
                  <a:lnTo>
                    <a:pt x="85" y="6"/>
                  </a:lnTo>
                  <a:lnTo>
                    <a:pt x="83" y="7"/>
                  </a:lnTo>
                  <a:lnTo>
                    <a:pt x="82" y="7"/>
                  </a:lnTo>
                  <a:lnTo>
                    <a:pt x="81" y="6"/>
                  </a:lnTo>
                  <a:lnTo>
                    <a:pt x="82" y="6"/>
                  </a:lnTo>
                  <a:lnTo>
                    <a:pt x="82" y="4"/>
                  </a:lnTo>
                  <a:lnTo>
                    <a:pt x="81" y="2"/>
                  </a:lnTo>
                  <a:lnTo>
                    <a:pt x="80" y="2"/>
                  </a:lnTo>
                  <a:lnTo>
                    <a:pt x="80" y="1"/>
                  </a:lnTo>
                  <a:lnTo>
                    <a:pt x="81" y="1"/>
                  </a:lnTo>
                  <a:lnTo>
                    <a:pt x="79" y="0"/>
                  </a:lnTo>
                  <a:lnTo>
                    <a:pt x="70" y="9"/>
                  </a:lnTo>
                  <a:lnTo>
                    <a:pt x="65" y="9"/>
                  </a:lnTo>
                  <a:lnTo>
                    <a:pt x="61" y="6"/>
                  </a:lnTo>
                  <a:lnTo>
                    <a:pt x="60" y="8"/>
                  </a:lnTo>
                  <a:lnTo>
                    <a:pt x="56" y="9"/>
                  </a:lnTo>
                  <a:lnTo>
                    <a:pt x="50" y="9"/>
                  </a:lnTo>
                  <a:lnTo>
                    <a:pt x="47" y="11"/>
                  </a:lnTo>
                  <a:lnTo>
                    <a:pt x="47" y="14"/>
                  </a:lnTo>
                  <a:lnTo>
                    <a:pt x="45" y="14"/>
                  </a:lnTo>
                  <a:lnTo>
                    <a:pt x="45" y="13"/>
                  </a:lnTo>
                  <a:lnTo>
                    <a:pt x="42" y="13"/>
                  </a:lnTo>
                  <a:lnTo>
                    <a:pt x="42" y="10"/>
                  </a:lnTo>
                  <a:lnTo>
                    <a:pt x="40" y="8"/>
                  </a:lnTo>
                  <a:lnTo>
                    <a:pt x="40" y="8"/>
                  </a:lnTo>
                  <a:lnTo>
                    <a:pt x="37" y="10"/>
                  </a:lnTo>
                  <a:lnTo>
                    <a:pt x="35" y="10"/>
                  </a:lnTo>
                  <a:lnTo>
                    <a:pt x="35" y="11"/>
                  </a:lnTo>
                  <a:lnTo>
                    <a:pt x="30" y="8"/>
                  </a:lnTo>
                  <a:lnTo>
                    <a:pt x="28" y="8"/>
                  </a:lnTo>
                  <a:lnTo>
                    <a:pt x="26" y="10"/>
                  </a:lnTo>
                  <a:lnTo>
                    <a:pt x="25" y="10"/>
                  </a:lnTo>
                  <a:lnTo>
                    <a:pt x="23" y="11"/>
                  </a:lnTo>
                  <a:lnTo>
                    <a:pt x="23" y="13"/>
                  </a:lnTo>
                  <a:lnTo>
                    <a:pt x="25" y="14"/>
                  </a:lnTo>
                  <a:lnTo>
                    <a:pt x="23" y="14"/>
                  </a:lnTo>
                  <a:lnTo>
                    <a:pt x="23" y="16"/>
                  </a:lnTo>
                  <a:lnTo>
                    <a:pt x="22" y="17"/>
                  </a:lnTo>
                  <a:lnTo>
                    <a:pt x="22" y="19"/>
                  </a:lnTo>
                  <a:lnTo>
                    <a:pt x="22" y="20"/>
                  </a:lnTo>
                  <a:lnTo>
                    <a:pt x="21" y="23"/>
                  </a:lnTo>
                  <a:lnTo>
                    <a:pt x="22" y="24"/>
                  </a:lnTo>
                  <a:lnTo>
                    <a:pt x="22" y="27"/>
                  </a:lnTo>
                  <a:lnTo>
                    <a:pt x="23" y="29"/>
                  </a:lnTo>
                  <a:lnTo>
                    <a:pt x="21" y="29"/>
                  </a:lnTo>
                  <a:lnTo>
                    <a:pt x="21" y="30"/>
                  </a:lnTo>
                  <a:lnTo>
                    <a:pt x="21" y="31"/>
                  </a:lnTo>
                  <a:lnTo>
                    <a:pt x="20" y="33"/>
                  </a:lnTo>
                  <a:lnTo>
                    <a:pt x="21" y="34"/>
                  </a:lnTo>
                  <a:lnTo>
                    <a:pt x="20" y="35"/>
                  </a:lnTo>
                  <a:lnTo>
                    <a:pt x="22" y="36"/>
                  </a:lnTo>
                  <a:lnTo>
                    <a:pt x="22" y="37"/>
                  </a:lnTo>
                  <a:lnTo>
                    <a:pt x="23" y="37"/>
                  </a:lnTo>
                  <a:lnTo>
                    <a:pt x="25" y="39"/>
                  </a:lnTo>
                  <a:lnTo>
                    <a:pt x="26" y="39"/>
                  </a:lnTo>
                  <a:lnTo>
                    <a:pt x="27" y="39"/>
                  </a:lnTo>
                  <a:lnTo>
                    <a:pt x="28" y="39"/>
                  </a:lnTo>
                  <a:lnTo>
                    <a:pt x="28" y="40"/>
                  </a:lnTo>
                  <a:lnTo>
                    <a:pt x="30" y="42"/>
                  </a:lnTo>
                  <a:lnTo>
                    <a:pt x="26" y="50"/>
                  </a:lnTo>
                  <a:lnTo>
                    <a:pt x="20" y="55"/>
                  </a:lnTo>
                  <a:lnTo>
                    <a:pt x="15" y="61"/>
                  </a:lnTo>
                  <a:lnTo>
                    <a:pt x="14" y="62"/>
                  </a:lnTo>
                  <a:lnTo>
                    <a:pt x="13" y="61"/>
                  </a:lnTo>
                  <a:lnTo>
                    <a:pt x="13" y="62"/>
                  </a:lnTo>
                  <a:lnTo>
                    <a:pt x="10" y="62"/>
                  </a:lnTo>
                  <a:lnTo>
                    <a:pt x="10" y="63"/>
                  </a:lnTo>
                  <a:lnTo>
                    <a:pt x="10" y="66"/>
                  </a:lnTo>
                  <a:lnTo>
                    <a:pt x="9" y="68"/>
                  </a:lnTo>
                  <a:lnTo>
                    <a:pt x="8" y="68"/>
                  </a:lnTo>
                  <a:lnTo>
                    <a:pt x="6" y="69"/>
                  </a:lnTo>
                  <a:lnTo>
                    <a:pt x="6" y="70"/>
                  </a:lnTo>
                  <a:lnTo>
                    <a:pt x="6" y="73"/>
                  </a:lnTo>
                  <a:lnTo>
                    <a:pt x="6" y="76"/>
                  </a:lnTo>
                  <a:lnTo>
                    <a:pt x="5" y="79"/>
                  </a:lnTo>
                  <a:lnTo>
                    <a:pt x="3" y="81"/>
                  </a:lnTo>
                  <a:lnTo>
                    <a:pt x="2" y="82"/>
                  </a:lnTo>
                  <a:lnTo>
                    <a:pt x="3" y="86"/>
                  </a:lnTo>
                  <a:lnTo>
                    <a:pt x="1" y="86"/>
                  </a:lnTo>
                  <a:lnTo>
                    <a:pt x="1" y="87"/>
                  </a:lnTo>
                  <a:lnTo>
                    <a:pt x="2" y="87"/>
                  </a:lnTo>
                  <a:lnTo>
                    <a:pt x="1" y="95"/>
                  </a:lnTo>
                  <a:lnTo>
                    <a:pt x="1" y="96"/>
                  </a:lnTo>
                  <a:lnTo>
                    <a:pt x="2" y="97"/>
                  </a:lnTo>
                  <a:lnTo>
                    <a:pt x="1" y="100"/>
                  </a:lnTo>
                  <a:lnTo>
                    <a:pt x="0" y="103"/>
                  </a:lnTo>
                  <a:lnTo>
                    <a:pt x="0" y="107"/>
                  </a:lnTo>
                  <a:lnTo>
                    <a:pt x="1" y="108"/>
                  </a:lnTo>
                  <a:lnTo>
                    <a:pt x="0" y="109"/>
                  </a:lnTo>
                  <a:lnTo>
                    <a:pt x="1" y="110"/>
                  </a:lnTo>
                  <a:lnTo>
                    <a:pt x="0" y="115"/>
                  </a:lnTo>
                  <a:lnTo>
                    <a:pt x="0" y="115"/>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263" name="Turkmenistan">
              <a:extLst>
                <a:ext uri="{FF2B5EF4-FFF2-40B4-BE49-F238E27FC236}">
                  <a16:creationId xmlns:a16="http://schemas.microsoft.com/office/drawing/2014/main" id="{234784AB-0A8A-584C-A76B-5333323EBD20}"/>
                </a:ext>
              </a:extLst>
            </p:cNvPr>
            <p:cNvSpPr>
              <a:spLocks/>
            </p:cNvSpPr>
            <p:nvPr/>
          </p:nvSpPr>
          <p:spPr bwMode="auto">
            <a:xfrm>
              <a:off x="7624914" y="2703537"/>
              <a:ext cx="383440" cy="230356"/>
            </a:xfrm>
            <a:custGeom>
              <a:avLst/>
              <a:gdLst>
                <a:gd name="T0" fmla="*/ 41 w 263"/>
                <a:gd name="T1" fmla="*/ 81 h 158"/>
                <a:gd name="T2" fmla="*/ 34 w 263"/>
                <a:gd name="T3" fmla="*/ 74 h 158"/>
                <a:gd name="T4" fmla="*/ 26 w 263"/>
                <a:gd name="T5" fmla="*/ 67 h 158"/>
                <a:gd name="T6" fmla="*/ 32 w 263"/>
                <a:gd name="T7" fmla="*/ 69 h 158"/>
                <a:gd name="T8" fmla="*/ 27 w 263"/>
                <a:gd name="T9" fmla="*/ 59 h 158"/>
                <a:gd name="T10" fmla="*/ 21 w 263"/>
                <a:gd name="T11" fmla="*/ 65 h 158"/>
                <a:gd name="T12" fmla="*/ 15 w 263"/>
                <a:gd name="T13" fmla="*/ 46 h 158"/>
                <a:gd name="T14" fmla="*/ 21 w 263"/>
                <a:gd name="T15" fmla="*/ 42 h 158"/>
                <a:gd name="T16" fmla="*/ 28 w 263"/>
                <a:gd name="T17" fmla="*/ 47 h 158"/>
                <a:gd name="T18" fmla="*/ 38 w 263"/>
                <a:gd name="T19" fmla="*/ 43 h 158"/>
                <a:gd name="T20" fmla="*/ 45 w 263"/>
                <a:gd name="T21" fmla="*/ 42 h 158"/>
                <a:gd name="T22" fmla="*/ 29 w 263"/>
                <a:gd name="T23" fmla="*/ 26 h 158"/>
                <a:gd name="T24" fmla="*/ 11 w 263"/>
                <a:gd name="T25" fmla="*/ 19 h 158"/>
                <a:gd name="T26" fmla="*/ 14 w 263"/>
                <a:gd name="T27" fmla="*/ 35 h 158"/>
                <a:gd name="T28" fmla="*/ 6 w 263"/>
                <a:gd name="T29" fmla="*/ 27 h 158"/>
                <a:gd name="T30" fmla="*/ 5 w 263"/>
                <a:gd name="T31" fmla="*/ 13 h 158"/>
                <a:gd name="T32" fmla="*/ 32 w 263"/>
                <a:gd name="T33" fmla="*/ 5 h 158"/>
                <a:gd name="T34" fmla="*/ 53 w 263"/>
                <a:gd name="T35" fmla="*/ 27 h 158"/>
                <a:gd name="T36" fmla="*/ 80 w 263"/>
                <a:gd name="T37" fmla="*/ 28 h 158"/>
                <a:gd name="T38" fmla="*/ 92 w 263"/>
                <a:gd name="T39" fmla="*/ 9 h 158"/>
                <a:gd name="T40" fmla="*/ 113 w 263"/>
                <a:gd name="T41" fmla="*/ 5 h 158"/>
                <a:gd name="T42" fmla="*/ 148 w 263"/>
                <a:gd name="T43" fmla="*/ 31 h 158"/>
                <a:gd name="T44" fmla="*/ 175 w 263"/>
                <a:gd name="T45" fmla="*/ 49 h 158"/>
                <a:gd name="T46" fmla="*/ 216 w 263"/>
                <a:gd name="T47" fmla="*/ 76 h 158"/>
                <a:gd name="T48" fmla="*/ 263 w 263"/>
                <a:gd name="T49" fmla="*/ 96 h 158"/>
                <a:gd name="T50" fmla="*/ 256 w 263"/>
                <a:gd name="T51" fmla="*/ 114 h 158"/>
                <a:gd name="T52" fmla="*/ 236 w 263"/>
                <a:gd name="T53" fmla="*/ 115 h 158"/>
                <a:gd name="T54" fmla="*/ 232 w 263"/>
                <a:gd name="T55" fmla="*/ 135 h 158"/>
                <a:gd name="T56" fmla="*/ 223 w 263"/>
                <a:gd name="T57" fmla="*/ 140 h 158"/>
                <a:gd name="T58" fmla="*/ 213 w 263"/>
                <a:gd name="T59" fmla="*/ 147 h 158"/>
                <a:gd name="T60" fmla="*/ 199 w 263"/>
                <a:gd name="T61" fmla="*/ 158 h 158"/>
                <a:gd name="T62" fmla="*/ 181 w 263"/>
                <a:gd name="T63" fmla="*/ 148 h 158"/>
                <a:gd name="T64" fmla="*/ 179 w 263"/>
                <a:gd name="T65" fmla="*/ 158 h 158"/>
                <a:gd name="T66" fmla="*/ 179 w 263"/>
                <a:gd name="T67" fmla="*/ 158 h 158"/>
                <a:gd name="T68" fmla="*/ 178 w 263"/>
                <a:gd name="T69" fmla="*/ 142 h 158"/>
                <a:gd name="T70" fmla="*/ 175 w 263"/>
                <a:gd name="T71" fmla="*/ 140 h 158"/>
                <a:gd name="T72" fmla="*/ 173 w 263"/>
                <a:gd name="T73" fmla="*/ 132 h 158"/>
                <a:gd name="T74" fmla="*/ 158 w 263"/>
                <a:gd name="T75" fmla="*/ 127 h 158"/>
                <a:gd name="T76" fmla="*/ 151 w 263"/>
                <a:gd name="T77" fmla="*/ 119 h 158"/>
                <a:gd name="T78" fmla="*/ 143 w 263"/>
                <a:gd name="T79" fmla="*/ 116 h 158"/>
                <a:gd name="T80" fmla="*/ 140 w 263"/>
                <a:gd name="T81" fmla="*/ 114 h 158"/>
                <a:gd name="T82" fmla="*/ 136 w 263"/>
                <a:gd name="T83" fmla="*/ 109 h 158"/>
                <a:gd name="T84" fmla="*/ 128 w 263"/>
                <a:gd name="T85" fmla="*/ 107 h 158"/>
                <a:gd name="T86" fmla="*/ 121 w 263"/>
                <a:gd name="T87" fmla="*/ 107 h 158"/>
                <a:gd name="T88" fmla="*/ 113 w 263"/>
                <a:gd name="T89" fmla="*/ 102 h 158"/>
                <a:gd name="T90" fmla="*/ 108 w 263"/>
                <a:gd name="T91" fmla="*/ 101 h 158"/>
                <a:gd name="T92" fmla="*/ 102 w 263"/>
                <a:gd name="T93" fmla="*/ 100 h 158"/>
                <a:gd name="T94" fmla="*/ 99 w 263"/>
                <a:gd name="T95" fmla="*/ 95 h 158"/>
                <a:gd name="T96" fmla="*/ 95 w 263"/>
                <a:gd name="T97" fmla="*/ 96 h 158"/>
                <a:gd name="T98" fmla="*/ 88 w 263"/>
                <a:gd name="T99" fmla="*/ 95 h 158"/>
                <a:gd name="T100" fmla="*/ 85 w 263"/>
                <a:gd name="T101" fmla="*/ 96 h 158"/>
                <a:gd name="T102" fmla="*/ 76 w 263"/>
                <a:gd name="T103" fmla="*/ 98 h 158"/>
                <a:gd name="T104" fmla="*/ 69 w 263"/>
                <a:gd name="T105" fmla="*/ 100 h 158"/>
                <a:gd name="T106" fmla="*/ 60 w 263"/>
                <a:gd name="T107" fmla="*/ 107 h 158"/>
                <a:gd name="T108" fmla="*/ 54 w 263"/>
                <a:gd name="T109" fmla="*/ 113 h 158"/>
                <a:gd name="T110" fmla="*/ 47 w 263"/>
                <a:gd name="T111" fmla="*/ 108 h 1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3" h="158">
                  <a:moveTo>
                    <a:pt x="47" y="108"/>
                  </a:moveTo>
                  <a:lnTo>
                    <a:pt x="43" y="102"/>
                  </a:lnTo>
                  <a:lnTo>
                    <a:pt x="41" y="95"/>
                  </a:lnTo>
                  <a:lnTo>
                    <a:pt x="40" y="88"/>
                  </a:lnTo>
                  <a:lnTo>
                    <a:pt x="41" y="81"/>
                  </a:lnTo>
                  <a:lnTo>
                    <a:pt x="41" y="80"/>
                  </a:lnTo>
                  <a:lnTo>
                    <a:pt x="39" y="79"/>
                  </a:lnTo>
                  <a:lnTo>
                    <a:pt x="35" y="78"/>
                  </a:lnTo>
                  <a:lnTo>
                    <a:pt x="35" y="74"/>
                  </a:lnTo>
                  <a:lnTo>
                    <a:pt x="34" y="74"/>
                  </a:lnTo>
                  <a:lnTo>
                    <a:pt x="32" y="73"/>
                  </a:lnTo>
                  <a:lnTo>
                    <a:pt x="27" y="73"/>
                  </a:lnTo>
                  <a:lnTo>
                    <a:pt x="28" y="75"/>
                  </a:lnTo>
                  <a:lnTo>
                    <a:pt x="25" y="72"/>
                  </a:lnTo>
                  <a:lnTo>
                    <a:pt x="26" y="67"/>
                  </a:lnTo>
                  <a:lnTo>
                    <a:pt x="27" y="69"/>
                  </a:lnTo>
                  <a:lnTo>
                    <a:pt x="29" y="69"/>
                  </a:lnTo>
                  <a:lnTo>
                    <a:pt x="32" y="69"/>
                  </a:lnTo>
                  <a:lnTo>
                    <a:pt x="34" y="69"/>
                  </a:lnTo>
                  <a:lnTo>
                    <a:pt x="32" y="69"/>
                  </a:lnTo>
                  <a:lnTo>
                    <a:pt x="33" y="67"/>
                  </a:lnTo>
                  <a:lnTo>
                    <a:pt x="31" y="66"/>
                  </a:lnTo>
                  <a:lnTo>
                    <a:pt x="28" y="66"/>
                  </a:lnTo>
                  <a:lnTo>
                    <a:pt x="29" y="61"/>
                  </a:lnTo>
                  <a:lnTo>
                    <a:pt x="27" y="59"/>
                  </a:lnTo>
                  <a:lnTo>
                    <a:pt x="25" y="59"/>
                  </a:lnTo>
                  <a:lnTo>
                    <a:pt x="22" y="59"/>
                  </a:lnTo>
                  <a:lnTo>
                    <a:pt x="22" y="60"/>
                  </a:lnTo>
                  <a:lnTo>
                    <a:pt x="20" y="59"/>
                  </a:lnTo>
                  <a:lnTo>
                    <a:pt x="21" y="65"/>
                  </a:lnTo>
                  <a:lnTo>
                    <a:pt x="15" y="59"/>
                  </a:lnTo>
                  <a:lnTo>
                    <a:pt x="14" y="55"/>
                  </a:lnTo>
                  <a:lnTo>
                    <a:pt x="13" y="52"/>
                  </a:lnTo>
                  <a:lnTo>
                    <a:pt x="15" y="47"/>
                  </a:lnTo>
                  <a:lnTo>
                    <a:pt x="15" y="46"/>
                  </a:lnTo>
                  <a:lnTo>
                    <a:pt x="15" y="41"/>
                  </a:lnTo>
                  <a:lnTo>
                    <a:pt x="15" y="41"/>
                  </a:lnTo>
                  <a:lnTo>
                    <a:pt x="19" y="42"/>
                  </a:lnTo>
                  <a:lnTo>
                    <a:pt x="20" y="42"/>
                  </a:lnTo>
                  <a:lnTo>
                    <a:pt x="21" y="42"/>
                  </a:lnTo>
                  <a:lnTo>
                    <a:pt x="23" y="42"/>
                  </a:lnTo>
                  <a:lnTo>
                    <a:pt x="26" y="45"/>
                  </a:lnTo>
                  <a:lnTo>
                    <a:pt x="25" y="41"/>
                  </a:lnTo>
                  <a:lnTo>
                    <a:pt x="27" y="41"/>
                  </a:lnTo>
                  <a:lnTo>
                    <a:pt x="28" y="47"/>
                  </a:lnTo>
                  <a:lnTo>
                    <a:pt x="34" y="47"/>
                  </a:lnTo>
                  <a:lnTo>
                    <a:pt x="38" y="45"/>
                  </a:lnTo>
                  <a:lnTo>
                    <a:pt x="39" y="45"/>
                  </a:lnTo>
                  <a:lnTo>
                    <a:pt x="40" y="45"/>
                  </a:lnTo>
                  <a:lnTo>
                    <a:pt x="38" y="43"/>
                  </a:lnTo>
                  <a:lnTo>
                    <a:pt x="38" y="41"/>
                  </a:lnTo>
                  <a:lnTo>
                    <a:pt x="39" y="40"/>
                  </a:lnTo>
                  <a:lnTo>
                    <a:pt x="41" y="40"/>
                  </a:lnTo>
                  <a:lnTo>
                    <a:pt x="42" y="42"/>
                  </a:lnTo>
                  <a:lnTo>
                    <a:pt x="45" y="42"/>
                  </a:lnTo>
                  <a:lnTo>
                    <a:pt x="43" y="39"/>
                  </a:lnTo>
                  <a:lnTo>
                    <a:pt x="43" y="36"/>
                  </a:lnTo>
                  <a:lnTo>
                    <a:pt x="40" y="35"/>
                  </a:lnTo>
                  <a:lnTo>
                    <a:pt x="35" y="31"/>
                  </a:lnTo>
                  <a:lnTo>
                    <a:pt x="29" y="26"/>
                  </a:lnTo>
                  <a:lnTo>
                    <a:pt x="27" y="20"/>
                  </a:lnTo>
                  <a:lnTo>
                    <a:pt x="25" y="19"/>
                  </a:lnTo>
                  <a:lnTo>
                    <a:pt x="25" y="18"/>
                  </a:lnTo>
                  <a:lnTo>
                    <a:pt x="21" y="15"/>
                  </a:lnTo>
                  <a:lnTo>
                    <a:pt x="11" y="19"/>
                  </a:lnTo>
                  <a:lnTo>
                    <a:pt x="9" y="23"/>
                  </a:lnTo>
                  <a:lnTo>
                    <a:pt x="9" y="25"/>
                  </a:lnTo>
                  <a:lnTo>
                    <a:pt x="12" y="26"/>
                  </a:lnTo>
                  <a:lnTo>
                    <a:pt x="14" y="32"/>
                  </a:lnTo>
                  <a:lnTo>
                    <a:pt x="14" y="35"/>
                  </a:lnTo>
                  <a:lnTo>
                    <a:pt x="13" y="36"/>
                  </a:lnTo>
                  <a:lnTo>
                    <a:pt x="13" y="36"/>
                  </a:lnTo>
                  <a:lnTo>
                    <a:pt x="11" y="33"/>
                  </a:lnTo>
                  <a:lnTo>
                    <a:pt x="7" y="32"/>
                  </a:lnTo>
                  <a:lnTo>
                    <a:pt x="6" y="27"/>
                  </a:lnTo>
                  <a:lnTo>
                    <a:pt x="5" y="25"/>
                  </a:lnTo>
                  <a:lnTo>
                    <a:pt x="2" y="23"/>
                  </a:lnTo>
                  <a:lnTo>
                    <a:pt x="1" y="19"/>
                  </a:lnTo>
                  <a:lnTo>
                    <a:pt x="0" y="14"/>
                  </a:lnTo>
                  <a:lnTo>
                    <a:pt x="5" y="13"/>
                  </a:lnTo>
                  <a:lnTo>
                    <a:pt x="11" y="12"/>
                  </a:lnTo>
                  <a:lnTo>
                    <a:pt x="15" y="9"/>
                  </a:lnTo>
                  <a:lnTo>
                    <a:pt x="22" y="9"/>
                  </a:lnTo>
                  <a:lnTo>
                    <a:pt x="28" y="7"/>
                  </a:lnTo>
                  <a:lnTo>
                    <a:pt x="32" y="5"/>
                  </a:lnTo>
                  <a:lnTo>
                    <a:pt x="36" y="7"/>
                  </a:lnTo>
                  <a:lnTo>
                    <a:pt x="40" y="12"/>
                  </a:lnTo>
                  <a:lnTo>
                    <a:pt x="46" y="16"/>
                  </a:lnTo>
                  <a:lnTo>
                    <a:pt x="47" y="20"/>
                  </a:lnTo>
                  <a:lnTo>
                    <a:pt x="53" y="27"/>
                  </a:lnTo>
                  <a:lnTo>
                    <a:pt x="56" y="28"/>
                  </a:lnTo>
                  <a:lnTo>
                    <a:pt x="60" y="26"/>
                  </a:lnTo>
                  <a:lnTo>
                    <a:pt x="65" y="27"/>
                  </a:lnTo>
                  <a:lnTo>
                    <a:pt x="75" y="27"/>
                  </a:lnTo>
                  <a:lnTo>
                    <a:pt x="80" y="28"/>
                  </a:lnTo>
                  <a:lnTo>
                    <a:pt x="78" y="21"/>
                  </a:lnTo>
                  <a:lnTo>
                    <a:pt x="76" y="16"/>
                  </a:lnTo>
                  <a:lnTo>
                    <a:pt x="79" y="14"/>
                  </a:lnTo>
                  <a:lnTo>
                    <a:pt x="86" y="13"/>
                  </a:lnTo>
                  <a:lnTo>
                    <a:pt x="92" y="9"/>
                  </a:lnTo>
                  <a:lnTo>
                    <a:pt x="96" y="7"/>
                  </a:lnTo>
                  <a:lnTo>
                    <a:pt x="95" y="0"/>
                  </a:lnTo>
                  <a:lnTo>
                    <a:pt x="101" y="0"/>
                  </a:lnTo>
                  <a:lnTo>
                    <a:pt x="109" y="0"/>
                  </a:lnTo>
                  <a:lnTo>
                    <a:pt x="113" y="5"/>
                  </a:lnTo>
                  <a:lnTo>
                    <a:pt x="123" y="5"/>
                  </a:lnTo>
                  <a:lnTo>
                    <a:pt x="131" y="18"/>
                  </a:lnTo>
                  <a:lnTo>
                    <a:pt x="131" y="22"/>
                  </a:lnTo>
                  <a:lnTo>
                    <a:pt x="131" y="26"/>
                  </a:lnTo>
                  <a:lnTo>
                    <a:pt x="148" y="31"/>
                  </a:lnTo>
                  <a:lnTo>
                    <a:pt x="154" y="31"/>
                  </a:lnTo>
                  <a:lnTo>
                    <a:pt x="156" y="31"/>
                  </a:lnTo>
                  <a:lnTo>
                    <a:pt x="161" y="31"/>
                  </a:lnTo>
                  <a:lnTo>
                    <a:pt x="168" y="43"/>
                  </a:lnTo>
                  <a:lnTo>
                    <a:pt x="175" y="49"/>
                  </a:lnTo>
                  <a:lnTo>
                    <a:pt x="176" y="52"/>
                  </a:lnTo>
                  <a:lnTo>
                    <a:pt x="186" y="60"/>
                  </a:lnTo>
                  <a:lnTo>
                    <a:pt x="201" y="66"/>
                  </a:lnTo>
                  <a:lnTo>
                    <a:pt x="212" y="76"/>
                  </a:lnTo>
                  <a:lnTo>
                    <a:pt x="216" y="76"/>
                  </a:lnTo>
                  <a:lnTo>
                    <a:pt x="240" y="88"/>
                  </a:lnTo>
                  <a:lnTo>
                    <a:pt x="242" y="92"/>
                  </a:lnTo>
                  <a:lnTo>
                    <a:pt x="247" y="92"/>
                  </a:lnTo>
                  <a:lnTo>
                    <a:pt x="260" y="94"/>
                  </a:lnTo>
                  <a:lnTo>
                    <a:pt x="263" y="96"/>
                  </a:lnTo>
                  <a:lnTo>
                    <a:pt x="261" y="99"/>
                  </a:lnTo>
                  <a:lnTo>
                    <a:pt x="259" y="102"/>
                  </a:lnTo>
                  <a:lnTo>
                    <a:pt x="261" y="108"/>
                  </a:lnTo>
                  <a:lnTo>
                    <a:pt x="261" y="114"/>
                  </a:lnTo>
                  <a:lnTo>
                    <a:pt x="256" y="114"/>
                  </a:lnTo>
                  <a:lnTo>
                    <a:pt x="246" y="108"/>
                  </a:lnTo>
                  <a:lnTo>
                    <a:pt x="246" y="109"/>
                  </a:lnTo>
                  <a:lnTo>
                    <a:pt x="245" y="113"/>
                  </a:lnTo>
                  <a:lnTo>
                    <a:pt x="245" y="115"/>
                  </a:lnTo>
                  <a:lnTo>
                    <a:pt x="236" y="115"/>
                  </a:lnTo>
                  <a:lnTo>
                    <a:pt x="233" y="119"/>
                  </a:lnTo>
                  <a:lnTo>
                    <a:pt x="233" y="121"/>
                  </a:lnTo>
                  <a:lnTo>
                    <a:pt x="232" y="127"/>
                  </a:lnTo>
                  <a:lnTo>
                    <a:pt x="233" y="132"/>
                  </a:lnTo>
                  <a:lnTo>
                    <a:pt x="232" y="135"/>
                  </a:lnTo>
                  <a:lnTo>
                    <a:pt x="229" y="136"/>
                  </a:lnTo>
                  <a:lnTo>
                    <a:pt x="228" y="138"/>
                  </a:lnTo>
                  <a:lnTo>
                    <a:pt x="227" y="136"/>
                  </a:lnTo>
                  <a:lnTo>
                    <a:pt x="223" y="138"/>
                  </a:lnTo>
                  <a:lnTo>
                    <a:pt x="223" y="140"/>
                  </a:lnTo>
                  <a:lnTo>
                    <a:pt x="216" y="141"/>
                  </a:lnTo>
                  <a:lnTo>
                    <a:pt x="213" y="143"/>
                  </a:lnTo>
                  <a:lnTo>
                    <a:pt x="209" y="143"/>
                  </a:lnTo>
                  <a:lnTo>
                    <a:pt x="211" y="146"/>
                  </a:lnTo>
                  <a:lnTo>
                    <a:pt x="213" y="147"/>
                  </a:lnTo>
                  <a:lnTo>
                    <a:pt x="211" y="148"/>
                  </a:lnTo>
                  <a:lnTo>
                    <a:pt x="212" y="153"/>
                  </a:lnTo>
                  <a:lnTo>
                    <a:pt x="203" y="156"/>
                  </a:lnTo>
                  <a:lnTo>
                    <a:pt x="201" y="155"/>
                  </a:lnTo>
                  <a:lnTo>
                    <a:pt x="199" y="158"/>
                  </a:lnTo>
                  <a:lnTo>
                    <a:pt x="198" y="155"/>
                  </a:lnTo>
                  <a:lnTo>
                    <a:pt x="193" y="152"/>
                  </a:lnTo>
                  <a:lnTo>
                    <a:pt x="185" y="152"/>
                  </a:lnTo>
                  <a:lnTo>
                    <a:pt x="181" y="149"/>
                  </a:lnTo>
                  <a:lnTo>
                    <a:pt x="181" y="148"/>
                  </a:lnTo>
                  <a:lnTo>
                    <a:pt x="179" y="148"/>
                  </a:lnTo>
                  <a:lnTo>
                    <a:pt x="179" y="149"/>
                  </a:lnTo>
                  <a:lnTo>
                    <a:pt x="179" y="156"/>
                  </a:lnTo>
                  <a:lnTo>
                    <a:pt x="179" y="158"/>
                  </a:lnTo>
                  <a:lnTo>
                    <a:pt x="179" y="158"/>
                  </a:lnTo>
                  <a:lnTo>
                    <a:pt x="179" y="158"/>
                  </a:lnTo>
                  <a:lnTo>
                    <a:pt x="179" y="156"/>
                  </a:lnTo>
                  <a:lnTo>
                    <a:pt x="179" y="158"/>
                  </a:lnTo>
                  <a:lnTo>
                    <a:pt x="179" y="158"/>
                  </a:lnTo>
                  <a:lnTo>
                    <a:pt x="179" y="158"/>
                  </a:lnTo>
                  <a:lnTo>
                    <a:pt x="179" y="156"/>
                  </a:lnTo>
                  <a:lnTo>
                    <a:pt x="179" y="149"/>
                  </a:lnTo>
                  <a:lnTo>
                    <a:pt x="179" y="147"/>
                  </a:lnTo>
                  <a:lnTo>
                    <a:pt x="178" y="143"/>
                  </a:lnTo>
                  <a:lnTo>
                    <a:pt x="178" y="142"/>
                  </a:lnTo>
                  <a:lnTo>
                    <a:pt x="175" y="142"/>
                  </a:lnTo>
                  <a:lnTo>
                    <a:pt x="175" y="141"/>
                  </a:lnTo>
                  <a:lnTo>
                    <a:pt x="175" y="140"/>
                  </a:lnTo>
                  <a:lnTo>
                    <a:pt x="175" y="140"/>
                  </a:lnTo>
                  <a:lnTo>
                    <a:pt x="175" y="140"/>
                  </a:lnTo>
                  <a:lnTo>
                    <a:pt x="176" y="138"/>
                  </a:lnTo>
                  <a:lnTo>
                    <a:pt x="174" y="135"/>
                  </a:lnTo>
                  <a:lnTo>
                    <a:pt x="174" y="134"/>
                  </a:lnTo>
                  <a:lnTo>
                    <a:pt x="173" y="132"/>
                  </a:lnTo>
                  <a:lnTo>
                    <a:pt x="173" y="132"/>
                  </a:lnTo>
                  <a:lnTo>
                    <a:pt x="173" y="130"/>
                  </a:lnTo>
                  <a:lnTo>
                    <a:pt x="173" y="129"/>
                  </a:lnTo>
                  <a:lnTo>
                    <a:pt x="172" y="127"/>
                  </a:lnTo>
                  <a:lnTo>
                    <a:pt x="160" y="127"/>
                  </a:lnTo>
                  <a:lnTo>
                    <a:pt x="158" y="127"/>
                  </a:lnTo>
                  <a:lnTo>
                    <a:pt x="158" y="126"/>
                  </a:lnTo>
                  <a:lnTo>
                    <a:pt x="158" y="125"/>
                  </a:lnTo>
                  <a:lnTo>
                    <a:pt x="154" y="122"/>
                  </a:lnTo>
                  <a:lnTo>
                    <a:pt x="151" y="119"/>
                  </a:lnTo>
                  <a:lnTo>
                    <a:pt x="151" y="119"/>
                  </a:lnTo>
                  <a:lnTo>
                    <a:pt x="148" y="118"/>
                  </a:lnTo>
                  <a:lnTo>
                    <a:pt x="146" y="118"/>
                  </a:lnTo>
                  <a:lnTo>
                    <a:pt x="146" y="118"/>
                  </a:lnTo>
                  <a:lnTo>
                    <a:pt x="143" y="118"/>
                  </a:lnTo>
                  <a:lnTo>
                    <a:pt x="143" y="116"/>
                  </a:lnTo>
                  <a:lnTo>
                    <a:pt x="143" y="115"/>
                  </a:lnTo>
                  <a:lnTo>
                    <a:pt x="143" y="116"/>
                  </a:lnTo>
                  <a:lnTo>
                    <a:pt x="141" y="115"/>
                  </a:lnTo>
                  <a:lnTo>
                    <a:pt x="141" y="115"/>
                  </a:lnTo>
                  <a:lnTo>
                    <a:pt x="140" y="114"/>
                  </a:lnTo>
                  <a:lnTo>
                    <a:pt x="139" y="112"/>
                  </a:lnTo>
                  <a:lnTo>
                    <a:pt x="139" y="112"/>
                  </a:lnTo>
                  <a:lnTo>
                    <a:pt x="139" y="110"/>
                  </a:lnTo>
                  <a:lnTo>
                    <a:pt x="136" y="109"/>
                  </a:lnTo>
                  <a:lnTo>
                    <a:pt x="136" y="109"/>
                  </a:lnTo>
                  <a:lnTo>
                    <a:pt x="132" y="107"/>
                  </a:lnTo>
                  <a:lnTo>
                    <a:pt x="131" y="107"/>
                  </a:lnTo>
                  <a:lnTo>
                    <a:pt x="129" y="107"/>
                  </a:lnTo>
                  <a:lnTo>
                    <a:pt x="129" y="106"/>
                  </a:lnTo>
                  <a:lnTo>
                    <a:pt x="128" y="107"/>
                  </a:lnTo>
                  <a:lnTo>
                    <a:pt x="127" y="107"/>
                  </a:lnTo>
                  <a:lnTo>
                    <a:pt x="123" y="106"/>
                  </a:lnTo>
                  <a:lnTo>
                    <a:pt x="123" y="107"/>
                  </a:lnTo>
                  <a:lnTo>
                    <a:pt x="121" y="107"/>
                  </a:lnTo>
                  <a:lnTo>
                    <a:pt x="121" y="107"/>
                  </a:lnTo>
                  <a:lnTo>
                    <a:pt x="118" y="106"/>
                  </a:lnTo>
                  <a:lnTo>
                    <a:pt x="116" y="103"/>
                  </a:lnTo>
                  <a:lnTo>
                    <a:pt x="116" y="103"/>
                  </a:lnTo>
                  <a:lnTo>
                    <a:pt x="114" y="103"/>
                  </a:lnTo>
                  <a:lnTo>
                    <a:pt x="113" y="102"/>
                  </a:lnTo>
                  <a:lnTo>
                    <a:pt x="113" y="102"/>
                  </a:lnTo>
                  <a:lnTo>
                    <a:pt x="112" y="102"/>
                  </a:lnTo>
                  <a:lnTo>
                    <a:pt x="109" y="102"/>
                  </a:lnTo>
                  <a:lnTo>
                    <a:pt x="108" y="102"/>
                  </a:lnTo>
                  <a:lnTo>
                    <a:pt x="108" y="101"/>
                  </a:lnTo>
                  <a:lnTo>
                    <a:pt x="107" y="101"/>
                  </a:lnTo>
                  <a:lnTo>
                    <a:pt x="106" y="101"/>
                  </a:lnTo>
                  <a:lnTo>
                    <a:pt x="106" y="101"/>
                  </a:lnTo>
                  <a:lnTo>
                    <a:pt x="103" y="101"/>
                  </a:lnTo>
                  <a:lnTo>
                    <a:pt x="102" y="100"/>
                  </a:lnTo>
                  <a:lnTo>
                    <a:pt x="102" y="98"/>
                  </a:lnTo>
                  <a:lnTo>
                    <a:pt x="100" y="96"/>
                  </a:lnTo>
                  <a:lnTo>
                    <a:pt x="100" y="96"/>
                  </a:lnTo>
                  <a:lnTo>
                    <a:pt x="100" y="96"/>
                  </a:lnTo>
                  <a:lnTo>
                    <a:pt x="99" y="95"/>
                  </a:lnTo>
                  <a:lnTo>
                    <a:pt x="99" y="94"/>
                  </a:lnTo>
                  <a:lnTo>
                    <a:pt x="99" y="93"/>
                  </a:lnTo>
                  <a:lnTo>
                    <a:pt x="96" y="93"/>
                  </a:lnTo>
                  <a:lnTo>
                    <a:pt x="98" y="95"/>
                  </a:lnTo>
                  <a:lnTo>
                    <a:pt x="95" y="96"/>
                  </a:lnTo>
                  <a:lnTo>
                    <a:pt x="93" y="95"/>
                  </a:lnTo>
                  <a:lnTo>
                    <a:pt x="92" y="95"/>
                  </a:lnTo>
                  <a:lnTo>
                    <a:pt x="89" y="93"/>
                  </a:lnTo>
                  <a:lnTo>
                    <a:pt x="89" y="94"/>
                  </a:lnTo>
                  <a:lnTo>
                    <a:pt x="88" y="95"/>
                  </a:lnTo>
                  <a:lnTo>
                    <a:pt x="87" y="94"/>
                  </a:lnTo>
                  <a:lnTo>
                    <a:pt x="85" y="94"/>
                  </a:lnTo>
                  <a:lnTo>
                    <a:pt x="83" y="96"/>
                  </a:lnTo>
                  <a:lnTo>
                    <a:pt x="83" y="96"/>
                  </a:lnTo>
                  <a:lnTo>
                    <a:pt x="85" y="96"/>
                  </a:lnTo>
                  <a:lnTo>
                    <a:pt x="83" y="98"/>
                  </a:lnTo>
                  <a:lnTo>
                    <a:pt x="83" y="99"/>
                  </a:lnTo>
                  <a:lnTo>
                    <a:pt x="81" y="98"/>
                  </a:lnTo>
                  <a:lnTo>
                    <a:pt x="79" y="99"/>
                  </a:lnTo>
                  <a:lnTo>
                    <a:pt x="76" y="98"/>
                  </a:lnTo>
                  <a:lnTo>
                    <a:pt x="76" y="98"/>
                  </a:lnTo>
                  <a:lnTo>
                    <a:pt x="75" y="98"/>
                  </a:lnTo>
                  <a:lnTo>
                    <a:pt x="74" y="96"/>
                  </a:lnTo>
                  <a:lnTo>
                    <a:pt x="69" y="98"/>
                  </a:lnTo>
                  <a:lnTo>
                    <a:pt x="69" y="100"/>
                  </a:lnTo>
                  <a:lnTo>
                    <a:pt x="67" y="100"/>
                  </a:lnTo>
                  <a:lnTo>
                    <a:pt x="65" y="100"/>
                  </a:lnTo>
                  <a:lnTo>
                    <a:pt x="62" y="103"/>
                  </a:lnTo>
                  <a:lnTo>
                    <a:pt x="61" y="105"/>
                  </a:lnTo>
                  <a:lnTo>
                    <a:pt x="60" y="107"/>
                  </a:lnTo>
                  <a:lnTo>
                    <a:pt x="61" y="108"/>
                  </a:lnTo>
                  <a:lnTo>
                    <a:pt x="60" y="109"/>
                  </a:lnTo>
                  <a:lnTo>
                    <a:pt x="60" y="110"/>
                  </a:lnTo>
                  <a:lnTo>
                    <a:pt x="56" y="110"/>
                  </a:lnTo>
                  <a:lnTo>
                    <a:pt x="54" y="113"/>
                  </a:lnTo>
                  <a:lnTo>
                    <a:pt x="53" y="113"/>
                  </a:lnTo>
                  <a:lnTo>
                    <a:pt x="53" y="113"/>
                  </a:lnTo>
                  <a:lnTo>
                    <a:pt x="46" y="113"/>
                  </a:lnTo>
                  <a:lnTo>
                    <a:pt x="46" y="113"/>
                  </a:lnTo>
                  <a:lnTo>
                    <a:pt x="47" y="108"/>
                  </a:lnTo>
                  <a:lnTo>
                    <a:pt x="47" y="108"/>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264" name="Trinidad and Tobago">
              <a:extLst>
                <a:ext uri="{FF2B5EF4-FFF2-40B4-BE49-F238E27FC236}">
                  <a16:creationId xmlns:a16="http://schemas.microsoft.com/office/drawing/2014/main" id="{87973B27-6570-DF4A-AD9A-DEBF2DBDC24E}"/>
                </a:ext>
              </a:extLst>
            </p:cNvPr>
            <p:cNvSpPr>
              <a:spLocks/>
            </p:cNvSpPr>
            <p:nvPr/>
          </p:nvSpPr>
          <p:spPr bwMode="auto">
            <a:xfrm>
              <a:off x="4732344" y="3662867"/>
              <a:ext cx="30616" cy="24786"/>
            </a:xfrm>
            <a:custGeom>
              <a:avLst/>
              <a:gdLst>
                <a:gd name="T0" fmla="*/ 17 w 21"/>
                <a:gd name="T1" fmla="*/ 5 h 17"/>
                <a:gd name="T2" fmla="*/ 16 w 21"/>
                <a:gd name="T3" fmla="*/ 8 h 17"/>
                <a:gd name="T4" fmla="*/ 19 w 21"/>
                <a:gd name="T5" fmla="*/ 10 h 17"/>
                <a:gd name="T6" fmla="*/ 17 w 21"/>
                <a:gd name="T7" fmla="*/ 13 h 17"/>
                <a:gd name="T8" fmla="*/ 13 w 21"/>
                <a:gd name="T9" fmla="*/ 15 h 17"/>
                <a:gd name="T10" fmla="*/ 10 w 21"/>
                <a:gd name="T11" fmla="*/ 17 h 17"/>
                <a:gd name="T12" fmla="*/ 6 w 21"/>
                <a:gd name="T13" fmla="*/ 17 h 17"/>
                <a:gd name="T14" fmla="*/ 2 w 21"/>
                <a:gd name="T15" fmla="*/ 16 h 17"/>
                <a:gd name="T16" fmla="*/ 0 w 21"/>
                <a:gd name="T17" fmla="*/ 15 h 17"/>
                <a:gd name="T18" fmla="*/ 3 w 21"/>
                <a:gd name="T19" fmla="*/ 12 h 17"/>
                <a:gd name="T20" fmla="*/ 8 w 21"/>
                <a:gd name="T21" fmla="*/ 11 h 17"/>
                <a:gd name="T22" fmla="*/ 7 w 21"/>
                <a:gd name="T23" fmla="*/ 8 h 17"/>
                <a:gd name="T24" fmla="*/ 8 w 21"/>
                <a:gd name="T25" fmla="*/ 5 h 17"/>
                <a:gd name="T26" fmla="*/ 8 w 21"/>
                <a:gd name="T27" fmla="*/ 3 h 17"/>
                <a:gd name="T28" fmla="*/ 7 w 21"/>
                <a:gd name="T29" fmla="*/ 0 h 17"/>
                <a:gd name="T30" fmla="*/ 9 w 21"/>
                <a:gd name="T31" fmla="*/ 0 h 17"/>
                <a:gd name="T32" fmla="*/ 12 w 21"/>
                <a:gd name="T33" fmla="*/ 0 h 17"/>
                <a:gd name="T34" fmla="*/ 14 w 21"/>
                <a:gd name="T35" fmla="*/ 0 h 17"/>
                <a:gd name="T36" fmla="*/ 14 w 21"/>
                <a:gd name="T37" fmla="*/ 2 h 17"/>
                <a:gd name="T38" fmla="*/ 16 w 21"/>
                <a:gd name="T39" fmla="*/ 0 h 17"/>
                <a:gd name="T40" fmla="*/ 19 w 21"/>
                <a:gd name="T41" fmla="*/ 0 h 17"/>
                <a:gd name="T42" fmla="*/ 19 w 21"/>
                <a:gd name="T43" fmla="*/ 3 h 17"/>
                <a:gd name="T44" fmla="*/ 21 w 21"/>
                <a:gd name="T45" fmla="*/ 5 h 17"/>
                <a:gd name="T46" fmla="*/ 17 w 21"/>
                <a:gd name="T47" fmla="*/ 5 h 17"/>
                <a:gd name="T48" fmla="*/ 17 w 21"/>
                <a:gd name="T49" fmla="*/ 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1" h="17">
                  <a:moveTo>
                    <a:pt x="17" y="5"/>
                  </a:moveTo>
                  <a:lnTo>
                    <a:pt x="16" y="8"/>
                  </a:lnTo>
                  <a:lnTo>
                    <a:pt x="19" y="10"/>
                  </a:lnTo>
                  <a:lnTo>
                    <a:pt x="17" y="13"/>
                  </a:lnTo>
                  <a:lnTo>
                    <a:pt x="13" y="15"/>
                  </a:lnTo>
                  <a:lnTo>
                    <a:pt x="10" y="17"/>
                  </a:lnTo>
                  <a:lnTo>
                    <a:pt x="6" y="17"/>
                  </a:lnTo>
                  <a:lnTo>
                    <a:pt x="2" y="16"/>
                  </a:lnTo>
                  <a:lnTo>
                    <a:pt x="0" y="15"/>
                  </a:lnTo>
                  <a:lnTo>
                    <a:pt x="3" y="12"/>
                  </a:lnTo>
                  <a:lnTo>
                    <a:pt x="8" y="11"/>
                  </a:lnTo>
                  <a:lnTo>
                    <a:pt x="7" y="8"/>
                  </a:lnTo>
                  <a:lnTo>
                    <a:pt x="8" y="5"/>
                  </a:lnTo>
                  <a:lnTo>
                    <a:pt x="8" y="3"/>
                  </a:lnTo>
                  <a:lnTo>
                    <a:pt x="7" y="0"/>
                  </a:lnTo>
                  <a:lnTo>
                    <a:pt x="9" y="0"/>
                  </a:lnTo>
                  <a:lnTo>
                    <a:pt x="12" y="0"/>
                  </a:lnTo>
                  <a:lnTo>
                    <a:pt x="14" y="0"/>
                  </a:lnTo>
                  <a:lnTo>
                    <a:pt x="14" y="2"/>
                  </a:lnTo>
                  <a:lnTo>
                    <a:pt x="16" y="0"/>
                  </a:lnTo>
                  <a:lnTo>
                    <a:pt x="19" y="0"/>
                  </a:lnTo>
                  <a:lnTo>
                    <a:pt x="19" y="3"/>
                  </a:lnTo>
                  <a:lnTo>
                    <a:pt x="21" y="5"/>
                  </a:lnTo>
                  <a:lnTo>
                    <a:pt x="17" y="5"/>
                  </a:lnTo>
                  <a:lnTo>
                    <a:pt x="17" y="5"/>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265" name="Togo">
              <a:extLst>
                <a:ext uri="{FF2B5EF4-FFF2-40B4-BE49-F238E27FC236}">
                  <a16:creationId xmlns:a16="http://schemas.microsoft.com/office/drawing/2014/main" id="{DE673BC4-B54A-E04D-BC8E-6C9514C7F035}"/>
                </a:ext>
              </a:extLst>
            </p:cNvPr>
            <p:cNvSpPr>
              <a:spLocks/>
            </p:cNvSpPr>
            <p:nvPr/>
          </p:nvSpPr>
          <p:spPr bwMode="auto">
            <a:xfrm>
              <a:off x="6360872" y="3652662"/>
              <a:ext cx="49570" cy="151626"/>
            </a:xfrm>
            <a:custGeom>
              <a:avLst/>
              <a:gdLst>
                <a:gd name="T0" fmla="*/ 4 w 34"/>
                <a:gd name="T1" fmla="*/ 0 h 104"/>
                <a:gd name="T2" fmla="*/ 1 w 34"/>
                <a:gd name="T3" fmla="*/ 5 h 104"/>
                <a:gd name="T4" fmla="*/ 0 w 34"/>
                <a:gd name="T5" fmla="*/ 9 h 104"/>
                <a:gd name="T6" fmla="*/ 2 w 34"/>
                <a:gd name="T7" fmla="*/ 12 h 104"/>
                <a:gd name="T8" fmla="*/ 7 w 34"/>
                <a:gd name="T9" fmla="*/ 15 h 104"/>
                <a:gd name="T10" fmla="*/ 10 w 34"/>
                <a:gd name="T11" fmla="*/ 18 h 104"/>
                <a:gd name="T12" fmla="*/ 8 w 34"/>
                <a:gd name="T13" fmla="*/ 22 h 104"/>
                <a:gd name="T14" fmla="*/ 8 w 34"/>
                <a:gd name="T15" fmla="*/ 23 h 104"/>
                <a:gd name="T16" fmla="*/ 8 w 34"/>
                <a:gd name="T17" fmla="*/ 26 h 104"/>
                <a:gd name="T18" fmla="*/ 7 w 34"/>
                <a:gd name="T19" fmla="*/ 29 h 104"/>
                <a:gd name="T20" fmla="*/ 7 w 34"/>
                <a:gd name="T21" fmla="*/ 30 h 104"/>
                <a:gd name="T22" fmla="*/ 7 w 34"/>
                <a:gd name="T23" fmla="*/ 32 h 104"/>
                <a:gd name="T24" fmla="*/ 4 w 34"/>
                <a:gd name="T25" fmla="*/ 33 h 104"/>
                <a:gd name="T26" fmla="*/ 4 w 34"/>
                <a:gd name="T27" fmla="*/ 35 h 104"/>
                <a:gd name="T28" fmla="*/ 5 w 34"/>
                <a:gd name="T29" fmla="*/ 36 h 104"/>
                <a:gd name="T30" fmla="*/ 7 w 34"/>
                <a:gd name="T31" fmla="*/ 35 h 104"/>
                <a:gd name="T32" fmla="*/ 12 w 34"/>
                <a:gd name="T33" fmla="*/ 36 h 104"/>
                <a:gd name="T34" fmla="*/ 11 w 34"/>
                <a:gd name="T35" fmla="*/ 39 h 104"/>
                <a:gd name="T36" fmla="*/ 10 w 34"/>
                <a:gd name="T37" fmla="*/ 44 h 104"/>
                <a:gd name="T38" fmla="*/ 11 w 34"/>
                <a:gd name="T39" fmla="*/ 50 h 104"/>
                <a:gd name="T40" fmla="*/ 10 w 34"/>
                <a:gd name="T41" fmla="*/ 52 h 104"/>
                <a:gd name="T42" fmla="*/ 13 w 34"/>
                <a:gd name="T43" fmla="*/ 55 h 104"/>
                <a:gd name="T44" fmla="*/ 14 w 34"/>
                <a:gd name="T45" fmla="*/ 60 h 104"/>
                <a:gd name="T46" fmla="*/ 13 w 34"/>
                <a:gd name="T47" fmla="*/ 62 h 104"/>
                <a:gd name="T48" fmla="*/ 12 w 34"/>
                <a:gd name="T49" fmla="*/ 62 h 104"/>
                <a:gd name="T50" fmla="*/ 13 w 34"/>
                <a:gd name="T51" fmla="*/ 69 h 104"/>
                <a:gd name="T52" fmla="*/ 13 w 34"/>
                <a:gd name="T53" fmla="*/ 71 h 104"/>
                <a:gd name="T54" fmla="*/ 11 w 34"/>
                <a:gd name="T55" fmla="*/ 76 h 104"/>
                <a:gd name="T56" fmla="*/ 13 w 34"/>
                <a:gd name="T57" fmla="*/ 78 h 104"/>
                <a:gd name="T58" fmla="*/ 13 w 34"/>
                <a:gd name="T59" fmla="*/ 82 h 104"/>
                <a:gd name="T60" fmla="*/ 13 w 34"/>
                <a:gd name="T61" fmla="*/ 85 h 104"/>
                <a:gd name="T62" fmla="*/ 12 w 34"/>
                <a:gd name="T63" fmla="*/ 90 h 104"/>
                <a:gd name="T64" fmla="*/ 13 w 34"/>
                <a:gd name="T65" fmla="*/ 93 h 104"/>
                <a:gd name="T66" fmla="*/ 15 w 34"/>
                <a:gd name="T67" fmla="*/ 93 h 104"/>
                <a:gd name="T68" fmla="*/ 18 w 34"/>
                <a:gd name="T69" fmla="*/ 99 h 104"/>
                <a:gd name="T70" fmla="*/ 21 w 34"/>
                <a:gd name="T71" fmla="*/ 103 h 104"/>
                <a:gd name="T72" fmla="*/ 24 w 34"/>
                <a:gd name="T73" fmla="*/ 104 h 104"/>
                <a:gd name="T74" fmla="*/ 32 w 34"/>
                <a:gd name="T75" fmla="*/ 102 h 104"/>
                <a:gd name="T76" fmla="*/ 32 w 34"/>
                <a:gd name="T77" fmla="*/ 100 h 104"/>
                <a:gd name="T78" fmla="*/ 34 w 34"/>
                <a:gd name="T79" fmla="*/ 100 h 104"/>
                <a:gd name="T80" fmla="*/ 31 w 34"/>
                <a:gd name="T81" fmla="*/ 93 h 104"/>
                <a:gd name="T82" fmla="*/ 30 w 34"/>
                <a:gd name="T83" fmla="*/ 85 h 104"/>
                <a:gd name="T84" fmla="*/ 31 w 34"/>
                <a:gd name="T85" fmla="*/ 57 h 104"/>
                <a:gd name="T86" fmla="*/ 31 w 34"/>
                <a:gd name="T87" fmla="*/ 53 h 104"/>
                <a:gd name="T88" fmla="*/ 30 w 34"/>
                <a:gd name="T89" fmla="*/ 40 h 104"/>
                <a:gd name="T90" fmla="*/ 26 w 34"/>
                <a:gd name="T91" fmla="*/ 33 h 104"/>
                <a:gd name="T92" fmla="*/ 15 w 34"/>
                <a:gd name="T93" fmla="*/ 16 h 104"/>
                <a:gd name="T94" fmla="*/ 17 w 34"/>
                <a:gd name="T95" fmla="*/ 6 h 104"/>
                <a:gd name="T96" fmla="*/ 18 w 34"/>
                <a:gd name="T97" fmla="*/ 5 h 104"/>
                <a:gd name="T98" fmla="*/ 18 w 34"/>
                <a:gd name="T99" fmla="*/ 3 h 104"/>
                <a:gd name="T100" fmla="*/ 14 w 34"/>
                <a:gd name="T101" fmla="*/ 4 h 104"/>
                <a:gd name="T102" fmla="*/ 11 w 34"/>
                <a:gd name="T103" fmla="*/ 3 h 104"/>
                <a:gd name="T104" fmla="*/ 4 w 34"/>
                <a:gd name="T105" fmla="*/ 0 h 104"/>
                <a:gd name="T106" fmla="*/ 4 w 34"/>
                <a:gd name="T107" fmla="*/ 0 h 1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 h="104">
                  <a:moveTo>
                    <a:pt x="4" y="0"/>
                  </a:moveTo>
                  <a:lnTo>
                    <a:pt x="1" y="5"/>
                  </a:lnTo>
                  <a:lnTo>
                    <a:pt x="0" y="9"/>
                  </a:lnTo>
                  <a:lnTo>
                    <a:pt x="2" y="12"/>
                  </a:lnTo>
                  <a:lnTo>
                    <a:pt x="7" y="15"/>
                  </a:lnTo>
                  <a:lnTo>
                    <a:pt x="10" y="18"/>
                  </a:lnTo>
                  <a:lnTo>
                    <a:pt x="8" y="22"/>
                  </a:lnTo>
                  <a:lnTo>
                    <a:pt x="8" y="23"/>
                  </a:lnTo>
                  <a:lnTo>
                    <a:pt x="8" y="26"/>
                  </a:lnTo>
                  <a:lnTo>
                    <a:pt x="7" y="29"/>
                  </a:lnTo>
                  <a:lnTo>
                    <a:pt x="7" y="30"/>
                  </a:lnTo>
                  <a:lnTo>
                    <a:pt x="7" y="32"/>
                  </a:lnTo>
                  <a:lnTo>
                    <a:pt x="4" y="33"/>
                  </a:lnTo>
                  <a:lnTo>
                    <a:pt x="4" y="35"/>
                  </a:lnTo>
                  <a:lnTo>
                    <a:pt x="5" y="36"/>
                  </a:lnTo>
                  <a:lnTo>
                    <a:pt x="7" y="35"/>
                  </a:lnTo>
                  <a:lnTo>
                    <a:pt x="12" y="36"/>
                  </a:lnTo>
                  <a:lnTo>
                    <a:pt x="11" y="39"/>
                  </a:lnTo>
                  <a:lnTo>
                    <a:pt x="10" y="44"/>
                  </a:lnTo>
                  <a:lnTo>
                    <a:pt x="11" y="50"/>
                  </a:lnTo>
                  <a:lnTo>
                    <a:pt x="10" y="52"/>
                  </a:lnTo>
                  <a:lnTo>
                    <a:pt x="13" y="55"/>
                  </a:lnTo>
                  <a:lnTo>
                    <a:pt x="14" y="60"/>
                  </a:lnTo>
                  <a:lnTo>
                    <a:pt x="13" y="62"/>
                  </a:lnTo>
                  <a:lnTo>
                    <a:pt x="12" y="62"/>
                  </a:lnTo>
                  <a:lnTo>
                    <a:pt x="13" y="69"/>
                  </a:lnTo>
                  <a:lnTo>
                    <a:pt x="13" y="71"/>
                  </a:lnTo>
                  <a:lnTo>
                    <a:pt x="11" y="76"/>
                  </a:lnTo>
                  <a:lnTo>
                    <a:pt x="13" y="78"/>
                  </a:lnTo>
                  <a:lnTo>
                    <a:pt x="13" y="82"/>
                  </a:lnTo>
                  <a:lnTo>
                    <a:pt x="13" y="85"/>
                  </a:lnTo>
                  <a:lnTo>
                    <a:pt x="12" y="90"/>
                  </a:lnTo>
                  <a:lnTo>
                    <a:pt x="13" y="93"/>
                  </a:lnTo>
                  <a:lnTo>
                    <a:pt x="15" y="93"/>
                  </a:lnTo>
                  <a:lnTo>
                    <a:pt x="18" y="99"/>
                  </a:lnTo>
                  <a:lnTo>
                    <a:pt x="21" y="103"/>
                  </a:lnTo>
                  <a:lnTo>
                    <a:pt x="24" y="104"/>
                  </a:lnTo>
                  <a:lnTo>
                    <a:pt x="32" y="102"/>
                  </a:lnTo>
                  <a:lnTo>
                    <a:pt x="32" y="100"/>
                  </a:lnTo>
                  <a:lnTo>
                    <a:pt x="34" y="100"/>
                  </a:lnTo>
                  <a:lnTo>
                    <a:pt x="31" y="93"/>
                  </a:lnTo>
                  <a:lnTo>
                    <a:pt x="30" y="85"/>
                  </a:lnTo>
                  <a:lnTo>
                    <a:pt x="31" y="57"/>
                  </a:lnTo>
                  <a:lnTo>
                    <a:pt x="31" y="53"/>
                  </a:lnTo>
                  <a:lnTo>
                    <a:pt x="30" y="40"/>
                  </a:lnTo>
                  <a:lnTo>
                    <a:pt x="26" y="33"/>
                  </a:lnTo>
                  <a:lnTo>
                    <a:pt x="15" y="16"/>
                  </a:lnTo>
                  <a:lnTo>
                    <a:pt x="17" y="6"/>
                  </a:lnTo>
                  <a:lnTo>
                    <a:pt x="18" y="5"/>
                  </a:lnTo>
                  <a:lnTo>
                    <a:pt x="18" y="3"/>
                  </a:lnTo>
                  <a:lnTo>
                    <a:pt x="14" y="4"/>
                  </a:lnTo>
                  <a:lnTo>
                    <a:pt x="11" y="3"/>
                  </a:lnTo>
                  <a:lnTo>
                    <a:pt x="4" y="0"/>
                  </a:lnTo>
                  <a:lnTo>
                    <a:pt x="4" y="0"/>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266" name="Timor-Leste (East Timor)">
              <a:extLst>
                <a:ext uri="{FF2B5EF4-FFF2-40B4-BE49-F238E27FC236}">
                  <a16:creationId xmlns:a16="http://schemas.microsoft.com/office/drawing/2014/main" id="{C9F97423-2FC6-B140-A62B-4D9F22C6494E}"/>
                </a:ext>
              </a:extLst>
            </p:cNvPr>
            <p:cNvSpPr>
              <a:spLocks/>
            </p:cNvSpPr>
            <p:nvPr/>
          </p:nvSpPr>
          <p:spPr bwMode="auto">
            <a:xfrm>
              <a:off x="9661669" y="4234383"/>
              <a:ext cx="59776" cy="36449"/>
            </a:xfrm>
            <a:custGeom>
              <a:avLst/>
              <a:gdLst>
                <a:gd name="T0" fmla="*/ 1 w 41"/>
                <a:gd name="T1" fmla="*/ 25 h 25"/>
                <a:gd name="T2" fmla="*/ 1 w 41"/>
                <a:gd name="T3" fmla="*/ 25 h 25"/>
                <a:gd name="T4" fmla="*/ 1 w 41"/>
                <a:gd name="T5" fmla="*/ 25 h 25"/>
                <a:gd name="T6" fmla="*/ 1 w 41"/>
                <a:gd name="T7" fmla="*/ 24 h 25"/>
                <a:gd name="T8" fmla="*/ 0 w 41"/>
                <a:gd name="T9" fmla="*/ 24 h 25"/>
                <a:gd name="T10" fmla="*/ 0 w 41"/>
                <a:gd name="T11" fmla="*/ 24 h 25"/>
                <a:gd name="T12" fmla="*/ 0 w 41"/>
                <a:gd name="T13" fmla="*/ 24 h 25"/>
                <a:gd name="T14" fmla="*/ 0 w 41"/>
                <a:gd name="T15" fmla="*/ 22 h 25"/>
                <a:gd name="T16" fmla="*/ 0 w 41"/>
                <a:gd name="T17" fmla="*/ 22 h 25"/>
                <a:gd name="T18" fmla="*/ 0 w 41"/>
                <a:gd name="T19" fmla="*/ 22 h 25"/>
                <a:gd name="T20" fmla="*/ 0 w 41"/>
                <a:gd name="T21" fmla="*/ 22 h 25"/>
                <a:gd name="T22" fmla="*/ 0 w 41"/>
                <a:gd name="T23" fmla="*/ 21 h 25"/>
                <a:gd name="T24" fmla="*/ 0 w 41"/>
                <a:gd name="T25" fmla="*/ 21 h 25"/>
                <a:gd name="T26" fmla="*/ 0 w 41"/>
                <a:gd name="T27" fmla="*/ 20 h 25"/>
                <a:gd name="T28" fmla="*/ 0 w 41"/>
                <a:gd name="T29" fmla="*/ 20 h 25"/>
                <a:gd name="T30" fmla="*/ 0 w 41"/>
                <a:gd name="T31" fmla="*/ 20 h 25"/>
                <a:gd name="T32" fmla="*/ 0 w 41"/>
                <a:gd name="T33" fmla="*/ 19 h 25"/>
                <a:gd name="T34" fmla="*/ 0 w 41"/>
                <a:gd name="T35" fmla="*/ 19 h 25"/>
                <a:gd name="T36" fmla="*/ 1 w 41"/>
                <a:gd name="T37" fmla="*/ 19 h 25"/>
                <a:gd name="T38" fmla="*/ 1 w 41"/>
                <a:gd name="T39" fmla="*/ 18 h 25"/>
                <a:gd name="T40" fmla="*/ 1 w 41"/>
                <a:gd name="T41" fmla="*/ 18 h 25"/>
                <a:gd name="T42" fmla="*/ 1 w 41"/>
                <a:gd name="T43" fmla="*/ 18 h 25"/>
                <a:gd name="T44" fmla="*/ 1 w 41"/>
                <a:gd name="T45" fmla="*/ 18 h 25"/>
                <a:gd name="T46" fmla="*/ 1 w 41"/>
                <a:gd name="T47" fmla="*/ 18 h 25"/>
                <a:gd name="T48" fmla="*/ 3 w 41"/>
                <a:gd name="T49" fmla="*/ 18 h 25"/>
                <a:gd name="T50" fmla="*/ 3 w 41"/>
                <a:gd name="T51" fmla="*/ 18 h 25"/>
                <a:gd name="T52" fmla="*/ 3 w 41"/>
                <a:gd name="T53" fmla="*/ 18 h 25"/>
                <a:gd name="T54" fmla="*/ 3 w 41"/>
                <a:gd name="T55" fmla="*/ 17 h 25"/>
                <a:gd name="T56" fmla="*/ 3 w 41"/>
                <a:gd name="T57" fmla="*/ 17 h 25"/>
                <a:gd name="T58" fmla="*/ 3 w 41"/>
                <a:gd name="T59" fmla="*/ 17 h 25"/>
                <a:gd name="T60" fmla="*/ 3 w 41"/>
                <a:gd name="T61" fmla="*/ 17 h 25"/>
                <a:gd name="T62" fmla="*/ 3 w 41"/>
                <a:gd name="T63" fmla="*/ 17 h 25"/>
                <a:gd name="T64" fmla="*/ 3 w 41"/>
                <a:gd name="T65" fmla="*/ 17 h 25"/>
                <a:gd name="T66" fmla="*/ 3 w 41"/>
                <a:gd name="T67" fmla="*/ 15 h 25"/>
                <a:gd name="T68" fmla="*/ 3 w 41"/>
                <a:gd name="T69" fmla="*/ 15 h 25"/>
                <a:gd name="T70" fmla="*/ 3 w 41"/>
                <a:gd name="T71" fmla="*/ 15 h 25"/>
                <a:gd name="T72" fmla="*/ 3 w 41"/>
                <a:gd name="T73" fmla="*/ 14 h 25"/>
                <a:gd name="T74" fmla="*/ 3 w 41"/>
                <a:gd name="T75" fmla="*/ 14 h 25"/>
                <a:gd name="T76" fmla="*/ 3 w 41"/>
                <a:gd name="T77" fmla="*/ 14 h 25"/>
                <a:gd name="T78" fmla="*/ 3 w 41"/>
                <a:gd name="T79" fmla="*/ 14 h 25"/>
                <a:gd name="T80" fmla="*/ 3 w 41"/>
                <a:gd name="T81" fmla="*/ 14 h 25"/>
                <a:gd name="T82" fmla="*/ 3 w 41"/>
                <a:gd name="T83" fmla="*/ 14 h 25"/>
                <a:gd name="T84" fmla="*/ 3 w 41"/>
                <a:gd name="T85" fmla="*/ 13 h 25"/>
                <a:gd name="T86" fmla="*/ 3 w 41"/>
                <a:gd name="T87" fmla="*/ 13 h 25"/>
                <a:gd name="T88" fmla="*/ 3 w 41"/>
                <a:gd name="T89" fmla="*/ 13 h 25"/>
                <a:gd name="T90" fmla="*/ 1 w 41"/>
                <a:gd name="T91" fmla="*/ 13 h 25"/>
                <a:gd name="T92" fmla="*/ 1 w 41"/>
                <a:gd name="T93" fmla="*/ 13 h 25"/>
                <a:gd name="T94" fmla="*/ 1 w 41"/>
                <a:gd name="T95" fmla="*/ 13 h 25"/>
                <a:gd name="T96" fmla="*/ 1 w 41"/>
                <a:gd name="T97" fmla="*/ 13 h 25"/>
                <a:gd name="T98" fmla="*/ 1 w 41"/>
                <a:gd name="T99" fmla="*/ 13 h 25"/>
                <a:gd name="T100" fmla="*/ 1 w 41"/>
                <a:gd name="T101" fmla="*/ 13 h 25"/>
                <a:gd name="T102" fmla="*/ 1 w 41"/>
                <a:gd name="T103" fmla="*/ 13 h 25"/>
                <a:gd name="T104" fmla="*/ 1 w 41"/>
                <a:gd name="T105" fmla="*/ 13 h 25"/>
                <a:gd name="T106" fmla="*/ 0 w 41"/>
                <a:gd name="T107" fmla="*/ 13 h 25"/>
                <a:gd name="T108" fmla="*/ 0 w 41"/>
                <a:gd name="T109" fmla="*/ 13 h 25"/>
                <a:gd name="T110" fmla="*/ 0 w 41"/>
                <a:gd name="T111" fmla="*/ 13 h 25"/>
                <a:gd name="T112" fmla="*/ 0 w 41"/>
                <a:gd name="T113" fmla="*/ 13 h 25"/>
                <a:gd name="T114" fmla="*/ 0 w 41"/>
                <a:gd name="T115" fmla="*/ 12 h 25"/>
                <a:gd name="T116" fmla="*/ 4 w 41"/>
                <a:gd name="T117" fmla="*/ 7 h 25"/>
                <a:gd name="T118" fmla="*/ 23 w 41"/>
                <a:gd name="T119" fmla="*/ 5 h 25"/>
                <a:gd name="T120" fmla="*/ 38 w 41"/>
                <a:gd name="T121" fmla="*/ 2 h 25"/>
                <a:gd name="T122" fmla="*/ 37 w 41"/>
                <a:gd name="T123" fmla="*/ 8 h 25"/>
                <a:gd name="T124" fmla="*/ 18 w 41"/>
                <a:gd name="T125" fmla="*/ 1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41" h="25">
                  <a:moveTo>
                    <a:pt x="1" y="24"/>
                  </a:moveTo>
                  <a:lnTo>
                    <a:pt x="1" y="25"/>
                  </a:lnTo>
                  <a:lnTo>
                    <a:pt x="1" y="25"/>
                  </a:lnTo>
                  <a:lnTo>
                    <a:pt x="1" y="25"/>
                  </a:lnTo>
                  <a:lnTo>
                    <a:pt x="1" y="25"/>
                  </a:lnTo>
                  <a:lnTo>
                    <a:pt x="1" y="25"/>
                  </a:lnTo>
                  <a:lnTo>
                    <a:pt x="1" y="25"/>
                  </a:lnTo>
                  <a:lnTo>
                    <a:pt x="1" y="25"/>
                  </a:lnTo>
                  <a:lnTo>
                    <a:pt x="1" y="25"/>
                  </a:lnTo>
                  <a:lnTo>
                    <a:pt x="1" y="25"/>
                  </a:lnTo>
                  <a:lnTo>
                    <a:pt x="1" y="25"/>
                  </a:lnTo>
                  <a:lnTo>
                    <a:pt x="1" y="25"/>
                  </a:lnTo>
                  <a:lnTo>
                    <a:pt x="1" y="24"/>
                  </a:lnTo>
                  <a:lnTo>
                    <a:pt x="1" y="24"/>
                  </a:lnTo>
                  <a:lnTo>
                    <a:pt x="1" y="24"/>
                  </a:lnTo>
                  <a:lnTo>
                    <a:pt x="1" y="24"/>
                  </a:lnTo>
                  <a:lnTo>
                    <a:pt x="0" y="24"/>
                  </a:lnTo>
                  <a:lnTo>
                    <a:pt x="0" y="24"/>
                  </a:lnTo>
                  <a:lnTo>
                    <a:pt x="0" y="24"/>
                  </a:lnTo>
                  <a:lnTo>
                    <a:pt x="0" y="24"/>
                  </a:lnTo>
                  <a:lnTo>
                    <a:pt x="0" y="24"/>
                  </a:lnTo>
                  <a:lnTo>
                    <a:pt x="0" y="24"/>
                  </a:lnTo>
                  <a:lnTo>
                    <a:pt x="0" y="24"/>
                  </a:lnTo>
                  <a:lnTo>
                    <a:pt x="0" y="24"/>
                  </a:lnTo>
                  <a:lnTo>
                    <a:pt x="0" y="24"/>
                  </a:lnTo>
                  <a:lnTo>
                    <a:pt x="0" y="24"/>
                  </a:lnTo>
                  <a:lnTo>
                    <a:pt x="0" y="24"/>
                  </a:lnTo>
                  <a:lnTo>
                    <a:pt x="0" y="24"/>
                  </a:lnTo>
                  <a:lnTo>
                    <a:pt x="0" y="22"/>
                  </a:lnTo>
                  <a:lnTo>
                    <a:pt x="0" y="22"/>
                  </a:lnTo>
                  <a:lnTo>
                    <a:pt x="0" y="22"/>
                  </a:lnTo>
                  <a:lnTo>
                    <a:pt x="0" y="22"/>
                  </a:lnTo>
                  <a:lnTo>
                    <a:pt x="0" y="22"/>
                  </a:lnTo>
                  <a:lnTo>
                    <a:pt x="0" y="22"/>
                  </a:lnTo>
                  <a:lnTo>
                    <a:pt x="0" y="22"/>
                  </a:lnTo>
                  <a:lnTo>
                    <a:pt x="0" y="22"/>
                  </a:lnTo>
                  <a:lnTo>
                    <a:pt x="0" y="22"/>
                  </a:lnTo>
                  <a:lnTo>
                    <a:pt x="0" y="22"/>
                  </a:lnTo>
                  <a:lnTo>
                    <a:pt x="0" y="22"/>
                  </a:lnTo>
                  <a:lnTo>
                    <a:pt x="0" y="22"/>
                  </a:lnTo>
                  <a:lnTo>
                    <a:pt x="0" y="22"/>
                  </a:lnTo>
                  <a:lnTo>
                    <a:pt x="0" y="22"/>
                  </a:lnTo>
                  <a:lnTo>
                    <a:pt x="0" y="22"/>
                  </a:lnTo>
                  <a:lnTo>
                    <a:pt x="0" y="22"/>
                  </a:lnTo>
                  <a:lnTo>
                    <a:pt x="0" y="22"/>
                  </a:lnTo>
                  <a:lnTo>
                    <a:pt x="0" y="22"/>
                  </a:lnTo>
                  <a:lnTo>
                    <a:pt x="0" y="22"/>
                  </a:lnTo>
                  <a:lnTo>
                    <a:pt x="0" y="21"/>
                  </a:lnTo>
                  <a:lnTo>
                    <a:pt x="0" y="21"/>
                  </a:lnTo>
                  <a:lnTo>
                    <a:pt x="0" y="21"/>
                  </a:lnTo>
                  <a:lnTo>
                    <a:pt x="0" y="21"/>
                  </a:lnTo>
                  <a:lnTo>
                    <a:pt x="0" y="21"/>
                  </a:lnTo>
                  <a:lnTo>
                    <a:pt x="0" y="21"/>
                  </a:lnTo>
                  <a:lnTo>
                    <a:pt x="0" y="21"/>
                  </a:lnTo>
                  <a:lnTo>
                    <a:pt x="0" y="21"/>
                  </a:lnTo>
                  <a:lnTo>
                    <a:pt x="0" y="20"/>
                  </a:lnTo>
                  <a:lnTo>
                    <a:pt x="0" y="20"/>
                  </a:lnTo>
                  <a:lnTo>
                    <a:pt x="0" y="20"/>
                  </a:lnTo>
                  <a:lnTo>
                    <a:pt x="0" y="20"/>
                  </a:lnTo>
                  <a:lnTo>
                    <a:pt x="0" y="20"/>
                  </a:lnTo>
                  <a:lnTo>
                    <a:pt x="0" y="20"/>
                  </a:lnTo>
                  <a:lnTo>
                    <a:pt x="0" y="20"/>
                  </a:lnTo>
                  <a:lnTo>
                    <a:pt x="0" y="20"/>
                  </a:lnTo>
                  <a:lnTo>
                    <a:pt x="0" y="20"/>
                  </a:lnTo>
                  <a:lnTo>
                    <a:pt x="0" y="20"/>
                  </a:lnTo>
                  <a:lnTo>
                    <a:pt x="0" y="19"/>
                  </a:lnTo>
                  <a:lnTo>
                    <a:pt x="0" y="19"/>
                  </a:lnTo>
                  <a:lnTo>
                    <a:pt x="0" y="19"/>
                  </a:lnTo>
                  <a:lnTo>
                    <a:pt x="0" y="19"/>
                  </a:lnTo>
                  <a:lnTo>
                    <a:pt x="0" y="19"/>
                  </a:lnTo>
                  <a:lnTo>
                    <a:pt x="0" y="19"/>
                  </a:lnTo>
                  <a:lnTo>
                    <a:pt x="0" y="19"/>
                  </a:lnTo>
                  <a:lnTo>
                    <a:pt x="0" y="19"/>
                  </a:lnTo>
                  <a:lnTo>
                    <a:pt x="0" y="19"/>
                  </a:lnTo>
                  <a:lnTo>
                    <a:pt x="0" y="19"/>
                  </a:lnTo>
                  <a:lnTo>
                    <a:pt x="1" y="19"/>
                  </a:lnTo>
                  <a:lnTo>
                    <a:pt x="1" y="18"/>
                  </a:lnTo>
                  <a:lnTo>
                    <a:pt x="1" y="18"/>
                  </a:lnTo>
                  <a:lnTo>
                    <a:pt x="1" y="18"/>
                  </a:lnTo>
                  <a:lnTo>
                    <a:pt x="1" y="18"/>
                  </a:lnTo>
                  <a:lnTo>
                    <a:pt x="1" y="18"/>
                  </a:lnTo>
                  <a:lnTo>
                    <a:pt x="1" y="18"/>
                  </a:lnTo>
                  <a:lnTo>
                    <a:pt x="1" y="18"/>
                  </a:lnTo>
                  <a:lnTo>
                    <a:pt x="1" y="18"/>
                  </a:lnTo>
                  <a:lnTo>
                    <a:pt x="1" y="18"/>
                  </a:lnTo>
                  <a:lnTo>
                    <a:pt x="1" y="18"/>
                  </a:lnTo>
                  <a:lnTo>
                    <a:pt x="1" y="18"/>
                  </a:lnTo>
                  <a:lnTo>
                    <a:pt x="1" y="18"/>
                  </a:lnTo>
                  <a:lnTo>
                    <a:pt x="1" y="18"/>
                  </a:lnTo>
                  <a:lnTo>
                    <a:pt x="1" y="18"/>
                  </a:lnTo>
                  <a:lnTo>
                    <a:pt x="1" y="18"/>
                  </a:lnTo>
                  <a:lnTo>
                    <a:pt x="1" y="18"/>
                  </a:lnTo>
                  <a:lnTo>
                    <a:pt x="1" y="18"/>
                  </a:lnTo>
                  <a:lnTo>
                    <a:pt x="1" y="18"/>
                  </a:lnTo>
                  <a:lnTo>
                    <a:pt x="1" y="18"/>
                  </a:lnTo>
                  <a:lnTo>
                    <a:pt x="1" y="18"/>
                  </a:lnTo>
                  <a:lnTo>
                    <a:pt x="1" y="18"/>
                  </a:lnTo>
                  <a:lnTo>
                    <a:pt x="1" y="18"/>
                  </a:lnTo>
                  <a:lnTo>
                    <a:pt x="3" y="18"/>
                  </a:lnTo>
                  <a:lnTo>
                    <a:pt x="3" y="18"/>
                  </a:lnTo>
                  <a:lnTo>
                    <a:pt x="3" y="18"/>
                  </a:lnTo>
                  <a:lnTo>
                    <a:pt x="3" y="18"/>
                  </a:lnTo>
                  <a:lnTo>
                    <a:pt x="3" y="18"/>
                  </a:lnTo>
                  <a:lnTo>
                    <a:pt x="3" y="18"/>
                  </a:lnTo>
                  <a:lnTo>
                    <a:pt x="3" y="18"/>
                  </a:lnTo>
                  <a:lnTo>
                    <a:pt x="3" y="18"/>
                  </a:lnTo>
                  <a:lnTo>
                    <a:pt x="3" y="18"/>
                  </a:lnTo>
                  <a:lnTo>
                    <a:pt x="3" y="18"/>
                  </a:lnTo>
                  <a:lnTo>
                    <a:pt x="3" y="18"/>
                  </a:lnTo>
                  <a:lnTo>
                    <a:pt x="3" y="18"/>
                  </a:lnTo>
                  <a:lnTo>
                    <a:pt x="3" y="17"/>
                  </a:lnTo>
                  <a:lnTo>
                    <a:pt x="3" y="17"/>
                  </a:lnTo>
                  <a:lnTo>
                    <a:pt x="3" y="17"/>
                  </a:lnTo>
                  <a:lnTo>
                    <a:pt x="3" y="17"/>
                  </a:lnTo>
                  <a:lnTo>
                    <a:pt x="3" y="17"/>
                  </a:lnTo>
                  <a:lnTo>
                    <a:pt x="3" y="17"/>
                  </a:lnTo>
                  <a:lnTo>
                    <a:pt x="3" y="17"/>
                  </a:lnTo>
                  <a:lnTo>
                    <a:pt x="3" y="17"/>
                  </a:lnTo>
                  <a:lnTo>
                    <a:pt x="3" y="17"/>
                  </a:lnTo>
                  <a:lnTo>
                    <a:pt x="3" y="17"/>
                  </a:lnTo>
                  <a:lnTo>
                    <a:pt x="3" y="17"/>
                  </a:lnTo>
                  <a:lnTo>
                    <a:pt x="3" y="17"/>
                  </a:lnTo>
                  <a:lnTo>
                    <a:pt x="3" y="17"/>
                  </a:lnTo>
                  <a:lnTo>
                    <a:pt x="3" y="17"/>
                  </a:lnTo>
                  <a:lnTo>
                    <a:pt x="3" y="17"/>
                  </a:lnTo>
                  <a:lnTo>
                    <a:pt x="3" y="17"/>
                  </a:lnTo>
                  <a:lnTo>
                    <a:pt x="3" y="17"/>
                  </a:lnTo>
                  <a:lnTo>
                    <a:pt x="3" y="17"/>
                  </a:lnTo>
                  <a:lnTo>
                    <a:pt x="3" y="17"/>
                  </a:lnTo>
                  <a:lnTo>
                    <a:pt x="3" y="17"/>
                  </a:lnTo>
                  <a:lnTo>
                    <a:pt x="3" y="17"/>
                  </a:lnTo>
                  <a:lnTo>
                    <a:pt x="3" y="17"/>
                  </a:lnTo>
                  <a:lnTo>
                    <a:pt x="3" y="15"/>
                  </a:lnTo>
                  <a:lnTo>
                    <a:pt x="3" y="15"/>
                  </a:lnTo>
                  <a:lnTo>
                    <a:pt x="3" y="15"/>
                  </a:lnTo>
                  <a:lnTo>
                    <a:pt x="3" y="15"/>
                  </a:lnTo>
                  <a:lnTo>
                    <a:pt x="3" y="15"/>
                  </a:lnTo>
                  <a:lnTo>
                    <a:pt x="3" y="15"/>
                  </a:lnTo>
                  <a:lnTo>
                    <a:pt x="3" y="15"/>
                  </a:lnTo>
                  <a:lnTo>
                    <a:pt x="3" y="15"/>
                  </a:lnTo>
                  <a:lnTo>
                    <a:pt x="3" y="15"/>
                  </a:lnTo>
                  <a:lnTo>
                    <a:pt x="3" y="15"/>
                  </a:lnTo>
                  <a:lnTo>
                    <a:pt x="3" y="15"/>
                  </a:lnTo>
                  <a:lnTo>
                    <a:pt x="3" y="15"/>
                  </a:lnTo>
                  <a:lnTo>
                    <a:pt x="3" y="14"/>
                  </a:lnTo>
                  <a:lnTo>
                    <a:pt x="3" y="14"/>
                  </a:lnTo>
                  <a:lnTo>
                    <a:pt x="3" y="14"/>
                  </a:lnTo>
                  <a:lnTo>
                    <a:pt x="3" y="14"/>
                  </a:lnTo>
                  <a:lnTo>
                    <a:pt x="3" y="14"/>
                  </a:lnTo>
                  <a:lnTo>
                    <a:pt x="3" y="14"/>
                  </a:lnTo>
                  <a:lnTo>
                    <a:pt x="3" y="14"/>
                  </a:lnTo>
                  <a:lnTo>
                    <a:pt x="3" y="14"/>
                  </a:lnTo>
                  <a:lnTo>
                    <a:pt x="3" y="14"/>
                  </a:lnTo>
                  <a:lnTo>
                    <a:pt x="3" y="14"/>
                  </a:lnTo>
                  <a:lnTo>
                    <a:pt x="3" y="14"/>
                  </a:lnTo>
                  <a:lnTo>
                    <a:pt x="3" y="14"/>
                  </a:lnTo>
                  <a:lnTo>
                    <a:pt x="3" y="14"/>
                  </a:lnTo>
                  <a:lnTo>
                    <a:pt x="3" y="14"/>
                  </a:lnTo>
                  <a:lnTo>
                    <a:pt x="3" y="14"/>
                  </a:lnTo>
                  <a:lnTo>
                    <a:pt x="3" y="14"/>
                  </a:lnTo>
                  <a:lnTo>
                    <a:pt x="3" y="14"/>
                  </a:lnTo>
                  <a:lnTo>
                    <a:pt x="3" y="14"/>
                  </a:lnTo>
                  <a:lnTo>
                    <a:pt x="3" y="14"/>
                  </a:lnTo>
                  <a:lnTo>
                    <a:pt x="3" y="14"/>
                  </a:lnTo>
                  <a:lnTo>
                    <a:pt x="3" y="14"/>
                  </a:lnTo>
                  <a:lnTo>
                    <a:pt x="3" y="14"/>
                  </a:lnTo>
                  <a:lnTo>
                    <a:pt x="3" y="14"/>
                  </a:lnTo>
                  <a:lnTo>
                    <a:pt x="3" y="14"/>
                  </a:lnTo>
                  <a:lnTo>
                    <a:pt x="3" y="14"/>
                  </a:lnTo>
                  <a:lnTo>
                    <a:pt x="3" y="14"/>
                  </a:lnTo>
                  <a:lnTo>
                    <a:pt x="3" y="14"/>
                  </a:lnTo>
                  <a:lnTo>
                    <a:pt x="3" y="13"/>
                  </a:lnTo>
                  <a:lnTo>
                    <a:pt x="3" y="13"/>
                  </a:lnTo>
                  <a:lnTo>
                    <a:pt x="3" y="13"/>
                  </a:lnTo>
                  <a:lnTo>
                    <a:pt x="3" y="13"/>
                  </a:lnTo>
                  <a:lnTo>
                    <a:pt x="3" y="13"/>
                  </a:lnTo>
                  <a:lnTo>
                    <a:pt x="3" y="13"/>
                  </a:lnTo>
                  <a:lnTo>
                    <a:pt x="3" y="13"/>
                  </a:lnTo>
                  <a:lnTo>
                    <a:pt x="3" y="13"/>
                  </a:lnTo>
                  <a:lnTo>
                    <a:pt x="3" y="13"/>
                  </a:lnTo>
                  <a:lnTo>
                    <a:pt x="3" y="13"/>
                  </a:lnTo>
                  <a:lnTo>
                    <a:pt x="3" y="13"/>
                  </a:lnTo>
                  <a:lnTo>
                    <a:pt x="3"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3"/>
                  </a:lnTo>
                  <a:lnTo>
                    <a:pt x="1" y="14"/>
                  </a:lnTo>
                  <a:lnTo>
                    <a:pt x="1" y="14"/>
                  </a:lnTo>
                  <a:lnTo>
                    <a:pt x="1" y="13"/>
                  </a:lnTo>
                  <a:lnTo>
                    <a:pt x="1" y="13"/>
                  </a:lnTo>
                  <a:lnTo>
                    <a:pt x="1" y="13"/>
                  </a:lnTo>
                  <a:lnTo>
                    <a:pt x="1" y="13"/>
                  </a:lnTo>
                  <a:lnTo>
                    <a:pt x="1" y="13"/>
                  </a:lnTo>
                  <a:lnTo>
                    <a:pt x="1" y="13"/>
                  </a:lnTo>
                  <a:lnTo>
                    <a:pt x="0" y="13"/>
                  </a:lnTo>
                  <a:lnTo>
                    <a:pt x="0" y="13"/>
                  </a:lnTo>
                  <a:lnTo>
                    <a:pt x="0" y="13"/>
                  </a:lnTo>
                  <a:lnTo>
                    <a:pt x="0" y="13"/>
                  </a:lnTo>
                  <a:lnTo>
                    <a:pt x="0" y="13"/>
                  </a:lnTo>
                  <a:lnTo>
                    <a:pt x="0" y="13"/>
                  </a:lnTo>
                  <a:lnTo>
                    <a:pt x="0" y="13"/>
                  </a:lnTo>
                  <a:lnTo>
                    <a:pt x="0" y="13"/>
                  </a:lnTo>
                  <a:lnTo>
                    <a:pt x="0" y="13"/>
                  </a:lnTo>
                  <a:lnTo>
                    <a:pt x="0" y="13"/>
                  </a:lnTo>
                  <a:lnTo>
                    <a:pt x="0" y="13"/>
                  </a:lnTo>
                  <a:lnTo>
                    <a:pt x="0" y="13"/>
                  </a:lnTo>
                  <a:lnTo>
                    <a:pt x="0" y="13"/>
                  </a:lnTo>
                  <a:lnTo>
                    <a:pt x="0" y="13"/>
                  </a:lnTo>
                  <a:lnTo>
                    <a:pt x="0" y="13"/>
                  </a:lnTo>
                  <a:lnTo>
                    <a:pt x="0" y="13"/>
                  </a:lnTo>
                  <a:lnTo>
                    <a:pt x="0" y="12"/>
                  </a:lnTo>
                  <a:lnTo>
                    <a:pt x="0" y="12"/>
                  </a:lnTo>
                  <a:lnTo>
                    <a:pt x="0" y="12"/>
                  </a:lnTo>
                  <a:lnTo>
                    <a:pt x="1" y="11"/>
                  </a:lnTo>
                  <a:lnTo>
                    <a:pt x="3" y="8"/>
                  </a:lnTo>
                  <a:lnTo>
                    <a:pt x="3" y="7"/>
                  </a:lnTo>
                  <a:lnTo>
                    <a:pt x="4" y="7"/>
                  </a:lnTo>
                  <a:lnTo>
                    <a:pt x="14" y="5"/>
                  </a:lnTo>
                  <a:lnTo>
                    <a:pt x="17" y="5"/>
                  </a:lnTo>
                  <a:lnTo>
                    <a:pt x="19" y="5"/>
                  </a:lnTo>
                  <a:lnTo>
                    <a:pt x="23" y="5"/>
                  </a:lnTo>
                  <a:lnTo>
                    <a:pt x="25" y="4"/>
                  </a:lnTo>
                  <a:lnTo>
                    <a:pt x="28" y="5"/>
                  </a:lnTo>
                  <a:lnTo>
                    <a:pt x="36" y="0"/>
                  </a:lnTo>
                  <a:lnTo>
                    <a:pt x="38" y="2"/>
                  </a:lnTo>
                  <a:lnTo>
                    <a:pt x="40" y="1"/>
                  </a:lnTo>
                  <a:lnTo>
                    <a:pt x="41" y="2"/>
                  </a:lnTo>
                  <a:lnTo>
                    <a:pt x="41" y="4"/>
                  </a:lnTo>
                  <a:lnTo>
                    <a:pt x="37" y="8"/>
                  </a:lnTo>
                  <a:lnTo>
                    <a:pt x="30" y="11"/>
                  </a:lnTo>
                  <a:lnTo>
                    <a:pt x="26" y="14"/>
                  </a:lnTo>
                  <a:lnTo>
                    <a:pt x="21" y="14"/>
                  </a:lnTo>
                  <a:lnTo>
                    <a:pt x="18" y="17"/>
                  </a:lnTo>
                  <a:lnTo>
                    <a:pt x="10" y="19"/>
                  </a:lnTo>
                  <a:lnTo>
                    <a:pt x="1" y="24"/>
                  </a:lnTo>
                  <a:lnTo>
                    <a:pt x="1" y="24"/>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267" name="Tajikistan">
              <a:extLst>
                <a:ext uri="{FF2B5EF4-FFF2-40B4-BE49-F238E27FC236}">
                  <a16:creationId xmlns:a16="http://schemas.microsoft.com/office/drawing/2014/main" id="{F8E5AC43-DE7B-8146-AEFB-AEDDE11A58E3}"/>
                </a:ext>
              </a:extLst>
            </p:cNvPr>
            <p:cNvSpPr>
              <a:spLocks/>
            </p:cNvSpPr>
            <p:nvPr/>
          </p:nvSpPr>
          <p:spPr bwMode="auto">
            <a:xfrm>
              <a:off x="8011270" y="2753107"/>
              <a:ext cx="207029" cy="134132"/>
            </a:xfrm>
            <a:custGeom>
              <a:avLst/>
              <a:gdLst>
                <a:gd name="T0" fmla="*/ 17 w 142"/>
                <a:gd name="T1" fmla="*/ 69 h 92"/>
                <a:gd name="T2" fmla="*/ 22 w 142"/>
                <a:gd name="T3" fmla="*/ 58 h 92"/>
                <a:gd name="T4" fmla="*/ 17 w 142"/>
                <a:gd name="T5" fmla="*/ 44 h 92"/>
                <a:gd name="T6" fmla="*/ 8 w 142"/>
                <a:gd name="T7" fmla="*/ 42 h 92"/>
                <a:gd name="T8" fmla="*/ 0 w 142"/>
                <a:gd name="T9" fmla="*/ 35 h 92"/>
                <a:gd name="T10" fmla="*/ 7 w 142"/>
                <a:gd name="T11" fmla="*/ 28 h 92"/>
                <a:gd name="T12" fmla="*/ 20 w 142"/>
                <a:gd name="T13" fmla="*/ 22 h 92"/>
                <a:gd name="T14" fmla="*/ 17 w 142"/>
                <a:gd name="T15" fmla="*/ 18 h 92"/>
                <a:gd name="T16" fmla="*/ 24 w 142"/>
                <a:gd name="T17" fmla="*/ 8 h 92"/>
                <a:gd name="T18" fmla="*/ 33 w 142"/>
                <a:gd name="T19" fmla="*/ 6 h 92"/>
                <a:gd name="T20" fmla="*/ 43 w 142"/>
                <a:gd name="T21" fmla="*/ 0 h 92"/>
                <a:gd name="T22" fmla="*/ 45 w 142"/>
                <a:gd name="T23" fmla="*/ 11 h 92"/>
                <a:gd name="T24" fmla="*/ 58 w 142"/>
                <a:gd name="T25" fmla="*/ 18 h 92"/>
                <a:gd name="T26" fmla="*/ 58 w 142"/>
                <a:gd name="T27" fmla="*/ 20 h 92"/>
                <a:gd name="T28" fmla="*/ 54 w 142"/>
                <a:gd name="T29" fmla="*/ 21 h 92"/>
                <a:gd name="T30" fmla="*/ 33 w 142"/>
                <a:gd name="T31" fmla="*/ 19 h 92"/>
                <a:gd name="T32" fmla="*/ 29 w 142"/>
                <a:gd name="T33" fmla="*/ 21 h 92"/>
                <a:gd name="T34" fmla="*/ 36 w 142"/>
                <a:gd name="T35" fmla="*/ 29 h 92"/>
                <a:gd name="T36" fmla="*/ 53 w 142"/>
                <a:gd name="T37" fmla="*/ 29 h 92"/>
                <a:gd name="T38" fmla="*/ 62 w 142"/>
                <a:gd name="T39" fmla="*/ 29 h 92"/>
                <a:gd name="T40" fmla="*/ 73 w 142"/>
                <a:gd name="T41" fmla="*/ 32 h 92"/>
                <a:gd name="T42" fmla="*/ 78 w 142"/>
                <a:gd name="T43" fmla="*/ 33 h 92"/>
                <a:gd name="T44" fmla="*/ 87 w 142"/>
                <a:gd name="T45" fmla="*/ 33 h 92"/>
                <a:gd name="T46" fmla="*/ 102 w 142"/>
                <a:gd name="T47" fmla="*/ 36 h 92"/>
                <a:gd name="T48" fmla="*/ 110 w 142"/>
                <a:gd name="T49" fmla="*/ 46 h 92"/>
                <a:gd name="T50" fmla="*/ 114 w 142"/>
                <a:gd name="T51" fmla="*/ 54 h 92"/>
                <a:gd name="T52" fmla="*/ 116 w 142"/>
                <a:gd name="T53" fmla="*/ 52 h 92"/>
                <a:gd name="T54" fmla="*/ 130 w 142"/>
                <a:gd name="T55" fmla="*/ 55 h 92"/>
                <a:gd name="T56" fmla="*/ 136 w 142"/>
                <a:gd name="T57" fmla="*/ 69 h 92"/>
                <a:gd name="T58" fmla="*/ 142 w 142"/>
                <a:gd name="T59" fmla="*/ 78 h 92"/>
                <a:gd name="T60" fmla="*/ 134 w 142"/>
                <a:gd name="T61" fmla="*/ 78 h 92"/>
                <a:gd name="T62" fmla="*/ 125 w 142"/>
                <a:gd name="T63" fmla="*/ 78 h 92"/>
                <a:gd name="T64" fmla="*/ 117 w 142"/>
                <a:gd name="T65" fmla="*/ 81 h 92"/>
                <a:gd name="T66" fmla="*/ 118 w 142"/>
                <a:gd name="T67" fmla="*/ 79 h 92"/>
                <a:gd name="T68" fmla="*/ 110 w 142"/>
                <a:gd name="T69" fmla="*/ 76 h 92"/>
                <a:gd name="T70" fmla="*/ 103 w 142"/>
                <a:gd name="T71" fmla="*/ 81 h 92"/>
                <a:gd name="T72" fmla="*/ 95 w 142"/>
                <a:gd name="T73" fmla="*/ 86 h 92"/>
                <a:gd name="T74" fmla="*/ 85 w 142"/>
                <a:gd name="T75" fmla="*/ 92 h 92"/>
                <a:gd name="T76" fmla="*/ 78 w 142"/>
                <a:gd name="T77" fmla="*/ 68 h 92"/>
                <a:gd name="T78" fmla="*/ 73 w 142"/>
                <a:gd name="T79" fmla="*/ 67 h 92"/>
                <a:gd name="T80" fmla="*/ 73 w 142"/>
                <a:gd name="T81" fmla="*/ 62 h 92"/>
                <a:gd name="T82" fmla="*/ 65 w 142"/>
                <a:gd name="T83" fmla="*/ 56 h 92"/>
                <a:gd name="T84" fmla="*/ 58 w 142"/>
                <a:gd name="T85" fmla="*/ 64 h 92"/>
                <a:gd name="T86" fmla="*/ 54 w 142"/>
                <a:gd name="T87" fmla="*/ 67 h 92"/>
                <a:gd name="T88" fmla="*/ 57 w 142"/>
                <a:gd name="T89" fmla="*/ 73 h 92"/>
                <a:gd name="T90" fmla="*/ 54 w 142"/>
                <a:gd name="T91" fmla="*/ 74 h 92"/>
                <a:gd name="T92" fmla="*/ 45 w 142"/>
                <a:gd name="T93" fmla="*/ 74 h 92"/>
                <a:gd name="T94" fmla="*/ 43 w 142"/>
                <a:gd name="T95" fmla="*/ 79 h 92"/>
                <a:gd name="T96" fmla="*/ 44 w 142"/>
                <a:gd name="T97" fmla="*/ 80 h 92"/>
                <a:gd name="T98" fmla="*/ 45 w 142"/>
                <a:gd name="T99" fmla="*/ 82 h 92"/>
                <a:gd name="T100" fmla="*/ 37 w 142"/>
                <a:gd name="T101" fmla="*/ 80 h 92"/>
                <a:gd name="T102" fmla="*/ 35 w 142"/>
                <a:gd name="T103" fmla="*/ 80 h 92"/>
                <a:gd name="T104" fmla="*/ 35 w 142"/>
                <a:gd name="T105" fmla="*/ 81 h 92"/>
                <a:gd name="T106" fmla="*/ 33 w 142"/>
                <a:gd name="T107" fmla="*/ 82 h 92"/>
                <a:gd name="T108" fmla="*/ 20 w 142"/>
                <a:gd name="T109" fmla="*/ 84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2" h="92">
                  <a:moveTo>
                    <a:pt x="20" y="84"/>
                  </a:moveTo>
                  <a:lnTo>
                    <a:pt x="17" y="69"/>
                  </a:lnTo>
                  <a:lnTo>
                    <a:pt x="23" y="61"/>
                  </a:lnTo>
                  <a:lnTo>
                    <a:pt x="22" y="58"/>
                  </a:lnTo>
                  <a:lnTo>
                    <a:pt x="16" y="49"/>
                  </a:lnTo>
                  <a:lnTo>
                    <a:pt x="17" y="44"/>
                  </a:lnTo>
                  <a:lnTo>
                    <a:pt x="13" y="40"/>
                  </a:lnTo>
                  <a:lnTo>
                    <a:pt x="8" y="42"/>
                  </a:lnTo>
                  <a:lnTo>
                    <a:pt x="7" y="38"/>
                  </a:lnTo>
                  <a:lnTo>
                    <a:pt x="0" y="35"/>
                  </a:lnTo>
                  <a:lnTo>
                    <a:pt x="0" y="31"/>
                  </a:lnTo>
                  <a:lnTo>
                    <a:pt x="7" y="28"/>
                  </a:lnTo>
                  <a:lnTo>
                    <a:pt x="20" y="29"/>
                  </a:lnTo>
                  <a:lnTo>
                    <a:pt x="20" y="22"/>
                  </a:lnTo>
                  <a:lnTo>
                    <a:pt x="22" y="20"/>
                  </a:lnTo>
                  <a:lnTo>
                    <a:pt x="17" y="18"/>
                  </a:lnTo>
                  <a:lnTo>
                    <a:pt x="27" y="14"/>
                  </a:lnTo>
                  <a:lnTo>
                    <a:pt x="24" y="8"/>
                  </a:lnTo>
                  <a:lnTo>
                    <a:pt x="29" y="6"/>
                  </a:lnTo>
                  <a:lnTo>
                    <a:pt x="33" y="6"/>
                  </a:lnTo>
                  <a:lnTo>
                    <a:pt x="40" y="2"/>
                  </a:lnTo>
                  <a:lnTo>
                    <a:pt x="43" y="0"/>
                  </a:lnTo>
                  <a:lnTo>
                    <a:pt x="49" y="5"/>
                  </a:lnTo>
                  <a:lnTo>
                    <a:pt x="45" y="11"/>
                  </a:lnTo>
                  <a:lnTo>
                    <a:pt x="45" y="14"/>
                  </a:lnTo>
                  <a:lnTo>
                    <a:pt x="58" y="18"/>
                  </a:lnTo>
                  <a:lnTo>
                    <a:pt x="57" y="18"/>
                  </a:lnTo>
                  <a:lnTo>
                    <a:pt x="58" y="20"/>
                  </a:lnTo>
                  <a:lnTo>
                    <a:pt x="55" y="20"/>
                  </a:lnTo>
                  <a:lnTo>
                    <a:pt x="54" y="21"/>
                  </a:lnTo>
                  <a:lnTo>
                    <a:pt x="37" y="15"/>
                  </a:lnTo>
                  <a:lnTo>
                    <a:pt x="33" y="19"/>
                  </a:lnTo>
                  <a:lnTo>
                    <a:pt x="31" y="21"/>
                  </a:lnTo>
                  <a:lnTo>
                    <a:pt x="29" y="21"/>
                  </a:lnTo>
                  <a:lnTo>
                    <a:pt x="34" y="32"/>
                  </a:lnTo>
                  <a:lnTo>
                    <a:pt x="36" y="29"/>
                  </a:lnTo>
                  <a:lnTo>
                    <a:pt x="45" y="29"/>
                  </a:lnTo>
                  <a:lnTo>
                    <a:pt x="53" y="29"/>
                  </a:lnTo>
                  <a:lnTo>
                    <a:pt x="60" y="33"/>
                  </a:lnTo>
                  <a:lnTo>
                    <a:pt x="62" y="29"/>
                  </a:lnTo>
                  <a:lnTo>
                    <a:pt x="67" y="29"/>
                  </a:lnTo>
                  <a:lnTo>
                    <a:pt x="73" y="32"/>
                  </a:lnTo>
                  <a:lnTo>
                    <a:pt x="75" y="35"/>
                  </a:lnTo>
                  <a:lnTo>
                    <a:pt x="78" y="33"/>
                  </a:lnTo>
                  <a:lnTo>
                    <a:pt x="83" y="39"/>
                  </a:lnTo>
                  <a:lnTo>
                    <a:pt x="87" y="33"/>
                  </a:lnTo>
                  <a:lnTo>
                    <a:pt x="95" y="33"/>
                  </a:lnTo>
                  <a:lnTo>
                    <a:pt x="102" y="36"/>
                  </a:lnTo>
                  <a:lnTo>
                    <a:pt x="104" y="39"/>
                  </a:lnTo>
                  <a:lnTo>
                    <a:pt x="110" y="46"/>
                  </a:lnTo>
                  <a:lnTo>
                    <a:pt x="108" y="48"/>
                  </a:lnTo>
                  <a:lnTo>
                    <a:pt x="114" y="54"/>
                  </a:lnTo>
                  <a:lnTo>
                    <a:pt x="116" y="54"/>
                  </a:lnTo>
                  <a:lnTo>
                    <a:pt x="116" y="52"/>
                  </a:lnTo>
                  <a:lnTo>
                    <a:pt x="121" y="52"/>
                  </a:lnTo>
                  <a:lnTo>
                    <a:pt x="130" y="55"/>
                  </a:lnTo>
                  <a:lnTo>
                    <a:pt x="131" y="62"/>
                  </a:lnTo>
                  <a:lnTo>
                    <a:pt x="136" y="69"/>
                  </a:lnTo>
                  <a:lnTo>
                    <a:pt x="136" y="74"/>
                  </a:lnTo>
                  <a:lnTo>
                    <a:pt x="142" y="78"/>
                  </a:lnTo>
                  <a:lnTo>
                    <a:pt x="140" y="81"/>
                  </a:lnTo>
                  <a:lnTo>
                    <a:pt x="134" y="78"/>
                  </a:lnTo>
                  <a:lnTo>
                    <a:pt x="128" y="78"/>
                  </a:lnTo>
                  <a:lnTo>
                    <a:pt x="125" y="78"/>
                  </a:lnTo>
                  <a:lnTo>
                    <a:pt x="125" y="79"/>
                  </a:lnTo>
                  <a:lnTo>
                    <a:pt x="117" y="81"/>
                  </a:lnTo>
                  <a:lnTo>
                    <a:pt x="116" y="80"/>
                  </a:lnTo>
                  <a:lnTo>
                    <a:pt x="118" y="79"/>
                  </a:lnTo>
                  <a:lnTo>
                    <a:pt x="118" y="78"/>
                  </a:lnTo>
                  <a:lnTo>
                    <a:pt x="110" y="76"/>
                  </a:lnTo>
                  <a:lnTo>
                    <a:pt x="105" y="80"/>
                  </a:lnTo>
                  <a:lnTo>
                    <a:pt x="103" y="81"/>
                  </a:lnTo>
                  <a:lnTo>
                    <a:pt x="101" y="86"/>
                  </a:lnTo>
                  <a:lnTo>
                    <a:pt x="95" y="86"/>
                  </a:lnTo>
                  <a:lnTo>
                    <a:pt x="89" y="92"/>
                  </a:lnTo>
                  <a:lnTo>
                    <a:pt x="85" y="92"/>
                  </a:lnTo>
                  <a:lnTo>
                    <a:pt x="81" y="87"/>
                  </a:lnTo>
                  <a:lnTo>
                    <a:pt x="78" y="68"/>
                  </a:lnTo>
                  <a:lnTo>
                    <a:pt x="77" y="66"/>
                  </a:lnTo>
                  <a:lnTo>
                    <a:pt x="73" y="67"/>
                  </a:lnTo>
                  <a:lnTo>
                    <a:pt x="73" y="66"/>
                  </a:lnTo>
                  <a:lnTo>
                    <a:pt x="73" y="62"/>
                  </a:lnTo>
                  <a:lnTo>
                    <a:pt x="71" y="59"/>
                  </a:lnTo>
                  <a:lnTo>
                    <a:pt x="65" y="56"/>
                  </a:lnTo>
                  <a:lnTo>
                    <a:pt x="60" y="56"/>
                  </a:lnTo>
                  <a:lnTo>
                    <a:pt x="58" y="64"/>
                  </a:lnTo>
                  <a:lnTo>
                    <a:pt x="55" y="67"/>
                  </a:lnTo>
                  <a:lnTo>
                    <a:pt x="54" y="67"/>
                  </a:lnTo>
                  <a:lnTo>
                    <a:pt x="57" y="72"/>
                  </a:lnTo>
                  <a:lnTo>
                    <a:pt x="57" y="73"/>
                  </a:lnTo>
                  <a:lnTo>
                    <a:pt x="56" y="75"/>
                  </a:lnTo>
                  <a:lnTo>
                    <a:pt x="54" y="74"/>
                  </a:lnTo>
                  <a:lnTo>
                    <a:pt x="51" y="74"/>
                  </a:lnTo>
                  <a:lnTo>
                    <a:pt x="45" y="74"/>
                  </a:lnTo>
                  <a:lnTo>
                    <a:pt x="42" y="76"/>
                  </a:lnTo>
                  <a:lnTo>
                    <a:pt x="43" y="79"/>
                  </a:lnTo>
                  <a:lnTo>
                    <a:pt x="43" y="79"/>
                  </a:lnTo>
                  <a:lnTo>
                    <a:pt x="44" y="80"/>
                  </a:lnTo>
                  <a:lnTo>
                    <a:pt x="45" y="81"/>
                  </a:lnTo>
                  <a:lnTo>
                    <a:pt x="45" y="82"/>
                  </a:lnTo>
                  <a:lnTo>
                    <a:pt x="43" y="85"/>
                  </a:lnTo>
                  <a:lnTo>
                    <a:pt x="37" y="80"/>
                  </a:lnTo>
                  <a:lnTo>
                    <a:pt x="35" y="79"/>
                  </a:lnTo>
                  <a:lnTo>
                    <a:pt x="35" y="80"/>
                  </a:lnTo>
                  <a:lnTo>
                    <a:pt x="34" y="79"/>
                  </a:lnTo>
                  <a:lnTo>
                    <a:pt x="35" y="81"/>
                  </a:lnTo>
                  <a:lnTo>
                    <a:pt x="33" y="80"/>
                  </a:lnTo>
                  <a:lnTo>
                    <a:pt x="33" y="82"/>
                  </a:lnTo>
                  <a:lnTo>
                    <a:pt x="27" y="85"/>
                  </a:lnTo>
                  <a:lnTo>
                    <a:pt x="20" y="84"/>
                  </a:lnTo>
                  <a:lnTo>
                    <a:pt x="20" y="84"/>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268" name="Syria">
              <a:extLst>
                <a:ext uri="{FF2B5EF4-FFF2-40B4-BE49-F238E27FC236}">
                  <a16:creationId xmlns:a16="http://schemas.microsoft.com/office/drawing/2014/main" id="{6EA2D982-ADF8-134B-8E80-7AAD3DFD3FCC}"/>
                </a:ext>
              </a:extLst>
            </p:cNvPr>
            <p:cNvSpPr>
              <a:spLocks/>
            </p:cNvSpPr>
            <p:nvPr/>
          </p:nvSpPr>
          <p:spPr bwMode="auto">
            <a:xfrm>
              <a:off x="7251679" y="2869742"/>
              <a:ext cx="160374" cy="148710"/>
            </a:xfrm>
            <a:custGeom>
              <a:avLst/>
              <a:gdLst>
                <a:gd name="T0" fmla="*/ 27 w 110"/>
                <a:gd name="T1" fmla="*/ 102 h 102"/>
                <a:gd name="T2" fmla="*/ 15 w 110"/>
                <a:gd name="T3" fmla="*/ 98 h 102"/>
                <a:gd name="T4" fmla="*/ 11 w 110"/>
                <a:gd name="T5" fmla="*/ 95 h 102"/>
                <a:gd name="T6" fmla="*/ 8 w 110"/>
                <a:gd name="T7" fmla="*/ 93 h 102"/>
                <a:gd name="T8" fmla="*/ 5 w 110"/>
                <a:gd name="T9" fmla="*/ 93 h 102"/>
                <a:gd name="T10" fmla="*/ 4 w 110"/>
                <a:gd name="T11" fmla="*/ 91 h 102"/>
                <a:gd name="T12" fmla="*/ 5 w 110"/>
                <a:gd name="T13" fmla="*/ 85 h 102"/>
                <a:gd name="T14" fmla="*/ 4 w 110"/>
                <a:gd name="T15" fmla="*/ 82 h 102"/>
                <a:gd name="T16" fmla="*/ 5 w 110"/>
                <a:gd name="T17" fmla="*/ 80 h 102"/>
                <a:gd name="T18" fmla="*/ 9 w 110"/>
                <a:gd name="T19" fmla="*/ 78 h 102"/>
                <a:gd name="T20" fmla="*/ 10 w 110"/>
                <a:gd name="T21" fmla="*/ 76 h 102"/>
                <a:gd name="T22" fmla="*/ 9 w 110"/>
                <a:gd name="T23" fmla="*/ 75 h 102"/>
                <a:gd name="T24" fmla="*/ 8 w 110"/>
                <a:gd name="T25" fmla="*/ 74 h 102"/>
                <a:gd name="T26" fmla="*/ 10 w 110"/>
                <a:gd name="T27" fmla="*/ 71 h 102"/>
                <a:gd name="T28" fmla="*/ 13 w 110"/>
                <a:gd name="T29" fmla="*/ 71 h 102"/>
                <a:gd name="T30" fmla="*/ 15 w 110"/>
                <a:gd name="T31" fmla="*/ 71 h 102"/>
                <a:gd name="T32" fmla="*/ 14 w 110"/>
                <a:gd name="T33" fmla="*/ 69 h 102"/>
                <a:gd name="T34" fmla="*/ 13 w 110"/>
                <a:gd name="T35" fmla="*/ 67 h 102"/>
                <a:gd name="T36" fmla="*/ 16 w 110"/>
                <a:gd name="T37" fmla="*/ 66 h 102"/>
                <a:gd name="T38" fmla="*/ 18 w 110"/>
                <a:gd name="T39" fmla="*/ 65 h 102"/>
                <a:gd name="T40" fmla="*/ 16 w 110"/>
                <a:gd name="T41" fmla="*/ 62 h 102"/>
                <a:gd name="T42" fmla="*/ 16 w 110"/>
                <a:gd name="T43" fmla="*/ 60 h 102"/>
                <a:gd name="T44" fmla="*/ 15 w 110"/>
                <a:gd name="T45" fmla="*/ 59 h 102"/>
                <a:gd name="T46" fmla="*/ 14 w 110"/>
                <a:gd name="T47" fmla="*/ 58 h 102"/>
                <a:gd name="T48" fmla="*/ 14 w 110"/>
                <a:gd name="T49" fmla="*/ 55 h 102"/>
                <a:gd name="T50" fmla="*/ 13 w 110"/>
                <a:gd name="T51" fmla="*/ 53 h 102"/>
                <a:gd name="T52" fmla="*/ 10 w 110"/>
                <a:gd name="T53" fmla="*/ 55 h 102"/>
                <a:gd name="T54" fmla="*/ 9 w 110"/>
                <a:gd name="T55" fmla="*/ 54 h 102"/>
                <a:gd name="T56" fmla="*/ 8 w 110"/>
                <a:gd name="T57" fmla="*/ 55 h 102"/>
                <a:gd name="T58" fmla="*/ 3 w 110"/>
                <a:gd name="T59" fmla="*/ 48 h 102"/>
                <a:gd name="T60" fmla="*/ 2 w 110"/>
                <a:gd name="T61" fmla="*/ 45 h 102"/>
                <a:gd name="T62" fmla="*/ 4 w 110"/>
                <a:gd name="T63" fmla="*/ 41 h 102"/>
                <a:gd name="T64" fmla="*/ 1 w 110"/>
                <a:gd name="T65" fmla="*/ 36 h 102"/>
                <a:gd name="T66" fmla="*/ 1 w 110"/>
                <a:gd name="T67" fmla="*/ 35 h 102"/>
                <a:gd name="T68" fmla="*/ 1 w 110"/>
                <a:gd name="T69" fmla="*/ 34 h 102"/>
                <a:gd name="T70" fmla="*/ 1 w 110"/>
                <a:gd name="T71" fmla="*/ 32 h 102"/>
                <a:gd name="T72" fmla="*/ 5 w 110"/>
                <a:gd name="T73" fmla="*/ 26 h 102"/>
                <a:gd name="T74" fmla="*/ 9 w 110"/>
                <a:gd name="T75" fmla="*/ 21 h 102"/>
                <a:gd name="T76" fmla="*/ 15 w 110"/>
                <a:gd name="T77" fmla="*/ 19 h 102"/>
                <a:gd name="T78" fmla="*/ 10 w 110"/>
                <a:gd name="T79" fmla="*/ 15 h 102"/>
                <a:gd name="T80" fmla="*/ 13 w 110"/>
                <a:gd name="T81" fmla="*/ 9 h 102"/>
                <a:gd name="T82" fmla="*/ 25 w 110"/>
                <a:gd name="T83" fmla="*/ 13 h 102"/>
                <a:gd name="T84" fmla="*/ 34 w 110"/>
                <a:gd name="T85" fmla="*/ 11 h 102"/>
                <a:gd name="T86" fmla="*/ 44 w 110"/>
                <a:gd name="T87" fmla="*/ 11 h 102"/>
                <a:gd name="T88" fmla="*/ 64 w 110"/>
                <a:gd name="T89" fmla="*/ 11 h 102"/>
                <a:gd name="T90" fmla="*/ 71 w 110"/>
                <a:gd name="T91" fmla="*/ 8 h 102"/>
                <a:gd name="T92" fmla="*/ 82 w 110"/>
                <a:gd name="T93" fmla="*/ 5 h 102"/>
                <a:gd name="T94" fmla="*/ 92 w 110"/>
                <a:gd name="T95" fmla="*/ 6 h 102"/>
                <a:gd name="T96" fmla="*/ 102 w 110"/>
                <a:gd name="T97" fmla="*/ 2 h 102"/>
                <a:gd name="T98" fmla="*/ 109 w 110"/>
                <a:gd name="T99" fmla="*/ 4 h 102"/>
                <a:gd name="T100" fmla="*/ 94 w 110"/>
                <a:gd name="T101" fmla="*/ 15 h 102"/>
                <a:gd name="T102" fmla="*/ 95 w 110"/>
                <a:gd name="T103" fmla="*/ 29 h 102"/>
                <a:gd name="T104" fmla="*/ 94 w 110"/>
                <a:gd name="T105" fmla="*/ 39 h 102"/>
                <a:gd name="T106" fmla="*/ 94 w 110"/>
                <a:gd name="T107" fmla="*/ 55 h 102"/>
                <a:gd name="T108" fmla="*/ 58 w 110"/>
                <a:gd name="T109" fmla="*/ 80 h 1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10" h="102">
                  <a:moveTo>
                    <a:pt x="58" y="80"/>
                  </a:moveTo>
                  <a:lnTo>
                    <a:pt x="35" y="94"/>
                  </a:lnTo>
                  <a:lnTo>
                    <a:pt x="27" y="102"/>
                  </a:lnTo>
                  <a:lnTo>
                    <a:pt x="18" y="101"/>
                  </a:lnTo>
                  <a:lnTo>
                    <a:pt x="17" y="99"/>
                  </a:lnTo>
                  <a:lnTo>
                    <a:pt x="15" y="98"/>
                  </a:lnTo>
                  <a:lnTo>
                    <a:pt x="13" y="95"/>
                  </a:lnTo>
                  <a:lnTo>
                    <a:pt x="11" y="95"/>
                  </a:lnTo>
                  <a:lnTo>
                    <a:pt x="11" y="95"/>
                  </a:lnTo>
                  <a:lnTo>
                    <a:pt x="9" y="94"/>
                  </a:lnTo>
                  <a:lnTo>
                    <a:pt x="8" y="95"/>
                  </a:lnTo>
                  <a:lnTo>
                    <a:pt x="8" y="93"/>
                  </a:lnTo>
                  <a:lnTo>
                    <a:pt x="5" y="94"/>
                  </a:lnTo>
                  <a:lnTo>
                    <a:pt x="5" y="94"/>
                  </a:lnTo>
                  <a:lnTo>
                    <a:pt x="5" y="93"/>
                  </a:lnTo>
                  <a:lnTo>
                    <a:pt x="5" y="93"/>
                  </a:lnTo>
                  <a:lnTo>
                    <a:pt x="4" y="92"/>
                  </a:lnTo>
                  <a:lnTo>
                    <a:pt x="4" y="91"/>
                  </a:lnTo>
                  <a:lnTo>
                    <a:pt x="4" y="89"/>
                  </a:lnTo>
                  <a:lnTo>
                    <a:pt x="4" y="87"/>
                  </a:lnTo>
                  <a:lnTo>
                    <a:pt x="5" y="85"/>
                  </a:lnTo>
                  <a:lnTo>
                    <a:pt x="4" y="84"/>
                  </a:lnTo>
                  <a:lnTo>
                    <a:pt x="4" y="82"/>
                  </a:lnTo>
                  <a:lnTo>
                    <a:pt x="4" y="82"/>
                  </a:lnTo>
                  <a:lnTo>
                    <a:pt x="5" y="81"/>
                  </a:lnTo>
                  <a:lnTo>
                    <a:pt x="5" y="81"/>
                  </a:lnTo>
                  <a:lnTo>
                    <a:pt x="5" y="80"/>
                  </a:lnTo>
                  <a:lnTo>
                    <a:pt x="7" y="80"/>
                  </a:lnTo>
                  <a:lnTo>
                    <a:pt x="9" y="79"/>
                  </a:lnTo>
                  <a:lnTo>
                    <a:pt x="9" y="78"/>
                  </a:lnTo>
                  <a:lnTo>
                    <a:pt x="9" y="78"/>
                  </a:lnTo>
                  <a:lnTo>
                    <a:pt x="10" y="76"/>
                  </a:lnTo>
                  <a:lnTo>
                    <a:pt x="10" y="76"/>
                  </a:lnTo>
                  <a:lnTo>
                    <a:pt x="10" y="75"/>
                  </a:lnTo>
                  <a:lnTo>
                    <a:pt x="10" y="75"/>
                  </a:lnTo>
                  <a:lnTo>
                    <a:pt x="9" y="75"/>
                  </a:lnTo>
                  <a:lnTo>
                    <a:pt x="8" y="75"/>
                  </a:lnTo>
                  <a:lnTo>
                    <a:pt x="8" y="75"/>
                  </a:lnTo>
                  <a:lnTo>
                    <a:pt x="8" y="74"/>
                  </a:lnTo>
                  <a:lnTo>
                    <a:pt x="8" y="73"/>
                  </a:lnTo>
                  <a:lnTo>
                    <a:pt x="10" y="73"/>
                  </a:lnTo>
                  <a:lnTo>
                    <a:pt x="10" y="71"/>
                  </a:lnTo>
                  <a:lnTo>
                    <a:pt x="10" y="72"/>
                  </a:lnTo>
                  <a:lnTo>
                    <a:pt x="10" y="71"/>
                  </a:lnTo>
                  <a:lnTo>
                    <a:pt x="13" y="71"/>
                  </a:lnTo>
                  <a:lnTo>
                    <a:pt x="14" y="72"/>
                  </a:lnTo>
                  <a:lnTo>
                    <a:pt x="15" y="71"/>
                  </a:lnTo>
                  <a:lnTo>
                    <a:pt x="15" y="71"/>
                  </a:lnTo>
                  <a:lnTo>
                    <a:pt x="15" y="69"/>
                  </a:lnTo>
                  <a:lnTo>
                    <a:pt x="15" y="71"/>
                  </a:lnTo>
                  <a:lnTo>
                    <a:pt x="14" y="69"/>
                  </a:lnTo>
                  <a:lnTo>
                    <a:pt x="14" y="69"/>
                  </a:lnTo>
                  <a:lnTo>
                    <a:pt x="13" y="68"/>
                  </a:lnTo>
                  <a:lnTo>
                    <a:pt x="13" y="67"/>
                  </a:lnTo>
                  <a:lnTo>
                    <a:pt x="15" y="67"/>
                  </a:lnTo>
                  <a:lnTo>
                    <a:pt x="16" y="66"/>
                  </a:lnTo>
                  <a:lnTo>
                    <a:pt x="16" y="66"/>
                  </a:lnTo>
                  <a:lnTo>
                    <a:pt x="16" y="65"/>
                  </a:lnTo>
                  <a:lnTo>
                    <a:pt x="17" y="65"/>
                  </a:lnTo>
                  <a:lnTo>
                    <a:pt x="18" y="65"/>
                  </a:lnTo>
                  <a:lnTo>
                    <a:pt x="17" y="64"/>
                  </a:lnTo>
                  <a:lnTo>
                    <a:pt x="17" y="62"/>
                  </a:lnTo>
                  <a:lnTo>
                    <a:pt x="16" y="62"/>
                  </a:lnTo>
                  <a:lnTo>
                    <a:pt x="16" y="61"/>
                  </a:lnTo>
                  <a:lnTo>
                    <a:pt x="16" y="61"/>
                  </a:lnTo>
                  <a:lnTo>
                    <a:pt x="16" y="60"/>
                  </a:lnTo>
                  <a:lnTo>
                    <a:pt x="16" y="60"/>
                  </a:lnTo>
                  <a:lnTo>
                    <a:pt x="16" y="59"/>
                  </a:lnTo>
                  <a:lnTo>
                    <a:pt x="15" y="59"/>
                  </a:lnTo>
                  <a:lnTo>
                    <a:pt x="14" y="59"/>
                  </a:lnTo>
                  <a:lnTo>
                    <a:pt x="14" y="58"/>
                  </a:lnTo>
                  <a:lnTo>
                    <a:pt x="14" y="58"/>
                  </a:lnTo>
                  <a:lnTo>
                    <a:pt x="13" y="56"/>
                  </a:lnTo>
                  <a:lnTo>
                    <a:pt x="14" y="56"/>
                  </a:lnTo>
                  <a:lnTo>
                    <a:pt x="14" y="55"/>
                  </a:lnTo>
                  <a:lnTo>
                    <a:pt x="13" y="54"/>
                  </a:lnTo>
                  <a:lnTo>
                    <a:pt x="13" y="54"/>
                  </a:lnTo>
                  <a:lnTo>
                    <a:pt x="13" y="53"/>
                  </a:lnTo>
                  <a:lnTo>
                    <a:pt x="11" y="53"/>
                  </a:lnTo>
                  <a:lnTo>
                    <a:pt x="10" y="54"/>
                  </a:lnTo>
                  <a:lnTo>
                    <a:pt x="10" y="55"/>
                  </a:lnTo>
                  <a:lnTo>
                    <a:pt x="10" y="55"/>
                  </a:lnTo>
                  <a:lnTo>
                    <a:pt x="10" y="54"/>
                  </a:lnTo>
                  <a:lnTo>
                    <a:pt x="9" y="54"/>
                  </a:lnTo>
                  <a:lnTo>
                    <a:pt x="8" y="54"/>
                  </a:lnTo>
                  <a:lnTo>
                    <a:pt x="8" y="55"/>
                  </a:lnTo>
                  <a:lnTo>
                    <a:pt x="8" y="55"/>
                  </a:lnTo>
                  <a:lnTo>
                    <a:pt x="7" y="54"/>
                  </a:lnTo>
                  <a:lnTo>
                    <a:pt x="5" y="54"/>
                  </a:lnTo>
                  <a:lnTo>
                    <a:pt x="3" y="48"/>
                  </a:lnTo>
                  <a:lnTo>
                    <a:pt x="3" y="48"/>
                  </a:lnTo>
                  <a:lnTo>
                    <a:pt x="3" y="47"/>
                  </a:lnTo>
                  <a:lnTo>
                    <a:pt x="2" y="45"/>
                  </a:lnTo>
                  <a:lnTo>
                    <a:pt x="4" y="44"/>
                  </a:lnTo>
                  <a:lnTo>
                    <a:pt x="4" y="42"/>
                  </a:lnTo>
                  <a:lnTo>
                    <a:pt x="4" y="41"/>
                  </a:lnTo>
                  <a:lnTo>
                    <a:pt x="3" y="39"/>
                  </a:lnTo>
                  <a:lnTo>
                    <a:pt x="1" y="36"/>
                  </a:lnTo>
                  <a:lnTo>
                    <a:pt x="1" y="36"/>
                  </a:lnTo>
                  <a:lnTo>
                    <a:pt x="1" y="36"/>
                  </a:lnTo>
                  <a:lnTo>
                    <a:pt x="0" y="35"/>
                  </a:lnTo>
                  <a:lnTo>
                    <a:pt x="1" y="35"/>
                  </a:lnTo>
                  <a:lnTo>
                    <a:pt x="0" y="35"/>
                  </a:lnTo>
                  <a:lnTo>
                    <a:pt x="1" y="35"/>
                  </a:lnTo>
                  <a:lnTo>
                    <a:pt x="1" y="34"/>
                  </a:lnTo>
                  <a:lnTo>
                    <a:pt x="1" y="34"/>
                  </a:lnTo>
                  <a:lnTo>
                    <a:pt x="1" y="33"/>
                  </a:lnTo>
                  <a:lnTo>
                    <a:pt x="1" y="32"/>
                  </a:lnTo>
                  <a:lnTo>
                    <a:pt x="2" y="25"/>
                  </a:lnTo>
                  <a:lnTo>
                    <a:pt x="5" y="27"/>
                  </a:lnTo>
                  <a:lnTo>
                    <a:pt x="5" y="26"/>
                  </a:lnTo>
                  <a:lnTo>
                    <a:pt x="7" y="25"/>
                  </a:lnTo>
                  <a:lnTo>
                    <a:pt x="11" y="24"/>
                  </a:lnTo>
                  <a:lnTo>
                    <a:pt x="9" y="21"/>
                  </a:lnTo>
                  <a:lnTo>
                    <a:pt x="10" y="20"/>
                  </a:lnTo>
                  <a:lnTo>
                    <a:pt x="15" y="21"/>
                  </a:lnTo>
                  <a:lnTo>
                    <a:pt x="15" y="19"/>
                  </a:lnTo>
                  <a:lnTo>
                    <a:pt x="14" y="18"/>
                  </a:lnTo>
                  <a:lnTo>
                    <a:pt x="10" y="18"/>
                  </a:lnTo>
                  <a:lnTo>
                    <a:pt x="10" y="15"/>
                  </a:lnTo>
                  <a:lnTo>
                    <a:pt x="10" y="13"/>
                  </a:lnTo>
                  <a:lnTo>
                    <a:pt x="11" y="12"/>
                  </a:lnTo>
                  <a:lnTo>
                    <a:pt x="13" y="9"/>
                  </a:lnTo>
                  <a:lnTo>
                    <a:pt x="20" y="13"/>
                  </a:lnTo>
                  <a:lnTo>
                    <a:pt x="22" y="12"/>
                  </a:lnTo>
                  <a:lnTo>
                    <a:pt x="25" y="13"/>
                  </a:lnTo>
                  <a:lnTo>
                    <a:pt x="29" y="11"/>
                  </a:lnTo>
                  <a:lnTo>
                    <a:pt x="31" y="11"/>
                  </a:lnTo>
                  <a:lnTo>
                    <a:pt x="34" y="11"/>
                  </a:lnTo>
                  <a:lnTo>
                    <a:pt x="37" y="9"/>
                  </a:lnTo>
                  <a:lnTo>
                    <a:pt x="41" y="9"/>
                  </a:lnTo>
                  <a:lnTo>
                    <a:pt x="44" y="11"/>
                  </a:lnTo>
                  <a:lnTo>
                    <a:pt x="51" y="13"/>
                  </a:lnTo>
                  <a:lnTo>
                    <a:pt x="57" y="13"/>
                  </a:lnTo>
                  <a:lnTo>
                    <a:pt x="64" y="11"/>
                  </a:lnTo>
                  <a:lnTo>
                    <a:pt x="68" y="9"/>
                  </a:lnTo>
                  <a:lnTo>
                    <a:pt x="70" y="8"/>
                  </a:lnTo>
                  <a:lnTo>
                    <a:pt x="71" y="8"/>
                  </a:lnTo>
                  <a:lnTo>
                    <a:pt x="74" y="7"/>
                  </a:lnTo>
                  <a:lnTo>
                    <a:pt x="80" y="6"/>
                  </a:lnTo>
                  <a:lnTo>
                    <a:pt x="82" y="5"/>
                  </a:lnTo>
                  <a:lnTo>
                    <a:pt x="84" y="5"/>
                  </a:lnTo>
                  <a:lnTo>
                    <a:pt x="89" y="6"/>
                  </a:lnTo>
                  <a:lnTo>
                    <a:pt x="92" y="6"/>
                  </a:lnTo>
                  <a:lnTo>
                    <a:pt x="96" y="5"/>
                  </a:lnTo>
                  <a:lnTo>
                    <a:pt x="100" y="4"/>
                  </a:lnTo>
                  <a:lnTo>
                    <a:pt x="102" y="2"/>
                  </a:lnTo>
                  <a:lnTo>
                    <a:pt x="104" y="0"/>
                  </a:lnTo>
                  <a:lnTo>
                    <a:pt x="108" y="1"/>
                  </a:lnTo>
                  <a:lnTo>
                    <a:pt x="109" y="4"/>
                  </a:lnTo>
                  <a:lnTo>
                    <a:pt x="110" y="7"/>
                  </a:lnTo>
                  <a:lnTo>
                    <a:pt x="101" y="14"/>
                  </a:lnTo>
                  <a:lnTo>
                    <a:pt x="94" y="15"/>
                  </a:lnTo>
                  <a:lnTo>
                    <a:pt x="91" y="20"/>
                  </a:lnTo>
                  <a:lnTo>
                    <a:pt x="91" y="26"/>
                  </a:lnTo>
                  <a:lnTo>
                    <a:pt x="95" y="29"/>
                  </a:lnTo>
                  <a:lnTo>
                    <a:pt x="96" y="34"/>
                  </a:lnTo>
                  <a:lnTo>
                    <a:pt x="94" y="36"/>
                  </a:lnTo>
                  <a:lnTo>
                    <a:pt x="94" y="39"/>
                  </a:lnTo>
                  <a:lnTo>
                    <a:pt x="95" y="42"/>
                  </a:lnTo>
                  <a:lnTo>
                    <a:pt x="96" y="52"/>
                  </a:lnTo>
                  <a:lnTo>
                    <a:pt x="94" y="55"/>
                  </a:lnTo>
                  <a:lnTo>
                    <a:pt x="92" y="59"/>
                  </a:lnTo>
                  <a:lnTo>
                    <a:pt x="58" y="80"/>
                  </a:lnTo>
                  <a:lnTo>
                    <a:pt x="58" y="80"/>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269" name="Swaziland">
              <a:extLst>
                <a:ext uri="{FF2B5EF4-FFF2-40B4-BE49-F238E27FC236}">
                  <a16:creationId xmlns:a16="http://schemas.microsoft.com/office/drawing/2014/main" id="{43727390-8A74-214F-BFE9-7EA96E7427A0}"/>
                </a:ext>
              </a:extLst>
            </p:cNvPr>
            <p:cNvSpPr>
              <a:spLocks/>
            </p:cNvSpPr>
            <p:nvPr/>
          </p:nvSpPr>
          <p:spPr bwMode="auto">
            <a:xfrm>
              <a:off x="7153996" y="4756329"/>
              <a:ext cx="33533" cy="49570"/>
            </a:xfrm>
            <a:custGeom>
              <a:avLst/>
              <a:gdLst>
                <a:gd name="T0" fmla="*/ 20 w 23"/>
                <a:gd name="T1" fmla="*/ 7 h 34"/>
                <a:gd name="T2" fmla="*/ 11 w 23"/>
                <a:gd name="T3" fmla="*/ 0 h 34"/>
                <a:gd name="T4" fmla="*/ 10 w 23"/>
                <a:gd name="T5" fmla="*/ 1 h 34"/>
                <a:gd name="T6" fmla="*/ 7 w 23"/>
                <a:gd name="T7" fmla="*/ 4 h 34"/>
                <a:gd name="T8" fmla="*/ 4 w 23"/>
                <a:gd name="T9" fmla="*/ 9 h 34"/>
                <a:gd name="T10" fmla="*/ 1 w 23"/>
                <a:gd name="T11" fmla="*/ 15 h 34"/>
                <a:gd name="T12" fmla="*/ 0 w 23"/>
                <a:gd name="T13" fmla="*/ 16 h 34"/>
                <a:gd name="T14" fmla="*/ 0 w 23"/>
                <a:gd name="T15" fmla="*/ 23 h 34"/>
                <a:gd name="T16" fmla="*/ 1 w 23"/>
                <a:gd name="T17" fmla="*/ 22 h 34"/>
                <a:gd name="T18" fmla="*/ 2 w 23"/>
                <a:gd name="T19" fmla="*/ 23 h 34"/>
                <a:gd name="T20" fmla="*/ 2 w 23"/>
                <a:gd name="T21" fmla="*/ 25 h 34"/>
                <a:gd name="T22" fmla="*/ 4 w 23"/>
                <a:gd name="T23" fmla="*/ 30 h 34"/>
                <a:gd name="T24" fmla="*/ 10 w 23"/>
                <a:gd name="T25" fmla="*/ 33 h 34"/>
                <a:gd name="T26" fmla="*/ 20 w 23"/>
                <a:gd name="T27" fmla="*/ 34 h 34"/>
                <a:gd name="T28" fmla="*/ 20 w 23"/>
                <a:gd name="T29" fmla="*/ 23 h 34"/>
                <a:gd name="T30" fmla="*/ 22 w 23"/>
                <a:gd name="T31" fmla="*/ 23 h 34"/>
                <a:gd name="T32" fmla="*/ 23 w 23"/>
                <a:gd name="T33" fmla="*/ 23 h 34"/>
                <a:gd name="T34" fmla="*/ 23 w 23"/>
                <a:gd name="T35" fmla="*/ 17 h 34"/>
                <a:gd name="T36" fmla="*/ 22 w 23"/>
                <a:gd name="T37" fmla="*/ 15 h 34"/>
                <a:gd name="T38" fmla="*/ 23 w 23"/>
                <a:gd name="T39" fmla="*/ 11 h 34"/>
                <a:gd name="T40" fmla="*/ 23 w 23"/>
                <a:gd name="T41" fmla="*/ 7 h 34"/>
                <a:gd name="T42" fmla="*/ 22 w 23"/>
                <a:gd name="T43" fmla="*/ 5 h 34"/>
                <a:gd name="T44" fmla="*/ 20 w 23"/>
                <a:gd name="T45" fmla="*/ 7 h 34"/>
                <a:gd name="T46" fmla="*/ 20 w 23"/>
                <a:gd name="T47" fmla="*/ 7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3" h="34">
                  <a:moveTo>
                    <a:pt x="20" y="7"/>
                  </a:moveTo>
                  <a:lnTo>
                    <a:pt x="11" y="0"/>
                  </a:lnTo>
                  <a:lnTo>
                    <a:pt x="10" y="1"/>
                  </a:lnTo>
                  <a:lnTo>
                    <a:pt x="7" y="4"/>
                  </a:lnTo>
                  <a:lnTo>
                    <a:pt x="4" y="9"/>
                  </a:lnTo>
                  <a:lnTo>
                    <a:pt x="1" y="15"/>
                  </a:lnTo>
                  <a:lnTo>
                    <a:pt x="0" y="16"/>
                  </a:lnTo>
                  <a:lnTo>
                    <a:pt x="0" y="23"/>
                  </a:lnTo>
                  <a:lnTo>
                    <a:pt x="1" y="22"/>
                  </a:lnTo>
                  <a:lnTo>
                    <a:pt x="2" y="23"/>
                  </a:lnTo>
                  <a:lnTo>
                    <a:pt x="2" y="25"/>
                  </a:lnTo>
                  <a:lnTo>
                    <a:pt x="4" y="30"/>
                  </a:lnTo>
                  <a:lnTo>
                    <a:pt x="10" y="33"/>
                  </a:lnTo>
                  <a:lnTo>
                    <a:pt x="20" y="34"/>
                  </a:lnTo>
                  <a:lnTo>
                    <a:pt x="20" y="23"/>
                  </a:lnTo>
                  <a:lnTo>
                    <a:pt x="22" y="23"/>
                  </a:lnTo>
                  <a:lnTo>
                    <a:pt x="23" y="23"/>
                  </a:lnTo>
                  <a:lnTo>
                    <a:pt x="23" y="17"/>
                  </a:lnTo>
                  <a:lnTo>
                    <a:pt x="22" y="15"/>
                  </a:lnTo>
                  <a:lnTo>
                    <a:pt x="23" y="11"/>
                  </a:lnTo>
                  <a:lnTo>
                    <a:pt x="23" y="7"/>
                  </a:lnTo>
                  <a:lnTo>
                    <a:pt x="22" y="5"/>
                  </a:lnTo>
                  <a:lnTo>
                    <a:pt x="20" y="7"/>
                  </a:lnTo>
                  <a:lnTo>
                    <a:pt x="20" y="7"/>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270" name="Suriname">
              <a:extLst>
                <a:ext uri="{FF2B5EF4-FFF2-40B4-BE49-F238E27FC236}">
                  <a16:creationId xmlns:a16="http://schemas.microsoft.com/office/drawing/2014/main" id="{A36B40AF-ED1B-504C-8C80-CB3C9874CBD6}"/>
                </a:ext>
              </a:extLst>
            </p:cNvPr>
            <p:cNvSpPr>
              <a:spLocks/>
            </p:cNvSpPr>
            <p:nvPr/>
          </p:nvSpPr>
          <p:spPr bwMode="auto">
            <a:xfrm>
              <a:off x="4830026" y="3807205"/>
              <a:ext cx="107888" cy="125384"/>
            </a:xfrm>
            <a:custGeom>
              <a:avLst/>
              <a:gdLst>
                <a:gd name="T0" fmla="*/ 67 w 74"/>
                <a:gd name="T1" fmla="*/ 18 h 86"/>
                <a:gd name="T2" fmla="*/ 65 w 74"/>
                <a:gd name="T3" fmla="*/ 23 h 86"/>
                <a:gd name="T4" fmla="*/ 66 w 74"/>
                <a:gd name="T5" fmla="*/ 27 h 86"/>
                <a:gd name="T6" fmla="*/ 66 w 74"/>
                <a:gd name="T7" fmla="*/ 33 h 86"/>
                <a:gd name="T8" fmla="*/ 67 w 74"/>
                <a:gd name="T9" fmla="*/ 38 h 86"/>
                <a:gd name="T10" fmla="*/ 69 w 74"/>
                <a:gd name="T11" fmla="*/ 44 h 86"/>
                <a:gd name="T12" fmla="*/ 73 w 74"/>
                <a:gd name="T13" fmla="*/ 48 h 86"/>
                <a:gd name="T14" fmla="*/ 73 w 74"/>
                <a:gd name="T15" fmla="*/ 52 h 86"/>
                <a:gd name="T16" fmla="*/ 69 w 74"/>
                <a:gd name="T17" fmla="*/ 58 h 86"/>
                <a:gd name="T18" fmla="*/ 69 w 74"/>
                <a:gd name="T19" fmla="*/ 60 h 86"/>
                <a:gd name="T20" fmla="*/ 69 w 74"/>
                <a:gd name="T21" fmla="*/ 63 h 86"/>
                <a:gd name="T22" fmla="*/ 69 w 74"/>
                <a:gd name="T23" fmla="*/ 66 h 86"/>
                <a:gd name="T24" fmla="*/ 65 w 74"/>
                <a:gd name="T25" fmla="*/ 73 h 86"/>
                <a:gd name="T26" fmla="*/ 61 w 74"/>
                <a:gd name="T27" fmla="*/ 76 h 86"/>
                <a:gd name="T28" fmla="*/ 56 w 74"/>
                <a:gd name="T29" fmla="*/ 73 h 86"/>
                <a:gd name="T30" fmla="*/ 48 w 74"/>
                <a:gd name="T31" fmla="*/ 73 h 86"/>
                <a:gd name="T32" fmla="*/ 39 w 74"/>
                <a:gd name="T33" fmla="*/ 81 h 86"/>
                <a:gd name="T34" fmla="*/ 27 w 74"/>
                <a:gd name="T35" fmla="*/ 84 h 86"/>
                <a:gd name="T36" fmla="*/ 21 w 74"/>
                <a:gd name="T37" fmla="*/ 77 h 86"/>
                <a:gd name="T38" fmla="*/ 19 w 74"/>
                <a:gd name="T39" fmla="*/ 73 h 86"/>
                <a:gd name="T40" fmla="*/ 17 w 74"/>
                <a:gd name="T41" fmla="*/ 72 h 86"/>
                <a:gd name="T42" fmla="*/ 17 w 74"/>
                <a:gd name="T43" fmla="*/ 70 h 86"/>
                <a:gd name="T44" fmla="*/ 16 w 74"/>
                <a:gd name="T45" fmla="*/ 67 h 86"/>
                <a:gd name="T46" fmla="*/ 14 w 74"/>
                <a:gd name="T47" fmla="*/ 64 h 86"/>
                <a:gd name="T48" fmla="*/ 15 w 74"/>
                <a:gd name="T49" fmla="*/ 61 h 86"/>
                <a:gd name="T50" fmla="*/ 14 w 74"/>
                <a:gd name="T51" fmla="*/ 59 h 86"/>
                <a:gd name="T52" fmla="*/ 13 w 74"/>
                <a:gd name="T53" fmla="*/ 57 h 86"/>
                <a:gd name="T54" fmla="*/ 12 w 74"/>
                <a:gd name="T55" fmla="*/ 54 h 86"/>
                <a:gd name="T56" fmla="*/ 9 w 74"/>
                <a:gd name="T57" fmla="*/ 54 h 86"/>
                <a:gd name="T58" fmla="*/ 6 w 74"/>
                <a:gd name="T59" fmla="*/ 54 h 86"/>
                <a:gd name="T60" fmla="*/ 5 w 74"/>
                <a:gd name="T61" fmla="*/ 50 h 86"/>
                <a:gd name="T62" fmla="*/ 1 w 74"/>
                <a:gd name="T63" fmla="*/ 44 h 86"/>
                <a:gd name="T64" fmla="*/ 0 w 74"/>
                <a:gd name="T65" fmla="*/ 37 h 86"/>
                <a:gd name="T66" fmla="*/ 3 w 74"/>
                <a:gd name="T67" fmla="*/ 27 h 86"/>
                <a:gd name="T68" fmla="*/ 5 w 74"/>
                <a:gd name="T69" fmla="*/ 23 h 86"/>
                <a:gd name="T70" fmla="*/ 8 w 74"/>
                <a:gd name="T71" fmla="*/ 20 h 86"/>
                <a:gd name="T72" fmla="*/ 13 w 74"/>
                <a:gd name="T73" fmla="*/ 20 h 86"/>
                <a:gd name="T74" fmla="*/ 14 w 74"/>
                <a:gd name="T75" fmla="*/ 18 h 86"/>
                <a:gd name="T76" fmla="*/ 16 w 74"/>
                <a:gd name="T77" fmla="*/ 18 h 86"/>
                <a:gd name="T78" fmla="*/ 14 w 74"/>
                <a:gd name="T79" fmla="*/ 17 h 86"/>
                <a:gd name="T80" fmla="*/ 14 w 74"/>
                <a:gd name="T81" fmla="*/ 13 h 86"/>
                <a:gd name="T82" fmla="*/ 17 w 74"/>
                <a:gd name="T83" fmla="*/ 5 h 86"/>
                <a:gd name="T84" fmla="*/ 26 w 74"/>
                <a:gd name="T85" fmla="*/ 0 h 86"/>
                <a:gd name="T86" fmla="*/ 37 w 74"/>
                <a:gd name="T87" fmla="*/ 4 h 86"/>
                <a:gd name="T88" fmla="*/ 40 w 74"/>
                <a:gd name="T89" fmla="*/ 5 h 86"/>
                <a:gd name="T90" fmla="*/ 45 w 74"/>
                <a:gd name="T91" fmla="*/ 0 h 86"/>
                <a:gd name="T92" fmla="*/ 53 w 74"/>
                <a:gd name="T93" fmla="*/ 3 h 86"/>
                <a:gd name="T94" fmla="*/ 54 w 74"/>
                <a:gd name="T95" fmla="*/ 4 h 86"/>
                <a:gd name="T96" fmla="*/ 56 w 74"/>
                <a:gd name="T97" fmla="*/ 3 h 86"/>
                <a:gd name="T98" fmla="*/ 57 w 74"/>
                <a:gd name="T99" fmla="*/ 3 h 86"/>
                <a:gd name="T100" fmla="*/ 54 w 74"/>
                <a:gd name="T101" fmla="*/ 3 h 86"/>
                <a:gd name="T102" fmla="*/ 55 w 74"/>
                <a:gd name="T103" fmla="*/ 0 h 86"/>
                <a:gd name="T104" fmla="*/ 68 w 74"/>
                <a:gd name="T105" fmla="*/ 3 h 86"/>
                <a:gd name="T106" fmla="*/ 74 w 74"/>
                <a:gd name="T107" fmla="*/ 4 h 86"/>
                <a:gd name="T108" fmla="*/ 73 w 74"/>
                <a:gd name="T109" fmla="*/ 10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4" h="86">
                  <a:moveTo>
                    <a:pt x="70" y="13"/>
                  </a:moveTo>
                  <a:lnTo>
                    <a:pt x="70" y="16"/>
                  </a:lnTo>
                  <a:lnTo>
                    <a:pt x="68" y="16"/>
                  </a:lnTo>
                  <a:lnTo>
                    <a:pt x="67" y="18"/>
                  </a:lnTo>
                  <a:lnTo>
                    <a:pt x="67" y="18"/>
                  </a:lnTo>
                  <a:lnTo>
                    <a:pt x="66" y="20"/>
                  </a:lnTo>
                  <a:lnTo>
                    <a:pt x="66" y="21"/>
                  </a:lnTo>
                  <a:lnTo>
                    <a:pt x="65" y="23"/>
                  </a:lnTo>
                  <a:lnTo>
                    <a:pt x="65" y="24"/>
                  </a:lnTo>
                  <a:lnTo>
                    <a:pt x="65" y="26"/>
                  </a:lnTo>
                  <a:lnTo>
                    <a:pt x="65" y="26"/>
                  </a:lnTo>
                  <a:lnTo>
                    <a:pt x="66" y="27"/>
                  </a:lnTo>
                  <a:lnTo>
                    <a:pt x="66" y="27"/>
                  </a:lnTo>
                  <a:lnTo>
                    <a:pt x="66" y="30"/>
                  </a:lnTo>
                  <a:lnTo>
                    <a:pt x="65" y="31"/>
                  </a:lnTo>
                  <a:lnTo>
                    <a:pt x="66" y="33"/>
                  </a:lnTo>
                  <a:lnTo>
                    <a:pt x="66" y="36"/>
                  </a:lnTo>
                  <a:lnTo>
                    <a:pt x="66" y="37"/>
                  </a:lnTo>
                  <a:lnTo>
                    <a:pt x="66" y="38"/>
                  </a:lnTo>
                  <a:lnTo>
                    <a:pt x="67" y="38"/>
                  </a:lnTo>
                  <a:lnTo>
                    <a:pt x="67" y="41"/>
                  </a:lnTo>
                  <a:lnTo>
                    <a:pt x="67" y="41"/>
                  </a:lnTo>
                  <a:lnTo>
                    <a:pt x="68" y="43"/>
                  </a:lnTo>
                  <a:lnTo>
                    <a:pt x="69" y="44"/>
                  </a:lnTo>
                  <a:lnTo>
                    <a:pt x="69" y="45"/>
                  </a:lnTo>
                  <a:lnTo>
                    <a:pt x="72" y="46"/>
                  </a:lnTo>
                  <a:lnTo>
                    <a:pt x="72" y="48"/>
                  </a:lnTo>
                  <a:lnTo>
                    <a:pt x="73" y="48"/>
                  </a:lnTo>
                  <a:lnTo>
                    <a:pt x="73" y="50"/>
                  </a:lnTo>
                  <a:lnTo>
                    <a:pt x="73" y="50"/>
                  </a:lnTo>
                  <a:lnTo>
                    <a:pt x="73" y="51"/>
                  </a:lnTo>
                  <a:lnTo>
                    <a:pt x="73" y="52"/>
                  </a:lnTo>
                  <a:lnTo>
                    <a:pt x="72" y="54"/>
                  </a:lnTo>
                  <a:lnTo>
                    <a:pt x="72" y="56"/>
                  </a:lnTo>
                  <a:lnTo>
                    <a:pt x="70" y="57"/>
                  </a:lnTo>
                  <a:lnTo>
                    <a:pt x="69" y="58"/>
                  </a:lnTo>
                  <a:lnTo>
                    <a:pt x="69" y="59"/>
                  </a:lnTo>
                  <a:lnTo>
                    <a:pt x="69" y="60"/>
                  </a:lnTo>
                  <a:lnTo>
                    <a:pt x="69" y="59"/>
                  </a:lnTo>
                  <a:lnTo>
                    <a:pt x="69" y="60"/>
                  </a:lnTo>
                  <a:lnTo>
                    <a:pt x="69" y="60"/>
                  </a:lnTo>
                  <a:lnTo>
                    <a:pt x="69" y="60"/>
                  </a:lnTo>
                  <a:lnTo>
                    <a:pt x="69" y="61"/>
                  </a:lnTo>
                  <a:lnTo>
                    <a:pt x="69" y="63"/>
                  </a:lnTo>
                  <a:lnTo>
                    <a:pt x="69" y="63"/>
                  </a:lnTo>
                  <a:lnTo>
                    <a:pt x="69" y="65"/>
                  </a:lnTo>
                  <a:lnTo>
                    <a:pt x="69" y="65"/>
                  </a:lnTo>
                  <a:lnTo>
                    <a:pt x="69" y="66"/>
                  </a:lnTo>
                  <a:lnTo>
                    <a:pt x="69" y="66"/>
                  </a:lnTo>
                  <a:lnTo>
                    <a:pt x="67" y="70"/>
                  </a:lnTo>
                  <a:lnTo>
                    <a:pt x="66" y="72"/>
                  </a:lnTo>
                  <a:lnTo>
                    <a:pt x="65" y="73"/>
                  </a:lnTo>
                  <a:lnTo>
                    <a:pt x="63" y="73"/>
                  </a:lnTo>
                  <a:lnTo>
                    <a:pt x="63" y="76"/>
                  </a:lnTo>
                  <a:lnTo>
                    <a:pt x="62" y="76"/>
                  </a:lnTo>
                  <a:lnTo>
                    <a:pt x="61" y="76"/>
                  </a:lnTo>
                  <a:lnTo>
                    <a:pt x="61" y="76"/>
                  </a:lnTo>
                  <a:lnTo>
                    <a:pt x="60" y="74"/>
                  </a:lnTo>
                  <a:lnTo>
                    <a:pt x="59" y="73"/>
                  </a:lnTo>
                  <a:lnTo>
                    <a:pt x="56" y="73"/>
                  </a:lnTo>
                  <a:lnTo>
                    <a:pt x="56" y="70"/>
                  </a:lnTo>
                  <a:lnTo>
                    <a:pt x="52" y="72"/>
                  </a:lnTo>
                  <a:lnTo>
                    <a:pt x="50" y="72"/>
                  </a:lnTo>
                  <a:lnTo>
                    <a:pt x="48" y="73"/>
                  </a:lnTo>
                  <a:lnTo>
                    <a:pt x="36" y="72"/>
                  </a:lnTo>
                  <a:lnTo>
                    <a:pt x="35" y="76"/>
                  </a:lnTo>
                  <a:lnTo>
                    <a:pt x="35" y="78"/>
                  </a:lnTo>
                  <a:lnTo>
                    <a:pt x="39" y="81"/>
                  </a:lnTo>
                  <a:lnTo>
                    <a:pt x="36" y="86"/>
                  </a:lnTo>
                  <a:lnTo>
                    <a:pt x="29" y="84"/>
                  </a:lnTo>
                  <a:lnTo>
                    <a:pt x="27" y="84"/>
                  </a:lnTo>
                  <a:lnTo>
                    <a:pt x="27" y="84"/>
                  </a:lnTo>
                  <a:lnTo>
                    <a:pt x="26" y="83"/>
                  </a:lnTo>
                  <a:lnTo>
                    <a:pt x="23" y="81"/>
                  </a:lnTo>
                  <a:lnTo>
                    <a:pt x="21" y="79"/>
                  </a:lnTo>
                  <a:lnTo>
                    <a:pt x="21" y="77"/>
                  </a:lnTo>
                  <a:lnTo>
                    <a:pt x="20" y="77"/>
                  </a:lnTo>
                  <a:lnTo>
                    <a:pt x="20" y="76"/>
                  </a:lnTo>
                  <a:lnTo>
                    <a:pt x="19" y="74"/>
                  </a:lnTo>
                  <a:lnTo>
                    <a:pt x="19" y="73"/>
                  </a:lnTo>
                  <a:lnTo>
                    <a:pt x="19" y="73"/>
                  </a:lnTo>
                  <a:lnTo>
                    <a:pt x="19" y="72"/>
                  </a:lnTo>
                  <a:lnTo>
                    <a:pt x="19" y="72"/>
                  </a:lnTo>
                  <a:lnTo>
                    <a:pt x="17" y="72"/>
                  </a:lnTo>
                  <a:lnTo>
                    <a:pt x="17" y="71"/>
                  </a:lnTo>
                  <a:lnTo>
                    <a:pt x="17" y="70"/>
                  </a:lnTo>
                  <a:lnTo>
                    <a:pt x="17" y="70"/>
                  </a:lnTo>
                  <a:lnTo>
                    <a:pt x="17" y="70"/>
                  </a:lnTo>
                  <a:lnTo>
                    <a:pt x="17" y="68"/>
                  </a:lnTo>
                  <a:lnTo>
                    <a:pt x="16" y="67"/>
                  </a:lnTo>
                  <a:lnTo>
                    <a:pt x="16" y="67"/>
                  </a:lnTo>
                  <a:lnTo>
                    <a:pt x="16" y="67"/>
                  </a:lnTo>
                  <a:lnTo>
                    <a:pt x="16" y="65"/>
                  </a:lnTo>
                  <a:lnTo>
                    <a:pt x="15" y="66"/>
                  </a:lnTo>
                  <a:lnTo>
                    <a:pt x="15" y="65"/>
                  </a:lnTo>
                  <a:lnTo>
                    <a:pt x="14" y="64"/>
                  </a:lnTo>
                  <a:lnTo>
                    <a:pt x="15" y="63"/>
                  </a:lnTo>
                  <a:lnTo>
                    <a:pt x="14" y="63"/>
                  </a:lnTo>
                  <a:lnTo>
                    <a:pt x="14" y="61"/>
                  </a:lnTo>
                  <a:lnTo>
                    <a:pt x="15" y="61"/>
                  </a:lnTo>
                  <a:lnTo>
                    <a:pt x="14" y="60"/>
                  </a:lnTo>
                  <a:lnTo>
                    <a:pt x="14" y="60"/>
                  </a:lnTo>
                  <a:lnTo>
                    <a:pt x="14" y="59"/>
                  </a:lnTo>
                  <a:lnTo>
                    <a:pt x="14" y="59"/>
                  </a:lnTo>
                  <a:lnTo>
                    <a:pt x="13" y="59"/>
                  </a:lnTo>
                  <a:lnTo>
                    <a:pt x="14" y="59"/>
                  </a:lnTo>
                  <a:lnTo>
                    <a:pt x="13" y="58"/>
                  </a:lnTo>
                  <a:lnTo>
                    <a:pt x="13" y="57"/>
                  </a:lnTo>
                  <a:lnTo>
                    <a:pt x="13" y="57"/>
                  </a:lnTo>
                  <a:lnTo>
                    <a:pt x="13" y="56"/>
                  </a:lnTo>
                  <a:lnTo>
                    <a:pt x="13" y="54"/>
                  </a:lnTo>
                  <a:lnTo>
                    <a:pt x="12" y="54"/>
                  </a:lnTo>
                  <a:lnTo>
                    <a:pt x="10" y="54"/>
                  </a:lnTo>
                  <a:lnTo>
                    <a:pt x="10" y="54"/>
                  </a:lnTo>
                  <a:lnTo>
                    <a:pt x="10" y="56"/>
                  </a:lnTo>
                  <a:lnTo>
                    <a:pt x="9" y="54"/>
                  </a:lnTo>
                  <a:lnTo>
                    <a:pt x="8" y="54"/>
                  </a:lnTo>
                  <a:lnTo>
                    <a:pt x="7" y="54"/>
                  </a:lnTo>
                  <a:lnTo>
                    <a:pt x="7" y="54"/>
                  </a:lnTo>
                  <a:lnTo>
                    <a:pt x="6" y="54"/>
                  </a:lnTo>
                  <a:lnTo>
                    <a:pt x="7" y="52"/>
                  </a:lnTo>
                  <a:lnTo>
                    <a:pt x="7" y="51"/>
                  </a:lnTo>
                  <a:lnTo>
                    <a:pt x="6" y="51"/>
                  </a:lnTo>
                  <a:lnTo>
                    <a:pt x="5" y="50"/>
                  </a:lnTo>
                  <a:lnTo>
                    <a:pt x="3" y="48"/>
                  </a:lnTo>
                  <a:lnTo>
                    <a:pt x="3" y="46"/>
                  </a:lnTo>
                  <a:lnTo>
                    <a:pt x="2" y="45"/>
                  </a:lnTo>
                  <a:lnTo>
                    <a:pt x="1" y="44"/>
                  </a:lnTo>
                  <a:lnTo>
                    <a:pt x="0" y="43"/>
                  </a:lnTo>
                  <a:lnTo>
                    <a:pt x="0" y="41"/>
                  </a:lnTo>
                  <a:lnTo>
                    <a:pt x="0" y="38"/>
                  </a:lnTo>
                  <a:lnTo>
                    <a:pt x="0" y="37"/>
                  </a:lnTo>
                  <a:lnTo>
                    <a:pt x="2" y="36"/>
                  </a:lnTo>
                  <a:lnTo>
                    <a:pt x="2" y="33"/>
                  </a:lnTo>
                  <a:lnTo>
                    <a:pt x="2" y="32"/>
                  </a:lnTo>
                  <a:lnTo>
                    <a:pt x="3" y="27"/>
                  </a:lnTo>
                  <a:lnTo>
                    <a:pt x="3" y="26"/>
                  </a:lnTo>
                  <a:lnTo>
                    <a:pt x="2" y="25"/>
                  </a:lnTo>
                  <a:lnTo>
                    <a:pt x="2" y="25"/>
                  </a:lnTo>
                  <a:lnTo>
                    <a:pt x="5" y="23"/>
                  </a:lnTo>
                  <a:lnTo>
                    <a:pt x="5" y="23"/>
                  </a:lnTo>
                  <a:lnTo>
                    <a:pt x="6" y="21"/>
                  </a:lnTo>
                  <a:lnTo>
                    <a:pt x="7" y="20"/>
                  </a:lnTo>
                  <a:lnTo>
                    <a:pt x="8" y="20"/>
                  </a:lnTo>
                  <a:lnTo>
                    <a:pt x="10" y="20"/>
                  </a:lnTo>
                  <a:lnTo>
                    <a:pt x="10" y="21"/>
                  </a:lnTo>
                  <a:lnTo>
                    <a:pt x="12" y="21"/>
                  </a:lnTo>
                  <a:lnTo>
                    <a:pt x="13" y="20"/>
                  </a:lnTo>
                  <a:lnTo>
                    <a:pt x="14" y="20"/>
                  </a:lnTo>
                  <a:lnTo>
                    <a:pt x="14" y="20"/>
                  </a:lnTo>
                  <a:lnTo>
                    <a:pt x="14" y="19"/>
                  </a:lnTo>
                  <a:lnTo>
                    <a:pt x="14" y="18"/>
                  </a:lnTo>
                  <a:lnTo>
                    <a:pt x="14" y="17"/>
                  </a:lnTo>
                  <a:lnTo>
                    <a:pt x="14" y="18"/>
                  </a:lnTo>
                  <a:lnTo>
                    <a:pt x="15" y="18"/>
                  </a:lnTo>
                  <a:lnTo>
                    <a:pt x="16" y="18"/>
                  </a:lnTo>
                  <a:lnTo>
                    <a:pt x="15" y="16"/>
                  </a:lnTo>
                  <a:lnTo>
                    <a:pt x="14" y="16"/>
                  </a:lnTo>
                  <a:lnTo>
                    <a:pt x="15" y="17"/>
                  </a:lnTo>
                  <a:lnTo>
                    <a:pt x="14" y="17"/>
                  </a:lnTo>
                  <a:lnTo>
                    <a:pt x="14" y="14"/>
                  </a:lnTo>
                  <a:lnTo>
                    <a:pt x="13" y="14"/>
                  </a:lnTo>
                  <a:lnTo>
                    <a:pt x="14" y="13"/>
                  </a:lnTo>
                  <a:lnTo>
                    <a:pt x="14" y="13"/>
                  </a:lnTo>
                  <a:lnTo>
                    <a:pt x="15" y="11"/>
                  </a:lnTo>
                  <a:lnTo>
                    <a:pt x="16" y="10"/>
                  </a:lnTo>
                  <a:lnTo>
                    <a:pt x="16" y="10"/>
                  </a:lnTo>
                  <a:lnTo>
                    <a:pt x="17" y="5"/>
                  </a:lnTo>
                  <a:lnTo>
                    <a:pt x="17" y="3"/>
                  </a:lnTo>
                  <a:lnTo>
                    <a:pt x="19" y="1"/>
                  </a:lnTo>
                  <a:lnTo>
                    <a:pt x="20" y="0"/>
                  </a:lnTo>
                  <a:lnTo>
                    <a:pt x="26" y="0"/>
                  </a:lnTo>
                  <a:lnTo>
                    <a:pt x="27" y="1"/>
                  </a:lnTo>
                  <a:lnTo>
                    <a:pt x="29" y="1"/>
                  </a:lnTo>
                  <a:lnTo>
                    <a:pt x="36" y="4"/>
                  </a:lnTo>
                  <a:lnTo>
                    <a:pt x="37" y="4"/>
                  </a:lnTo>
                  <a:lnTo>
                    <a:pt x="40" y="5"/>
                  </a:lnTo>
                  <a:lnTo>
                    <a:pt x="40" y="7"/>
                  </a:lnTo>
                  <a:lnTo>
                    <a:pt x="40" y="6"/>
                  </a:lnTo>
                  <a:lnTo>
                    <a:pt x="40" y="5"/>
                  </a:lnTo>
                  <a:lnTo>
                    <a:pt x="40" y="4"/>
                  </a:lnTo>
                  <a:lnTo>
                    <a:pt x="39" y="3"/>
                  </a:lnTo>
                  <a:lnTo>
                    <a:pt x="40" y="1"/>
                  </a:lnTo>
                  <a:lnTo>
                    <a:pt x="45" y="0"/>
                  </a:lnTo>
                  <a:lnTo>
                    <a:pt x="49" y="0"/>
                  </a:lnTo>
                  <a:lnTo>
                    <a:pt x="50" y="1"/>
                  </a:lnTo>
                  <a:lnTo>
                    <a:pt x="52" y="3"/>
                  </a:lnTo>
                  <a:lnTo>
                    <a:pt x="53" y="3"/>
                  </a:lnTo>
                  <a:lnTo>
                    <a:pt x="54" y="3"/>
                  </a:lnTo>
                  <a:lnTo>
                    <a:pt x="54" y="3"/>
                  </a:lnTo>
                  <a:lnTo>
                    <a:pt x="54" y="4"/>
                  </a:lnTo>
                  <a:lnTo>
                    <a:pt x="54" y="4"/>
                  </a:lnTo>
                  <a:lnTo>
                    <a:pt x="54" y="4"/>
                  </a:lnTo>
                  <a:lnTo>
                    <a:pt x="54" y="3"/>
                  </a:lnTo>
                  <a:lnTo>
                    <a:pt x="55" y="4"/>
                  </a:lnTo>
                  <a:lnTo>
                    <a:pt x="56" y="3"/>
                  </a:lnTo>
                  <a:lnTo>
                    <a:pt x="57" y="4"/>
                  </a:lnTo>
                  <a:lnTo>
                    <a:pt x="57" y="3"/>
                  </a:lnTo>
                  <a:lnTo>
                    <a:pt x="59" y="4"/>
                  </a:lnTo>
                  <a:lnTo>
                    <a:pt x="57" y="3"/>
                  </a:lnTo>
                  <a:lnTo>
                    <a:pt x="57" y="3"/>
                  </a:lnTo>
                  <a:lnTo>
                    <a:pt x="56" y="3"/>
                  </a:lnTo>
                  <a:lnTo>
                    <a:pt x="55" y="3"/>
                  </a:lnTo>
                  <a:lnTo>
                    <a:pt x="54" y="3"/>
                  </a:lnTo>
                  <a:lnTo>
                    <a:pt x="54" y="1"/>
                  </a:lnTo>
                  <a:lnTo>
                    <a:pt x="53" y="1"/>
                  </a:lnTo>
                  <a:lnTo>
                    <a:pt x="53" y="0"/>
                  </a:lnTo>
                  <a:lnTo>
                    <a:pt x="55" y="0"/>
                  </a:lnTo>
                  <a:lnTo>
                    <a:pt x="56" y="0"/>
                  </a:lnTo>
                  <a:lnTo>
                    <a:pt x="60" y="0"/>
                  </a:lnTo>
                  <a:lnTo>
                    <a:pt x="65" y="1"/>
                  </a:lnTo>
                  <a:lnTo>
                    <a:pt x="68" y="3"/>
                  </a:lnTo>
                  <a:lnTo>
                    <a:pt x="69" y="3"/>
                  </a:lnTo>
                  <a:lnTo>
                    <a:pt x="70" y="3"/>
                  </a:lnTo>
                  <a:lnTo>
                    <a:pt x="73" y="4"/>
                  </a:lnTo>
                  <a:lnTo>
                    <a:pt x="74" y="4"/>
                  </a:lnTo>
                  <a:lnTo>
                    <a:pt x="73" y="5"/>
                  </a:lnTo>
                  <a:lnTo>
                    <a:pt x="74" y="6"/>
                  </a:lnTo>
                  <a:lnTo>
                    <a:pt x="73" y="7"/>
                  </a:lnTo>
                  <a:lnTo>
                    <a:pt x="73" y="10"/>
                  </a:lnTo>
                  <a:lnTo>
                    <a:pt x="70" y="13"/>
                  </a:lnTo>
                  <a:lnTo>
                    <a:pt x="70" y="13"/>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271" name="Sudan">
              <a:extLst>
                <a:ext uri="{FF2B5EF4-FFF2-40B4-BE49-F238E27FC236}">
                  <a16:creationId xmlns:a16="http://schemas.microsoft.com/office/drawing/2014/main" id="{136328F0-CB06-7342-810F-C6BBA019FAB7}"/>
                </a:ext>
              </a:extLst>
            </p:cNvPr>
            <p:cNvSpPr>
              <a:spLocks/>
            </p:cNvSpPr>
            <p:nvPr>
              <p:custDataLst>
                <p:tags r:id="rId1"/>
              </p:custDataLst>
            </p:nvPr>
          </p:nvSpPr>
          <p:spPr bwMode="auto">
            <a:xfrm>
              <a:off x="6936762" y="3295464"/>
              <a:ext cx="434469" cy="586095"/>
            </a:xfrm>
            <a:custGeom>
              <a:avLst/>
              <a:gdLst>
                <a:gd name="T0" fmla="*/ 13 w 298"/>
                <a:gd name="T1" fmla="*/ 235 h 402"/>
                <a:gd name="T2" fmla="*/ 11 w 298"/>
                <a:gd name="T3" fmla="*/ 221 h 402"/>
                <a:gd name="T4" fmla="*/ 0 w 298"/>
                <a:gd name="T5" fmla="*/ 211 h 402"/>
                <a:gd name="T6" fmla="*/ 5 w 298"/>
                <a:gd name="T7" fmla="*/ 194 h 402"/>
                <a:gd name="T8" fmla="*/ 12 w 298"/>
                <a:gd name="T9" fmla="*/ 182 h 402"/>
                <a:gd name="T10" fmla="*/ 14 w 298"/>
                <a:gd name="T11" fmla="*/ 173 h 402"/>
                <a:gd name="T12" fmla="*/ 18 w 298"/>
                <a:gd name="T13" fmla="*/ 156 h 402"/>
                <a:gd name="T14" fmla="*/ 52 w 298"/>
                <a:gd name="T15" fmla="*/ 63 h 402"/>
                <a:gd name="T16" fmla="*/ 210 w 298"/>
                <a:gd name="T17" fmla="*/ 28 h 402"/>
                <a:gd name="T18" fmla="*/ 240 w 298"/>
                <a:gd name="T19" fmla="*/ 2 h 402"/>
                <a:gd name="T20" fmla="*/ 241 w 298"/>
                <a:gd name="T21" fmla="*/ 4 h 402"/>
                <a:gd name="T22" fmla="*/ 241 w 298"/>
                <a:gd name="T23" fmla="*/ 6 h 402"/>
                <a:gd name="T24" fmla="*/ 252 w 298"/>
                <a:gd name="T25" fmla="*/ 13 h 402"/>
                <a:gd name="T26" fmla="*/ 261 w 298"/>
                <a:gd name="T27" fmla="*/ 22 h 402"/>
                <a:gd name="T28" fmla="*/ 261 w 298"/>
                <a:gd name="T29" fmla="*/ 24 h 402"/>
                <a:gd name="T30" fmla="*/ 261 w 298"/>
                <a:gd name="T31" fmla="*/ 27 h 402"/>
                <a:gd name="T32" fmla="*/ 264 w 298"/>
                <a:gd name="T33" fmla="*/ 31 h 402"/>
                <a:gd name="T34" fmla="*/ 270 w 298"/>
                <a:gd name="T35" fmla="*/ 41 h 402"/>
                <a:gd name="T36" fmla="*/ 267 w 298"/>
                <a:gd name="T37" fmla="*/ 38 h 402"/>
                <a:gd name="T38" fmla="*/ 266 w 298"/>
                <a:gd name="T39" fmla="*/ 43 h 402"/>
                <a:gd name="T40" fmla="*/ 270 w 298"/>
                <a:gd name="T41" fmla="*/ 54 h 402"/>
                <a:gd name="T42" fmla="*/ 270 w 298"/>
                <a:gd name="T43" fmla="*/ 63 h 402"/>
                <a:gd name="T44" fmla="*/ 271 w 298"/>
                <a:gd name="T45" fmla="*/ 71 h 402"/>
                <a:gd name="T46" fmla="*/ 274 w 298"/>
                <a:gd name="T47" fmla="*/ 86 h 402"/>
                <a:gd name="T48" fmla="*/ 281 w 298"/>
                <a:gd name="T49" fmla="*/ 90 h 402"/>
                <a:gd name="T50" fmla="*/ 285 w 298"/>
                <a:gd name="T51" fmla="*/ 94 h 402"/>
                <a:gd name="T52" fmla="*/ 287 w 298"/>
                <a:gd name="T53" fmla="*/ 98 h 402"/>
                <a:gd name="T54" fmla="*/ 291 w 298"/>
                <a:gd name="T55" fmla="*/ 100 h 402"/>
                <a:gd name="T56" fmla="*/ 293 w 298"/>
                <a:gd name="T57" fmla="*/ 100 h 402"/>
                <a:gd name="T58" fmla="*/ 296 w 298"/>
                <a:gd name="T59" fmla="*/ 103 h 402"/>
                <a:gd name="T60" fmla="*/ 292 w 298"/>
                <a:gd name="T61" fmla="*/ 115 h 402"/>
                <a:gd name="T62" fmla="*/ 283 w 298"/>
                <a:gd name="T63" fmla="*/ 117 h 402"/>
                <a:gd name="T64" fmla="*/ 272 w 298"/>
                <a:gd name="T65" fmla="*/ 124 h 402"/>
                <a:gd name="T66" fmla="*/ 268 w 298"/>
                <a:gd name="T67" fmla="*/ 135 h 402"/>
                <a:gd name="T68" fmla="*/ 263 w 298"/>
                <a:gd name="T69" fmla="*/ 161 h 402"/>
                <a:gd name="T70" fmla="*/ 258 w 298"/>
                <a:gd name="T71" fmla="*/ 209 h 402"/>
                <a:gd name="T72" fmla="*/ 246 w 298"/>
                <a:gd name="T73" fmla="*/ 221 h 402"/>
                <a:gd name="T74" fmla="*/ 240 w 298"/>
                <a:gd name="T75" fmla="*/ 235 h 402"/>
                <a:gd name="T76" fmla="*/ 236 w 298"/>
                <a:gd name="T77" fmla="*/ 254 h 402"/>
                <a:gd name="T78" fmla="*/ 225 w 298"/>
                <a:gd name="T79" fmla="*/ 268 h 402"/>
                <a:gd name="T80" fmla="*/ 216 w 298"/>
                <a:gd name="T81" fmla="*/ 301 h 402"/>
                <a:gd name="T82" fmla="*/ 206 w 298"/>
                <a:gd name="T83" fmla="*/ 302 h 402"/>
                <a:gd name="T84" fmla="*/ 204 w 298"/>
                <a:gd name="T85" fmla="*/ 310 h 402"/>
                <a:gd name="T86" fmla="*/ 213 w 298"/>
                <a:gd name="T87" fmla="*/ 316 h 402"/>
                <a:gd name="T88" fmla="*/ 225 w 298"/>
                <a:gd name="T89" fmla="*/ 327 h 402"/>
                <a:gd name="T90" fmla="*/ 236 w 298"/>
                <a:gd name="T91" fmla="*/ 338 h 402"/>
                <a:gd name="T92" fmla="*/ 241 w 298"/>
                <a:gd name="T93" fmla="*/ 352 h 402"/>
                <a:gd name="T94" fmla="*/ 251 w 298"/>
                <a:gd name="T95" fmla="*/ 362 h 402"/>
                <a:gd name="T96" fmla="*/ 230 w 298"/>
                <a:gd name="T97" fmla="*/ 380 h 402"/>
                <a:gd name="T98" fmla="*/ 189 w 298"/>
                <a:gd name="T99" fmla="*/ 401 h 402"/>
                <a:gd name="T100" fmla="*/ 169 w 298"/>
                <a:gd name="T101" fmla="*/ 398 h 402"/>
                <a:gd name="T102" fmla="*/ 161 w 298"/>
                <a:gd name="T103" fmla="*/ 396 h 402"/>
                <a:gd name="T104" fmla="*/ 151 w 298"/>
                <a:gd name="T105" fmla="*/ 388 h 402"/>
                <a:gd name="T106" fmla="*/ 137 w 298"/>
                <a:gd name="T107" fmla="*/ 387 h 402"/>
                <a:gd name="T108" fmla="*/ 124 w 298"/>
                <a:gd name="T109" fmla="*/ 384 h 402"/>
                <a:gd name="T110" fmla="*/ 111 w 298"/>
                <a:gd name="T111" fmla="*/ 381 h 402"/>
                <a:gd name="T112" fmla="*/ 104 w 298"/>
                <a:gd name="T113" fmla="*/ 369 h 402"/>
                <a:gd name="T114" fmla="*/ 86 w 298"/>
                <a:gd name="T115" fmla="*/ 345 h 402"/>
                <a:gd name="T116" fmla="*/ 63 w 298"/>
                <a:gd name="T117" fmla="*/ 320 h 402"/>
                <a:gd name="T118" fmla="*/ 46 w 298"/>
                <a:gd name="T119" fmla="*/ 304 h 402"/>
                <a:gd name="T120" fmla="*/ 33 w 298"/>
                <a:gd name="T121" fmla="*/ 291 h 402"/>
                <a:gd name="T122" fmla="*/ 27 w 298"/>
                <a:gd name="T123" fmla="*/ 258 h 4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98" h="402">
                  <a:moveTo>
                    <a:pt x="20" y="247"/>
                  </a:moveTo>
                  <a:lnTo>
                    <a:pt x="22" y="243"/>
                  </a:lnTo>
                  <a:lnTo>
                    <a:pt x="22" y="242"/>
                  </a:lnTo>
                  <a:lnTo>
                    <a:pt x="22" y="242"/>
                  </a:lnTo>
                  <a:lnTo>
                    <a:pt x="20" y="240"/>
                  </a:lnTo>
                  <a:lnTo>
                    <a:pt x="18" y="240"/>
                  </a:lnTo>
                  <a:lnTo>
                    <a:pt x="18" y="240"/>
                  </a:lnTo>
                  <a:lnTo>
                    <a:pt x="18" y="238"/>
                  </a:lnTo>
                  <a:lnTo>
                    <a:pt x="16" y="237"/>
                  </a:lnTo>
                  <a:lnTo>
                    <a:pt x="13" y="235"/>
                  </a:lnTo>
                  <a:lnTo>
                    <a:pt x="13" y="235"/>
                  </a:lnTo>
                  <a:lnTo>
                    <a:pt x="14" y="231"/>
                  </a:lnTo>
                  <a:lnTo>
                    <a:pt x="14" y="228"/>
                  </a:lnTo>
                  <a:lnTo>
                    <a:pt x="14" y="227"/>
                  </a:lnTo>
                  <a:lnTo>
                    <a:pt x="14" y="225"/>
                  </a:lnTo>
                  <a:lnTo>
                    <a:pt x="14" y="227"/>
                  </a:lnTo>
                  <a:lnTo>
                    <a:pt x="14" y="225"/>
                  </a:lnTo>
                  <a:lnTo>
                    <a:pt x="13" y="227"/>
                  </a:lnTo>
                  <a:lnTo>
                    <a:pt x="12" y="227"/>
                  </a:lnTo>
                  <a:lnTo>
                    <a:pt x="12" y="227"/>
                  </a:lnTo>
                  <a:lnTo>
                    <a:pt x="12" y="224"/>
                  </a:lnTo>
                  <a:lnTo>
                    <a:pt x="11" y="221"/>
                  </a:lnTo>
                  <a:lnTo>
                    <a:pt x="11" y="220"/>
                  </a:lnTo>
                  <a:lnTo>
                    <a:pt x="10" y="218"/>
                  </a:lnTo>
                  <a:lnTo>
                    <a:pt x="11" y="218"/>
                  </a:lnTo>
                  <a:lnTo>
                    <a:pt x="11" y="215"/>
                  </a:lnTo>
                  <a:lnTo>
                    <a:pt x="9" y="214"/>
                  </a:lnTo>
                  <a:lnTo>
                    <a:pt x="7" y="213"/>
                  </a:lnTo>
                  <a:lnTo>
                    <a:pt x="6" y="214"/>
                  </a:lnTo>
                  <a:lnTo>
                    <a:pt x="4" y="215"/>
                  </a:lnTo>
                  <a:lnTo>
                    <a:pt x="2" y="214"/>
                  </a:lnTo>
                  <a:lnTo>
                    <a:pt x="2" y="214"/>
                  </a:lnTo>
                  <a:lnTo>
                    <a:pt x="0" y="211"/>
                  </a:lnTo>
                  <a:lnTo>
                    <a:pt x="2" y="208"/>
                  </a:lnTo>
                  <a:lnTo>
                    <a:pt x="2" y="207"/>
                  </a:lnTo>
                  <a:lnTo>
                    <a:pt x="2" y="207"/>
                  </a:lnTo>
                  <a:lnTo>
                    <a:pt x="3" y="204"/>
                  </a:lnTo>
                  <a:lnTo>
                    <a:pt x="6" y="203"/>
                  </a:lnTo>
                  <a:lnTo>
                    <a:pt x="9" y="200"/>
                  </a:lnTo>
                  <a:lnTo>
                    <a:pt x="9" y="200"/>
                  </a:lnTo>
                  <a:lnTo>
                    <a:pt x="7" y="197"/>
                  </a:lnTo>
                  <a:lnTo>
                    <a:pt x="6" y="196"/>
                  </a:lnTo>
                  <a:lnTo>
                    <a:pt x="5" y="194"/>
                  </a:lnTo>
                  <a:lnTo>
                    <a:pt x="5" y="194"/>
                  </a:lnTo>
                  <a:lnTo>
                    <a:pt x="5" y="193"/>
                  </a:lnTo>
                  <a:lnTo>
                    <a:pt x="4" y="191"/>
                  </a:lnTo>
                  <a:lnTo>
                    <a:pt x="6" y="187"/>
                  </a:lnTo>
                  <a:lnTo>
                    <a:pt x="9" y="187"/>
                  </a:lnTo>
                  <a:lnTo>
                    <a:pt x="9" y="187"/>
                  </a:lnTo>
                  <a:lnTo>
                    <a:pt x="10" y="185"/>
                  </a:lnTo>
                  <a:lnTo>
                    <a:pt x="10" y="185"/>
                  </a:lnTo>
                  <a:lnTo>
                    <a:pt x="11" y="184"/>
                  </a:lnTo>
                  <a:lnTo>
                    <a:pt x="12" y="184"/>
                  </a:lnTo>
                  <a:lnTo>
                    <a:pt x="12" y="183"/>
                  </a:lnTo>
                  <a:lnTo>
                    <a:pt x="12" y="182"/>
                  </a:lnTo>
                  <a:lnTo>
                    <a:pt x="11" y="182"/>
                  </a:lnTo>
                  <a:lnTo>
                    <a:pt x="11" y="181"/>
                  </a:lnTo>
                  <a:lnTo>
                    <a:pt x="10" y="180"/>
                  </a:lnTo>
                  <a:lnTo>
                    <a:pt x="11" y="180"/>
                  </a:lnTo>
                  <a:lnTo>
                    <a:pt x="11" y="178"/>
                  </a:lnTo>
                  <a:lnTo>
                    <a:pt x="10" y="177"/>
                  </a:lnTo>
                  <a:lnTo>
                    <a:pt x="10" y="176"/>
                  </a:lnTo>
                  <a:lnTo>
                    <a:pt x="10" y="175"/>
                  </a:lnTo>
                  <a:lnTo>
                    <a:pt x="10" y="174"/>
                  </a:lnTo>
                  <a:lnTo>
                    <a:pt x="11" y="174"/>
                  </a:lnTo>
                  <a:lnTo>
                    <a:pt x="14" y="173"/>
                  </a:lnTo>
                  <a:lnTo>
                    <a:pt x="14" y="171"/>
                  </a:lnTo>
                  <a:lnTo>
                    <a:pt x="13" y="169"/>
                  </a:lnTo>
                  <a:lnTo>
                    <a:pt x="16" y="168"/>
                  </a:lnTo>
                  <a:lnTo>
                    <a:pt x="16" y="165"/>
                  </a:lnTo>
                  <a:lnTo>
                    <a:pt x="17" y="164"/>
                  </a:lnTo>
                  <a:lnTo>
                    <a:pt x="19" y="163"/>
                  </a:lnTo>
                  <a:lnTo>
                    <a:pt x="19" y="163"/>
                  </a:lnTo>
                  <a:lnTo>
                    <a:pt x="19" y="162"/>
                  </a:lnTo>
                  <a:lnTo>
                    <a:pt x="20" y="158"/>
                  </a:lnTo>
                  <a:lnTo>
                    <a:pt x="19" y="157"/>
                  </a:lnTo>
                  <a:lnTo>
                    <a:pt x="18" y="156"/>
                  </a:lnTo>
                  <a:lnTo>
                    <a:pt x="19" y="155"/>
                  </a:lnTo>
                  <a:lnTo>
                    <a:pt x="20" y="154"/>
                  </a:lnTo>
                  <a:lnTo>
                    <a:pt x="22" y="151"/>
                  </a:lnTo>
                  <a:lnTo>
                    <a:pt x="26" y="153"/>
                  </a:lnTo>
                  <a:lnTo>
                    <a:pt x="27" y="151"/>
                  </a:lnTo>
                  <a:lnTo>
                    <a:pt x="31" y="150"/>
                  </a:lnTo>
                  <a:lnTo>
                    <a:pt x="33" y="150"/>
                  </a:lnTo>
                  <a:lnTo>
                    <a:pt x="37" y="151"/>
                  </a:lnTo>
                  <a:lnTo>
                    <a:pt x="34" y="76"/>
                  </a:lnTo>
                  <a:lnTo>
                    <a:pt x="34" y="62"/>
                  </a:lnTo>
                  <a:lnTo>
                    <a:pt x="52" y="63"/>
                  </a:lnTo>
                  <a:lnTo>
                    <a:pt x="51" y="22"/>
                  </a:lnTo>
                  <a:lnTo>
                    <a:pt x="163" y="22"/>
                  </a:lnTo>
                  <a:lnTo>
                    <a:pt x="164" y="18"/>
                  </a:lnTo>
                  <a:lnTo>
                    <a:pt x="165" y="17"/>
                  </a:lnTo>
                  <a:lnTo>
                    <a:pt x="166" y="18"/>
                  </a:lnTo>
                  <a:lnTo>
                    <a:pt x="166" y="20"/>
                  </a:lnTo>
                  <a:lnTo>
                    <a:pt x="165" y="22"/>
                  </a:lnTo>
                  <a:lnTo>
                    <a:pt x="193" y="22"/>
                  </a:lnTo>
                  <a:lnTo>
                    <a:pt x="196" y="22"/>
                  </a:lnTo>
                  <a:lnTo>
                    <a:pt x="204" y="28"/>
                  </a:lnTo>
                  <a:lnTo>
                    <a:pt x="210" y="28"/>
                  </a:lnTo>
                  <a:lnTo>
                    <a:pt x="211" y="27"/>
                  </a:lnTo>
                  <a:lnTo>
                    <a:pt x="213" y="18"/>
                  </a:lnTo>
                  <a:lnTo>
                    <a:pt x="223" y="17"/>
                  </a:lnTo>
                  <a:lnTo>
                    <a:pt x="226" y="6"/>
                  </a:lnTo>
                  <a:lnTo>
                    <a:pt x="232" y="7"/>
                  </a:lnTo>
                  <a:lnTo>
                    <a:pt x="233" y="6"/>
                  </a:lnTo>
                  <a:lnTo>
                    <a:pt x="238" y="0"/>
                  </a:lnTo>
                  <a:lnTo>
                    <a:pt x="239" y="0"/>
                  </a:lnTo>
                  <a:lnTo>
                    <a:pt x="240" y="1"/>
                  </a:lnTo>
                  <a:lnTo>
                    <a:pt x="239" y="2"/>
                  </a:lnTo>
                  <a:lnTo>
                    <a:pt x="240" y="2"/>
                  </a:lnTo>
                  <a:lnTo>
                    <a:pt x="240" y="2"/>
                  </a:lnTo>
                  <a:lnTo>
                    <a:pt x="240" y="2"/>
                  </a:lnTo>
                  <a:lnTo>
                    <a:pt x="240" y="3"/>
                  </a:lnTo>
                  <a:lnTo>
                    <a:pt x="240" y="3"/>
                  </a:lnTo>
                  <a:lnTo>
                    <a:pt x="240" y="3"/>
                  </a:lnTo>
                  <a:lnTo>
                    <a:pt x="240" y="3"/>
                  </a:lnTo>
                  <a:lnTo>
                    <a:pt x="240" y="3"/>
                  </a:lnTo>
                  <a:lnTo>
                    <a:pt x="240" y="3"/>
                  </a:lnTo>
                  <a:lnTo>
                    <a:pt x="241" y="4"/>
                  </a:lnTo>
                  <a:lnTo>
                    <a:pt x="241" y="4"/>
                  </a:lnTo>
                  <a:lnTo>
                    <a:pt x="241" y="4"/>
                  </a:lnTo>
                  <a:lnTo>
                    <a:pt x="241" y="4"/>
                  </a:lnTo>
                  <a:lnTo>
                    <a:pt x="240" y="4"/>
                  </a:lnTo>
                  <a:lnTo>
                    <a:pt x="240" y="4"/>
                  </a:lnTo>
                  <a:lnTo>
                    <a:pt x="240" y="4"/>
                  </a:lnTo>
                  <a:lnTo>
                    <a:pt x="240" y="6"/>
                  </a:lnTo>
                  <a:lnTo>
                    <a:pt x="240" y="6"/>
                  </a:lnTo>
                  <a:lnTo>
                    <a:pt x="240" y="6"/>
                  </a:lnTo>
                  <a:lnTo>
                    <a:pt x="240" y="6"/>
                  </a:lnTo>
                  <a:lnTo>
                    <a:pt x="241" y="6"/>
                  </a:lnTo>
                  <a:lnTo>
                    <a:pt x="241" y="6"/>
                  </a:lnTo>
                  <a:lnTo>
                    <a:pt x="241" y="6"/>
                  </a:lnTo>
                  <a:lnTo>
                    <a:pt x="241" y="6"/>
                  </a:lnTo>
                  <a:lnTo>
                    <a:pt x="243" y="7"/>
                  </a:lnTo>
                  <a:lnTo>
                    <a:pt x="245" y="8"/>
                  </a:lnTo>
                  <a:lnTo>
                    <a:pt x="245" y="8"/>
                  </a:lnTo>
                  <a:lnTo>
                    <a:pt x="245" y="8"/>
                  </a:lnTo>
                  <a:lnTo>
                    <a:pt x="246" y="8"/>
                  </a:lnTo>
                  <a:lnTo>
                    <a:pt x="249" y="8"/>
                  </a:lnTo>
                  <a:lnTo>
                    <a:pt x="250" y="9"/>
                  </a:lnTo>
                  <a:lnTo>
                    <a:pt x="251" y="10"/>
                  </a:lnTo>
                  <a:lnTo>
                    <a:pt x="251" y="11"/>
                  </a:lnTo>
                  <a:lnTo>
                    <a:pt x="252" y="13"/>
                  </a:lnTo>
                  <a:lnTo>
                    <a:pt x="252" y="13"/>
                  </a:lnTo>
                  <a:lnTo>
                    <a:pt x="254" y="16"/>
                  </a:lnTo>
                  <a:lnTo>
                    <a:pt x="257" y="17"/>
                  </a:lnTo>
                  <a:lnTo>
                    <a:pt x="259" y="18"/>
                  </a:lnTo>
                  <a:lnTo>
                    <a:pt x="259" y="18"/>
                  </a:lnTo>
                  <a:lnTo>
                    <a:pt x="260" y="18"/>
                  </a:lnTo>
                  <a:lnTo>
                    <a:pt x="260" y="18"/>
                  </a:lnTo>
                  <a:lnTo>
                    <a:pt x="260" y="18"/>
                  </a:lnTo>
                  <a:lnTo>
                    <a:pt x="260" y="20"/>
                  </a:lnTo>
                  <a:lnTo>
                    <a:pt x="261" y="21"/>
                  </a:lnTo>
                  <a:lnTo>
                    <a:pt x="261" y="22"/>
                  </a:lnTo>
                  <a:lnTo>
                    <a:pt x="261" y="22"/>
                  </a:lnTo>
                  <a:lnTo>
                    <a:pt x="261" y="22"/>
                  </a:lnTo>
                  <a:lnTo>
                    <a:pt x="261" y="22"/>
                  </a:lnTo>
                  <a:lnTo>
                    <a:pt x="263" y="22"/>
                  </a:lnTo>
                  <a:lnTo>
                    <a:pt x="261" y="22"/>
                  </a:lnTo>
                  <a:lnTo>
                    <a:pt x="261" y="22"/>
                  </a:lnTo>
                  <a:lnTo>
                    <a:pt x="260" y="22"/>
                  </a:lnTo>
                  <a:lnTo>
                    <a:pt x="261" y="23"/>
                  </a:lnTo>
                  <a:lnTo>
                    <a:pt x="261" y="23"/>
                  </a:lnTo>
                  <a:lnTo>
                    <a:pt x="261" y="24"/>
                  </a:lnTo>
                  <a:lnTo>
                    <a:pt x="261" y="24"/>
                  </a:lnTo>
                  <a:lnTo>
                    <a:pt x="263" y="26"/>
                  </a:lnTo>
                  <a:lnTo>
                    <a:pt x="261" y="26"/>
                  </a:lnTo>
                  <a:lnTo>
                    <a:pt x="261" y="26"/>
                  </a:lnTo>
                  <a:lnTo>
                    <a:pt x="261" y="26"/>
                  </a:lnTo>
                  <a:lnTo>
                    <a:pt x="261" y="27"/>
                  </a:lnTo>
                  <a:lnTo>
                    <a:pt x="263" y="26"/>
                  </a:lnTo>
                  <a:lnTo>
                    <a:pt x="263" y="27"/>
                  </a:lnTo>
                  <a:lnTo>
                    <a:pt x="261" y="27"/>
                  </a:lnTo>
                  <a:lnTo>
                    <a:pt x="261" y="27"/>
                  </a:lnTo>
                  <a:lnTo>
                    <a:pt x="261" y="27"/>
                  </a:lnTo>
                  <a:lnTo>
                    <a:pt x="261" y="27"/>
                  </a:lnTo>
                  <a:lnTo>
                    <a:pt x="263" y="27"/>
                  </a:lnTo>
                  <a:lnTo>
                    <a:pt x="261" y="28"/>
                  </a:lnTo>
                  <a:lnTo>
                    <a:pt x="263" y="29"/>
                  </a:lnTo>
                  <a:lnTo>
                    <a:pt x="263" y="29"/>
                  </a:lnTo>
                  <a:lnTo>
                    <a:pt x="263" y="30"/>
                  </a:lnTo>
                  <a:lnTo>
                    <a:pt x="263" y="30"/>
                  </a:lnTo>
                  <a:lnTo>
                    <a:pt x="263" y="30"/>
                  </a:lnTo>
                  <a:lnTo>
                    <a:pt x="263" y="30"/>
                  </a:lnTo>
                  <a:lnTo>
                    <a:pt x="264" y="30"/>
                  </a:lnTo>
                  <a:lnTo>
                    <a:pt x="264" y="30"/>
                  </a:lnTo>
                  <a:lnTo>
                    <a:pt x="264" y="31"/>
                  </a:lnTo>
                  <a:lnTo>
                    <a:pt x="264" y="31"/>
                  </a:lnTo>
                  <a:lnTo>
                    <a:pt x="264" y="31"/>
                  </a:lnTo>
                  <a:lnTo>
                    <a:pt x="264" y="33"/>
                  </a:lnTo>
                  <a:lnTo>
                    <a:pt x="265" y="34"/>
                  </a:lnTo>
                  <a:lnTo>
                    <a:pt x="266" y="36"/>
                  </a:lnTo>
                  <a:lnTo>
                    <a:pt x="266" y="37"/>
                  </a:lnTo>
                  <a:lnTo>
                    <a:pt x="266" y="37"/>
                  </a:lnTo>
                  <a:lnTo>
                    <a:pt x="268" y="40"/>
                  </a:lnTo>
                  <a:lnTo>
                    <a:pt x="270" y="40"/>
                  </a:lnTo>
                  <a:lnTo>
                    <a:pt x="270" y="41"/>
                  </a:lnTo>
                  <a:lnTo>
                    <a:pt x="270" y="41"/>
                  </a:lnTo>
                  <a:lnTo>
                    <a:pt x="270" y="42"/>
                  </a:lnTo>
                  <a:lnTo>
                    <a:pt x="270" y="42"/>
                  </a:lnTo>
                  <a:lnTo>
                    <a:pt x="270" y="43"/>
                  </a:lnTo>
                  <a:lnTo>
                    <a:pt x="270" y="42"/>
                  </a:lnTo>
                  <a:lnTo>
                    <a:pt x="268" y="41"/>
                  </a:lnTo>
                  <a:lnTo>
                    <a:pt x="268" y="42"/>
                  </a:lnTo>
                  <a:lnTo>
                    <a:pt x="268" y="41"/>
                  </a:lnTo>
                  <a:lnTo>
                    <a:pt x="268" y="40"/>
                  </a:lnTo>
                  <a:lnTo>
                    <a:pt x="268" y="40"/>
                  </a:lnTo>
                  <a:lnTo>
                    <a:pt x="267" y="38"/>
                  </a:lnTo>
                  <a:lnTo>
                    <a:pt x="267" y="38"/>
                  </a:lnTo>
                  <a:lnTo>
                    <a:pt x="267" y="40"/>
                  </a:lnTo>
                  <a:lnTo>
                    <a:pt x="267" y="40"/>
                  </a:lnTo>
                  <a:lnTo>
                    <a:pt x="267" y="41"/>
                  </a:lnTo>
                  <a:lnTo>
                    <a:pt x="267" y="41"/>
                  </a:lnTo>
                  <a:lnTo>
                    <a:pt x="266" y="42"/>
                  </a:lnTo>
                  <a:lnTo>
                    <a:pt x="266" y="41"/>
                  </a:lnTo>
                  <a:lnTo>
                    <a:pt x="266" y="42"/>
                  </a:lnTo>
                  <a:lnTo>
                    <a:pt x="266" y="42"/>
                  </a:lnTo>
                  <a:lnTo>
                    <a:pt x="266" y="42"/>
                  </a:lnTo>
                  <a:lnTo>
                    <a:pt x="266" y="43"/>
                  </a:lnTo>
                  <a:lnTo>
                    <a:pt x="266" y="43"/>
                  </a:lnTo>
                  <a:lnTo>
                    <a:pt x="267" y="46"/>
                  </a:lnTo>
                  <a:lnTo>
                    <a:pt x="268" y="49"/>
                  </a:lnTo>
                  <a:lnTo>
                    <a:pt x="268" y="49"/>
                  </a:lnTo>
                  <a:lnTo>
                    <a:pt x="268" y="50"/>
                  </a:lnTo>
                  <a:lnTo>
                    <a:pt x="268" y="50"/>
                  </a:lnTo>
                  <a:lnTo>
                    <a:pt x="268" y="50"/>
                  </a:lnTo>
                  <a:lnTo>
                    <a:pt x="270" y="53"/>
                  </a:lnTo>
                  <a:lnTo>
                    <a:pt x="270" y="53"/>
                  </a:lnTo>
                  <a:lnTo>
                    <a:pt x="270" y="54"/>
                  </a:lnTo>
                  <a:lnTo>
                    <a:pt x="270" y="54"/>
                  </a:lnTo>
                  <a:lnTo>
                    <a:pt x="270" y="54"/>
                  </a:lnTo>
                  <a:lnTo>
                    <a:pt x="270" y="54"/>
                  </a:lnTo>
                  <a:lnTo>
                    <a:pt x="270" y="54"/>
                  </a:lnTo>
                  <a:lnTo>
                    <a:pt x="268" y="54"/>
                  </a:lnTo>
                  <a:lnTo>
                    <a:pt x="270" y="54"/>
                  </a:lnTo>
                  <a:lnTo>
                    <a:pt x="270" y="55"/>
                  </a:lnTo>
                  <a:lnTo>
                    <a:pt x="270" y="56"/>
                  </a:lnTo>
                  <a:lnTo>
                    <a:pt x="270" y="56"/>
                  </a:lnTo>
                  <a:lnTo>
                    <a:pt x="270" y="60"/>
                  </a:lnTo>
                  <a:lnTo>
                    <a:pt x="270" y="62"/>
                  </a:lnTo>
                  <a:lnTo>
                    <a:pt x="270" y="63"/>
                  </a:lnTo>
                  <a:lnTo>
                    <a:pt x="270" y="63"/>
                  </a:lnTo>
                  <a:lnTo>
                    <a:pt x="271" y="64"/>
                  </a:lnTo>
                  <a:lnTo>
                    <a:pt x="271" y="66"/>
                  </a:lnTo>
                  <a:lnTo>
                    <a:pt x="271" y="67"/>
                  </a:lnTo>
                  <a:lnTo>
                    <a:pt x="272" y="68"/>
                  </a:lnTo>
                  <a:lnTo>
                    <a:pt x="272" y="69"/>
                  </a:lnTo>
                  <a:lnTo>
                    <a:pt x="272" y="69"/>
                  </a:lnTo>
                  <a:lnTo>
                    <a:pt x="272" y="70"/>
                  </a:lnTo>
                  <a:lnTo>
                    <a:pt x="271" y="70"/>
                  </a:lnTo>
                  <a:lnTo>
                    <a:pt x="271" y="70"/>
                  </a:lnTo>
                  <a:lnTo>
                    <a:pt x="271" y="71"/>
                  </a:lnTo>
                  <a:lnTo>
                    <a:pt x="271" y="71"/>
                  </a:lnTo>
                  <a:lnTo>
                    <a:pt x="271" y="71"/>
                  </a:lnTo>
                  <a:lnTo>
                    <a:pt x="271" y="71"/>
                  </a:lnTo>
                  <a:lnTo>
                    <a:pt x="271" y="71"/>
                  </a:lnTo>
                  <a:lnTo>
                    <a:pt x="271" y="73"/>
                  </a:lnTo>
                  <a:lnTo>
                    <a:pt x="272" y="74"/>
                  </a:lnTo>
                  <a:lnTo>
                    <a:pt x="273" y="76"/>
                  </a:lnTo>
                  <a:lnTo>
                    <a:pt x="273" y="77"/>
                  </a:lnTo>
                  <a:lnTo>
                    <a:pt x="273" y="80"/>
                  </a:lnTo>
                  <a:lnTo>
                    <a:pt x="276" y="83"/>
                  </a:lnTo>
                  <a:lnTo>
                    <a:pt x="276" y="84"/>
                  </a:lnTo>
                  <a:lnTo>
                    <a:pt x="274" y="86"/>
                  </a:lnTo>
                  <a:lnTo>
                    <a:pt x="276" y="86"/>
                  </a:lnTo>
                  <a:lnTo>
                    <a:pt x="276" y="87"/>
                  </a:lnTo>
                  <a:lnTo>
                    <a:pt x="276" y="88"/>
                  </a:lnTo>
                  <a:lnTo>
                    <a:pt x="277" y="89"/>
                  </a:lnTo>
                  <a:lnTo>
                    <a:pt x="278" y="90"/>
                  </a:lnTo>
                  <a:lnTo>
                    <a:pt x="278" y="90"/>
                  </a:lnTo>
                  <a:lnTo>
                    <a:pt x="278" y="89"/>
                  </a:lnTo>
                  <a:lnTo>
                    <a:pt x="280" y="89"/>
                  </a:lnTo>
                  <a:lnTo>
                    <a:pt x="280" y="90"/>
                  </a:lnTo>
                  <a:lnTo>
                    <a:pt x="281" y="89"/>
                  </a:lnTo>
                  <a:lnTo>
                    <a:pt x="281" y="90"/>
                  </a:lnTo>
                  <a:lnTo>
                    <a:pt x="281" y="90"/>
                  </a:lnTo>
                  <a:lnTo>
                    <a:pt x="281" y="90"/>
                  </a:lnTo>
                  <a:lnTo>
                    <a:pt x="281" y="91"/>
                  </a:lnTo>
                  <a:lnTo>
                    <a:pt x="281" y="93"/>
                  </a:lnTo>
                  <a:lnTo>
                    <a:pt x="281" y="93"/>
                  </a:lnTo>
                  <a:lnTo>
                    <a:pt x="283" y="90"/>
                  </a:lnTo>
                  <a:lnTo>
                    <a:pt x="283" y="90"/>
                  </a:lnTo>
                  <a:lnTo>
                    <a:pt x="283" y="91"/>
                  </a:lnTo>
                  <a:lnTo>
                    <a:pt x="283" y="91"/>
                  </a:lnTo>
                  <a:lnTo>
                    <a:pt x="283" y="93"/>
                  </a:lnTo>
                  <a:lnTo>
                    <a:pt x="285" y="94"/>
                  </a:lnTo>
                  <a:lnTo>
                    <a:pt x="286" y="95"/>
                  </a:lnTo>
                  <a:lnTo>
                    <a:pt x="286" y="95"/>
                  </a:lnTo>
                  <a:lnTo>
                    <a:pt x="287" y="96"/>
                  </a:lnTo>
                  <a:lnTo>
                    <a:pt x="287" y="96"/>
                  </a:lnTo>
                  <a:lnTo>
                    <a:pt x="287" y="96"/>
                  </a:lnTo>
                  <a:lnTo>
                    <a:pt x="288" y="96"/>
                  </a:lnTo>
                  <a:lnTo>
                    <a:pt x="288" y="97"/>
                  </a:lnTo>
                  <a:lnTo>
                    <a:pt x="288" y="97"/>
                  </a:lnTo>
                  <a:lnTo>
                    <a:pt x="287" y="98"/>
                  </a:lnTo>
                  <a:lnTo>
                    <a:pt x="287" y="98"/>
                  </a:lnTo>
                  <a:lnTo>
                    <a:pt x="287" y="98"/>
                  </a:lnTo>
                  <a:lnTo>
                    <a:pt x="290" y="100"/>
                  </a:lnTo>
                  <a:lnTo>
                    <a:pt x="290" y="100"/>
                  </a:lnTo>
                  <a:lnTo>
                    <a:pt x="291" y="100"/>
                  </a:lnTo>
                  <a:lnTo>
                    <a:pt x="291" y="98"/>
                  </a:lnTo>
                  <a:lnTo>
                    <a:pt x="292" y="98"/>
                  </a:lnTo>
                  <a:lnTo>
                    <a:pt x="292" y="98"/>
                  </a:lnTo>
                  <a:lnTo>
                    <a:pt x="292" y="98"/>
                  </a:lnTo>
                  <a:lnTo>
                    <a:pt x="292" y="98"/>
                  </a:lnTo>
                  <a:lnTo>
                    <a:pt x="292" y="100"/>
                  </a:lnTo>
                  <a:lnTo>
                    <a:pt x="291" y="100"/>
                  </a:lnTo>
                  <a:lnTo>
                    <a:pt x="291" y="100"/>
                  </a:lnTo>
                  <a:lnTo>
                    <a:pt x="290" y="100"/>
                  </a:lnTo>
                  <a:lnTo>
                    <a:pt x="290" y="100"/>
                  </a:lnTo>
                  <a:lnTo>
                    <a:pt x="291" y="100"/>
                  </a:lnTo>
                  <a:lnTo>
                    <a:pt x="291" y="100"/>
                  </a:lnTo>
                  <a:lnTo>
                    <a:pt x="292" y="100"/>
                  </a:lnTo>
                  <a:lnTo>
                    <a:pt x="293" y="101"/>
                  </a:lnTo>
                  <a:lnTo>
                    <a:pt x="293" y="101"/>
                  </a:lnTo>
                  <a:lnTo>
                    <a:pt x="293" y="100"/>
                  </a:lnTo>
                  <a:lnTo>
                    <a:pt x="293" y="100"/>
                  </a:lnTo>
                  <a:lnTo>
                    <a:pt x="293" y="100"/>
                  </a:lnTo>
                  <a:lnTo>
                    <a:pt x="293" y="100"/>
                  </a:lnTo>
                  <a:lnTo>
                    <a:pt x="293" y="100"/>
                  </a:lnTo>
                  <a:lnTo>
                    <a:pt x="294" y="101"/>
                  </a:lnTo>
                  <a:lnTo>
                    <a:pt x="294" y="101"/>
                  </a:lnTo>
                  <a:lnTo>
                    <a:pt x="294" y="101"/>
                  </a:lnTo>
                  <a:lnTo>
                    <a:pt x="294" y="101"/>
                  </a:lnTo>
                  <a:lnTo>
                    <a:pt x="294" y="102"/>
                  </a:lnTo>
                  <a:lnTo>
                    <a:pt x="294" y="102"/>
                  </a:lnTo>
                  <a:lnTo>
                    <a:pt x="294" y="102"/>
                  </a:lnTo>
                  <a:lnTo>
                    <a:pt x="296" y="102"/>
                  </a:lnTo>
                  <a:lnTo>
                    <a:pt x="296" y="103"/>
                  </a:lnTo>
                  <a:lnTo>
                    <a:pt x="296" y="103"/>
                  </a:lnTo>
                  <a:lnTo>
                    <a:pt x="296" y="103"/>
                  </a:lnTo>
                  <a:lnTo>
                    <a:pt x="296" y="103"/>
                  </a:lnTo>
                  <a:lnTo>
                    <a:pt x="296" y="102"/>
                  </a:lnTo>
                  <a:lnTo>
                    <a:pt x="297" y="103"/>
                  </a:lnTo>
                  <a:lnTo>
                    <a:pt x="297" y="103"/>
                  </a:lnTo>
                  <a:lnTo>
                    <a:pt x="298" y="103"/>
                  </a:lnTo>
                  <a:lnTo>
                    <a:pt x="297" y="104"/>
                  </a:lnTo>
                  <a:lnTo>
                    <a:pt x="296" y="107"/>
                  </a:lnTo>
                  <a:lnTo>
                    <a:pt x="293" y="111"/>
                  </a:lnTo>
                  <a:lnTo>
                    <a:pt x="292" y="113"/>
                  </a:lnTo>
                  <a:lnTo>
                    <a:pt x="292" y="115"/>
                  </a:lnTo>
                  <a:lnTo>
                    <a:pt x="292" y="115"/>
                  </a:lnTo>
                  <a:lnTo>
                    <a:pt x="290" y="114"/>
                  </a:lnTo>
                  <a:lnTo>
                    <a:pt x="290" y="115"/>
                  </a:lnTo>
                  <a:lnTo>
                    <a:pt x="288" y="115"/>
                  </a:lnTo>
                  <a:lnTo>
                    <a:pt x="288" y="114"/>
                  </a:lnTo>
                  <a:lnTo>
                    <a:pt x="286" y="115"/>
                  </a:lnTo>
                  <a:lnTo>
                    <a:pt x="286" y="116"/>
                  </a:lnTo>
                  <a:lnTo>
                    <a:pt x="285" y="116"/>
                  </a:lnTo>
                  <a:lnTo>
                    <a:pt x="284" y="115"/>
                  </a:lnTo>
                  <a:lnTo>
                    <a:pt x="284" y="116"/>
                  </a:lnTo>
                  <a:lnTo>
                    <a:pt x="283" y="117"/>
                  </a:lnTo>
                  <a:lnTo>
                    <a:pt x="279" y="118"/>
                  </a:lnTo>
                  <a:lnTo>
                    <a:pt x="278" y="118"/>
                  </a:lnTo>
                  <a:lnTo>
                    <a:pt x="279" y="120"/>
                  </a:lnTo>
                  <a:lnTo>
                    <a:pt x="279" y="122"/>
                  </a:lnTo>
                  <a:lnTo>
                    <a:pt x="278" y="123"/>
                  </a:lnTo>
                  <a:lnTo>
                    <a:pt x="277" y="124"/>
                  </a:lnTo>
                  <a:lnTo>
                    <a:pt x="274" y="123"/>
                  </a:lnTo>
                  <a:lnTo>
                    <a:pt x="273" y="124"/>
                  </a:lnTo>
                  <a:lnTo>
                    <a:pt x="273" y="124"/>
                  </a:lnTo>
                  <a:lnTo>
                    <a:pt x="272" y="123"/>
                  </a:lnTo>
                  <a:lnTo>
                    <a:pt x="272" y="124"/>
                  </a:lnTo>
                  <a:lnTo>
                    <a:pt x="270" y="123"/>
                  </a:lnTo>
                  <a:lnTo>
                    <a:pt x="270" y="124"/>
                  </a:lnTo>
                  <a:lnTo>
                    <a:pt x="270" y="125"/>
                  </a:lnTo>
                  <a:lnTo>
                    <a:pt x="270" y="127"/>
                  </a:lnTo>
                  <a:lnTo>
                    <a:pt x="270" y="127"/>
                  </a:lnTo>
                  <a:lnTo>
                    <a:pt x="270" y="128"/>
                  </a:lnTo>
                  <a:lnTo>
                    <a:pt x="270" y="128"/>
                  </a:lnTo>
                  <a:lnTo>
                    <a:pt x="270" y="131"/>
                  </a:lnTo>
                  <a:lnTo>
                    <a:pt x="268" y="133"/>
                  </a:lnTo>
                  <a:lnTo>
                    <a:pt x="268" y="134"/>
                  </a:lnTo>
                  <a:lnTo>
                    <a:pt x="268" y="135"/>
                  </a:lnTo>
                  <a:lnTo>
                    <a:pt x="268" y="136"/>
                  </a:lnTo>
                  <a:lnTo>
                    <a:pt x="270" y="137"/>
                  </a:lnTo>
                  <a:lnTo>
                    <a:pt x="270" y="138"/>
                  </a:lnTo>
                  <a:lnTo>
                    <a:pt x="270" y="140"/>
                  </a:lnTo>
                  <a:lnTo>
                    <a:pt x="270" y="141"/>
                  </a:lnTo>
                  <a:lnTo>
                    <a:pt x="266" y="149"/>
                  </a:lnTo>
                  <a:lnTo>
                    <a:pt x="266" y="150"/>
                  </a:lnTo>
                  <a:lnTo>
                    <a:pt x="265" y="156"/>
                  </a:lnTo>
                  <a:lnTo>
                    <a:pt x="265" y="156"/>
                  </a:lnTo>
                  <a:lnTo>
                    <a:pt x="265" y="157"/>
                  </a:lnTo>
                  <a:lnTo>
                    <a:pt x="263" y="161"/>
                  </a:lnTo>
                  <a:lnTo>
                    <a:pt x="261" y="163"/>
                  </a:lnTo>
                  <a:lnTo>
                    <a:pt x="264" y="182"/>
                  </a:lnTo>
                  <a:lnTo>
                    <a:pt x="261" y="189"/>
                  </a:lnTo>
                  <a:lnTo>
                    <a:pt x="263" y="194"/>
                  </a:lnTo>
                  <a:lnTo>
                    <a:pt x="263" y="195"/>
                  </a:lnTo>
                  <a:lnTo>
                    <a:pt x="261" y="196"/>
                  </a:lnTo>
                  <a:lnTo>
                    <a:pt x="259" y="200"/>
                  </a:lnTo>
                  <a:lnTo>
                    <a:pt x="258" y="207"/>
                  </a:lnTo>
                  <a:lnTo>
                    <a:pt x="258" y="207"/>
                  </a:lnTo>
                  <a:lnTo>
                    <a:pt x="258" y="208"/>
                  </a:lnTo>
                  <a:lnTo>
                    <a:pt x="258" y="209"/>
                  </a:lnTo>
                  <a:lnTo>
                    <a:pt x="259" y="210"/>
                  </a:lnTo>
                  <a:lnTo>
                    <a:pt x="258" y="214"/>
                  </a:lnTo>
                  <a:lnTo>
                    <a:pt x="258" y="214"/>
                  </a:lnTo>
                  <a:lnTo>
                    <a:pt x="257" y="213"/>
                  </a:lnTo>
                  <a:lnTo>
                    <a:pt x="256" y="213"/>
                  </a:lnTo>
                  <a:lnTo>
                    <a:pt x="256" y="213"/>
                  </a:lnTo>
                  <a:lnTo>
                    <a:pt x="250" y="214"/>
                  </a:lnTo>
                  <a:lnTo>
                    <a:pt x="250" y="215"/>
                  </a:lnTo>
                  <a:lnTo>
                    <a:pt x="250" y="215"/>
                  </a:lnTo>
                  <a:lnTo>
                    <a:pt x="249" y="215"/>
                  </a:lnTo>
                  <a:lnTo>
                    <a:pt x="246" y="221"/>
                  </a:lnTo>
                  <a:lnTo>
                    <a:pt x="245" y="223"/>
                  </a:lnTo>
                  <a:lnTo>
                    <a:pt x="245" y="224"/>
                  </a:lnTo>
                  <a:lnTo>
                    <a:pt x="244" y="225"/>
                  </a:lnTo>
                  <a:lnTo>
                    <a:pt x="244" y="228"/>
                  </a:lnTo>
                  <a:lnTo>
                    <a:pt x="243" y="228"/>
                  </a:lnTo>
                  <a:lnTo>
                    <a:pt x="243" y="229"/>
                  </a:lnTo>
                  <a:lnTo>
                    <a:pt x="243" y="230"/>
                  </a:lnTo>
                  <a:lnTo>
                    <a:pt x="240" y="230"/>
                  </a:lnTo>
                  <a:lnTo>
                    <a:pt x="240" y="231"/>
                  </a:lnTo>
                  <a:lnTo>
                    <a:pt x="239" y="233"/>
                  </a:lnTo>
                  <a:lnTo>
                    <a:pt x="240" y="235"/>
                  </a:lnTo>
                  <a:lnTo>
                    <a:pt x="240" y="236"/>
                  </a:lnTo>
                  <a:lnTo>
                    <a:pt x="240" y="237"/>
                  </a:lnTo>
                  <a:lnTo>
                    <a:pt x="238" y="243"/>
                  </a:lnTo>
                  <a:lnTo>
                    <a:pt x="238" y="243"/>
                  </a:lnTo>
                  <a:lnTo>
                    <a:pt x="239" y="244"/>
                  </a:lnTo>
                  <a:lnTo>
                    <a:pt x="238" y="249"/>
                  </a:lnTo>
                  <a:lnTo>
                    <a:pt x="238" y="249"/>
                  </a:lnTo>
                  <a:lnTo>
                    <a:pt x="238" y="250"/>
                  </a:lnTo>
                  <a:lnTo>
                    <a:pt x="237" y="252"/>
                  </a:lnTo>
                  <a:lnTo>
                    <a:pt x="237" y="254"/>
                  </a:lnTo>
                  <a:lnTo>
                    <a:pt x="236" y="254"/>
                  </a:lnTo>
                  <a:lnTo>
                    <a:pt x="234" y="255"/>
                  </a:lnTo>
                  <a:lnTo>
                    <a:pt x="234" y="255"/>
                  </a:lnTo>
                  <a:lnTo>
                    <a:pt x="234" y="254"/>
                  </a:lnTo>
                  <a:lnTo>
                    <a:pt x="231" y="250"/>
                  </a:lnTo>
                  <a:lnTo>
                    <a:pt x="229" y="252"/>
                  </a:lnTo>
                  <a:lnTo>
                    <a:pt x="227" y="256"/>
                  </a:lnTo>
                  <a:lnTo>
                    <a:pt x="226" y="257"/>
                  </a:lnTo>
                  <a:lnTo>
                    <a:pt x="227" y="264"/>
                  </a:lnTo>
                  <a:lnTo>
                    <a:pt x="226" y="265"/>
                  </a:lnTo>
                  <a:lnTo>
                    <a:pt x="226" y="267"/>
                  </a:lnTo>
                  <a:lnTo>
                    <a:pt x="225" y="268"/>
                  </a:lnTo>
                  <a:lnTo>
                    <a:pt x="224" y="271"/>
                  </a:lnTo>
                  <a:lnTo>
                    <a:pt x="224" y="274"/>
                  </a:lnTo>
                  <a:lnTo>
                    <a:pt x="223" y="278"/>
                  </a:lnTo>
                  <a:lnTo>
                    <a:pt x="224" y="290"/>
                  </a:lnTo>
                  <a:lnTo>
                    <a:pt x="224" y="298"/>
                  </a:lnTo>
                  <a:lnTo>
                    <a:pt x="221" y="301"/>
                  </a:lnTo>
                  <a:lnTo>
                    <a:pt x="219" y="301"/>
                  </a:lnTo>
                  <a:lnTo>
                    <a:pt x="218" y="301"/>
                  </a:lnTo>
                  <a:lnTo>
                    <a:pt x="218" y="302"/>
                  </a:lnTo>
                  <a:lnTo>
                    <a:pt x="217" y="302"/>
                  </a:lnTo>
                  <a:lnTo>
                    <a:pt x="216" y="301"/>
                  </a:lnTo>
                  <a:lnTo>
                    <a:pt x="216" y="301"/>
                  </a:lnTo>
                  <a:lnTo>
                    <a:pt x="214" y="301"/>
                  </a:lnTo>
                  <a:lnTo>
                    <a:pt x="212" y="300"/>
                  </a:lnTo>
                  <a:lnTo>
                    <a:pt x="212" y="301"/>
                  </a:lnTo>
                  <a:lnTo>
                    <a:pt x="211" y="301"/>
                  </a:lnTo>
                  <a:lnTo>
                    <a:pt x="211" y="301"/>
                  </a:lnTo>
                  <a:lnTo>
                    <a:pt x="209" y="301"/>
                  </a:lnTo>
                  <a:lnTo>
                    <a:pt x="209" y="300"/>
                  </a:lnTo>
                  <a:lnTo>
                    <a:pt x="207" y="301"/>
                  </a:lnTo>
                  <a:lnTo>
                    <a:pt x="207" y="301"/>
                  </a:lnTo>
                  <a:lnTo>
                    <a:pt x="206" y="302"/>
                  </a:lnTo>
                  <a:lnTo>
                    <a:pt x="206" y="302"/>
                  </a:lnTo>
                  <a:lnTo>
                    <a:pt x="206" y="303"/>
                  </a:lnTo>
                  <a:lnTo>
                    <a:pt x="206" y="304"/>
                  </a:lnTo>
                  <a:lnTo>
                    <a:pt x="207" y="304"/>
                  </a:lnTo>
                  <a:lnTo>
                    <a:pt x="206" y="305"/>
                  </a:lnTo>
                  <a:lnTo>
                    <a:pt x="207" y="308"/>
                  </a:lnTo>
                  <a:lnTo>
                    <a:pt x="206" y="308"/>
                  </a:lnTo>
                  <a:lnTo>
                    <a:pt x="206" y="308"/>
                  </a:lnTo>
                  <a:lnTo>
                    <a:pt x="205" y="309"/>
                  </a:lnTo>
                  <a:lnTo>
                    <a:pt x="204" y="310"/>
                  </a:lnTo>
                  <a:lnTo>
                    <a:pt x="204" y="310"/>
                  </a:lnTo>
                  <a:lnTo>
                    <a:pt x="204" y="311"/>
                  </a:lnTo>
                  <a:lnTo>
                    <a:pt x="204" y="312"/>
                  </a:lnTo>
                  <a:lnTo>
                    <a:pt x="205" y="315"/>
                  </a:lnTo>
                  <a:lnTo>
                    <a:pt x="206" y="315"/>
                  </a:lnTo>
                  <a:lnTo>
                    <a:pt x="206" y="314"/>
                  </a:lnTo>
                  <a:lnTo>
                    <a:pt x="209" y="315"/>
                  </a:lnTo>
                  <a:lnTo>
                    <a:pt x="209" y="315"/>
                  </a:lnTo>
                  <a:lnTo>
                    <a:pt x="210" y="316"/>
                  </a:lnTo>
                  <a:lnTo>
                    <a:pt x="211" y="315"/>
                  </a:lnTo>
                  <a:lnTo>
                    <a:pt x="212" y="315"/>
                  </a:lnTo>
                  <a:lnTo>
                    <a:pt x="213" y="316"/>
                  </a:lnTo>
                  <a:lnTo>
                    <a:pt x="213" y="316"/>
                  </a:lnTo>
                  <a:lnTo>
                    <a:pt x="216" y="316"/>
                  </a:lnTo>
                  <a:lnTo>
                    <a:pt x="217" y="317"/>
                  </a:lnTo>
                  <a:lnTo>
                    <a:pt x="217" y="317"/>
                  </a:lnTo>
                  <a:lnTo>
                    <a:pt x="218" y="318"/>
                  </a:lnTo>
                  <a:lnTo>
                    <a:pt x="220" y="320"/>
                  </a:lnTo>
                  <a:lnTo>
                    <a:pt x="223" y="323"/>
                  </a:lnTo>
                  <a:lnTo>
                    <a:pt x="223" y="325"/>
                  </a:lnTo>
                  <a:lnTo>
                    <a:pt x="224" y="325"/>
                  </a:lnTo>
                  <a:lnTo>
                    <a:pt x="224" y="327"/>
                  </a:lnTo>
                  <a:lnTo>
                    <a:pt x="225" y="327"/>
                  </a:lnTo>
                  <a:lnTo>
                    <a:pt x="226" y="328"/>
                  </a:lnTo>
                  <a:lnTo>
                    <a:pt x="229" y="329"/>
                  </a:lnTo>
                  <a:lnTo>
                    <a:pt x="226" y="329"/>
                  </a:lnTo>
                  <a:lnTo>
                    <a:pt x="227" y="330"/>
                  </a:lnTo>
                  <a:lnTo>
                    <a:pt x="227" y="331"/>
                  </a:lnTo>
                  <a:lnTo>
                    <a:pt x="229" y="331"/>
                  </a:lnTo>
                  <a:lnTo>
                    <a:pt x="231" y="332"/>
                  </a:lnTo>
                  <a:lnTo>
                    <a:pt x="232" y="336"/>
                  </a:lnTo>
                  <a:lnTo>
                    <a:pt x="234" y="336"/>
                  </a:lnTo>
                  <a:lnTo>
                    <a:pt x="236" y="337"/>
                  </a:lnTo>
                  <a:lnTo>
                    <a:pt x="236" y="338"/>
                  </a:lnTo>
                  <a:lnTo>
                    <a:pt x="237" y="338"/>
                  </a:lnTo>
                  <a:lnTo>
                    <a:pt x="237" y="341"/>
                  </a:lnTo>
                  <a:lnTo>
                    <a:pt x="237" y="342"/>
                  </a:lnTo>
                  <a:lnTo>
                    <a:pt x="238" y="343"/>
                  </a:lnTo>
                  <a:lnTo>
                    <a:pt x="238" y="347"/>
                  </a:lnTo>
                  <a:lnTo>
                    <a:pt x="239" y="347"/>
                  </a:lnTo>
                  <a:lnTo>
                    <a:pt x="239" y="349"/>
                  </a:lnTo>
                  <a:lnTo>
                    <a:pt x="240" y="350"/>
                  </a:lnTo>
                  <a:lnTo>
                    <a:pt x="240" y="350"/>
                  </a:lnTo>
                  <a:lnTo>
                    <a:pt x="240" y="351"/>
                  </a:lnTo>
                  <a:lnTo>
                    <a:pt x="241" y="352"/>
                  </a:lnTo>
                  <a:lnTo>
                    <a:pt x="241" y="354"/>
                  </a:lnTo>
                  <a:lnTo>
                    <a:pt x="243" y="357"/>
                  </a:lnTo>
                  <a:lnTo>
                    <a:pt x="243" y="358"/>
                  </a:lnTo>
                  <a:lnTo>
                    <a:pt x="246" y="361"/>
                  </a:lnTo>
                  <a:lnTo>
                    <a:pt x="246" y="362"/>
                  </a:lnTo>
                  <a:lnTo>
                    <a:pt x="246" y="362"/>
                  </a:lnTo>
                  <a:lnTo>
                    <a:pt x="246" y="364"/>
                  </a:lnTo>
                  <a:lnTo>
                    <a:pt x="247" y="364"/>
                  </a:lnTo>
                  <a:lnTo>
                    <a:pt x="250" y="362"/>
                  </a:lnTo>
                  <a:lnTo>
                    <a:pt x="250" y="362"/>
                  </a:lnTo>
                  <a:lnTo>
                    <a:pt x="251" y="362"/>
                  </a:lnTo>
                  <a:lnTo>
                    <a:pt x="252" y="364"/>
                  </a:lnTo>
                  <a:lnTo>
                    <a:pt x="253" y="363"/>
                  </a:lnTo>
                  <a:lnTo>
                    <a:pt x="254" y="364"/>
                  </a:lnTo>
                  <a:lnTo>
                    <a:pt x="256" y="365"/>
                  </a:lnTo>
                  <a:lnTo>
                    <a:pt x="256" y="365"/>
                  </a:lnTo>
                  <a:lnTo>
                    <a:pt x="256" y="367"/>
                  </a:lnTo>
                  <a:lnTo>
                    <a:pt x="256" y="368"/>
                  </a:lnTo>
                  <a:lnTo>
                    <a:pt x="254" y="370"/>
                  </a:lnTo>
                  <a:lnTo>
                    <a:pt x="254" y="376"/>
                  </a:lnTo>
                  <a:lnTo>
                    <a:pt x="259" y="380"/>
                  </a:lnTo>
                  <a:lnTo>
                    <a:pt x="230" y="380"/>
                  </a:lnTo>
                  <a:lnTo>
                    <a:pt x="223" y="387"/>
                  </a:lnTo>
                  <a:lnTo>
                    <a:pt x="214" y="397"/>
                  </a:lnTo>
                  <a:lnTo>
                    <a:pt x="209" y="397"/>
                  </a:lnTo>
                  <a:lnTo>
                    <a:pt x="205" y="394"/>
                  </a:lnTo>
                  <a:lnTo>
                    <a:pt x="204" y="396"/>
                  </a:lnTo>
                  <a:lnTo>
                    <a:pt x="200" y="397"/>
                  </a:lnTo>
                  <a:lnTo>
                    <a:pt x="194" y="397"/>
                  </a:lnTo>
                  <a:lnTo>
                    <a:pt x="191" y="399"/>
                  </a:lnTo>
                  <a:lnTo>
                    <a:pt x="191" y="402"/>
                  </a:lnTo>
                  <a:lnTo>
                    <a:pt x="189" y="402"/>
                  </a:lnTo>
                  <a:lnTo>
                    <a:pt x="189" y="401"/>
                  </a:lnTo>
                  <a:lnTo>
                    <a:pt x="186" y="401"/>
                  </a:lnTo>
                  <a:lnTo>
                    <a:pt x="186" y="398"/>
                  </a:lnTo>
                  <a:lnTo>
                    <a:pt x="184" y="396"/>
                  </a:lnTo>
                  <a:lnTo>
                    <a:pt x="184" y="396"/>
                  </a:lnTo>
                  <a:lnTo>
                    <a:pt x="181" y="398"/>
                  </a:lnTo>
                  <a:lnTo>
                    <a:pt x="179" y="398"/>
                  </a:lnTo>
                  <a:lnTo>
                    <a:pt x="179" y="399"/>
                  </a:lnTo>
                  <a:lnTo>
                    <a:pt x="174" y="396"/>
                  </a:lnTo>
                  <a:lnTo>
                    <a:pt x="172" y="396"/>
                  </a:lnTo>
                  <a:lnTo>
                    <a:pt x="170" y="398"/>
                  </a:lnTo>
                  <a:lnTo>
                    <a:pt x="169" y="398"/>
                  </a:lnTo>
                  <a:lnTo>
                    <a:pt x="167" y="399"/>
                  </a:lnTo>
                  <a:lnTo>
                    <a:pt x="167" y="401"/>
                  </a:lnTo>
                  <a:lnTo>
                    <a:pt x="166" y="402"/>
                  </a:lnTo>
                  <a:lnTo>
                    <a:pt x="166" y="399"/>
                  </a:lnTo>
                  <a:lnTo>
                    <a:pt x="165" y="398"/>
                  </a:lnTo>
                  <a:lnTo>
                    <a:pt x="165" y="398"/>
                  </a:lnTo>
                  <a:lnTo>
                    <a:pt x="165" y="399"/>
                  </a:lnTo>
                  <a:lnTo>
                    <a:pt x="164" y="398"/>
                  </a:lnTo>
                  <a:lnTo>
                    <a:pt x="163" y="401"/>
                  </a:lnTo>
                  <a:lnTo>
                    <a:pt x="161" y="401"/>
                  </a:lnTo>
                  <a:lnTo>
                    <a:pt x="161" y="396"/>
                  </a:lnTo>
                  <a:lnTo>
                    <a:pt x="161" y="394"/>
                  </a:lnTo>
                  <a:lnTo>
                    <a:pt x="160" y="395"/>
                  </a:lnTo>
                  <a:lnTo>
                    <a:pt x="158" y="395"/>
                  </a:lnTo>
                  <a:lnTo>
                    <a:pt x="157" y="394"/>
                  </a:lnTo>
                  <a:lnTo>
                    <a:pt x="156" y="392"/>
                  </a:lnTo>
                  <a:lnTo>
                    <a:pt x="154" y="392"/>
                  </a:lnTo>
                  <a:lnTo>
                    <a:pt x="154" y="391"/>
                  </a:lnTo>
                  <a:lnTo>
                    <a:pt x="153" y="391"/>
                  </a:lnTo>
                  <a:lnTo>
                    <a:pt x="153" y="390"/>
                  </a:lnTo>
                  <a:lnTo>
                    <a:pt x="152" y="389"/>
                  </a:lnTo>
                  <a:lnTo>
                    <a:pt x="151" y="388"/>
                  </a:lnTo>
                  <a:lnTo>
                    <a:pt x="150" y="387"/>
                  </a:lnTo>
                  <a:lnTo>
                    <a:pt x="150" y="385"/>
                  </a:lnTo>
                  <a:lnTo>
                    <a:pt x="147" y="385"/>
                  </a:lnTo>
                  <a:lnTo>
                    <a:pt x="146" y="382"/>
                  </a:lnTo>
                  <a:lnTo>
                    <a:pt x="147" y="381"/>
                  </a:lnTo>
                  <a:lnTo>
                    <a:pt x="147" y="380"/>
                  </a:lnTo>
                  <a:lnTo>
                    <a:pt x="144" y="378"/>
                  </a:lnTo>
                  <a:lnTo>
                    <a:pt x="143" y="377"/>
                  </a:lnTo>
                  <a:lnTo>
                    <a:pt x="141" y="380"/>
                  </a:lnTo>
                  <a:lnTo>
                    <a:pt x="139" y="382"/>
                  </a:lnTo>
                  <a:lnTo>
                    <a:pt x="137" y="387"/>
                  </a:lnTo>
                  <a:lnTo>
                    <a:pt x="137" y="384"/>
                  </a:lnTo>
                  <a:lnTo>
                    <a:pt x="134" y="382"/>
                  </a:lnTo>
                  <a:lnTo>
                    <a:pt x="133" y="383"/>
                  </a:lnTo>
                  <a:lnTo>
                    <a:pt x="132" y="382"/>
                  </a:lnTo>
                  <a:lnTo>
                    <a:pt x="131" y="382"/>
                  </a:lnTo>
                  <a:lnTo>
                    <a:pt x="129" y="382"/>
                  </a:lnTo>
                  <a:lnTo>
                    <a:pt x="129" y="381"/>
                  </a:lnTo>
                  <a:lnTo>
                    <a:pt x="129" y="382"/>
                  </a:lnTo>
                  <a:lnTo>
                    <a:pt x="127" y="382"/>
                  </a:lnTo>
                  <a:lnTo>
                    <a:pt x="126" y="384"/>
                  </a:lnTo>
                  <a:lnTo>
                    <a:pt x="124" y="384"/>
                  </a:lnTo>
                  <a:lnTo>
                    <a:pt x="124" y="387"/>
                  </a:lnTo>
                  <a:lnTo>
                    <a:pt x="121" y="387"/>
                  </a:lnTo>
                  <a:lnTo>
                    <a:pt x="121" y="385"/>
                  </a:lnTo>
                  <a:lnTo>
                    <a:pt x="118" y="384"/>
                  </a:lnTo>
                  <a:lnTo>
                    <a:pt x="118" y="383"/>
                  </a:lnTo>
                  <a:lnTo>
                    <a:pt x="117" y="384"/>
                  </a:lnTo>
                  <a:lnTo>
                    <a:pt x="117" y="384"/>
                  </a:lnTo>
                  <a:lnTo>
                    <a:pt x="116" y="381"/>
                  </a:lnTo>
                  <a:lnTo>
                    <a:pt x="114" y="382"/>
                  </a:lnTo>
                  <a:lnTo>
                    <a:pt x="113" y="381"/>
                  </a:lnTo>
                  <a:lnTo>
                    <a:pt x="111" y="381"/>
                  </a:lnTo>
                  <a:lnTo>
                    <a:pt x="111" y="380"/>
                  </a:lnTo>
                  <a:lnTo>
                    <a:pt x="110" y="378"/>
                  </a:lnTo>
                  <a:lnTo>
                    <a:pt x="110" y="378"/>
                  </a:lnTo>
                  <a:lnTo>
                    <a:pt x="110" y="377"/>
                  </a:lnTo>
                  <a:lnTo>
                    <a:pt x="109" y="375"/>
                  </a:lnTo>
                  <a:lnTo>
                    <a:pt x="107" y="375"/>
                  </a:lnTo>
                  <a:lnTo>
                    <a:pt x="107" y="372"/>
                  </a:lnTo>
                  <a:lnTo>
                    <a:pt x="106" y="372"/>
                  </a:lnTo>
                  <a:lnTo>
                    <a:pt x="105" y="372"/>
                  </a:lnTo>
                  <a:lnTo>
                    <a:pt x="104" y="370"/>
                  </a:lnTo>
                  <a:lnTo>
                    <a:pt x="104" y="369"/>
                  </a:lnTo>
                  <a:lnTo>
                    <a:pt x="100" y="365"/>
                  </a:lnTo>
                  <a:lnTo>
                    <a:pt x="100" y="362"/>
                  </a:lnTo>
                  <a:lnTo>
                    <a:pt x="101" y="360"/>
                  </a:lnTo>
                  <a:lnTo>
                    <a:pt x="100" y="358"/>
                  </a:lnTo>
                  <a:lnTo>
                    <a:pt x="100" y="357"/>
                  </a:lnTo>
                  <a:lnTo>
                    <a:pt x="92" y="351"/>
                  </a:lnTo>
                  <a:lnTo>
                    <a:pt x="90" y="351"/>
                  </a:lnTo>
                  <a:lnTo>
                    <a:pt x="87" y="349"/>
                  </a:lnTo>
                  <a:lnTo>
                    <a:pt x="86" y="349"/>
                  </a:lnTo>
                  <a:lnTo>
                    <a:pt x="87" y="347"/>
                  </a:lnTo>
                  <a:lnTo>
                    <a:pt x="86" y="345"/>
                  </a:lnTo>
                  <a:lnTo>
                    <a:pt x="84" y="344"/>
                  </a:lnTo>
                  <a:lnTo>
                    <a:pt x="84" y="340"/>
                  </a:lnTo>
                  <a:lnTo>
                    <a:pt x="85" y="337"/>
                  </a:lnTo>
                  <a:lnTo>
                    <a:pt x="83" y="336"/>
                  </a:lnTo>
                  <a:lnTo>
                    <a:pt x="79" y="334"/>
                  </a:lnTo>
                  <a:lnTo>
                    <a:pt x="79" y="332"/>
                  </a:lnTo>
                  <a:lnTo>
                    <a:pt x="77" y="330"/>
                  </a:lnTo>
                  <a:lnTo>
                    <a:pt x="73" y="327"/>
                  </a:lnTo>
                  <a:lnTo>
                    <a:pt x="67" y="325"/>
                  </a:lnTo>
                  <a:lnTo>
                    <a:pt x="65" y="321"/>
                  </a:lnTo>
                  <a:lnTo>
                    <a:pt x="63" y="320"/>
                  </a:lnTo>
                  <a:lnTo>
                    <a:pt x="63" y="318"/>
                  </a:lnTo>
                  <a:lnTo>
                    <a:pt x="64" y="316"/>
                  </a:lnTo>
                  <a:lnTo>
                    <a:pt x="64" y="314"/>
                  </a:lnTo>
                  <a:lnTo>
                    <a:pt x="63" y="312"/>
                  </a:lnTo>
                  <a:lnTo>
                    <a:pt x="60" y="311"/>
                  </a:lnTo>
                  <a:lnTo>
                    <a:pt x="57" y="310"/>
                  </a:lnTo>
                  <a:lnTo>
                    <a:pt x="56" y="307"/>
                  </a:lnTo>
                  <a:lnTo>
                    <a:pt x="52" y="305"/>
                  </a:lnTo>
                  <a:lnTo>
                    <a:pt x="50" y="305"/>
                  </a:lnTo>
                  <a:lnTo>
                    <a:pt x="49" y="304"/>
                  </a:lnTo>
                  <a:lnTo>
                    <a:pt x="46" y="304"/>
                  </a:lnTo>
                  <a:lnTo>
                    <a:pt x="44" y="303"/>
                  </a:lnTo>
                  <a:lnTo>
                    <a:pt x="44" y="302"/>
                  </a:lnTo>
                  <a:lnTo>
                    <a:pt x="44" y="300"/>
                  </a:lnTo>
                  <a:lnTo>
                    <a:pt x="45" y="297"/>
                  </a:lnTo>
                  <a:lnTo>
                    <a:pt x="46" y="297"/>
                  </a:lnTo>
                  <a:lnTo>
                    <a:pt x="46" y="295"/>
                  </a:lnTo>
                  <a:lnTo>
                    <a:pt x="36" y="295"/>
                  </a:lnTo>
                  <a:lnTo>
                    <a:pt x="32" y="295"/>
                  </a:lnTo>
                  <a:lnTo>
                    <a:pt x="32" y="296"/>
                  </a:lnTo>
                  <a:lnTo>
                    <a:pt x="32" y="292"/>
                  </a:lnTo>
                  <a:lnTo>
                    <a:pt x="33" y="291"/>
                  </a:lnTo>
                  <a:lnTo>
                    <a:pt x="33" y="289"/>
                  </a:lnTo>
                  <a:lnTo>
                    <a:pt x="31" y="291"/>
                  </a:lnTo>
                  <a:lnTo>
                    <a:pt x="30" y="289"/>
                  </a:lnTo>
                  <a:lnTo>
                    <a:pt x="32" y="285"/>
                  </a:lnTo>
                  <a:lnTo>
                    <a:pt x="34" y="283"/>
                  </a:lnTo>
                  <a:lnTo>
                    <a:pt x="34" y="281"/>
                  </a:lnTo>
                  <a:lnTo>
                    <a:pt x="33" y="280"/>
                  </a:lnTo>
                  <a:lnTo>
                    <a:pt x="33" y="278"/>
                  </a:lnTo>
                  <a:lnTo>
                    <a:pt x="34" y="275"/>
                  </a:lnTo>
                  <a:lnTo>
                    <a:pt x="34" y="271"/>
                  </a:lnTo>
                  <a:lnTo>
                    <a:pt x="27" y="258"/>
                  </a:lnTo>
                  <a:lnTo>
                    <a:pt x="26" y="258"/>
                  </a:lnTo>
                  <a:lnTo>
                    <a:pt x="20" y="249"/>
                  </a:lnTo>
                  <a:lnTo>
                    <a:pt x="20" y="247"/>
                  </a:lnTo>
                  <a:lnTo>
                    <a:pt x="20" y="247"/>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272" name="Sri Lanka">
              <a:extLst>
                <a:ext uri="{FF2B5EF4-FFF2-40B4-BE49-F238E27FC236}">
                  <a16:creationId xmlns:a16="http://schemas.microsoft.com/office/drawing/2014/main" id="{1F6E1AB8-AE75-8740-953F-0CCB9FF157CF}"/>
                </a:ext>
              </a:extLst>
            </p:cNvPr>
            <p:cNvSpPr>
              <a:spLocks noEditPoints="1"/>
            </p:cNvSpPr>
            <p:nvPr>
              <p:custDataLst>
                <p:tags r:id="rId2"/>
              </p:custDataLst>
            </p:nvPr>
          </p:nvSpPr>
          <p:spPr bwMode="auto">
            <a:xfrm>
              <a:off x="8464692" y="3692026"/>
              <a:ext cx="67065" cy="116636"/>
            </a:xfrm>
            <a:custGeom>
              <a:avLst/>
              <a:gdLst>
                <a:gd name="T0" fmla="*/ 14 w 46"/>
                <a:gd name="T1" fmla="*/ 78 h 80"/>
                <a:gd name="T2" fmla="*/ 9 w 46"/>
                <a:gd name="T3" fmla="*/ 68 h 80"/>
                <a:gd name="T4" fmla="*/ 6 w 46"/>
                <a:gd name="T5" fmla="*/ 60 h 80"/>
                <a:gd name="T6" fmla="*/ 6 w 46"/>
                <a:gd name="T7" fmla="*/ 52 h 80"/>
                <a:gd name="T8" fmla="*/ 4 w 46"/>
                <a:gd name="T9" fmla="*/ 40 h 80"/>
                <a:gd name="T10" fmla="*/ 3 w 46"/>
                <a:gd name="T11" fmla="*/ 37 h 80"/>
                <a:gd name="T12" fmla="*/ 4 w 46"/>
                <a:gd name="T13" fmla="*/ 36 h 80"/>
                <a:gd name="T14" fmla="*/ 4 w 46"/>
                <a:gd name="T15" fmla="*/ 38 h 80"/>
                <a:gd name="T16" fmla="*/ 5 w 46"/>
                <a:gd name="T17" fmla="*/ 38 h 80"/>
                <a:gd name="T18" fmla="*/ 6 w 46"/>
                <a:gd name="T19" fmla="*/ 26 h 80"/>
                <a:gd name="T20" fmla="*/ 6 w 46"/>
                <a:gd name="T21" fmla="*/ 19 h 80"/>
                <a:gd name="T22" fmla="*/ 10 w 46"/>
                <a:gd name="T23" fmla="*/ 13 h 80"/>
                <a:gd name="T24" fmla="*/ 10 w 46"/>
                <a:gd name="T25" fmla="*/ 9 h 80"/>
                <a:gd name="T26" fmla="*/ 9 w 46"/>
                <a:gd name="T27" fmla="*/ 6 h 80"/>
                <a:gd name="T28" fmla="*/ 12 w 46"/>
                <a:gd name="T29" fmla="*/ 8 h 80"/>
                <a:gd name="T30" fmla="*/ 19 w 46"/>
                <a:gd name="T31" fmla="*/ 9 h 80"/>
                <a:gd name="T32" fmla="*/ 14 w 46"/>
                <a:gd name="T33" fmla="*/ 6 h 80"/>
                <a:gd name="T34" fmla="*/ 11 w 46"/>
                <a:gd name="T35" fmla="*/ 4 h 80"/>
                <a:gd name="T36" fmla="*/ 10 w 46"/>
                <a:gd name="T37" fmla="*/ 5 h 80"/>
                <a:gd name="T38" fmla="*/ 11 w 46"/>
                <a:gd name="T39" fmla="*/ 6 h 80"/>
                <a:gd name="T40" fmla="*/ 5 w 46"/>
                <a:gd name="T41" fmla="*/ 2 h 80"/>
                <a:gd name="T42" fmla="*/ 10 w 46"/>
                <a:gd name="T43" fmla="*/ 2 h 80"/>
                <a:gd name="T44" fmla="*/ 13 w 46"/>
                <a:gd name="T45" fmla="*/ 4 h 80"/>
                <a:gd name="T46" fmla="*/ 12 w 46"/>
                <a:gd name="T47" fmla="*/ 3 h 80"/>
                <a:gd name="T48" fmla="*/ 10 w 46"/>
                <a:gd name="T49" fmla="*/ 0 h 80"/>
                <a:gd name="T50" fmla="*/ 11 w 46"/>
                <a:gd name="T51" fmla="*/ 0 h 80"/>
                <a:gd name="T52" fmla="*/ 13 w 46"/>
                <a:gd name="T53" fmla="*/ 4 h 80"/>
                <a:gd name="T54" fmla="*/ 19 w 46"/>
                <a:gd name="T55" fmla="*/ 9 h 80"/>
                <a:gd name="T56" fmla="*/ 24 w 46"/>
                <a:gd name="T57" fmla="*/ 13 h 80"/>
                <a:gd name="T58" fmla="*/ 25 w 46"/>
                <a:gd name="T59" fmla="*/ 19 h 80"/>
                <a:gd name="T60" fmla="*/ 27 w 46"/>
                <a:gd name="T61" fmla="*/ 19 h 80"/>
                <a:gd name="T62" fmla="*/ 32 w 46"/>
                <a:gd name="T63" fmla="*/ 28 h 80"/>
                <a:gd name="T64" fmla="*/ 31 w 46"/>
                <a:gd name="T65" fmla="*/ 26 h 80"/>
                <a:gd name="T66" fmla="*/ 30 w 46"/>
                <a:gd name="T67" fmla="*/ 29 h 80"/>
                <a:gd name="T68" fmla="*/ 33 w 46"/>
                <a:gd name="T69" fmla="*/ 29 h 80"/>
                <a:gd name="T70" fmla="*/ 34 w 46"/>
                <a:gd name="T71" fmla="*/ 28 h 80"/>
                <a:gd name="T72" fmla="*/ 36 w 46"/>
                <a:gd name="T73" fmla="*/ 35 h 80"/>
                <a:gd name="T74" fmla="*/ 41 w 46"/>
                <a:gd name="T75" fmla="*/ 43 h 80"/>
                <a:gd name="T76" fmla="*/ 43 w 46"/>
                <a:gd name="T77" fmla="*/ 46 h 80"/>
                <a:gd name="T78" fmla="*/ 44 w 46"/>
                <a:gd name="T79" fmla="*/ 49 h 80"/>
                <a:gd name="T80" fmla="*/ 45 w 46"/>
                <a:gd name="T81" fmla="*/ 52 h 80"/>
                <a:gd name="T82" fmla="*/ 44 w 46"/>
                <a:gd name="T83" fmla="*/ 65 h 80"/>
                <a:gd name="T84" fmla="*/ 43 w 46"/>
                <a:gd name="T85" fmla="*/ 69 h 80"/>
                <a:gd name="T86" fmla="*/ 30 w 46"/>
                <a:gd name="T87" fmla="*/ 77 h 80"/>
                <a:gd name="T88" fmla="*/ 21 w 46"/>
                <a:gd name="T89" fmla="*/ 80 h 80"/>
                <a:gd name="T90" fmla="*/ 41 w 46"/>
                <a:gd name="T91" fmla="*/ 44 h 80"/>
                <a:gd name="T92" fmla="*/ 44 w 46"/>
                <a:gd name="T93" fmla="*/ 49 h 80"/>
                <a:gd name="T94" fmla="*/ 41 w 46"/>
                <a:gd name="T95" fmla="*/ 44 h 80"/>
                <a:gd name="T96" fmla="*/ 44 w 46"/>
                <a:gd name="T97" fmla="*/ 46 h 80"/>
                <a:gd name="T98" fmla="*/ 5 w 46"/>
                <a:gd name="T99" fmla="*/ 18 h 80"/>
                <a:gd name="T100" fmla="*/ 3 w 46"/>
                <a:gd name="T101" fmla="*/ 16 h 80"/>
                <a:gd name="T102" fmla="*/ 6 w 46"/>
                <a:gd name="T103" fmla="*/ 17 h 80"/>
                <a:gd name="T104" fmla="*/ 0 w 46"/>
                <a:gd name="T105" fmla="*/ 8 h 80"/>
                <a:gd name="T106" fmla="*/ 1 w 46"/>
                <a:gd name="T107" fmla="*/ 8 h 80"/>
                <a:gd name="T108" fmla="*/ 6 w 46"/>
                <a:gd name="T109" fmla="*/ 5 h 80"/>
                <a:gd name="T110" fmla="*/ 4 w 46"/>
                <a:gd name="T111" fmla="*/ 3 h 80"/>
                <a:gd name="T112" fmla="*/ 5 w 46"/>
                <a:gd name="T113" fmla="*/ 4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46" h="80">
                  <a:moveTo>
                    <a:pt x="21" y="80"/>
                  </a:moveTo>
                  <a:lnTo>
                    <a:pt x="21" y="80"/>
                  </a:lnTo>
                  <a:lnTo>
                    <a:pt x="19" y="80"/>
                  </a:lnTo>
                  <a:lnTo>
                    <a:pt x="16" y="79"/>
                  </a:lnTo>
                  <a:lnTo>
                    <a:pt x="16" y="79"/>
                  </a:lnTo>
                  <a:lnTo>
                    <a:pt x="16" y="79"/>
                  </a:lnTo>
                  <a:lnTo>
                    <a:pt x="14" y="78"/>
                  </a:lnTo>
                  <a:lnTo>
                    <a:pt x="14" y="78"/>
                  </a:lnTo>
                  <a:lnTo>
                    <a:pt x="13" y="77"/>
                  </a:lnTo>
                  <a:lnTo>
                    <a:pt x="12" y="76"/>
                  </a:lnTo>
                  <a:lnTo>
                    <a:pt x="11" y="75"/>
                  </a:lnTo>
                  <a:lnTo>
                    <a:pt x="11" y="72"/>
                  </a:lnTo>
                  <a:lnTo>
                    <a:pt x="10" y="70"/>
                  </a:lnTo>
                  <a:lnTo>
                    <a:pt x="10" y="69"/>
                  </a:lnTo>
                  <a:lnTo>
                    <a:pt x="10" y="68"/>
                  </a:lnTo>
                  <a:lnTo>
                    <a:pt x="9" y="68"/>
                  </a:lnTo>
                  <a:lnTo>
                    <a:pt x="9" y="66"/>
                  </a:lnTo>
                  <a:lnTo>
                    <a:pt x="9" y="64"/>
                  </a:lnTo>
                  <a:lnTo>
                    <a:pt x="7" y="64"/>
                  </a:lnTo>
                  <a:lnTo>
                    <a:pt x="7" y="63"/>
                  </a:lnTo>
                  <a:lnTo>
                    <a:pt x="7" y="63"/>
                  </a:lnTo>
                  <a:lnTo>
                    <a:pt x="7" y="62"/>
                  </a:lnTo>
                  <a:lnTo>
                    <a:pt x="6" y="60"/>
                  </a:lnTo>
                  <a:lnTo>
                    <a:pt x="6" y="60"/>
                  </a:lnTo>
                  <a:lnTo>
                    <a:pt x="6" y="59"/>
                  </a:lnTo>
                  <a:lnTo>
                    <a:pt x="7" y="59"/>
                  </a:lnTo>
                  <a:lnTo>
                    <a:pt x="7" y="59"/>
                  </a:lnTo>
                  <a:lnTo>
                    <a:pt x="7" y="59"/>
                  </a:lnTo>
                  <a:lnTo>
                    <a:pt x="6" y="56"/>
                  </a:lnTo>
                  <a:lnTo>
                    <a:pt x="6" y="55"/>
                  </a:lnTo>
                  <a:lnTo>
                    <a:pt x="6" y="53"/>
                  </a:lnTo>
                  <a:lnTo>
                    <a:pt x="6" y="52"/>
                  </a:lnTo>
                  <a:lnTo>
                    <a:pt x="6" y="50"/>
                  </a:lnTo>
                  <a:lnTo>
                    <a:pt x="6" y="50"/>
                  </a:lnTo>
                  <a:lnTo>
                    <a:pt x="5" y="46"/>
                  </a:lnTo>
                  <a:lnTo>
                    <a:pt x="5" y="46"/>
                  </a:lnTo>
                  <a:lnTo>
                    <a:pt x="5" y="45"/>
                  </a:lnTo>
                  <a:lnTo>
                    <a:pt x="5" y="45"/>
                  </a:lnTo>
                  <a:lnTo>
                    <a:pt x="5" y="43"/>
                  </a:lnTo>
                  <a:lnTo>
                    <a:pt x="4" y="40"/>
                  </a:lnTo>
                  <a:lnTo>
                    <a:pt x="4" y="39"/>
                  </a:lnTo>
                  <a:lnTo>
                    <a:pt x="4" y="39"/>
                  </a:lnTo>
                  <a:lnTo>
                    <a:pt x="4" y="39"/>
                  </a:lnTo>
                  <a:lnTo>
                    <a:pt x="4" y="39"/>
                  </a:lnTo>
                  <a:lnTo>
                    <a:pt x="4" y="38"/>
                  </a:lnTo>
                  <a:lnTo>
                    <a:pt x="4" y="38"/>
                  </a:lnTo>
                  <a:lnTo>
                    <a:pt x="4" y="38"/>
                  </a:lnTo>
                  <a:lnTo>
                    <a:pt x="3" y="37"/>
                  </a:lnTo>
                  <a:lnTo>
                    <a:pt x="3" y="36"/>
                  </a:lnTo>
                  <a:lnTo>
                    <a:pt x="3" y="35"/>
                  </a:lnTo>
                  <a:lnTo>
                    <a:pt x="3" y="33"/>
                  </a:lnTo>
                  <a:lnTo>
                    <a:pt x="3" y="33"/>
                  </a:lnTo>
                  <a:lnTo>
                    <a:pt x="3" y="33"/>
                  </a:lnTo>
                  <a:lnTo>
                    <a:pt x="4" y="32"/>
                  </a:lnTo>
                  <a:lnTo>
                    <a:pt x="4" y="36"/>
                  </a:lnTo>
                  <a:lnTo>
                    <a:pt x="4" y="36"/>
                  </a:lnTo>
                  <a:lnTo>
                    <a:pt x="4" y="38"/>
                  </a:lnTo>
                  <a:lnTo>
                    <a:pt x="4" y="38"/>
                  </a:lnTo>
                  <a:lnTo>
                    <a:pt x="4" y="38"/>
                  </a:lnTo>
                  <a:lnTo>
                    <a:pt x="4" y="38"/>
                  </a:lnTo>
                  <a:lnTo>
                    <a:pt x="4" y="38"/>
                  </a:lnTo>
                  <a:lnTo>
                    <a:pt x="4" y="38"/>
                  </a:lnTo>
                  <a:lnTo>
                    <a:pt x="4" y="38"/>
                  </a:lnTo>
                  <a:lnTo>
                    <a:pt x="4" y="38"/>
                  </a:lnTo>
                  <a:lnTo>
                    <a:pt x="5" y="38"/>
                  </a:lnTo>
                  <a:lnTo>
                    <a:pt x="5" y="38"/>
                  </a:lnTo>
                  <a:lnTo>
                    <a:pt x="5" y="38"/>
                  </a:lnTo>
                  <a:lnTo>
                    <a:pt x="5" y="38"/>
                  </a:lnTo>
                  <a:lnTo>
                    <a:pt x="5" y="38"/>
                  </a:lnTo>
                  <a:lnTo>
                    <a:pt x="5" y="38"/>
                  </a:lnTo>
                  <a:lnTo>
                    <a:pt x="5" y="38"/>
                  </a:lnTo>
                  <a:lnTo>
                    <a:pt x="5" y="38"/>
                  </a:lnTo>
                  <a:lnTo>
                    <a:pt x="5" y="38"/>
                  </a:lnTo>
                  <a:lnTo>
                    <a:pt x="5" y="37"/>
                  </a:lnTo>
                  <a:lnTo>
                    <a:pt x="5" y="33"/>
                  </a:lnTo>
                  <a:lnTo>
                    <a:pt x="5" y="28"/>
                  </a:lnTo>
                  <a:lnTo>
                    <a:pt x="5" y="28"/>
                  </a:lnTo>
                  <a:lnTo>
                    <a:pt x="6" y="28"/>
                  </a:lnTo>
                  <a:lnTo>
                    <a:pt x="6" y="28"/>
                  </a:lnTo>
                  <a:lnTo>
                    <a:pt x="6" y="26"/>
                  </a:lnTo>
                  <a:lnTo>
                    <a:pt x="6" y="26"/>
                  </a:lnTo>
                  <a:lnTo>
                    <a:pt x="7" y="25"/>
                  </a:lnTo>
                  <a:lnTo>
                    <a:pt x="7" y="23"/>
                  </a:lnTo>
                  <a:lnTo>
                    <a:pt x="7" y="23"/>
                  </a:lnTo>
                  <a:lnTo>
                    <a:pt x="6" y="20"/>
                  </a:lnTo>
                  <a:lnTo>
                    <a:pt x="6" y="19"/>
                  </a:lnTo>
                  <a:lnTo>
                    <a:pt x="6" y="19"/>
                  </a:lnTo>
                  <a:lnTo>
                    <a:pt x="6" y="19"/>
                  </a:lnTo>
                  <a:lnTo>
                    <a:pt x="7" y="18"/>
                  </a:lnTo>
                  <a:lnTo>
                    <a:pt x="7" y="18"/>
                  </a:lnTo>
                  <a:lnTo>
                    <a:pt x="9" y="17"/>
                  </a:lnTo>
                  <a:lnTo>
                    <a:pt x="9" y="17"/>
                  </a:lnTo>
                  <a:lnTo>
                    <a:pt x="9" y="17"/>
                  </a:lnTo>
                  <a:lnTo>
                    <a:pt x="9" y="17"/>
                  </a:lnTo>
                  <a:lnTo>
                    <a:pt x="10" y="13"/>
                  </a:lnTo>
                  <a:lnTo>
                    <a:pt x="10" y="13"/>
                  </a:lnTo>
                  <a:lnTo>
                    <a:pt x="10" y="12"/>
                  </a:lnTo>
                  <a:lnTo>
                    <a:pt x="10" y="12"/>
                  </a:lnTo>
                  <a:lnTo>
                    <a:pt x="10" y="11"/>
                  </a:lnTo>
                  <a:lnTo>
                    <a:pt x="10" y="11"/>
                  </a:lnTo>
                  <a:lnTo>
                    <a:pt x="10" y="11"/>
                  </a:lnTo>
                  <a:lnTo>
                    <a:pt x="9" y="11"/>
                  </a:lnTo>
                  <a:lnTo>
                    <a:pt x="9" y="9"/>
                  </a:lnTo>
                  <a:lnTo>
                    <a:pt x="10" y="9"/>
                  </a:lnTo>
                  <a:lnTo>
                    <a:pt x="11" y="8"/>
                  </a:lnTo>
                  <a:lnTo>
                    <a:pt x="11" y="8"/>
                  </a:lnTo>
                  <a:lnTo>
                    <a:pt x="11" y="8"/>
                  </a:lnTo>
                  <a:lnTo>
                    <a:pt x="10" y="8"/>
                  </a:lnTo>
                  <a:lnTo>
                    <a:pt x="10" y="8"/>
                  </a:lnTo>
                  <a:lnTo>
                    <a:pt x="10" y="6"/>
                  </a:lnTo>
                  <a:lnTo>
                    <a:pt x="10" y="6"/>
                  </a:lnTo>
                  <a:lnTo>
                    <a:pt x="9" y="6"/>
                  </a:lnTo>
                  <a:lnTo>
                    <a:pt x="9" y="6"/>
                  </a:lnTo>
                  <a:lnTo>
                    <a:pt x="7" y="5"/>
                  </a:lnTo>
                  <a:lnTo>
                    <a:pt x="7" y="5"/>
                  </a:lnTo>
                  <a:lnTo>
                    <a:pt x="7" y="5"/>
                  </a:lnTo>
                  <a:lnTo>
                    <a:pt x="9" y="5"/>
                  </a:lnTo>
                  <a:lnTo>
                    <a:pt x="9" y="5"/>
                  </a:lnTo>
                  <a:lnTo>
                    <a:pt x="11" y="6"/>
                  </a:lnTo>
                  <a:lnTo>
                    <a:pt x="12" y="8"/>
                  </a:lnTo>
                  <a:lnTo>
                    <a:pt x="16" y="8"/>
                  </a:lnTo>
                  <a:lnTo>
                    <a:pt x="17" y="8"/>
                  </a:lnTo>
                  <a:lnTo>
                    <a:pt x="17" y="8"/>
                  </a:lnTo>
                  <a:lnTo>
                    <a:pt x="17" y="9"/>
                  </a:lnTo>
                  <a:lnTo>
                    <a:pt x="18" y="9"/>
                  </a:lnTo>
                  <a:lnTo>
                    <a:pt x="18" y="9"/>
                  </a:lnTo>
                  <a:lnTo>
                    <a:pt x="18" y="9"/>
                  </a:lnTo>
                  <a:lnTo>
                    <a:pt x="19" y="9"/>
                  </a:lnTo>
                  <a:lnTo>
                    <a:pt x="19" y="9"/>
                  </a:lnTo>
                  <a:lnTo>
                    <a:pt x="19" y="9"/>
                  </a:lnTo>
                  <a:lnTo>
                    <a:pt x="18" y="9"/>
                  </a:lnTo>
                  <a:lnTo>
                    <a:pt x="17" y="8"/>
                  </a:lnTo>
                  <a:lnTo>
                    <a:pt x="16" y="6"/>
                  </a:lnTo>
                  <a:lnTo>
                    <a:pt x="16" y="6"/>
                  </a:lnTo>
                  <a:lnTo>
                    <a:pt x="16" y="6"/>
                  </a:lnTo>
                  <a:lnTo>
                    <a:pt x="14" y="6"/>
                  </a:lnTo>
                  <a:lnTo>
                    <a:pt x="14" y="6"/>
                  </a:lnTo>
                  <a:lnTo>
                    <a:pt x="14" y="6"/>
                  </a:lnTo>
                  <a:lnTo>
                    <a:pt x="14" y="6"/>
                  </a:lnTo>
                  <a:lnTo>
                    <a:pt x="13" y="6"/>
                  </a:lnTo>
                  <a:lnTo>
                    <a:pt x="13" y="6"/>
                  </a:lnTo>
                  <a:lnTo>
                    <a:pt x="13" y="5"/>
                  </a:lnTo>
                  <a:lnTo>
                    <a:pt x="11" y="4"/>
                  </a:lnTo>
                  <a:lnTo>
                    <a:pt x="11" y="4"/>
                  </a:lnTo>
                  <a:lnTo>
                    <a:pt x="10" y="4"/>
                  </a:lnTo>
                  <a:lnTo>
                    <a:pt x="10" y="4"/>
                  </a:lnTo>
                  <a:lnTo>
                    <a:pt x="10" y="4"/>
                  </a:lnTo>
                  <a:lnTo>
                    <a:pt x="10" y="4"/>
                  </a:lnTo>
                  <a:lnTo>
                    <a:pt x="10" y="4"/>
                  </a:lnTo>
                  <a:lnTo>
                    <a:pt x="10" y="4"/>
                  </a:lnTo>
                  <a:lnTo>
                    <a:pt x="10" y="4"/>
                  </a:lnTo>
                  <a:lnTo>
                    <a:pt x="10" y="5"/>
                  </a:lnTo>
                  <a:lnTo>
                    <a:pt x="11" y="5"/>
                  </a:lnTo>
                  <a:lnTo>
                    <a:pt x="11" y="5"/>
                  </a:lnTo>
                  <a:lnTo>
                    <a:pt x="11" y="5"/>
                  </a:lnTo>
                  <a:lnTo>
                    <a:pt x="11" y="5"/>
                  </a:lnTo>
                  <a:lnTo>
                    <a:pt x="11" y="5"/>
                  </a:lnTo>
                  <a:lnTo>
                    <a:pt x="11" y="5"/>
                  </a:lnTo>
                  <a:lnTo>
                    <a:pt x="11" y="6"/>
                  </a:lnTo>
                  <a:lnTo>
                    <a:pt x="11" y="6"/>
                  </a:lnTo>
                  <a:lnTo>
                    <a:pt x="10" y="5"/>
                  </a:lnTo>
                  <a:lnTo>
                    <a:pt x="7" y="4"/>
                  </a:lnTo>
                  <a:lnTo>
                    <a:pt x="6" y="4"/>
                  </a:lnTo>
                  <a:lnTo>
                    <a:pt x="6" y="3"/>
                  </a:lnTo>
                  <a:lnTo>
                    <a:pt x="6" y="3"/>
                  </a:lnTo>
                  <a:lnTo>
                    <a:pt x="6" y="3"/>
                  </a:lnTo>
                  <a:lnTo>
                    <a:pt x="5" y="3"/>
                  </a:lnTo>
                  <a:lnTo>
                    <a:pt x="5" y="2"/>
                  </a:lnTo>
                  <a:lnTo>
                    <a:pt x="6" y="0"/>
                  </a:lnTo>
                  <a:lnTo>
                    <a:pt x="6" y="0"/>
                  </a:lnTo>
                  <a:lnTo>
                    <a:pt x="6" y="0"/>
                  </a:lnTo>
                  <a:lnTo>
                    <a:pt x="7" y="0"/>
                  </a:lnTo>
                  <a:lnTo>
                    <a:pt x="7" y="0"/>
                  </a:lnTo>
                  <a:lnTo>
                    <a:pt x="9" y="2"/>
                  </a:lnTo>
                  <a:lnTo>
                    <a:pt x="9" y="2"/>
                  </a:lnTo>
                  <a:lnTo>
                    <a:pt x="10" y="2"/>
                  </a:lnTo>
                  <a:lnTo>
                    <a:pt x="10" y="2"/>
                  </a:lnTo>
                  <a:lnTo>
                    <a:pt x="11" y="2"/>
                  </a:lnTo>
                  <a:lnTo>
                    <a:pt x="11" y="2"/>
                  </a:lnTo>
                  <a:lnTo>
                    <a:pt x="11" y="3"/>
                  </a:lnTo>
                  <a:lnTo>
                    <a:pt x="11" y="3"/>
                  </a:lnTo>
                  <a:lnTo>
                    <a:pt x="12" y="3"/>
                  </a:lnTo>
                  <a:lnTo>
                    <a:pt x="13" y="4"/>
                  </a:lnTo>
                  <a:lnTo>
                    <a:pt x="13" y="4"/>
                  </a:lnTo>
                  <a:lnTo>
                    <a:pt x="13" y="5"/>
                  </a:lnTo>
                  <a:lnTo>
                    <a:pt x="14" y="5"/>
                  </a:lnTo>
                  <a:lnTo>
                    <a:pt x="14" y="5"/>
                  </a:lnTo>
                  <a:lnTo>
                    <a:pt x="14" y="5"/>
                  </a:lnTo>
                  <a:lnTo>
                    <a:pt x="16" y="6"/>
                  </a:lnTo>
                  <a:lnTo>
                    <a:pt x="16" y="6"/>
                  </a:lnTo>
                  <a:lnTo>
                    <a:pt x="16" y="6"/>
                  </a:lnTo>
                  <a:lnTo>
                    <a:pt x="12" y="3"/>
                  </a:lnTo>
                  <a:lnTo>
                    <a:pt x="11" y="2"/>
                  </a:lnTo>
                  <a:lnTo>
                    <a:pt x="11" y="2"/>
                  </a:lnTo>
                  <a:lnTo>
                    <a:pt x="10" y="2"/>
                  </a:lnTo>
                  <a:lnTo>
                    <a:pt x="10" y="2"/>
                  </a:lnTo>
                  <a:lnTo>
                    <a:pt x="10" y="2"/>
                  </a:lnTo>
                  <a:lnTo>
                    <a:pt x="10" y="2"/>
                  </a:lnTo>
                  <a:lnTo>
                    <a:pt x="10" y="2"/>
                  </a:lnTo>
                  <a:lnTo>
                    <a:pt x="10" y="0"/>
                  </a:lnTo>
                  <a:lnTo>
                    <a:pt x="10" y="0"/>
                  </a:lnTo>
                  <a:lnTo>
                    <a:pt x="10" y="0"/>
                  </a:lnTo>
                  <a:lnTo>
                    <a:pt x="10" y="0"/>
                  </a:lnTo>
                  <a:lnTo>
                    <a:pt x="10" y="0"/>
                  </a:lnTo>
                  <a:lnTo>
                    <a:pt x="11" y="0"/>
                  </a:lnTo>
                  <a:lnTo>
                    <a:pt x="11" y="0"/>
                  </a:lnTo>
                  <a:lnTo>
                    <a:pt x="11" y="0"/>
                  </a:lnTo>
                  <a:lnTo>
                    <a:pt x="11" y="0"/>
                  </a:lnTo>
                  <a:lnTo>
                    <a:pt x="11" y="0"/>
                  </a:lnTo>
                  <a:lnTo>
                    <a:pt x="11" y="0"/>
                  </a:lnTo>
                  <a:lnTo>
                    <a:pt x="11" y="2"/>
                  </a:lnTo>
                  <a:lnTo>
                    <a:pt x="12" y="2"/>
                  </a:lnTo>
                  <a:lnTo>
                    <a:pt x="12" y="2"/>
                  </a:lnTo>
                  <a:lnTo>
                    <a:pt x="13" y="3"/>
                  </a:lnTo>
                  <a:lnTo>
                    <a:pt x="13" y="4"/>
                  </a:lnTo>
                  <a:lnTo>
                    <a:pt x="13" y="4"/>
                  </a:lnTo>
                  <a:lnTo>
                    <a:pt x="14" y="5"/>
                  </a:lnTo>
                  <a:lnTo>
                    <a:pt x="18" y="8"/>
                  </a:lnTo>
                  <a:lnTo>
                    <a:pt x="18" y="8"/>
                  </a:lnTo>
                  <a:lnTo>
                    <a:pt x="18" y="8"/>
                  </a:lnTo>
                  <a:lnTo>
                    <a:pt x="19" y="8"/>
                  </a:lnTo>
                  <a:lnTo>
                    <a:pt x="19" y="9"/>
                  </a:lnTo>
                  <a:lnTo>
                    <a:pt x="19" y="9"/>
                  </a:lnTo>
                  <a:lnTo>
                    <a:pt x="19" y="9"/>
                  </a:lnTo>
                  <a:lnTo>
                    <a:pt x="20" y="9"/>
                  </a:lnTo>
                  <a:lnTo>
                    <a:pt x="20" y="10"/>
                  </a:lnTo>
                  <a:lnTo>
                    <a:pt x="21" y="11"/>
                  </a:lnTo>
                  <a:lnTo>
                    <a:pt x="23" y="11"/>
                  </a:lnTo>
                  <a:lnTo>
                    <a:pt x="23" y="11"/>
                  </a:lnTo>
                  <a:lnTo>
                    <a:pt x="23" y="12"/>
                  </a:lnTo>
                  <a:lnTo>
                    <a:pt x="24" y="13"/>
                  </a:lnTo>
                  <a:lnTo>
                    <a:pt x="24" y="13"/>
                  </a:lnTo>
                  <a:lnTo>
                    <a:pt x="25" y="17"/>
                  </a:lnTo>
                  <a:lnTo>
                    <a:pt x="25" y="18"/>
                  </a:lnTo>
                  <a:lnTo>
                    <a:pt x="25" y="18"/>
                  </a:lnTo>
                  <a:lnTo>
                    <a:pt x="25" y="18"/>
                  </a:lnTo>
                  <a:lnTo>
                    <a:pt x="25" y="18"/>
                  </a:lnTo>
                  <a:lnTo>
                    <a:pt x="25" y="19"/>
                  </a:lnTo>
                  <a:lnTo>
                    <a:pt x="25" y="19"/>
                  </a:lnTo>
                  <a:lnTo>
                    <a:pt x="25" y="19"/>
                  </a:lnTo>
                  <a:lnTo>
                    <a:pt x="25" y="19"/>
                  </a:lnTo>
                  <a:lnTo>
                    <a:pt x="25" y="19"/>
                  </a:lnTo>
                  <a:lnTo>
                    <a:pt x="25" y="19"/>
                  </a:lnTo>
                  <a:lnTo>
                    <a:pt x="26" y="19"/>
                  </a:lnTo>
                  <a:lnTo>
                    <a:pt x="26" y="19"/>
                  </a:lnTo>
                  <a:lnTo>
                    <a:pt x="26" y="19"/>
                  </a:lnTo>
                  <a:lnTo>
                    <a:pt x="26" y="18"/>
                  </a:lnTo>
                  <a:lnTo>
                    <a:pt x="27" y="19"/>
                  </a:lnTo>
                  <a:lnTo>
                    <a:pt x="30" y="23"/>
                  </a:lnTo>
                  <a:lnTo>
                    <a:pt x="31" y="24"/>
                  </a:lnTo>
                  <a:lnTo>
                    <a:pt x="31" y="25"/>
                  </a:lnTo>
                  <a:lnTo>
                    <a:pt x="31" y="25"/>
                  </a:lnTo>
                  <a:lnTo>
                    <a:pt x="32" y="26"/>
                  </a:lnTo>
                  <a:lnTo>
                    <a:pt x="32" y="28"/>
                  </a:lnTo>
                  <a:lnTo>
                    <a:pt x="32" y="28"/>
                  </a:lnTo>
                  <a:lnTo>
                    <a:pt x="32" y="28"/>
                  </a:lnTo>
                  <a:lnTo>
                    <a:pt x="32" y="28"/>
                  </a:lnTo>
                  <a:lnTo>
                    <a:pt x="32" y="28"/>
                  </a:lnTo>
                  <a:lnTo>
                    <a:pt x="31" y="28"/>
                  </a:lnTo>
                  <a:lnTo>
                    <a:pt x="31" y="28"/>
                  </a:lnTo>
                  <a:lnTo>
                    <a:pt x="31" y="26"/>
                  </a:lnTo>
                  <a:lnTo>
                    <a:pt x="31" y="26"/>
                  </a:lnTo>
                  <a:lnTo>
                    <a:pt x="31" y="26"/>
                  </a:lnTo>
                  <a:lnTo>
                    <a:pt x="31" y="26"/>
                  </a:lnTo>
                  <a:lnTo>
                    <a:pt x="31" y="26"/>
                  </a:lnTo>
                  <a:lnTo>
                    <a:pt x="31" y="26"/>
                  </a:lnTo>
                  <a:lnTo>
                    <a:pt x="30" y="28"/>
                  </a:lnTo>
                  <a:lnTo>
                    <a:pt x="30" y="28"/>
                  </a:lnTo>
                  <a:lnTo>
                    <a:pt x="30" y="28"/>
                  </a:lnTo>
                  <a:lnTo>
                    <a:pt x="30" y="28"/>
                  </a:lnTo>
                  <a:lnTo>
                    <a:pt x="30" y="28"/>
                  </a:lnTo>
                  <a:lnTo>
                    <a:pt x="30" y="29"/>
                  </a:lnTo>
                  <a:lnTo>
                    <a:pt x="31" y="29"/>
                  </a:lnTo>
                  <a:lnTo>
                    <a:pt x="32" y="29"/>
                  </a:lnTo>
                  <a:lnTo>
                    <a:pt x="32" y="29"/>
                  </a:lnTo>
                  <a:lnTo>
                    <a:pt x="32" y="29"/>
                  </a:lnTo>
                  <a:lnTo>
                    <a:pt x="32" y="29"/>
                  </a:lnTo>
                  <a:lnTo>
                    <a:pt x="32" y="29"/>
                  </a:lnTo>
                  <a:lnTo>
                    <a:pt x="32" y="29"/>
                  </a:lnTo>
                  <a:lnTo>
                    <a:pt x="33" y="29"/>
                  </a:lnTo>
                  <a:lnTo>
                    <a:pt x="32" y="29"/>
                  </a:lnTo>
                  <a:lnTo>
                    <a:pt x="32" y="28"/>
                  </a:lnTo>
                  <a:lnTo>
                    <a:pt x="32" y="28"/>
                  </a:lnTo>
                  <a:lnTo>
                    <a:pt x="32" y="28"/>
                  </a:lnTo>
                  <a:lnTo>
                    <a:pt x="33" y="28"/>
                  </a:lnTo>
                  <a:lnTo>
                    <a:pt x="33" y="28"/>
                  </a:lnTo>
                  <a:lnTo>
                    <a:pt x="33" y="28"/>
                  </a:lnTo>
                  <a:lnTo>
                    <a:pt x="34" y="28"/>
                  </a:lnTo>
                  <a:lnTo>
                    <a:pt x="34" y="29"/>
                  </a:lnTo>
                  <a:lnTo>
                    <a:pt x="34" y="29"/>
                  </a:lnTo>
                  <a:lnTo>
                    <a:pt x="34" y="30"/>
                  </a:lnTo>
                  <a:lnTo>
                    <a:pt x="34" y="30"/>
                  </a:lnTo>
                  <a:lnTo>
                    <a:pt x="36" y="33"/>
                  </a:lnTo>
                  <a:lnTo>
                    <a:pt x="36" y="35"/>
                  </a:lnTo>
                  <a:lnTo>
                    <a:pt x="36" y="35"/>
                  </a:lnTo>
                  <a:lnTo>
                    <a:pt x="36" y="35"/>
                  </a:lnTo>
                  <a:lnTo>
                    <a:pt x="36" y="35"/>
                  </a:lnTo>
                  <a:lnTo>
                    <a:pt x="36" y="36"/>
                  </a:lnTo>
                  <a:lnTo>
                    <a:pt x="36" y="36"/>
                  </a:lnTo>
                  <a:lnTo>
                    <a:pt x="38" y="38"/>
                  </a:lnTo>
                  <a:lnTo>
                    <a:pt x="39" y="42"/>
                  </a:lnTo>
                  <a:lnTo>
                    <a:pt x="41" y="43"/>
                  </a:lnTo>
                  <a:lnTo>
                    <a:pt x="41" y="43"/>
                  </a:lnTo>
                  <a:lnTo>
                    <a:pt x="41" y="43"/>
                  </a:lnTo>
                  <a:lnTo>
                    <a:pt x="41" y="44"/>
                  </a:lnTo>
                  <a:lnTo>
                    <a:pt x="41" y="44"/>
                  </a:lnTo>
                  <a:lnTo>
                    <a:pt x="41" y="44"/>
                  </a:lnTo>
                  <a:lnTo>
                    <a:pt x="41" y="44"/>
                  </a:lnTo>
                  <a:lnTo>
                    <a:pt x="41" y="45"/>
                  </a:lnTo>
                  <a:lnTo>
                    <a:pt x="41" y="45"/>
                  </a:lnTo>
                  <a:lnTo>
                    <a:pt x="41" y="45"/>
                  </a:lnTo>
                  <a:lnTo>
                    <a:pt x="43" y="46"/>
                  </a:lnTo>
                  <a:lnTo>
                    <a:pt x="43" y="46"/>
                  </a:lnTo>
                  <a:lnTo>
                    <a:pt x="43" y="48"/>
                  </a:lnTo>
                  <a:lnTo>
                    <a:pt x="43" y="49"/>
                  </a:lnTo>
                  <a:lnTo>
                    <a:pt x="43" y="49"/>
                  </a:lnTo>
                  <a:lnTo>
                    <a:pt x="43" y="49"/>
                  </a:lnTo>
                  <a:lnTo>
                    <a:pt x="44" y="50"/>
                  </a:lnTo>
                  <a:lnTo>
                    <a:pt x="44" y="50"/>
                  </a:lnTo>
                  <a:lnTo>
                    <a:pt x="44" y="49"/>
                  </a:lnTo>
                  <a:lnTo>
                    <a:pt x="44" y="49"/>
                  </a:lnTo>
                  <a:lnTo>
                    <a:pt x="44" y="49"/>
                  </a:lnTo>
                  <a:lnTo>
                    <a:pt x="44" y="49"/>
                  </a:lnTo>
                  <a:lnTo>
                    <a:pt x="45" y="50"/>
                  </a:lnTo>
                  <a:lnTo>
                    <a:pt x="45" y="51"/>
                  </a:lnTo>
                  <a:lnTo>
                    <a:pt x="45" y="51"/>
                  </a:lnTo>
                  <a:lnTo>
                    <a:pt x="45" y="52"/>
                  </a:lnTo>
                  <a:lnTo>
                    <a:pt x="45" y="52"/>
                  </a:lnTo>
                  <a:lnTo>
                    <a:pt x="45" y="55"/>
                  </a:lnTo>
                  <a:lnTo>
                    <a:pt x="46" y="58"/>
                  </a:lnTo>
                  <a:lnTo>
                    <a:pt x="46" y="58"/>
                  </a:lnTo>
                  <a:lnTo>
                    <a:pt x="45" y="59"/>
                  </a:lnTo>
                  <a:lnTo>
                    <a:pt x="45" y="62"/>
                  </a:lnTo>
                  <a:lnTo>
                    <a:pt x="45" y="63"/>
                  </a:lnTo>
                  <a:lnTo>
                    <a:pt x="44" y="65"/>
                  </a:lnTo>
                  <a:lnTo>
                    <a:pt x="44" y="65"/>
                  </a:lnTo>
                  <a:lnTo>
                    <a:pt x="44" y="65"/>
                  </a:lnTo>
                  <a:lnTo>
                    <a:pt x="44" y="66"/>
                  </a:lnTo>
                  <a:lnTo>
                    <a:pt x="44" y="66"/>
                  </a:lnTo>
                  <a:lnTo>
                    <a:pt x="44" y="66"/>
                  </a:lnTo>
                  <a:lnTo>
                    <a:pt x="44" y="66"/>
                  </a:lnTo>
                  <a:lnTo>
                    <a:pt x="44" y="66"/>
                  </a:lnTo>
                  <a:lnTo>
                    <a:pt x="43" y="69"/>
                  </a:lnTo>
                  <a:lnTo>
                    <a:pt x="43" y="69"/>
                  </a:lnTo>
                  <a:lnTo>
                    <a:pt x="41" y="70"/>
                  </a:lnTo>
                  <a:lnTo>
                    <a:pt x="41" y="70"/>
                  </a:lnTo>
                  <a:lnTo>
                    <a:pt x="40" y="71"/>
                  </a:lnTo>
                  <a:lnTo>
                    <a:pt x="37" y="73"/>
                  </a:lnTo>
                  <a:lnTo>
                    <a:pt x="36" y="75"/>
                  </a:lnTo>
                  <a:lnTo>
                    <a:pt x="36" y="75"/>
                  </a:lnTo>
                  <a:lnTo>
                    <a:pt x="31" y="77"/>
                  </a:lnTo>
                  <a:lnTo>
                    <a:pt x="30" y="77"/>
                  </a:lnTo>
                  <a:lnTo>
                    <a:pt x="30" y="77"/>
                  </a:lnTo>
                  <a:lnTo>
                    <a:pt x="27" y="78"/>
                  </a:lnTo>
                  <a:lnTo>
                    <a:pt x="26" y="78"/>
                  </a:lnTo>
                  <a:lnTo>
                    <a:pt x="26" y="78"/>
                  </a:lnTo>
                  <a:lnTo>
                    <a:pt x="25" y="79"/>
                  </a:lnTo>
                  <a:lnTo>
                    <a:pt x="25" y="79"/>
                  </a:lnTo>
                  <a:lnTo>
                    <a:pt x="24" y="79"/>
                  </a:lnTo>
                  <a:lnTo>
                    <a:pt x="21" y="80"/>
                  </a:lnTo>
                  <a:lnTo>
                    <a:pt x="21" y="80"/>
                  </a:lnTo>
                  <a:close/>
                  <a:moveTo>
                    <a:pt x="41" y="44"/>
                  </a:moveTo>
                  <a:lnTo>
                    <a:pt x="41" y="45"/>
                  </a:lnTo>
                  <a:lnTo>
                    <a:pt x="41" y="45"/>
                  </a:lnTo>
                  <a:lnTo>
                    <a:pt x="41" y="44"/>
                  </a:lnTo>
                  <a:lnTo>
                    <a:pt x="41" y="44"/>
                  </a:lnTo>
                  <a:lnTo>
                    <a:pt x="41" y="44"/>
                  </a:lnTo>
                  <a:lnTo>
                    <a:pt x="41" y="44"/>
                  </a:lnTo>
                  <a:lnTo>
                    <a:pt x="41" y="44"/>
                  </a:lnTo>
                  <a:lnTo>
                    <a:pt x="41" y="44"/>
                  </a:lnTo>
                  <a:lnTo>
                    <a:pt x="41" y="44"/>
                  </a:lnTo>
                  <a:lnTo>
                    <a:pt x="41" y="44"/>
                  </a:lnTo>
                  <a:lnTo>
                    <a:pt x="41" y="44"/>
                  </a:lnTo>
                  <a:lnTo>
                    <a:pt x="41" y="44"/>
                  </a:lnTo>
                  <a:close/>
                  <a:moveTo>
                    <a:pt x="44" y="49"/>
                  </a:moveTo>
                  <a:lnTo>
                    <a:pt x="44" y="49"/>
                  </a:lnTo>
                  <a:lnTo>
                    <a:pt x="43" y="49"/>
                  </a:lnTo>
                  <a:lnTo>
                    <a:pt x="43" y="49"/>
                  </a:lnTo>
                  <a:lnTo>
                    <a:pt x="43" y="49"/>
                  </a:lnTo>
                  <a:lnTo>
                    <a:pt x="43" y="46"/>
                  </a:lnTo>
                  <a:lnTo>
                    <a:pt x="43" y="46"/>
                  </a:lnTo>
                  <a:lnTo>
                    <a:pt x="43" y="45"/>
                  </a:lnTo>
                  <a:lnTo>
                    <a:pt x="41" y="44"/>
                  </a:lnTo>
                  <a:lnTo>
                    <a:pt x="41" y="44"/>
                  </a:lnTo>
                  <a:lnTo>
                    <a:pt x="41" y="43"/>
                  </a:lnTo>
                  <a:lnTo>
                    <a:pt x="41" y="44"/>
                  </a:lnTo>
                  <a:lnTo>
                    <a:pt x="41" y="44"/>
                  </a:lnTo>
                  <a:lnTo>
                    <a:pt x="41" y="44"/>
                  </a:lnTo>
                  <a:lnTo>
                    <a:pt x="43" y="44"/>
                  </a:lnTo>
                  <a:lnTo>
                    <a:pt x="43" y="45"/>
                  </a:lnTo>
                  <a:lnTo>
                    <a:pt x="43" y="46"/>
                  </a:lnTo>
                  <a:lnTo>
                    <a:pt x="44" y="46"/>
                  </a:lnTo>
                  <a:lnTo>
                    <a:pt x="44" y="46"/>
                  </a:lnTo>
                  <a:lnTo>
                    <a:pt x="44" y="46"/>
                  </a:lnTo>
                  <a:lnTo>
                    <a:pt x="44" y="49"/>
                  </a:lnTo>
                  <a:lnTo>
                    <a:pt x="44" y="49"/>
                  </a:lnTo>
                  <a:lnTo>
                    <a:pt x="44" y="49"/>
                  </a:lnTo>
                  <a:close/>
                  <a:moveTo>
                    <a:pt x="6" y="17"/>
                  </a:moveTo>
                  <a:lnTo>
                    <a:pt x="6" y="18"/>
                  </a:lnTo>
                  <a:lnTo>
                    <a:pt x="5" y="18"/>
                  </a:lnTo>
                  <a:lnTo>
                    <a:pt x="1" y="16"/>
                  </a:lnTo>
                  <a:lnTo>
                    <a:pt x="1" y="16"/>
                  </a:lnTo>
                  <a:lnTo>
                    <a:pt x="1" y="16"/>
                  </a:lnTo>
                  <a:lnTo>
                    <a:pt x="1" y="16"/>
                  </a:lnTo>
                  <a:lnTo>
                    <a:pt x="1" y="16"/>
                  </a:lnTo>
                  <a:lnTo>
                    <a:pt x="1" y="16"/>
                  </a:lnTo>
                  <a:lnTo>
                    <a:pt x="3" y="16"/>
                  </a:lnTo>
                  <a:lnTo>
                    <a:pt x="3" y="16"/>
                  </a:lnTo>
                  <a:lnTo>
                    <a:pt x="3" y="16"/>
                  </a:lnTo>
                  <a:lnTo>
                    <a:pt x="4" y="16"/>
                  </a:lnTo>
                  <a:lnTo>
                    <a:pt x="5" y="16"/>
                  </a:lnTo>
                  <a:lnTo>
                    <a:pt x="5" y="16"/>
                  </a:lnTo>
                  <a:lnTo>
                    <a:pt x="6" y="17"/>
                  </a:lnTo>
                  <a:lnTo>
                    <a:pt x="6" y="17"/>
                  </a:lnTo>
                  <a:lnTo>
                    <a:pt x="6" y="17"/>
                  </a:lnTo>
                  <a:lnTo>
                    <a:pt x="6" y="17"/>
                  </a:lnTo>
                  <a:close/>
                  <a:moveTo>
                    <a:pt x="1" y="8"/>
                  </a:moveTo>
                  <a:lnTo>
                    <a:pt x="1" y="8"/>
                  </a:lnTo>
                  <a:lnTo>
                    <a:pt x="1" y="8"/>
                  </a:lnTo>
                  <a:lnTo>
                    <a:pt x="0" y="8"/>
                  </a:lnTo>
                  <a:lnTo>
                    <a:pt x="0" y="8"/>
                  </a:lnTo>
                  <a:lnTo>
                    <a:pt x="0" y="8"/>
                  </a:lnTo>
                  <a:lnTo>
                    <a:pt x="0" y="8"/>
                  </a:lnTo>
                  <a:lnTo>
                    <a:pt x="0" y="8"/>
                  </a:lnTo>
                  <a:lnTo>
                    <a:pt x="0" y="6"/>
                  </a:lnTo>
                  <a:lnTo>
                    <a:pt x="0" y="6"/>
                  </a:lnTo>
                  <a:lnTo>
                    <a:pt x="0" y="6"/>
                  </a:lnTo>
                  <a:lnTo>
                    <a:pt x="0" y="6"/>
                  </a:lnTo>
                  <a:lnTo>
                    <a:pt x="0" y="6"/>
                  </a:lnTo>
                  <a:lnTo>
                    <a:pt x="1" y="6"/>
                  </a:lnTo>
                  <a:lnTo>
                    <a:pt x="1" y="8"/>
                  </a:lnTo>
                  <a:lnTo>
                    <a:pt x="1" y="8"/>
                  </a:lnTo>
                  <a:lnTo>
                    <a:pt x="1" y="8"/>
                  </a:lnTo>
                  <a:lnTo>
                    <a:pt x="1" y="8"/>
                  </a:lnTo>
                  <a:lnTo>
                    <a:pt x="1" y="8"/>
                  </a:lnTo>
                  <a:lnTo>
                    <a:pt x="1" y="8"/>
                  </a:lnTo>
                  <a:lnTo>
                    <a:pt x="1" y="8"/>
                  </a:lnTo>
                  <a:lnTo>
                    <a:pt x="1" y="8"/>
                  </a:lnTo>
                  <a:close/>
                  <a:moveTo>
                    <a:pt x="6" y="5"/>
                  </a:moveTo>
                  <a:lnTo>
                    <a:pt x="6" y="5"/>
                  </a:lnTo>
                  <a:lnTo>
                    <a:pt x="5" y="5"/>
                  </a:lnTo>
                  <a:lnTo>
                    <a:pt x="5" y="5"/>
                  </a:lnTo>
                  <a:lnTo>
                    <a:pt x="5" y="5"/>
                  </a:lnTo>
                  <a:lnTo>
                    <a:pt x="5" y="4"/>
                  </a:lnTo>
                  <a:lnTo>
                    <a:pt x="4" y="4"/>
                  </a:lnTo>
                  <a:lnTo>
                    <a:pt x="4" y="4"/>
                  </a:lnTo>
                  <a:lnTo>
                    <a:pt x="4" y="3"/>
                  </a:lnTo>
                  <a:lnTo>
                    <a:pt x="4" y="3"/>
                  </a:lnTo>
                  <a:lnTo>
                    <a:pt x="4" y="2"/>
                  </a:lnTo>
                  <a:lnTo>
                    <a:pt x="4" y="2"/>
                  </a:lnTo>
                  <a:lnTo>
                    <a:pt x="4" y="2"/>
                  </a:lnTo>
                  <a:lnTo>
                    <a:pt x="5" y="2"/>
                  </a:lnTo>
                  <a:lnTo>
                    <a:pt x="5" y="3"/>
                  </a:lnTo>
                  <a:lnTo>
                    <a:pt x="5" y="3"/>
                  </a:lnTo>
                  <a:lnTo>
                    <a:pt x="5" y="4"/>
                  </a:lnTo>
                  <a:lnTo>
                    <a:pt x="5" y="4"/>
                  </a:lnTo>
                  <a:lnTo>
                    <a:pt x="6" y="4"/>
                  </a:lnTo>
                  <a:lnTo>
                    <a:pt x="6" y="4"/>
                  </a:lnTo>
                  <a:lnTo>
                    <a:pt x="6" y="4"/>
                  </a:lnTo>
                  <a:lnTo>
                    <a:pt x="6" y="5"/>
                  </a:lnTo>
                  <a:lnTo>
                    <a:pt x="6" y="5"/>
                  </a:lnTo>
                  <a:lnTo>
                    <a:pt x="6" y="5"/>
                  </a:lnTo>
                  <a:lnTo>
                    <a:pt x="6" y="5"/>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273" name="Solom Islands">
              <a:extLst>
                <a:ext uri="{FF2B5EF4-FFF2-40B4-BE49-F238E27FC236}">
                  <a16:creationId xmlns:a16="http://schemas.microsoft.com/office/drawing/2014/main" id="{7BB59491-B4C8-2C43-B995-85F008113CCF}"/>
                </a:ext>
              </a:extLst>
            </p:cNvPr>
            <p:cNvSpPr>
              <a:spLocks noEditPoints="1"/>
            </p:cNvSpPr>
            <p:nvPr/>
          </p:nvSpPr>
          <p:spPr bwMode="auto">
            <a:xfrm>
              <a:off x="10438755" y="4133785"/>
              <a:ext cx="195366" cy="207029"/>
            </a:xfrm>
            <a:custGeom>
              <a:avLst/>
              <a:gdLst>
                <a:gd name="T0" fmla="*/ 40 w 134"/>
                <a:gd name="T1" fmla="*/ 62 h 142"/>
                <a:gd name="T2" fmla="*/ 45 w 134"/>
                <a:gd name="T3" fmla="*/ 63 h 142"/>
                <a:gd name="T4" fmla="*/ 115 w 134"/>
                <a:gd name="T5" fmla="*/ 97 h 142"/>
                <a:gd name="T6" fmla="*/ 106 w 134"/>
                <a:gd name="T7" fmla="*/ 79 h 142"/>
                <a:gd name="T8" fmla="*/ 105 w 134"/>
                <a:gd name="T9" fmla="*/ 73 h 142"/>
                <a:gd name="T10" fmla="*/ 111 w 134"/>
                <a:gd name="T11" fmla="*/ 77 h 142"/>
                <a:gd name="T12" fmla="*/ 111 w 134"/>
                <a:gd name="T13" fmla="*/ 83 h 142"/>
                <a:gd name="T14" fmla="*/ 117 w 134"/>
                <a:gd name="T15" fmla="*/ 96 h 142"/>
                <a:gd name="T16" fmla="*/ 19 w 134"/>
                <a:gd name="T17" fmla="*/ 39 h 142"/>
                <a:gd name="T18" fmla="*/ 11 w 134"/>
                <a:gd name="T19" fmla="*/ 28 h 142"/>
                <a:gd name="T20" fmla="*/ 2 w 134"/>
                <a:gd name="T21" fmla="*/ 19 h 142"/>
                <a:gd name="T22" fmla="*/ 4 w 134"/>
                <a:gd name="T23" fmla="*/ 9 h 142"/>
                <a:gd name="T24" fmla="*/ 14 w 134"/>
                <a:gd name="T25" fmla="*/ 21 h 142"/>
                <a:gd name="T26" fmla="*/ 20 w 134"/>
                <a:gd name="T27" fmla="*/ 28 h 142"/>
                <a:gd name="T28" fmla="*/ 22 w 134"/>
                <a:gd name="T29" fmla="*/ 36 h 142"/>
                <a:gd name="T30" fmla="*/ 19 w 134"/>
                <a:gd name="T31" fmla="*/ 39 h 142"/>
                <a:gd name="T32" fmla="*/ 34 w 134"/>
                <a:gd name="T33" fmla="*/ 59 h 142"/>
                <a:gd name="T34" fmla="*/ 32 w 134"/>
                <a:gd name="T35" fmla="*/ 54 h 142"/>
                <a:gd name="T36" fmla="*/ 38 w 134"/>
                <a:gd name="T37" fmla="*/ 56 h 142"/>
                <a:gd name="T38" fmla="*/ 35 w 134"/>
                <a:gd name="T39" fmla="*/ 61 h 142"/>
                <a:gd name="T40" fmla="*/ 119 w 134"/>
                <a:gd name="T41" fmla="*/ 117 h 142"/>
                <a:gd name="T42" fmla="*/ 115 w 134"/>
                <a:gd name="T43" fmla="*/ 113 h 142"/>
                <a:gd name="T44" fmla="*/ 125 w 134"/>
                <a:gd name="T45" fmla="*/ 116 h 142"/>
                <a:gd name="T46" fmla="*/ 134 w 134"/>
                <a:gd name="T47" fmla="*/ 123 h 142"/>
                <a:gd name="T48" fmla="*/ 55 w 134"/>
                <a:gd name="T49" fmla="*/ 77 h 142"/>
                <a:gd name="T50" fmla="*/ 60 w 134"/>
                <a:gd name="T51" fmla="*/ 74 h 142"/>
                <a:gd name="T52" fmla="*/ 59 w 134"/>
                <a:gd name="T53" fmla="*/ 77 h 142"/>
                <a:gd name="T54" fmla="*/ 0 w 134"/>
                <a:gd name="T55" fmla="*/ 4 h 142"/>
                <a:gd name="T56" fmla="*/ 1 w 134"/>
                <a:gd name="T57" fmla="*/ 0 h 142"/>
                <a:gd name="T58" fmla="*/ 4 w 134"/>
                <a:gd name="T59" fmla="*/ 3 h 142"/>
                <a:gd name="T60" fmla="*/ 104 w 134"/>
                <a:gd name="T61" fmla="*/ 104 h 142"/>
                <a:gd name="T62" fmla="*/ 86 w 134"/>
                <a:gd name="T63" fmla="*/ 96 h 142"/>
                <a:gd name="T64" fmla="*/ 91 w 134"/>
                <a:gd name="T65" fmla="*/ 91 h 142"/>
                <a:gd name="T66" fmla="*/ 104 w 134"/>
                <a:gd name="T67" fmla="*/ 97 h 142"/>
                <a:gd name="T68" fmla="*/ 104 w 134"/>
                <a:gd name="T69" fmla="*/ 104 h 142"/>
                <a:gd name="T70" fmla="*/ 51 w 134"/>
                <a:gd name="T71" fmla="*/ 71 h 142"/>
                <a:gd name="T72" fmla="*/ 51 w 134"/>
                <a:gd name="T73" fmla="*/ 68 h 142"/>
                <a:gd name="T74" fmla="*/ 45 w 134"/>
                <a:gd name="T75" fmla="*/ 66 h 142"/>
                <a:gd name="T76" fmla="*/ 52 w 134"/>
                <a:gd name="T77" fmla="*/ 63 h 142"/>
                <a:gd name="T78" fmla="*/ 55 w 134"/>
                <a:gd name="T79" fmla="*/ 75 h 142"/>
                <a:gd name="T80" fmla="*/ 119 w 134"/>
                <a:gd name="T81" fmla="*/ 101 h 142"/>
                <a:gd name="T82" fmla="*/ 120 w 134"/>
                <a:gd name="T83" fmla="*/ 102 h 142"/>
                <a:gd name="T84" fmla="*/ 97 w 134"/>
                <a:gd name="T85" fmla="*/ 141 h 142"/>
                <a:gd name="T86" fmla="*/ 89 w 134"/>
                <a:gd name="T87" fmla="*/ 135 h 142"/>
                <a:gd name="T88" fmla="*/ 100 w 134"/>
                <a:gd name="T89" fmla="*/ 141 h 142"/>
                <a:gd name="T90" fmla="*/ 49 w 134"/>
                <a:gd name="T91" fmla="*/ 51 h 142"/>
                <a:gd name="T92" fmla="*/ 40 w 134"/>
                <a:gd name="T93" fmla="*/ 47 h 142"/>
                <a:gd name="T94" fmla="*/ 33 w 134"/>
                <a:gd name="T95" fmla="*/ 34 h 142"/>
                <a:gd name="T96" fmla="*/ 46 w 134"/>
                <a:gd name="T97" fmla="*/ 46 h 142"/>
                <a:gd name="T98" fmla="*/ 49 w 134"/>
                <a:gd name="T99" fmla="*/ 51 h 142"/>
                <a:gd name="T100" fmla="*/ 79 w 134"/>
                <a:gd name="T101" fmla="*/ 67 h 142"/>
                <a:gd name="T102" fmla="*/ 68 w 134"/>
                <a:gd name="T103" fmla="*/ 56 h 142"/>
                <a:gd name="T104" fmla="*/ 71 w 134"/>
                <a:gd name="T105" fmla="*/ 55 h 142"/>
                <a:gd name="T106" fmla="*/ 77 w 134"/>
                <a:gd name="T107" fmla="*/ 61 h 142"/>
                <a:gd name="T108" fmla="*/ 92 w 134"/>
                <a:gd name="T109" fmla="*/ 71 h 142"/>
                <a:gd name="T110" fmla="*/ 91 w 134"/>
                <a:gd name="T111" fmla="*/ 76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4" h="142">
                  <a:moveTo>
                    <a:pt x="44" y="64"/>
                  </a:moveTo>
                  <a:lnTo>
                    <a:pt x="41" y="64"/>
                  </a:lnTo>
                  <a:lnTo>
                    <a:pt x="40" y="63"/>
                  </a:lnTo>
                  <a:lnTo>
                    <a:pt x="40" y="62"/>
                  </a:lnTo>
                  <a:lnTo>
                    <a:pt x="40" y="60"/>
                  </a:lnTo>
                  <a:lnTo>
                    <a:pt x="42" y="59"/>
                  </a:lnTo>
                  <a:lnTo>
                    <a:pt x="44" y="61"/>
                  </a:lnTo>
                  <a:lnTo>
                    <a:pt x="45" y="63"/>
                  </a:lnTo>
                  <a:lnTo>
                    <a:pt x="44" y="64"/>
                  </a:lnTo>
                  <a:lnTo>
                    <a:pt x="44" y="64"/>
                  </a:lnTo>
                  <a:close/>
                  <a:moveTo>
                    <a:pt x="118" y="100"/>
                  </a:moveTo>
                  <a:lnTo>
                    <a:pt x="115" y="97"/>
                  </a:lnTo>
                  <a:lnTo>
                    <a:pt x="114" y="94"/>
                  </a:lnTo>
                  <a:lnTo>
                    <a:pt x="108" y="89"/>
                  </a:lnTo>
                  <a:lnTo>
                    <a:pt x="106" y="80"/>
                  </a:lnTo>
                  <a:lnTo>
                    <a:pt x="106" y="79"/>
                  </a:lnTo>
                  <a:lnTo>
                    <a:pt x="107" y="77"/>
                  </a:lnTo>
                  <a:lnTo>
                    <a:pt x="106" y="75"/>
                  </a:lnTo>
                  <a:lnTo>
                    <a:pt x="105" y="73"/>
                  </a:lnTo>
                  <a:lnTo>
                    <a:pt x="105" y="73"/>
                  </a:lnTo>
                  <a:lnTo>
                    <a:pt x="107" y="74"/>
                  </a:lnTo>
                  <a:lnTo>
                    <a:pt x="107" y="73"/>
                  </a:lnTo>
                  <a:lnTo>
                    <a:pt x="108" y="74"/>
                  </a:lnTo>
                  <a:lnTo>
                    <a:pt x="111" y="77"/>
                  </a:lnTo>
                  <a:lnTo>
                    <a:pt x="112" y="79"/>
                  </a:lnTo>
                  <a:lnTo>
                    <a:pt x="112" y="80"/>
                  </a:lnTo>
                  <a:lnTo>
                    <a:pt x="111" y="82"/>
                  </a:lnTo>
                  <a:lnTo>
                    <a:pt x="111" y="83"/>
                  </a:lnTo>
                  <a:lnTo>
                    <a:pt x="112" y="83"/>
                  </a:lnTo>
                  <a:lnTo>
                    <a:pt x="114" y="88"/>
                  </a:lnTo>
                  <a:lnTo>
                    <a:pt x="115" y="93"/>
                  </a:lnTo>
                  <a:lnTo>
                    <a:pt x="117" y="96"/>
                  </a:lnTo>
                  <a:lnTo>
                    <a:pt x="118" y="97"/>
                  </a:lnTo>
                  <a:lnTo>
                    <a:pt x="118" y="100"/>
                  </a:lnTo>
                  <a:lnTo>
                    <a:pt x="118" y="100"/>
                  </a:lnTo>
                  <a:close/>
                  <a:moveTo>
                    <a:pt x="19" y="39"/>
                  </a:moveTo>
                  <a:lnTo>
                    <a:pt x="14" y="36"/>
                  </a:lnTo>
                  <a:lnTo>
                    <a:pt x="9" y="31"/>
                  </a:lnTo>
                  <a:lnTo>
                    <a:pt x="11" y="30"/>
                  </a:lnTo>
                  <a:lnTo>
                    <a:pt x="11" y="28"/>
                  </a:lnTo>
                  <a:lnTo>
                    <a:pt x="11" y="27"/>
                  </a:lnTo>
                  <a:lnTo>
                    <a:pt x="7" y="24"/>
                  </a:lnTo>
                  <a:lnTo>
                    <a:pt x="5" y="21"/>
                  </a:lnTo>
                  <a:lnTo>
                    <a:pt x="2" y="19"/>
                  </a:lnTo>
                  <a:lnTo>
                    <a:pt x="2" y="14"/>
                  </a:lnTo>
                  <a:lnTo>
                    <a:pt x="4" y="11"/>
                  </a:lnTo>
                  <a:lnTo>
                    <a:pt x="2" y="9"/>
                  </a:lnTo>
                  <a:lnTo>
                    <a:pt x="4" y="9"/>
                  </a:lnTo>
                  <a:lnTo>
                    <a:pt x="6" y="11"/>
                  </a:lnTo>
                  <a:lnTo>
                    <a:pt x="9" y="11"/>
                  </a:lnTo>
                  <a:lnTo>
                    <a:pt x="13" y="19"/>
                  </a:lnTo>
                  <a:lnTo>
                    <a:pt x="14" y="21"/>
                  </a:lnTo>
                  <a:lnTo>
                    <a:pt x="15" y="23"/>
                  </a:lnTo>
                  <a:lnTo>
                    <a:pt x="18" y="24"/>
                  </a:lnTo>
                  <a:lnTo>
                    <a:pt x="18" y="26"/>
                  </a:lnTo>
                  <a:lnTo>
                    <a:pt x="20" y="28"/>
                  </a:lnTo>
                  <a:lnTo>
                    <a:pt x="22" y="31"/>
                  </a:lnTo>
                  <a:lnTo>
                    <a:pt x="24" y="35"/>
                  </a:lnTo>
                  <a:lnTo>
                    <a:pt x="22" y="36"/>
                  </a:lnTo>
                  <a:lnTo>
                    <a:pt x="22" y="36"/>
                  </a:lnTo>
                  <a:lnTo>
                    <a:pt x="22" y="35"/>
                  </a:lnTo>
                  <a:lnTo>
                    <a:pt x="22" y="37"/>
                  </a:lnTo>
                  <a:lnTo>
                    <a:pt x="21" y="36"/>
                  </a:lnTo>
                  <a:lnTo>
                    <a:pt x="19" y="39"/>
                  </a:lnTo>
                  <a:lnTo>
                    <a:pt x="19" y="39"/>
                  </a:lnTo>
                  <a:close/>
                  <a:moveTo>
                    <a:pt x="35" y="61"/>
                  </a:moveTo>
                  <a:lnTo>
                    <a:pt x="34" y="61"/>
                  </a:lnTo>
                  <a:lnTo>
                    <a:pt x="34" y="59"/>
                  </a:lnTo>
                  <a:lnTo>
                    <a:pt x="34" y="59"/>
                  </a:lnTo>
                  <a:lnTo>
                    <a:pt x="33" y="56"/>
                  </a:lnTo>
                  <a:lnTo>
                    <a:pt x="32" y="56"/>
                  </a:lnTo>
                  <a:lnTo>
                    <a:pt x="32" y="54"/>
                  </a:lnTo>
                  <a:lnTo>
                    <a:pt x="33" y="53"/>
                  </a:lnTo>
                  <a:lnTo>
                    <a:pt x="35" y="54"/>
                  </a:lnTo>
                  <a:lnTo>
                    <a:pt x="37" y="56"/>
                  </a:lnTo>
                  <a:lnTo>
                    <a:pt x="38" y="56"/>
                  </a:lnTo>
                  <a:lnTo>
                    <a:pt x="38" y="57"/>
                  </a:lnTo>
                  <a:lnTo>
                    <a:pt x="35" y="59"/>
                  </a:lnTo>
                  <a:lnTo>
                    <a:pt x="35" y="61"/>
                  </a:lnTo>
                  <a:lnTo>
                    <a:pt x="35" y="61"/>
                  </a:lnTo>
                  <a:close/>
                  <a:moveTo>
                    <a:pt x="133" y="124"/>
                  </a:moveTo>
                  <a:lnTo>
                    <a:pt x="125" y="122"/>
                  </a:lnTo>
                  <a:lnTo>
                    <a:pt x="120" y="118"/>
                  </a:lnTo>
                  <a:lnTo>
                    <a:pt x="119" y="117"/>
                  </a:lnTo>
                  <a:lnTo>
                    <a:pt x="119" y="116"/>
                  </a:lnTo>
                  <a:lnTo>
                    <a:pt x="118" y="115"/>
                  </a:lnTo>
                  <a:lnTo>
                    <a:pt x="119" y="114"/>
                  </a:lnTo>
                  <a:lnTo>
                    <a:pt x="115" y="113"/>
                  </a:lnTo>
                  <a:lnTo>
                    <a:pt x="115" y="110"/>
                  </a:lnTo>
                  <a:lnTo>
                    <a:pt x="115" y="110"/>
                  </a:lnTo>
                  <a:lnTo>
                    <a:pt x="118" y="110"/>
                  </a:lnTo>
                  <a:lnTo>
                    <a:pt x="125" y="116"/>
                  </a:lnTo>
                  <a:lnTo>
                    <a:pt x="129" y="116"/>
                  </a:lnTo>
                  <a:lnTo>
                    <a:pt x="132" y="121"/>
                  </a:lnTo>
                  <a:lnTo>
                    <a:pt x="132" y="123"/>
                  </a:lnTo>
                  <a:lnTo>
                    <a:pt x="134" y="123"/>
                  </a:lnTo>
                  <a:lnTo>
                    <a:pt x="133" y="124"/>
                  </a:lnTo>
                  <a:lnTo>
                    <a:pt x="133" y="124"/>
                  </a:lnTo>
                  <a:close/>
                  <a:moveTo>
                    <a:pt x="58" y="79"/>
                  </a:moveTo>
                  <a:lnTo>
                    <a:pt x="55" y="77"/>
                  </a:lnTo>
                  <a:lnTo>
                    <a:pt x="55" y="75"/>
                  </a:lnTo>
                  <a:lnTo>
                    <a:pt x="58" y="73"/>
                  </a:lnTo>
                  <a:lnTo>
                    <a:pt x="58" y="74"/>
                  </a:lnTo>
                  <a:lnTo>
                    <a:pt x="60" y="74"/>
                  </a:lnTo>
                  <a:lnTo>
                    <a:pt x="60" y="75"/>
                  </a:lnTo>
                  <a:lnTo>
                    <a:pt x="59" y="75"/>
                  </a:lnTo>
                  <a:lnTo>
                    <a:pt x="60" y="76"/>
                  </a:lnTo>
                  <a:lnTo>
                    <a:pt x="59" y="77"/>
                  </a:lnTo>
                  <a:lnTo>
                    <a:pt x="58" y="79"/>
                  </a:lnTo>
                  <a:lnTo>
                    <a:pt x="58" y="79"/>
                  </a:lnTo>
                  <a:close/>
                  <a:moveTo>
                    <a:pt x="1" y="9"/>
                  </a:moveTo>
                  <a:lnTo>
                    <a:pt x="0" y="4"/>
                  </a:lnTo>
                  <a:lnTo>
                    <a:pt x="1" y="2"/>
                  </a:lnTo>
                  <a:lnTo>
                    <a:pt x="0" y="2"/>
                  </a:lnTo>
                  <a:lnTo>
                    <a:pt x="1" y="1"/>
                  </a:lnTo>
                  <a:lnTo>
                    <a:pt x="1" y="0"/>
                  </a:lnTo>
                  <a:lnTo>
                    <a:pt x="2" y="1"/>
                  </a:lnTo>
                  <a:lnTo>
                    <a:pt x="2" y="2"/>
                  </a:lnTo>
                  <a:lnTo>
                    <a:pt x="2" y="3"/>
                  </a:lnTo>
                  <a:lnTo>
                    <a:pt x="4" y="3"/>
                  </a:lnTo>
                  <a:lnTo>
                    <a:pt x="2" y="8"/>
                  </a:lnTo>
                  <a:lnTo>
                    <a:pt x="1" y="9"/>
                  </a:lnTo>
                  <a:lnTo>
                    <a:pt x="1" y="9"/>
                  </a:lnTo>
                  <a:close/>
                  <a:moveTo>
                    <a:pt x="104" y="104"/>
                  </a:moveTo>
                  <a:lnTo>
                    <a:pt x="97" y="101"/>
                  </a:lnTo>
                  <a:lnTo>
                    <a:pt x="92" y="101"/>
                  </a:lnTo>
                  <a:lnTo>
                    <a:pt x="88" y="100"/>
                  </a:lnTo>
                  <a:lnTo>
                    <a:pt x="86" y="96"/>
                  </a:lnTo>
                  <a:lnTo>
                    <a:pt x="86" y="94"/>
                  </a:lnTo>
                  <a:lnTo>
                    <a:pt x="86" y="91"/>
                  </a:lnTo>
                  <a:lnTo>
                    <a:pt x="87" y="90"/>
                  </a:lnTo>
                  <a:lnTo>
                    <a:pt x="91" y="91"/>
                  </a:lnTo>
                  <a:lnTo>
                    <a:pt x="91" y="94"/>
                  </a:lnTo>
                  <a:lnTo>
                    <a:pt x="93" y="94"/>
                  </a:lnTo>
                  <a:lnTo>
                    <a:pt x="99" y="94"/>
                  </a:lnTo>
                  <a:lnTo>
                    <a:pt x="104" y="97"/>
                  </a:lnTo>
                  <a:lnTo>
                    <a:pt x="106" y="100"/>
                  </a:lnTo>
                  <a:lnTo>
                    <a:pt x="107" y="101"/>
                  </a:lnTo>
                  <a:lnTo>
                    <a:pt x="107" y="103"/>
                  </a:lnTo>
                  <a:lnTo>
                    <a:pt x="104" y="104"/>
                  </a:lnTo>
                  <a:lnTo>
                    <a:pt x="104" y="104"/>
                  </a:lnTo>
                  <a:close/>
                  <a:moveTo>
                    <a:pt x="55" y="75"/>
                  </a:moveTo>
                  <a:lnTo>
                    <a:pt x="54" y="74"/>
                  </a:lnTo>
                  <a:lnTo>
                    <a:pt x="51" y="71"/>
                  </a:lnTo>
                  <a:lnTo>
                    <a:pt x="51" y="70"/>
                  </a:lnTo>
                  <a:lnTo>
                    <a:pt x="52" y="71"/>
                  </a:lnTo>
                  <a:lnTo>
                    <a:pt x="52" y="70"/>
                  </a:lnTo>
                  <a:lnTo>
                    <a:pt x="51" y="68"/>
                  </a:lnTo>
                  <a:lnTo>
                    <a:pt x="46" y="69"/>
                  </a:lnTo>
                  <a:lnTo>
                    <a:pt x="45" y="69"/>
                  </a:lnTo>
                  <a:lnTo>
                    <a:pt x="45" y="68"/>
                  </a:lnTo>
                  <a:lnTo>
                    <a:pt x="45" y="66"/>
                  </a:lnTo>
                  <a:lnTo>
                    <a:pt x="46" y="66"/>
                  </a:lnTo>
                  <a:lnTo>
                    <a:pt x="48" y="62"/>
                  </a:lnTo>
                  <a:lnTo>
                    <a:pt x="49" y="62"/>
                  </a:lnTo>
                  <a:lnTo>
                    <a:pt x="52" y="63"/>
                  </a:lnTo>
                  <a:lnTo>
                    <a:pt x="52" y="67"/>
                  </a:lnTo>
                  <a:lnTo>
                    <a:pt x="54" y="68"/>
                  </a:lnTo>
                  <a:lnTo>
                    <a:pt x="57" y="73"/>
                  </a:lnTo>
                  <a:lnTo>
                    <a:pt x="55" y="75"/>
                  </a:lnTo>
                  <a:lnTo>
                    <a:pt x="55" y="75"/>
                  </a:lnTo>
                  <a:close/>
                  <a:moveTo>
                    <a:pt x="120" y="102"/>
                  </a:moveTo>
                  <a:lnTo>
                    <a:pt x="119" y="101"/>
                  </a:lnTo>
                  <a:lnTo>
                    <a:pt x="119" y="101"/>
                  </a:lnTo>
                  <a:lnTo>
                    <a:pt x="118" y="100"/>
                  </a:lnTo>
                  <a:lnTo>
                    <a:pt x="118" y="94"/>
                  </a:lnTo>
                  <a:lnTo>
                    <a:pt x="120" y="100"/>
                  </a:lnTo>
                  <a:lnTo>
                    <a:pt x="120" y="102"/>
                  </a:lnTo>
                  <a:lnTo>
                    <a:pt x="120" y="102"/>
                  </a:lnTo>
                  <a:lnTo>
                    <a:pt x="120" y="102"/>
                  </a:lnTo>
                  <a:close/>
                  <a:moveTo>
                    <a:pt x="99" y="142"/>
                  </a:moveTo>
                  <a:lnTo>
                    <a:pt x="97" y="141"/>
                  </a:lnTo>
                  <a:lnTo>
                    <a:pt x="97" y="140"/>
                  </a:lnTo>
                  <a:lnTo>
                    <a:pt x="94" y="137"/>
                  </a:lnTo>
                  <a:lnTo>
                    <a:pt x="92" y="137"/>
                  </a:lnTo>
                  <a:lnTo>
                    <a:pt x="89" y="135"/>
                  </a:lnTo>
                  <a:lnTo>
                    <a:pt x="89" y="135"/>
                  </a:lnTo>
                  <a:lnTo>
                    <a:pt x="91" y="134"/>
                  </a:lnTo>
                  <a:lnTo>
                    <a:pt x="98" y="138"/>
                  </a:lnTo>
                  <a:lnTo>
                    <a:pt x="100" y="141"/>
                  </a:lnTo>
                  <a:lnTo>
                    <a:pt x="99" y="141"/>
                  </a:lnTo>
                  <a:lnTo>
                    <a:pt x="99" y="142"/>
                  </a:lnTo>
                  <a:lnTo>
                    <a:pt x="99" y="142"/>
                  </a:lnTo>
                  <a:close/>
                  <a:moveTo>
                    <a:pt x="49" y="51"/>
                  </a:moveTo>
                  <a:lnTo>
                    <a:pt x="46" y="49"/>
                  </a:lnTo>
                  <a:lnTo>
                    <a:pt x="44" y="49"/>
                  </a:lnTo>
                  <a:lnTo>
                    <a:pt x="42" y="48"/>
                  </a:lnTo>
                  <a:lnTo>
                    <a:pt x="40" y="47"/>
                  </a:lnTo>
                  <a:lnTo>
                    <a:pt x="35" y="40"/>
                  </a:lnTo>
                  <a:lnTo>
                    <a:pt x="33" y="36"/>
                  </a:lnTo>
                  <a:lnTo>
                    <a:pt x="32" y="34"/>
                  </a:lnTo>
                  <a:lnTo>
                    <a:pt x="33" y="34"/>
                  </a:lnTo>
                  <a:lnTo>
                    <a:pt x="37" y="35"/>
                  </a:lnTo>
                  <a:lnTo>
                    <a:pt x="40" y="39"/>
                  </a:lnTo>
                  <a:lnTo>
                    <a:pt x="44" y="42"/>
                  </a:lnTo>
                  <a:lnTo>
                    <a:pt x="46" y="46"/>
                  </a:lnTo>
                  <a:lnTo>
                    <a:pt x="49" y="49"/>
                  </a:lnTo>
                  <a:lnTo>
                    <a:pt x="51" y="49"/>
                  </a:lnTo>
                  <a:lnTo>
                    <a:pt x="51" y="50"/>
                  </a:lnTo>
                  <a:lnTo>
                    <a:pt x="49" y="51"/>
                  </a:lnTo>
                  <a:lnTo>
                    <a:pt x="49" y="51"/>
                  </a:lnTo>
                  <a:close/>
                  <a:moveTo>
                    <a:pt x="91" y="76"/>
                  </a:moveTo>
                  <a:lnTo>
                    <a:pt x="86" y="71"/>
                  </a:lnTo>
                  <a:lnTo>
                    <a:pt x="79" y="67"/>
                  </a:lnTo>
                  <a:lnTo>
                    <a:pt x="73" y="62"/>
                  </a:lnTo>
                  <a:lnTo>
                    <a:pt x="71" y="60"/>
                  </a:lnTo>
                  <a:lnTo>
                    <a:pt x="69" y="59"/>
                  </a:lnTo>
                  <a:lnTo>
                    <a:pt x="68" y="56"/>
                  </a:lnTo>
                  <a:lnTo>
                    <a:pt x="67" y="55"/>
                  </a:lnTo>
                  <a:lnTo>
                    <a:pt x="67" y="54"/>
                  </a:lnTo>
                  <a:lnTo>
                    <a:pt x="69" y="56"/>
                  </a:lnTo>
                  <a:lnTo>
                    <a:pt x="71" y="55"/>
                  </a:lnTo>
                  <a:lnTo>
                    <a:pt x="72" y="56"/>
                  </a:lnTo>
                  <a:lnTo>
                    <a:pt x="73" y="56"/>
                  </a:lnTo>
                  <a:lnTo>
                    <a:pt x="75" y="59"/>
                  </a:lnTo>
                  <a:lnTo>
                    <a:pt x="77" y="61"/>
                  </a:lnTo>
                  <a:lnTo>
                    <a:pt x="77" y="61"/>
                  </a:lnTo>
                  <a:lnTo>
                    <a:pt x="84" y="64"/>
                  </a:lnTo>
                  <a:lnTo>
                    <a:pt x="86" y="67"/>
                  </a:lnTo>
                  <a:lnTo>
                    <a:pt x="92" y="71"/>
                  </a:lnTo>
                  <a:lnTo>
                    <a:pt x="91" y="73"/>
                  </a:lnTo>
                  <a:lnTo>
                    <a:pt x="89" y="73"/>
                  </a:lnTo>
                  <a:lnTo>
                    <a:pt x="92" y="76"/>
                  </a:lnTo>
                  <a:lnTo>
                    <a:pt x="91" y="76"/>
                  </a:lnTo>
                  <a:lnTo>
                    <a:pt x="91" y="76"/>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274" name="Somalia">
              <a:extLst>
                <a:ext uri="{FF2B5EF4-FFF2-40B4-BE49-F238E27FC236}">
                  <a16:creationId xmlns:a16="http://schemas.microsoft.com/office/drawing/2014/main" id="{81A8603E-FB96-6F43-8B0B-A047502354E8}"/>
                </a:ext>
              </a:extLst>
            </p:cNvPr>
            <p:cNvSpPr>
              <a:spLocks/>
            </p:cNvSpPr>
            <p:nvPr/>
          </p:nvSpPr>
          <p:spPr bwMode="auto">
            <a:xfrm>
              <a:off x="7448502" y="3627876"/>
              <a:ext cx="266805" cy="411142"/>
            </a:xfrm>
            <a:custGeom>
              <a:avLst/>
              <a:gdLst>
                <a:gd name="T0" fmla="*/ 41 w 183"/>
                <a:gd name="T1" fmla="*/ 14 h 282"/>
                <a:gd name="T2" fmla="*/ 55 w 183"/>
                <a:gd name="T3" fmla="*/ 32 h 282"/>
                <a:gd name="T4" fmla="*/ 67 w 183"/>
                <a:gd name="T5" fmla="*/ 33 h 282"/>
                <a:gd name="T6" fmla="*/ 75 w 183"/>
                <a:gd name="T7" fmla="*/ 28 h 282"/>
                <a:gd name="T8" fmla="*/ 82 w 183"/>
                <a:gd name="T9" fmla="*/ 23 h 282"/>
                <a:gd name="T10" fmla="*/ 86 w 183"/>
                <a:gd name="T11" fmla="*/ 24 h 282"/>
                <a:gd name="T12" fmla="*/ 105 w 183"/>
                <a:gd name="T13" fmla="*/ 21 h 282"/>
                <a:gd name="T14" fmla="*/ 120 w 183"/>
                <a:gd name="T15" fmla="*/ 19 h 282"/>
                <a:gd name="T16" fmla="*/ 134 w 183"/>
                <a:gd name="T17" fmla="*/ 14 h 282"/>
                <a:gd name="T18" fmla="*/ 147 w 183"/>
                <a:gd name="T19" fmla="*/ 14 h 282"/>
                <a:gd name="T20" fmla="*/ 152 w 183"/>
                <a:gd name="T21" fmla="*/ 10 h 282"/>
                <a:gd name="T22" fmla="*/ 164 w 183"/>
                <a:gd name="T23" fmla="*/ 8 h 282"/>
                <a:gd name="T24" fmla="*/ 175 w 183"/>
                <a:gd name="T25" fmla="*/ 1 h 282"/>
                <a:gd name="T26" fmla="*/ 180 w 183"/>
                <a:gd name="T27" fmla="*/ 3 h 282"/>
                <a:gd name="T28" fmla="*/ 179 w 183"/>
                <a:gd name="T29" fmla="*/ 8 h 282"/>
                <a:gd name="T30" fmla="*/ 179 w 183"/>
                <a:gd name="T31" fmla="*/ 17 h 282"/>
                <a:gd name="T32" fmla="*/ 179 w 183"/>
                <a:gd name="T33" fmla="*/ 30 h 282"/>
                <a:gd name="T34" fmla="*/ 181 w 183"/>
                <a:gd name="T35" fmla="*/ 30 h 282"/>
                <a:gd name="T36" fmla="*/ 183 w 183"/>
                <a:gd name="T37" fmla="*/ 33 h 282"/>
                <a:gd name="T38" fmla="*/ 176 w 183"/>
                <a:gd name="T39" fmla="*/ 33 h 282"/>
                <a:gd name="T40" fmla="*/ 174 w 183"/>
                <a:gd name="T41" fmla="*/ 47 h 282"/>
                <a:gd name="T42" fmla="*/ 172 w 183"/>
                <a:gd name="T43" fmla="*/ 56 h 282"/>
                <a:gd name="T44" fmla="*/ 168 w 183"/>
                <a:gd name="T45" fmla="*/ 64 h 282"/>
                <a:gd name="T46" fmla="*/ 169 w 183"/>
                <a:gd name="T47" fmla="*/ 69 h 282"/>
                <a:gd name="T48" fmla="*/ 163 w 183"/>
                <a:gd name="T49" fmla="*/ 77 h 282"/>
                <a:gd name="T50" fmla="*/ 156 w 183"/>
                <a:gd name="T51" fmla="*/ 80 h 282"/>
                <a:gd name="T52" fmla="*/ 157 w 183"/>
                <a:gd name="T53" fmla="*/ 88 h 282"/>
                <a:gd name="T54" fmla="*/ 154 w 183"/>
                <a:gd name="T55" fmla="*/ 96 h 282"/>
                <a:gd name="T56" fmla="*/ 146 w 183"/>
                <a:gd name="T57" fmla="*/ 108 h 282"/>
                <a:gd name="T58" fmla="*/ 142 w 183"/>
                <a:gd name="T59" fmla="*/ 123 h 282"/>
                <a:gd name="T60" fmla="*/ 137 w 183"/>
                <a:gd name="T61" fmla="*/ 134 h 282"/>
                <a:gd name="T62" fmla="*/ 133 w 183"/>
                <a:gd name="T63" fmla="*/ 144 h 282"/>
                <a:gd name="T64" fmla="*/ 125 w 183"/>
                <a:gd name="T65" fmla="*/ 152 h 282"/>
                <a:gd name="T66" fmla="*/ 122 w 183"/>
                <a:gd name="T67" fmla="*/ 159 h 282"/>
                <a:gd name="T68" fmla="*/ 114 w 183"/>
                <a:gd name="T69" fmla="*/ 166 h 282"/>
                <a:gd name="T70" fmla="*/ 109 w 183"/>
                <a:gd name="T71" fmla="*/ 173 h 282"/>
                <a:gd name="T72" fmla="*/ 107 w 183"/>
                <a:gd name="T73" fmla="*/ 175 h 282"/>
                <a:gd name="T74" fmla="*/ 96 w 183"/>
                <a:gd name="T75" fmla="*/ 189 h 282"/>
                <a:gd name="T76" fmla="*/ 92 w 183"/>
                <a:gd name="T77" fmla="*/ 195 h 282"/>
                <a:gd name="T78" fmla="*/ 85 w 183"/>
                <a:gd name="T79" fmla="*/ 195 h 282"/>
                <a:gd name="T80" fmla="*/ 77 w 183"/>
                <a:gd name="T81" fmla="*/ 207 h 282"/>
                <a:gd name="T82" fmla="*/ 66 w 183"/>
                <a:gd name="T83" fmla="*/ 214 h 282"/>
                <a:gd name="T84" fmla="*/ 56 w 183"/>
                <a:gd name="T85" fmla="*/ 223 h 282"/>
                <a:gd name="T86" fmla="*/ 50 w 183"/>
                <a:gd name="T87" fmla="*/ 224 h 282"/>
                <a:gd name="T88" fmla="*/ 50 w 183"/>
                <a:gd name="T89" fmla="*/ 228 h 282"/>
                <a:gd name="T90" fmla="*/ 37 w 183"/>
                <a:gd name="T91" fmla="*/ 246 h 282"/>
                <a:gd name="T92" fmla="*/ 28 w 183"/>
                <a:gd name="T93" fmla="*/ 254 h 282"/>
                <a:gd name="T94" fmla="*/ 20 w 183"/>
                <a:gd name="T95" fmla="*/ 263 h 282"/>
                <a:gd name="T96" fmla="*/ 17 w 183"/>
                <a:gd name="T97" fmla="*/ 266 h 282"/>
                <a:gd name="T98" fmla="*/ 16 w 183"/>
                <a:gd name="T99" fmla="*/ 270 h 282"/>
                <a:gd name="T100" fmla="*/ 15 w 183"/>
                <a:gd name="T101" fmla="*/ 271 h 282"/>
                <a:gd name="T102" fmla="*/ 10 w 183"/>
                <a:gd name="T103" fmla="*/ 173 h 282"/>
                <a:gd name="T104" fmla="*/ 32 w 183"/>
                <a:gd name="T105" fmla="*/ 159 h 282"/>
                <a:gd name="T106" fmla="*/ 70 w 183"/>
                <a:gd name="T107" fmla="*/ 146 h 282"/>
                <a:gd name="T108" fmla="*/ 40 w 183"/>
                <a:gd name="T109" fmla="*/ 52 h 282"/>
                <a:gd name="T110" fmla="*/ 30 w 183"/>
                <a:gd name="T111" fmla="*/ 37 h 282"/>
                <a:gd name="T112" fmla="*/ 30 w 183"/>
                <a:gd name="T113" fmla="*/ 22 h 2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83" h="282">
                  <a:moveTo>
                    <a:pt x="36" y="10"/>
                  </a:moveTo>
                  <a:lnTo>
                    <a:pt x="37" y="10"/>
                  </a:lnTo>
                  <a:lnTo>
                    <a:pt x="39" y="13"/>
                  </a:lnTo>
                  <a:lnTo>
                    <a:pt x="40" y="13"/>
                  </a:lnTo>
                  <a:lnTo>
                    <a:pt x="41" y="14"/>
                  </a:lnTo>
                  <a:lnTo>
                    <a:pt x="41" y="15"/>
                  </a:lnTo>
                  <a:lnTo>
                    <a:pt x="43" y="21"/>
                  </a:lnTo>
                  <a:lnTo>
                    <a:pt x="49" y="27"/>
                  </a:lnTo>
                  <a:lnTo>
                    <a:pt x="52" y="29"/>
                  </a:lnTo>
                  <a:lnTo>
                    <a:pt x="55" y="32"/>
                  </a:lnTo>
                  <a:lnTo>
                    <a:pt x="56" y="33"/>
                  </a:lnTo>
                  <a:lnTo>
                    <a:pt x="59" y="32"/>
                  </a:lnTo>
                  <a:lnTo>
                    <a:pt x="61" y="33"/>
                  </a:lnTo>
                  <a:lnTo>
                    <a:pt x="62" y="33"/>
                  </a:lnTo>
                  <a:lnTo>
                    <a:pt x="67" y="33"/>
                  </a:lnTo>
                  <a:lnTo>
                    <a:pt x="68" y="32"/>
                  </a:lnTo>
                  <a:lnTo>
                    <a:pt x="69" y="32"/>
                  </a:lnTo>
                  <a:lnTo>
                    <a:pt x="72" y="30"/>
                  </a:lnTo>
                  <a:lnTo>
                    <a:pt x="73" y="29"/>
                  </a:lnTo>
                  <a:lnTo>
                    <a:pt x="75" y="28"/>
                  </a:lnTo>
                  <a:lnTo>
                    <a:pt x="79" y="26"/>
                  </a:lnTo>
                  <a:lnTo>
                    <a:pt x="79" y="26"/>
                  </a:lnTo>
                  <a:lnTo>
                    <a:pt x="80" y="23"/>
                  </a:lnTo>
                  <a:lnTo>
                    <a:pt x="81" y="23"/>
                  </a:lnTo>
                  <a:lnTo>
                    <a:pt x="82" y="23"/>
                  </a:lnTo>
                  <a:lnTo>
                    <a:pt x="82" y="23"/>
                  </a:lnTo>
                  <a:lnTo>
                    <a:pt x="83" y="24"/>
                  </a:lnTo>
                  <a:lnTo>
                    <a:pt x="83" y="23"/>
                  </a:lnTo>
                  <a:lnTo>
                    <a:pt x="85" y="23"/>
                  </a:lnTo>
                  <a:lnTo>
                    <a:pt x="86" y="24"/>
                  </a:lnTo>
                  <a:lnTo>
                    <a:pt x="90" y="24"/>
                  </a:lnTo>
                  <a:lnTo>
                    <a:pt x="94" y="27"/>
                  </a:lnTo>
                  <a:lnTo>
                    <a:pt x="97" y="26"/>
                  </a:lnTo>
                  <a:lnTo>
                    <a:pt x="102" y="22"/>
                  </a:lnTo>
                  <a:lnTo>
                    <a:pt x="105" y="21"/>
                  </a:lnTo>
                  <a:lnTo>
                    <a:pt x="107" y="20"/>
                  </a:lnTo>
                  <a:lnTo>
                    <a:pt x="108" y="19"/>
                  </a:lnTo>
                  <a:lnTo>
                    <a:pt x="113" y="17"/>
                  </a:lnTo>
                  <a:lnTo>
                    <a:pt x="116" y="19"/>
                  </a:lnTo>
                  <a:lnTo>
                    <a:pt x="120" y="19"/>
                  </a:lnTo>
                  <a:lnTo>
                    <a:pt x="121" y="19"/>
                  </a:lnTo>
                  <a:lnTo>
                    <a:pt x="125" y="17"/>
                  </a:lnTo>
                  <a:lnTo>
                    <a:pt x="127" y="15"/>
                  </a:lnTo>
                  <a:lnTo>
                    <a:pt x="130" y="14"/>
                  </a:lnTo>
                  <a:lnTo>
                    <a:pt x="134" y="14"/>
                  </a:lnTo>
                  <a:lnTo>
                    <a:pt x="136" y="15"/>
                  </a:lnTo>
                  <a:lnTo>
                    <a:pt x="140" y="15"/>
                  </a:lnTo>
                  <a:lnTo>
                    <a:pt x="142" y="14"/>
                  </a:lnTo>
                  <a:lnTo>
                    <a:pt x="144" y="14"/>
                  </a:lnTo>
                  <a:lnTo>
                    <a:pt x="147" y="14"/>
                  </a:lnTo>
                  <a:lnTo>
                    <a:pt x="149" y="14"/>
                  </a:lnTo>
                  <a:lnTo>
                    <a:pt x="150" y="15"/>
                  </a:lnTo>
                  <a:lnTo>
                    <a:pt x="152" y="14"/>
                  </a:lnTo>
                  <a:lnTo>
                    <a:pt x="152" y="12"/>
                  </a:lnTo>
                  <a:lnTo>
                    <a:pt x="152" y="10"/>
                  </a:lnTo>
                  <a:lnTo>
                    <a:pt x="153" y="10"/>
                  </a:lnTo>
                  <a:lnTo>
                    <a:pt x="155" y="10"/>
                  </a:lnTo>
                  <a:lnTo>
                    <a:pt x="160" y="10"/>
                  </a:lnTo>
                  <a:lnTo>
                    <a:pt x="162" y="8"/>
                  </a:lnTo>
                  <a:lnTo>
                    <a:pt x="164" y="8"/>
                  </a:lnTo>
                  <a:lnTo>
                    <a:pt x="166" y="7"/>
                  </a:lnTo>
                  <a:lnTo>
                    <a:pt x="167" y="2"/>
                  </a:lnTo>
                  <a:lnTo>
                    <a:pt x="169" y="1"/>
                  </a:lnTo>
                  <a:lnTo>
                    <a:pt x="172" y="0"/>
                  </a:lnTo>
                  <a:lnTo>
                    <a:pt x="175" y="1"/>
                  </a:lnTo>
                  <a:lnTo>
                    <a:pt x="175" y="1"/>
                  </a:lnTo>
                  <a:lnTo>
                    <a:pt x="176" y="2"/>
                  </a:lnTo>
                  <a:lnTo>
                    <a:pt x="179" y="2"/>
                  </a:lnTo>
                  <a:lnTo>
                    <a:pt x="179" y="3"/>
                  </a:lnTo>
                  <a:lnTo>
                    <a:pt x="180" y="3"/>
                  </a:lnTo>
                  <a:lnTo>
                    <a:pt x="181" y="3"/>
                  </a:lnTo>
                  <a:lnTo>
                    <a:pt x="181" y="5"/>
                  </a:lnTo>
                  <a:lnTo>
                    <a:pt x="180" y="5"/>
                  </a:lnTo>
                  <a:lnTo>
                    <a:pt x="180" y="7"/>
                  </a:lnTo>
                  <a:lnTo>
                    <a:pt x="179" y="8"/>
                  </a:lnTo>
                  <a:lnTo>
                    <a:pt x="179" y="9"/>
                  </a:lnTo>
                  <a:lnTo>
                    <a:pt x="177" y="10"/>
                  </a:lnTo>
                  <a:lnTo>
                    <a:pt x="177" y="15"/>
                  </a:lnTo>
                  <a:lnTo>
                    <a:pt x="177" y="17"/>
                  </a:lnTo>
                  <a:lnTo>
                    <a:pt x="179" y="17"/>
                  </a:lnTo>
                  <a:lnTo>
                    <a:pt x="180" y="20"/>
                  </a:lnTo>
                  <a:lnTo>
                    <a:pt x="180" y="23"/>
                  </a:lnTo>
                  <a:lnTo>
                    <a:pt x="179" y="27"/>
                  </a:lnTo>
                  <a:lnTo>
                    <a:pt x="179" y="29"/>
                  </a:lnTo>
                  <a:lnTo>
                    <a:pt x="179" y="30"/>
                  </a:lnTo>
                  <a:lnTo>
                    <a:pt x="177" y="32"/>
                  </a:lnTo>
                  <a:lnTo>
                    <a:pt x="177" y="33"/>
                  </a:lnTo>
                  <a:lnTo>
                    <a:pt x="179" y="32"/>
                  </a:lnTo>
                  <a:lnTo>
                    <a:pt x="181" y="32"/>
                  </a:lnTo>
                  <a:lnTo>
                    <a:pt x="181" y="30"/>
                  </a:lnTo>
                  <a:lnTo>
                    <a:pt x="180" y="29"/>
                  </a:lnTo>
                  <a:lnTo>
                    <a:pt x="180" y="29"/>
                  </a:lnTo>
                  <a:lnTo>
                    <a:pt x="182" y="30"/>
                  </a:lnTo>
                  <a:lnTo>
                    <a:pt x="183" y="30"/>
                  </a:lnTo>
                  <a:lnTo>
                    <a:pt x="183" y="33"/>
                  </a:lnTo>
                  <a:lnTo>
                    <a:pt x="183" y="34"/>
                  </a:lnTo>
                  <a:lnTo>
                    <a:pt x="182" y="34"/>
                  </a:lnTo>
                  <a:lnTo>
                    <a:pt x="181" y="33"/>
                  </a:lnTo>
                  <a:lnTo>
                    <a:pt x="177" y="33"/>
                  </a:lnTo>
                  <a:lnTo>
                    <a:pt x="176" y="33"/>
                  </a:lnTo>
                  <a:lnTo>
                    <a:pt x="175" y="37"/>
                  </a:lnTo>
                  <a:lnTo>
                    <a:pt x="176" y="39"/>
                  </a:lnTo>
                  <a:lnTo>
                    <a:pt x="175" y="41"/>
                  </a:lnTo>
                  <a:lnTo>
                    <a:pt x="174" y="42"/>
                  </a:lnTo>
                  <a:lnTo>
                    <a:pt x="174" y="47"/>
                  </a:lnTo>
                  <a:lnTo>
                    <a:pt x="175" y="50"/>
                  </a:lnTo>
                  <a:lnTo>
                    <a:pt x="175" y="52"/>
                  </a:lnTo>
                  <a:lnTo>
                    <a:pt x="174" y="53"/>
                  </a:lnTo>
                  <a:lnTo>
                    <a:pt x="174" y="55"/>
                  </a:lnTo>
                  <a:lnTo>
                    <a:pt x="172" y="56"/>
                  </a:lnTo>
                  <a:lnTo>
                    <a:pt x="172" y="57"/>
                  </a:lnTo>
                  <a:lnTo>
                    <a:pt x="172" y="60"/>
                  </a:lnTo>
                  <a:lnTo>
                    <a:pt x="170" y="62"/>
                  </a:lnTo>
                  <a:lnTo>
                    <a:pt x="169" y="63"/>
                  </a:lnTo>
                  <a:lnTo>
                    <a:pt x="168" y="64"/>
                  </a:lnTo>
                  <a:lnTo>
                    <a:pt x="167" y="64"/>
                  </a:lnTo>
                  <a:lnTo>
                    <a:pt x="167" y="67"/>
                  </a:lnTo>
                  <a:lnTo>
                    <a:pt x="168" y="68"/>
                  </a:lnTo>
                  <a:lnTo>
                    <a:pt x="169" y="68"/>
                  </a:lnTo>
                  <a:lnTo>
                    <a:pt x="169" y="69"/>
                  </a:lnTo>
                  <a:lnTo>
                    <a:pt x="168" y="70"/>
                  </a:lnTo>
                  <a:lnTo>
                    <a:pt x="164" y="73"/>
                  </a:lnTo>
                  <a:lnTo>
                    <a:pt x="163" y="74"/>
                  </a:lnTo>
                  <a:lnTo>
                    <a:pt x="164" y="75"/>
                  </a:lnTo>
                  <a:lnTo>
                    <a:pt x="163" y="77"/>
                  </a:lnTo>
                  <a:lnTo>
                    <a:pt x="162" y="79"/>
                  </a:lnTo>
                  <a:lnTo>
                    <a:pt x="161" y="79"/>
                  </a:lnTo>
                  <a:lnTo>
                    <a:pt x="160" y="80"/>
                  </a:lnTo>
                  <a:lnTo>
                    <a:pt x="159" y="80"/>
                  </a:lnTo>
                  <a:lnTo>
                    <a:pt x="156" y="80"/>
                  </a:lnTo>
                  <a:lnTo>
                    <a:pt x="156" y="80"/>
                  </a:lnTo>
                  <a:lnTo>
                    <a:pt x="156" y="81"/>
                  </a:lnTo>
                  <a:lnTo>
                    <a:pt x="157" y="83"/>
                  </a:lnTo>
                  <a:lnTo>
                    <a:pt x="156" y="86"/>
                  </a:lnTo>
                  <a:lnTo>
                    <a:pt x="157" y="88"/>
                  </a:lnTo>
                  <a:lnTo>
                    <a:pt x="157" y="89"/>
                  </a:lnTo>
                  <a:lnTo>
                    <a:pt x="157" y="93"/>
                  </a:lnTo>
                  <a:lnTo>
                    <a:pt x="156" y="94"/>
                  </a:lnTo>
                  <a:lnTo>
                    <a:pt x="156" y="95"/>
                  </a:lnTo>
                  <a:lnTo>
                    <a:pt x="154" y="96"/>
                  </a:lnTo>
                  <a:lnTo>
                    <a:pt x="152" y="97"/>
                  </a:lnTo>
                  <a:lnTo>
                    <a:pt x="149" y="104"/>
                  </a:lnTo>
                  <a:lnTo>
                    <a:pt x="148" y="106"/>
                  </a:lnTo>
                  <a:lnTo>
                    <a:pt x="147" y="108"/>
                  </a:lnTo>
                  <a:lnTo>
                    <a:pt x="146" y="108"/>
                  </a:lnTo>
                  <a:lnTo>
                    <a:pt x="143" y="112"/>
                  </a:lnTo>
                  <a:lnTo>
                    <a:pt x="144" y="115"/>
                  </a:lnTo>
                  <a:lnTo>
                    <a:pt x="143" y="120"/>
                  </a:lnTo>
                  <a:lnTo>
                    <a:pt x="142" y="122"/>
                  </a:lnTo>
                  <a:lnTo>
                    <a:pt x="142" y="123"/>
                  </a:lnTo>
                  <a:lnTo>
                    <a:pt x="141" y="122"/>
                  </a:lnTo>
                  <a:lnTo>
                    <a:pt x="140" y="123"/>
                  </a:lnTo>
                  <a:lnTo>
                    <a:pt x="141" y="123"/>
                  </a:lnTo>
                  <a:lnTo>
                    <a:pt x="141" y="127"/>
                  </a:lnTo>
                  <a:lnTo>
                    <a:pt x="137" y="134"/>
                  </a:lnTo>
                  <a:lnTo>
                    <a:pt x="133" y="135"/>
                  </a:lnTo>
                  <a:lnTo>
                    <a:pt x="130" y="136"/>
                  </a:lnTo>
                  <a:lnTo>
                    <a:pt x="129" y="135"/>
                  </a:lnTo>
                  <a:lnTo>
                    <a:pt x="132" y="142"/>
                  </a:lnTo>
                  <a:lnTo>
                    <a:pt x="133" y="144"/>
                  </a:lnTo>
                  <a:lnTo>
                    <a:pt x="128" y="148"/>
                  </a:lnTo>
                  <a:lnTo>
                    <a:pt x="128" y="149"/>
                  </a:lnTo>
                  <a:lnTo>
                    <a:pt x="127" y="153"/>
                  </a:lnTo>
                  <a:lnTo>
                    <a:pt x="126" y="153"/>
                  </a:lnTo>
                  <a:lnTo>
                    <a:pt x="125" y="152"/>
                  </a:lnTo>
                  <a:lnTo>
                    <a:pt x="125" y="150"/>
                  </a:lnTo>
                  <a:lnTo>
                    <a:pt x="125" y="150"/>
                  </a:lnTo>
                  <a:lnTo>
                    <a:pt x="123" y="152"/>
                  </a:lnTo>
                  <a:lnTo>
                    <a:pt x="123" y="156"/>
                  </a:lnTo>
                  <a:lnTo>
                    <a:pt x="122" y="159"/>
                  </a:lnTo>
                  <a:lnTo>
                    <a:pt x="121" y="161"/>
                  </a:lnTo>
                  <a:lnTo>
                    <a:pt x="121" y="162"/>
                  </a:lnTo>
                  <a:lnTo>
                    <a:pt x="119" y="163"/>
                  </a:lnTo>
                  <a:lnTo>
                    <a:pt x="116" y="164"/>
                  </a:lnTo>
                  <a:lnTo>
                    <a:pt x="114" y="166"/>
                  </a:lnTo>
                  <a:lnTo>
                    <a:pt x="113" y="164"/>
                  </a:lnTo>
                  <a:lnTo>
                    <a:pt x="112" y="164"/>
                  </a:lnTo>
                  <a:lnTo>
                    <a:pt x="112" y="166"/>
                  </a:lnTo>
                  <a:lnTo>
                    <a:pt x="110" y="167"/>
                  </a:lnTo>
                  <a:lnTo>
                    <a:pt x="109" y="173"/>
                  </a:lnTo>
                  <a:lnTo>
                    <a:pt x="108" y="173"/>
                  </a:lnTo>
                  <a:lnTo>
                    <a:pt x="108" y="173"/>
                  </a:lnTo>
                  <a:lnTo>
                    <a:pt x="107" y="174"/>
                  </a:lnTo>
                  <a:lnTo>
                    <a:pt x="107" y="174"/>
                  </a:lnTo>
                  <a:lnTo>
                    <a:pt x="107" y="175"/>
                  </a:lnTo>
                  <a:lnTo>
                    <a:pt x="107" y="176"/>
                  </a:lnTo>
                  <a:lnTo>
                    <a:pt x="107" y="179"/>
                  </a:lnTo>
                  <a:lnTo>
                    <a:pt x="105" y="180"/>
                  </a:lnTo>
                  <a:lnTo>
                    <a:pt x="103" y="182"/>
                  </a:lnTo>
                  <a:lnTo>
                    <a:pt x="96" y="189"/>
                  </a:lnTo>
                  <a:lnTo>
                    <a:pt x="96" y="190"/>
                  </a:lnTo>
                  <a:lnTo>
                    <a:pt x="94" y="191"/>
                  </a:lnTo>
                  <a:lnTo>
                    <a:pt x="94" y="193"/>
                  </a:lnTo>
                  <a:lnTo>
                    <a:pt x="93" y="194"/>
                  </a:lnTo>
                  <a:lnTo>
                    <a:pt x="92" y="195"/>
                  </a:lnTo>
                  <a:lnTo>
                    <a:pt x="90" y="196"/>
                  </a:lnTo>
                  <a:lnTo>
                    <a:pt x="89" y="196"/>
                  </a:lnTo>
                  <a:lnTo>
                    <a:pt x="88" y="194"/>
                  </a:lnTo>
                  <a:lnTo>
                    <a:pt x="86" y="194"/>
                  </a:lnTo>
                  <a:lnTo>
                    <a:pt x="85" y="195"/>
                  </a:lnTo>
                  <a:lnTo>
                    <a:pt x="81" y="203"/>
                  </a:lnTo>
                  <a:lnTo>
                    <a:pt x="80" y="203"/>
                  </a:lnTo>
                  <a:lnTo>
                    <a:pt x="79" y="203"/>
                  </a:lnTo>
                  <a:lnTo>
                    <a:pt x="77" y="203"/>
                  </a:lnTo>
                  <a:lnTo>
                    <a:pt x="77" y="207"/>
                  </a:lnTo>
                  <a:lnTo>
                    <a:pt x="77" y="207"/>
                  </a:lnTo>
                  <a:lnTo>
                    <a:pt x="75" y="207"/>
                  </a:lnTo>
                  <a:lnTo>
                    <a:pt x="70" y="209"/>
                  </a:lnTo>
                  <a:lnTo>
                    <a:pt x="68" y="210"/>
                  </a:lnTo>
                  <a:lnTo>
                    <a:pt x="66" y="214"/>
                  </a:lnTo>
                  <a:lnTo>
                    <a:pt x="62" y="217"/>
                  </a:lnTo>
                  <a:lnTo>
                    <a:pt x="59" y="220"/>
                  </a:lnTo>
                  <a:lnTo>
                    <a:pt x="57" y="221"/>
                  </a:lnTo>
                  <a:lnTo>
                    <a:pt x="56" y="222"/>
                  </a:lnTo>
                  <a:lnTo>
                    <a:pt x="56" y="223"/>
                  </a:lnTo>
                  <a:lnTo>
                    <a:pt x="55" y="224"/>
                  </a:lnTo>
                  <a:lnTo>
                    <a:pt x="53" y="223"/>
                  </a:lnTo>
                  <a:lnTo>
                    <a:pt x="52" y="223"/>
                  </a:lnTo>
                  <a:lnTo>
                    <a:pt x="52" y="223"/>
                  </a:lnTo>
                  <a:lnTo>
                    <a:pt x="50" y="224"/>
                  </a:lnTo>
                  <a:lnTo>
                    <a:pt x="52" y="224"/>
                  </a:lnTo>
                  <a:lnTo>
                    <a:pt x="52" y="224"/>
                  </a:lnTo>
                  <a:lnTo>
                    <a:pt x="53" y="226"/>
                  </a:lnTo>
                  <a:lnTo>
                    <a:pt x="53" y="227"/>
                  </a:lnTo>
                  <a:lnTo>
                    <a:pt x="50" y="228"/>
                  </a:lnTo>
                  <a:lnTo>
                    <a:pt x="48" y="233"/>
                  </a:lnTo>
                  <a:lnTo>
                    <a:pt x="48" y="234"/>
                  </a:lnTo>
                  <a:lnTo>
                    <a:pt x="45" y="239"/>
                  </a:lnTo>
                  <a:lnTo>
                    <a:pt x="39" y="246"/>
                  </a:lnTo>
                  <a:lnTo>
                    <a:pt x="37" y="246"/>
                  </a:lnTo>
                  <a:lnTo>
                    <a:pt x="36" y="247"/>
                  </a:lnTo>
                  <a:lnTo>
                    <a:pt x="29" y="251"/>
                  </a:lnTo>
                  <a:lnTo>
                    <a:pt x="28" y="253"/>
                  </a:lnTo>
                  <a:lnTo>
                    <a:pt x="27" y="254"/>
                  </a:lnTo>
                  <a:lnTo>
                    <a:pt x="28" y="254"/>
                  </a:lnTo>
                  <a:lnTo>
                    <a:pt x="27" y="256"/>
                  </a:lnTo>
                  <a:lnTo>
                    <a:pt x="26" y="256"/>
                  </a:lnTo>
                  <a:lnTo>
                    <a:pt x="22" y="262"/>
                  </a:lnTo>
                  <a:lnTo>
                    <a:pt x="21" y="262"/>
                  </a:lnTo>
                  <a:lnTo>
                    <a:pt x="20" y="263"/>
                  </a:lnTo>
                  <a:lnTo>
                    <a:pt x="20" y="263"/>
                  </a:lnTo>
                  <a:lnTo>
                    <a:pt x="20" y="264"/>
                  </a:lnTo>
                  <a:lnTo>
                    <a:pt x="19" y="266"/>
                  </a:lnTo>
                  <a:lnTo>
                    <a:pt x="19" y="267"/>
                  </a:lnTo>
                  <a:lnTo>
                    <a:pt x="17" y="266"/>
                  </a:lnTo>
                  <a:lnTo>
                    <a:pt x="17" y="264"/>
                  </a:lnTo>
                  <a:lnTo>
                    <a:pt x="16" y="266"/>
                  </a:lnTo>
                  <a:lnTo>
                    <a:pt x="17" y="267"/>
                  </a:lnTo>
                  <a:lnTo>
                    <a:pt x="17" y="269"/>
                  </a:lnTo>
                  <a:lnTo>
                    <a:pt x="16" y="270"/>
                  </a:lnTo>
                  <a:lnTo>
                    <a:pt x="16" y="270"/>
                  </a:lnTo>
                  <a:lnTo>
                    <a:pt x="15" y="271"/>
                  </a:lnTo>
                  <a:lnTo>
                    <a:pt x="15" y="270"/>
                  </a:lnTo>
                  <a:lnTo>
                    <a:pt x="15" y="271"/>
                  </a:lnTo>
                  <a:lnTo>
                    <a:pt x="15" y="271"/>
                  </a:lnTo>
                  <a:lnTo>
                    <a:pt x="12" y="279"/>
                  </a:lnTo>
                  <a:lnTo>
                    <a:pt x="9" y="282"/>
                  </a:lnTo>
                  <a:lnTo>
                    <a:pt x="0" y="264"/>
                  </a:lnTo>
                  <a:lnTo>
                    <a:pt x="6" y="180"/>
                  </a:lnTo>
                  <a:lnTo>
                    <a:pt x="10" y="173"/>
                  </a:lnTo>
                  <a:lnTo>
                    <a:pt x="15" y="166"/>
                  </a:lnTo>
                  <a:lnTo>
                    <a:pt x="17" y="161"/>
                  </a:lnTo>
                  <a:lnTo>
                    <a:pt x="20" y="160"/>
                  </a:lnTo>
                  <a:lnTo>
                    <a:pt x="25" y="160"/>
                  </a:lnTo>
                  <a:lnTo>
                    <a:pt x="32" y="159"/>
                  </a:lnTo>
                  <a:lnTo>
                    <a:pt x="34" y="156"/>
                  </a:lnTo>
                  <a:lnTo>
                    <a:pt x="35" y="153"/>
                  </a:lnTo>
                  <a:lnTo>
                    <a:pt x="42" y="149"/>
                  </a:lnTo>
                  <a:lnTo>
                    <a:pt x="50" y="146"/>
                  </a:lnTo>
                  <a:lnTo>
                    <a:pt x="70" y="146"/>
                  </a:lnTo>
                  <a:lnTo>
                    <a:pt x="106" y="101"/>
                  </a:lnTo>
                  <a:lnTo>
                    <a:pt x="106" y="82"/>
                  </a:lnTo>
                  <a:lnTo>
                    <a:pt x="46" y="55"/>
                  </a:lnTo>
                  <a:lnTo>
                    <a:pt x="41" y="53"/>
                  </a:lnTo>
                  <a:lnTo>
                    <a:pt x="40" y="52"/>
                  </a:lnTo>
                  <a:lnTo>
                    <a:pt x="39" y="48"/>
                  </a:lnTo>
                  <a:lnTo>
                    <a:pt x="36" y="43"/>
                  </a:lnTo>
                  <a:lnTo>
                    <a:pt x="33" y="43"/>
                  </a:lnTo>
                  <a:lnTo>
                    <a:pt x="33" y="39"/>
                  </a:lnTo>
                  <a:lnTo>
                    <a:pt x="30" y="37"/>
                  </a:lnTo>
                  <a:lnTo>
                    <a:pt x="28" y="32"/>
                  </a:lnTo>
                  <a:lnTo>
                    <a:pt x="27" y="28"/>
                  </a:lnTo>
                  <a:lnTo>
                    <a:pt x="28" y="24"/>
                  </a:lnTo>
                  <a:lnTo>
                    <a:pt x="29" y="22"/>
                  </a:lnTo>
                  <a:lnTo>
                    <a:pt x="30" y="22"/>
                  </a:lnTo>
                  <a:lnTo>
                    <a:pt x="32" y="20"/>
                  </a:lnTo>
                  <a:lnTo>
                    <a:pt x="36" y="10"/>
                  </a:lnTo>
                  <a:lnTo>
                    <a:pt x="36" y="10"/>
                  </a:lnTo>
                  <a:lnTo>
                    <a:pt x="36" y="10"/>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275" name="Singapore">
              <a:extLst>
                <a:ext uri="{FF2B5EF4-FFF2-40B4-BE49-F238E27FC236}">
                  <a16:creationId xmlns:a16="http://schemas.microsoft.com/office/drawing/2014/main" id="{766685A6-F386-3E48-BB7C-DC6F5953F353}"/>
                </a:ext>
              </a:extLst>
            </p:cNvPr>
            <p:cNvSpPr>
              <a:spLocks/>
            </p:cNvSpPr>
            <p:nvPr>
              <p:custDataLst>
                <p:tags r:id="rId3"/>
              </p:custDataLst>
            </p:nvPr>
          </p:nvSpPr>
          <p:spPr bwMode="auto">
            <a:xfrm>
              <a:off x="9103274" y="3941335"/>
              <a:ext cx="14579" cy="8748"/>
            </a:xfrm>
            <a:custGeom>
              <a:avLst/>
              <a:gdLst>
                <a:gd name="T0" fmla="*/ 9 w 10"/>
                <a:gd name="T1" fmla="*/ 1 h 6"/>
                <a:gd name="T2" fmla="*/ 10 w 10"/>
                <a:gd name="T3" fmla="*/ 2 h 6"/>
                <a:gd name="T4" fmla="*/ 9 w 10"/>
                <a:gd name="T5" fmla="*/ 2 h 6"/>
                <a:gd name="T6" fmla="*/ 9 w 10"/>
                <a:gd name="T7" fmla="*/ 2 h 6"/>
                <a:gd name="T8" fmla="*/ 6 w 10"/>
                <a:gd name="T9" fmla="*/ 5 h 6"/>
                <a:gd name="T10" fmla="*/ 6 w 10"/>
                <a:gd name="T11" fmla="*/ 6 h 6"/>
                <a:gd name="T12" fmla="*/ 5 w 10"/>
                <a:gd name="T13" fmla="*/ 6 h 6"/>
                <a:gd name="T14" fmla="*/ 3 w 10"/>
                <a:gd name="T15" fmla="*/ 4 h 6"/>
                <a:gd name="T16" fmla="*/ 0 w 10"/>
                <a:gd name="T17" fmla="*/ 4 h 6"/>
                <a:gd name="T18" fmla="*/ 0 w 10"/>
                <a:gd name="T19" fmla="*/ 2 h 6"/>
                <a:gd name="T20" fmla="*/ 1 w 10"/>
                <a:gd name="T21" fmla="*/ 2 h 6"/>
                <a:gd name="T22" fmla="*/ 1 w 10"/>
                <a:gd name="T23" fmla="*/ 0 h 6"/>
                <a:gd name="T24" fmla="*/ 2 w 10"/>
                <a:gd name="T25" fmla="*/ 0 h 6"/>
                <a:gd name="T26" fmla="*/ 3 w 10"/>
                <a:gd name="T27" fmla="*/ 0 h 6"/>
                <a:gd name="T28" fmla="*/ 6 w 10"/>
                <a:gd name="T29" fmla="*/ 0 h 6"/>
                <a:gd name="T30" fmla="*/ 6 w 10"/>
                <a:gd name="T31" fmla="*/ 0 h 6"/>
                <a:gd name="T32" fmla="*/ 9 w 10"/>
                <a:gd name="T33" fmla="*/ 1 h 6"/>
                <a:gd name="T34" fmla="*/ 9 w 10"/>
                <a:gd name="T35" fmla="*/ 1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0" h="6">
                  <a:moveTo>
                    <a:pt x="9" y="1"/>
                  </a:moveTo>
                  <a:lnTo>
                    <a:pt x="10" y="2"/>
                  </a:lnTo>
                  <a:lnTo>
                    <a:pt x="9" y="2"/>
                  </a:lnTo>
                  <a:lnTo>
                    <a:pt x="9" y="2"/>
                  </a:lnTo>
                  <a:lnTo>
                    <a:pt x="6" y="5"/>
                  </a:lnTo>
                  <a:lnTo>
                    <a:pt x="6" y="6"/>
                  </a:lnTo>
                  <a:lnTo>
                    <a:pt x="5" y="6"/>
                  </a:lnTo>
                  <a:lnTo>
                    <a:pt x="3" y="4"/>
                  </a:lnTo>
                  <a:lnTo>
                    <a:pt x="0" y="4"/>
                  </a:lnTo>
                  <a:lnTo>
                    <a:pt x="0" y="2"/>
                  </a:lnTo>
                  <a:lnTo>
                    <a:pt x="1" y="2"/>
                  </a:lnTo>
                  <a:lnTo>
                    <a:pt x="1" y="0"/>
                  </a:lnTo>
                  <a:lnTo>
                    <a:pt x="2" y="0"/>
                  </a:lnTo>
                  <a:lnTo>
                    <a:pt x="3" y="0"/>
                  </a:lnTo>
                  <a:lnTo>
                    <a:pt x="6" y="0"/>
                  </a:lnTo>
                  <a:lnTo>
                    <a:pt x="6" y="0"/>
                  </a:lnTo>
                  <a:lnTo>
                    <a:pt x="9" y="1"/>
                  </a:lnTo>
                  <a:lnTo>
                    <a:pt x="9" y="1"/>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276" name="Sierra Leone">
              <a:extLst>
                <a:ext uri="{FF2B5EF4-FFF2-40B4-BE49-F238E27FC236}">
                  <a16:creationId xmlns:a16="http://schemas.microsoft.com/office/drawing/2014/main" id="{341BC099-F5A6-354C-BB2B-84AD4657A15D}"/>
                </a:ext>
              </a:extLst>
            </p:cNvPr>
            <p:cNvSpPr>
              <a:spLocks/>
            </p:cNvSpPr>
            <p:nvPr/>
          </p:nvSpPr>
          <p:spPr bwMode="auto">
            <a:xfrm>
              <a:off x="6010965" y="3687651"/>
              <a:ext cx="83102" cy="90393"/>
            </a:xfrm>
            <a:custGeom>
              <a:avLst/>
              <a:gdLst>
                <a:gd name="T0" fmla="*/ 51 w 57"/>
                <a:gd name="T1" fmla="*/ 34 h 62"/>
                <a:gd name="T2" fmla="*/ 51 w 57"/>
                <a:gd name="T3" fmla="*/ 19 h 62"/>
                <a:gd name="T4" fmla="*/ 45 w 57"/>
                <a:gd name="T5" fmla="*/ 8 h 62"/>
                <a:gd name="T6" fmla="*/ 27 w 57"/>
                <a:gd name="T7" fmla="*/ 0 h 62"/>
                <a:gd name="T8" fmla="*/ 15 w 57"/>
                <a:gd name="T9" fmla="*/ 2 h 62"/>
                <a:gd name="T10" fmla="*/ 7 w 57"/>
                <a:gd name="T11" fmla="*/ 14 h 62"/>
                <a:gd name="T12" fmla="*/ 3 w 57"/>
                <a:gd name="T13" fmla="*/ 20 h 62"/>
                <a:gd name="T14" fmla="*/ 1 w 57"/>
                <a:gd name="T15" fmla="*/ 21 h 62"/>
                <a:gd name="T16" fmla="*/ 4 w 57"/>
                <a:gd name="T17" fmla="*/ 22 h 62"/>
                <a:gd name="T18" fmla="*/ 4 w 57"/>
                <a:gd name="T19" fmla="*/ 22 h 62"/>
                <a:gd name="T20" fmla="*/ 5 w 57"/>
                <a:gd name="T21" fmla="*/ 23 h 62"/>
                <a:gd name="T22" fmla="*/ 3 w 57"/>
                <a:gd name="T23" fmla="*/ 28 h 62"/>
                <a:gd name="T24" fmla="*/ 4 w 57"/>
                <a:gd name="T25" fmla="*/ 27 h 62"/>
                <a:gd name="T26" fmla="*/ 6 w 57"/>
                <a:gd name="T27" fmla="*/ 28 h 62"/>
                <a:gd name="T28" fmla="*/ 5 w 57"/>
                <a:gd name="T29" fmla="*/ 28 h 62"/>
                <a:gd name="T30" fmla="*/ 8 w 57"/>
                <a:gd name="T31" fmla="*/ 27 h 62"/>
                <a:gd name="T32" fmla="*/ 8 w 57"/>
                <a:gd name="T33" fmla="*/ 29 h 62"/>
                <a:gd name="T34" fmla="*/ 6 w 57"/>
                <a:gd name="T35" fmla="*/ 31 h 62"/>
                <a:gd name="T36" fmla="*/ 6 w 57"/>
                <a:gd name="T37" fmla="*/ 33 h 62"/>
                <a:gd name="T38" fmla="*/ 1 w 57"/>
                <a:gd name="T39" fmla="*/ 31 h 62"/>
                <a:gd name="T40" fmla="*/ 0 w 57"/>
                <a:gd name="T41" fmla="*/ 33 h 62"/>
                <a:gd name="T42" fmla="*/ 5 w 57"/>
                <a:gd name="T43" fmla="*/ 38 h 62"/>
                <a:gd name="T44" fmla="*/ 7 w 57"/>
                <a:gd name="T45" fmla="*/ 36 h 62"/>
                <a:gd name="T46" fmla="*/ 8 w 57"/>
                <a:gd name="T47" fmla="*/ 39 h 62"/>
                <a:gd name="T48" fmla="*/ 8 w 57"/>
                <a:gd name="T49" fmla="*/ 42 h 62"/>
                <a:gd name="T50" fmla="*/ 10 w 57"/>
                <a:gd name="T51" fmla="*/ 45 h 62"/>
                <a:gd name="T52" fmla="*/ 10 w 57"/>
                <a:gd name="T53" fmla="*/ 46 h 62"/>
                <a:gd name="T54" fmla="*/ 14 w 57"/>
                <a:gd name="T55" fmla="*/ 47 h 62"/>
                <a:gd name="T56" fmla="*/ 15 w 57"/>
                <a:gd name="T57" fmla="*/ 47 h 62"/>
                <a:gd name="T58" fmla="*/ 15 w 57"/>
                <a:gd name="T59" fmla="*/ 48 h 62"/>
                <a:gd name="T60" fmla="*/ 18 w 57"/>
                <a:gd name="T61" fmla="*/ 49 h 62"/>
                <a:gd name="T62" fmla="*/ 21 w 57"/>
                <a:gd name="T63" fmla="*/ 49 h 62"/>
                <a:gd name="T64" fmla="*/ 18 w 57"/>
                <a:gd name="T65" fmla="*/ 51 h 62"/>
                <a:gd name="T66" fmla="*/ 15 w 57"/>
                <a:gd name="T67" fmla="*/ 53 h 62"/>
                <a:gd name="T68" fmla="*/ 18 w 57"/>
                <a:gd name="T69" fmla="*/ 54 h 62"/>
                <a:gd name="T70" fmla="*/ 15 w 57"/>
                <a:gd name="T71" fmla="*/ 54 h 62"/>
                <a:gd name="T72" fmla="*/ 23 w 57"/>
                <a:gd name="T73" fmla="*/ 56 h 62"/>
                <a:gd name="T74" fmla="*/ 31 w 57"/>
                <a:gd name="T75" fmla="*/ 61 h 62"/>
                <a:gd name="T76" fmla="*/ 35 w 57"/>
                <a:gd name="T77" fmla="*/ 62 h 62"/>
                <a:gd name="T78" fmla="*/ 39 w 57"/>
                <a:gd name="T79" fmla="*/ 56 h 62"/>
                <a:gd name="T80" fmla="*/ 50 w 57"/>
                <a:gd name="T81" fmla="*/ 40 h 62"/>
                <a:gd name="T82" fmla="*/ 55 w 57"/>
                <a:gd name="T83" fmla="*/ 32 h 62"/>
                <a:gd name="T84" fmla="*/ 57 w 57"/>
                <a:gd name="T85" fmla="*/ 31 h 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7" h="62">
                  <a:moveTo>
                    <a:pt x="57" y="31"/>
                  </a:moveTo>
                  <a:lnTo>
                    <a:pt x="53" y="31"/>
                  </a:lnTo>
                  <a:lnTo>
                    <a:pt x="51" y="34"/>
                  </a:lnTo>
                  <a:lnTo>
                    <a:pt x="48" y="35"/>
                  </a:lnTo>
                  <a:lnTo>
                    <a:pt x="52" y="27"/>
                  </a:lnTo>
                  <a:lnTo>
                    <a:pt x="51" y="19"/>
                  </a:lnTo>
                  <a:lnTo>
                    <a:pt x="47" y="16"/>
                  </a:lnTo>
                  <a:lnTo>
                    <a:pt x="48" y="14"/>
                  </a:lnTo>
                  <a:lnTo>
                    <a:pt x="45" y="8"/>
                  </a:lnTo>
                  <a:lnTo>
                    <a:pt x="43" y="5"/>
                  </a:lnTo>
                  <a:lnTo>
                    <a:pt x="40" y="1"/>
                  </a:lnTo>
                  <a:lnTo>
                    <a:pt x="27" y="0"/>
                  </a:lnTo>
                  <a:lnTo>
                    <a:pt x="23" y="2"/>
                  </a:lnTo>
                  <a:lnTo>
                    <a:pt x="20" y="1"/>
                  </a:lnTo>
                  <a:lnTo>
                    <a:pt x="15" y="2"/>
                  </a:lnTo>
                  <a:lnTo>
                    <a:pt x="14" y="6"/>
                  </a:lnTo>
                  <a:lnTo>
                    <a:pt x="11" y="12"/>
                  </a:lnTo>
                  <a:lnTo>
                    <a:pt x="7" y="14"/>
                  </a:lnTo>
                  <a:lnTo>
                    <a:pt x="7" y="16"/>
                  </a:lnTo>
                  <a:lnTo>
                    <a:pt x="5" y="19"/>
                  </a:lnTo>
                  <a:lnTo>
                    <a:pt x="3" y="20"/>
                  </a:lnTo>
                  <a:lnTo>
                    <a:pt x="1" y="20"/>
                  </a:lnTo>
                  <a:lnTo>
                    <a:pt x="1" y="21"/>
                  </a:lnTo>
                  <a:lnTo>
                    <a:pt x="1" y="21"/>
                  </a:lnTo>
                  <a:lnTo>
                    <a:pt x="3" y="21"/>
                  </a:lnTo>
                  <a:lnTo>
                    <a:pt x="3" y="22"/>
                  </a:lnTo>
                  <a:lnTo>
                    <a:pt x="4" y="22"/>
                  </a:lnTo>
                  <a:lnTo>
                    <a:pt x="5" y="22"/>
                  </a:lnTo>
                  <a:lnTo>
                    <a:pt x="5" y="22"/>
                  </a:lnTo>
                  <a:lnTo>
                    <a:pt x="4" y="22"/>
                  </a:lnTo>
                  <a:lnTo>
                    <a:pt x="5" y="23"/>
                  </a:lnTo>
                  <a:lnTo>
                    <a:pt x="7" y="23"/>
                  </a:lnTo>
                  <a:lnTo>
                    <a:pt x="5" y="23"/>
                  </a:lnTo>
                  <a:lnTo>
                    <a:pt x="3" y="23"/>
                  </a:lnTo>
                  <a:lnTo>
                    <a:pt x="3" y="27"/>
                  </a:lnTo>
                  <a:lnTo>
                    <a:pt x="3" y="28"/>
                  </a:lnTo>
                  <a:lnTo>
                    <a:pt x="4" y="31"/>
                  </a:lnTo>
                  <a:lnTo>
                    <a:pt x="5" y="29"/>
                  </a:lnTo>
                  <a:lnTo>
                    <a:pt x="4" y="27"/>
                  </a:lnTo>
                  <a:lnTo>
                    <a:pt x="5" y="28"/>
                  </a:lnTo>
                  <a:lnTo>
                    <a:pt x="6" y="27"/>
                  </a:lnTo>
                  <a:lnTo>
                    <a:pt x="6" y="28"/>
                  </a:lnTo>
                  <a:lnTo>
                    <a:pt x="6" y="28"/>
                  </a:lnTo>
                  <a:lnTo>
                    <a:pt x="5" y="28"/>
                  </a:lnTo>
                  <a:lnTo>
                    <a:pt x="5" y="28"/>
                  </a:lnTo>
                  <a:lnTo>
                    <a:pt x="6" y="29"/>
                  </a:lnTo>
                  <a:lnTo>
                    <a:pt x="7" y="28"/>
                  </a:lnTo>
                  <a:lnTo>
                    <a:pt x="8" y="27"/>
                  </a:lnTo>
                  <a:lnTo>
                    <a:pt x="7" y="29"/>
                  </a:lnTo>
                  <a:lnTo>
                    <a:pt x="8" y="28"/>
                  </a:lnTo>
                  <a:lnTo>
                    <a:pt x="8" y="29"/>
                  </a:lnTo>
                  <a:lnTo>
                    <a:pt x="7" y="31"/>
                  </a:lnTo>
                  <a:lnTo>
                    <a:pt x="6" y="29"/>
                  </a:lnTo>
                  <a:lnTo>
                    <a:pt x="6" y="31"/>
                  </a:lnTo>
                  <a:lnTo>
                    <a:pt x="5" y="32"/>
                  </a:lnTo>
                  <a:lnTo>
                    <a:pt x="6" y="32"/>
                  </a:lnTo>
                  <a:lnTo>
                    <a:pt x="6" y="33"/>
                  </a:lnTo>
                  <a:lnTo>
                    <a:pt x="4" y="33"/>
                  </a:lnTo>
                  <a:lnTo>
                    <a:pt x="3" y="31"/>
                  </a:lnTo>
                  <a:lnTo>
                    <a:pt x="1" y="31"/>
                  </a:lnTo>
                  <a:lnTo>
                    <a:pt x="1" y="31"/>
                  </a:lnTo>
                  <a:lnTo>
                    <a:pt x="0" y="32"/>
                  </a:lnTo>
                  <a:lnTo>
                    <a:pt x="0" y="33"/>
                  </a:lnTo>
                  <a:lnTo>
                    <a:pt x="4" y="35"/>
                  </a:lnTo>
                  <a:lnTo>
                    <a:pt x="4" y="38"/>
                  </a:lnTo>
                  <a:lnTo>
                    <a:pt x="5" y="38"/>
                  </a:lnTo>
                  <a:lnTo>
                    <a:pt x="6" y="35"/>
                  </a:lnTo>
                  <a:lnTo>
                    <a:pt x="7" y="35"/>
                  </a:lnTo>
                  <a:lnTo>
                    <a:pt x="7" y="36"/>
                  </a:lnTo>
                  <a:lnTo>
                    <a:pt x="7" y="38"/>
                  </a:lnTo>
                  <a:lnTo>
                    <a:pt x="7" y="38"/>
                  </a:lnTo>
                  <a:lnTo>
                    <a:pt x="8" y="39"/>
                  </a:lnTo>
                  <a:lnTo>
                    <a:pt x="8" y="41"/>
                  </a:lnTo>
                  <a:lnTo>
                    <a:pt x="10" y="42"/>
                  </a:lnTo>
                  <a:lnTo>
                    <a:pt x="8" y="42"/>
                  </a:lnTo>
                  <a:lnTo>
                    <a:pt x="7" y="43"/>
                  </a:lnTo>
                  <a:lnTo>
                    <a:pt x="7" y="43"/>
                  </a:lnTo>
                  <a:lnTo>
                    <a:pt x="10" y="45"/>
                  </a:lnTo>
                  <a:lnTo>
                    <a:pt x="10" y="45"/>
                  </a:lnTo>
                  <a:lnTo>
                    <a:pt x="11" y="46"/>
                  </a:lnTo>
                  <a:lnTo>
                    <a:pt x="10" y="46"/>
                  </a:lnTo>
                  <a:lnTo>
                    <a:pt x="12" y="47"/>
                  </a:lnTo>
                  <a:lnTo>
                    <a:pt x="13" y="47"/>
                  </a:lnTo>
                  <a:lnTo>
                    <a:pt x="14" y="47"/>
                  </a:lnTo>
                  <a:lnTo>
                    <a:pt x="15" y="46"/>
                  </a:lnTo>
                  <a:lnTo>
                    <a:pt x="17" y="46"/>
                  </a:lnTo>
                  <a:lnTo>
                    <a:pt x="15" y="47"/>
                  </a:lnTo>
                  <a:lnTo>
                    <a:pt x="15" y="48"/>
                  </a:lnTo>
                  <a:lnTo>
                    <a:pt x="15" y="48"/>
                  </a:lnTo>
                  <a:lnTo>
                    <a:pt x="15" y="48"/>
                  </a:lnTo>
                  <a:lnTo>
                    <a:pt x="14" y="49"/>
                  </a:lnTo>
                  <a:lnTo>
                    <a:pt x="15" y="49"/>
                  </a:lnTo>
                  <a:lnTo>
                    <a:pt x="18" y="49"/>
                  </a:lnTo>
                  <a:lnTo>
                    <a:pt x="19" y="49"/>
                  </a:lnTo>
                  <a:lnTo>
                    <a:pt x="20" y="48"/>
                  </a:lnTo>
                  <a:lnTo>
                    <a:pt x="21" y="49"/>
                  </a:lnTo>
                  <a:lnTo>
                    <a:pt x="20" y="49"/>
                  </a:lnTo>
                  <a:lnTo>
                    <a:pt x="19" y="51"/>
                  </a:lnTo>
                  <a:lnTo>
                    <a:pt x="18" y="51"/>
                  </a:lnTo>
                  <a:lnTo>
                    <a:pt x="17" y="51"/>
                  </a:lnTo>
                  <a:lnTo>
                    <a:pt x="15" y="52"/>
                  </a:lnTo>
                  <a:lnTo>
                    <a:pt x="15" y="53"/>
                  </a:lnTo>
                  <a:lnTo>
                    <a:pt x="17" y="53"/>
                  </a:lnTo>
                  <a:lnTo>
                    <a:pt x="18" y="53"/>
                  </a:lnTo>
                  <a:lnTo>
                    <a:pt x="18" y="54"/>
                  </a:lnTo>
                  <a:lnTo>
                    <a:pt x="17" y="53"/>
                  </a:lnTo>
                  <a:lnTo>
                    <a:pt x="15" y="53"/>
                  </a:lnTo>
                  <a:lnTo>
                    <a:pt x="15" y="54"/>
                  </a:lnTo>
                  <a:lnTo>
                    <a:pt x="15" y="54"/>
                  </a:lnTo>
                  <a:lnTo>
                    <a:pt x="19" y="56"/>
                  </a:lnTo>
                  <a:lnTo>
                    <a:pt x="23" y="56"/>
                  </a:lnTo>
                  <a:lnTo>
                    <a:pt x="27" y="58"/>
                  </a:lnTo>
                  <a:lnTo>
                    <a:pt x="30" y="59"/>
                  </a:lnTo>
                  <a:lnTo>
                    <a:pt x="31" y="61"/>
                  </a:lnTo>
                  <a:lnTo>
                    <a:pt x="33" y="62"/>
                  </a:lnTo>
                  <a:lnTo>
                    <a:pt x="33" y="62"/>
                  </a:lnTo>
                  <a:lnTo>
                    <a:pt x="35" y="62"/>
                  </a:lnTo>
                  <a:lnTo>
                    <a:pt x="34" y="62"/>
                  </a:lnTo>
                  <a:lnTo>
                    <a:pt x="37" y="56"/>
                  </a:lnTo>
                  <a:lnTo>
                    <a:pt x="39" y="56"/>
                  </a:lnTo>
                  <a:lnTo>
                    <a:pt x="48" y="47"/>
                  </a:lnTo>
                  <a:lnTo>
                    <a:pt x="50" y="46"/>
                  </a:lnTo>
                  <a:lnTo>
                    <a:pt x="50" y="40"/>
                  </a:lnTo>
                  <a:lnTo>
                    <a:pt x="52" y="38"/>
                  </a:lnTo>
                  <a:lnTo>
                    <a:pt x="55" y="38"/>
                  </a:lnTo>
                  <a:lnTo>
                    <a:pt x="55" y="32"/>
                  </a:lnTo>
                  <a:lnTo>
                    <a:pt x="55" y="31"/>
                  </a:lnTo>
                  <a:lnTo>
                    <a:pt x="57" y="31"/>
                  </a:lnTo>
                  <a:lnTo>
                    <a:pt x="57" y="31"/>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277" name="Seychelles">
              <a:extLst>
                <a:ext uri="{FF2B5EF4-FFF2-40B4-BE49-F238E27FC236}">
                  <a16:creationId xmlns:a16="http://schemas.microsoft.com/office/drawing/2014/main" id="{32D51C45-5ABD-D943-9E13-57E69AC18ABA}"/>
                </a:ext>
              </a:extLst>
            </p:cNvPr>
            <p:cNvSpPr>
              <a:spLocks/>
            </p:cNvSpPr>
            <p:nvPr/>
          </p:nvSpPr>
          <p:spPr bwMode="auto">
            <a:xfrm>
              <a:off x="7589923" y="4250420"/>
              <a:ext cx="7290" cy="1458"/>
            </a:xfrm>
            <a:custGeom>
              <a:avLst/>
              <a:gdLst>
                <a:gd name="T0" fmla="*/ 0 w 5"/>
                <a:gd name="T1" fmla="*/ 1 h 1"/>
                <a:gd name="T2" fmla="*/ 0 w 5"/>
                <a:gd name="T3" fmla="*/ 1 h 1"/>
                <a:gd name="T4" fmla="*/ 5 w 5"/>
                <a:gd name="T5" fmla="*/ 0 h 1"/>
                <a:gd name="T6" fmla="*/ 0 w 5"/>
                <a:gd name="T7" fmla="*/ 1 h 1"/>
                <a:gd name="T8" fmla="*/ 0 w 5"/>
                <a:gd name="T9" fmla="*/ 1 h 1"/>
              </a:gdLst>
              <a:ahLst/>
              <a:cxnLst>
                <a:cxn ang="0">
                  <a:pos x="T0" y="T1"/>
                </a:cxn>
                <a:cxn ang="0">
                  <a:pos x="T2" y="T3"/>
                </a:cxn>
                <a:cxn ang="0">
                  <a:pos x="T4" y="T5"/>
                </a:cxn>
                <a:cxn ang="0">
                  <a:pos x="T6" y="T7"/>
                </a:cxn>
                <a:cxn ang="0">
                  <a:pos x="T8" y="T9"/>
                </a:cxn>
              </a:cxnLst>
              <a:rect l="0" t="0" r="r" b="b"/>
              <a:pathLst>
                <a:path w="5" h="1">
                  <a:moveTo>
                    <a:pt x="0" y="1"/>
                  </a:moveTo>
                  <a:lnTo>
                    <a:pt x="0" y="1"/>
                  </a:lnTo>
                  <a:lnTo>
                    <a:pt x="5" y="0"/>
                  </a:lnTo>
                  <a:lnTo>
                    <a:pt x="0" y="1"/>
                  </a:lnTo>
                  <a:lnTo>
                    <a:pt x="0" y="1"/>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278" name="Senegal">
              <a:extLst>
                <a:ext uri="{FF2B5EF4-FFF2-40B4-BE49-F238E27FC236}">
                  <a16:creationId xmlns:a16="http://schemas.microsoft.com/office/drawing/2014/main" id="{8FBE3A64-3B03-6742-A317-831B2775D06C}"/>
                </a:ext>
              </a:extLst>
            </p:cNvPr>
            <p:cNvSpPr>
              <a:spLocks/>
            </p:cNvSpPr>
            <p:nvPr/>
          </p:nvSpPr>
          <p:spPr bwMode="auto">
            <a:xfrm>
              <a:off x="5904534" y="3486455"/>
              <a:ext cx="161832" cy="131215"/>
            </a:xfrm>
            <a:custGeom>
              <a:avLst/>
              <a:gdLst>
                <a:gd name="T0" fmla="*/ 11 w 111"/>
                <a:gd name="T1" fmla="*/ 31 h 90"/>
                <a:gd name="T2" fmla="*/ 0 w 111"/>
                <a:gd name="T3" fmla="*/ 43 h 90"/>
                <a:gd name="T4" fmla="*/ 7 w 111"/>
                <a:gd name="T5" fmla="*/ 44 h 90"/>
                <a:gd name="T6" fmla="*/ 13 w 111"/>
                <a:gd name="T7" fmla="*/ 56 h 90"/>
                <a:gd name="T8" fmla="*/ 13 w 111"/>
                <a:gd name="T9" fmla="*/ 54 h 90"/>
                <a:gd name="T10" fmla="*/ 16 w 111"/>
                <a:gd name="T11" fmla="*/ 54 h 90"/>
                <a:gd name="T12" fmla="*/ 20 w 111"/>
                <a:gd name="T13" fmla="*/ 52 h 90"/>
                <a:gd name="T14" fmla="*/ 17 w 111"/>
                <a:gd name="T15" fmla="*/ 54 h 90"/>
                <a:gd name="T16" fmla="*/ 14 w 111"/>
                <a:gd name="T17" fmla="*/ 57 h 90"/>
                <a:gd name="T18" fmla="*/ 14 w 111"/>
                <a:gd name="T19" fmla="*/ 59 h 90"/>
                <a:gd name="T20" fmla="*/ 18 w 111"/>
                <a:gd name="T21" fmla="*/ 59 h 90"/>
                <a:gd name="T22" fmla="*/ 14 w 111"/>
                <a:gd name="T23" fmla="*/ 62 h 90"/>
                <a:gd name="T24" fmla="*/ 16 w 111"/>
                <a:gd name="T25" fmla="*/ 64 h 90"/>
                <a:gd name="T26" fmla="*/ 47 w 111"/>
                <a:gd name="T27" fmla="*/ 60 h 90"/>
                <a:gd name="T28" fmla="*/ 64 w 111"/>
                <a:gd name="T29" fmla="*/ 65 h 90"/>
                <a:gd name="T30" fmla="*/ 52 w 111"/>
                <a:gd name="T31" fmla="*/ 69 h 90"/>
                <a:gd name="T32" fmla="*/ 37 w 111"/>
                <a:gd name="T33" fmla="*/ 69 h 90"/>
                <a:gd name="T34" fmla="*/ 12 w 111"/>
                <a:gd name="T35" fmla="*/ 78 h 90"/>
                <a:gd name="T36" fmla="*/ 12 w 111"/>
                <a:gd name="T37" fmla="*/ 82 h 90"/>
                <a:gd name="T38" fmla="*/ 13 w 111"/>
                <a:gd name="T39" fmla="*/ 83 h 90"/>
                <a:gd name="T40" fmla="*/ 14 w 111"/>
                <a:gd name="T41" fmla="*/ 83 h 90"/>
                <a:gd name="T42" fmla="*/ 17 w 111"/>
                <a:gd name="T43" fmla="*/ 84 h 90"/>
                <a:gd name="T44" fmla="*/ 18 w 111"/>
                <a:gd name="T45" fmla="*/ 85 h 90"/>
                <a:gd name="T46" fmla="*/ 24 w 111"/>
                <a:gd name="T47" fmla="*/ 84 h 90"/>
                <a:gd name="T48" fmla="*/ 29 w 111"/>
                <a:gd name="T49" fmla="*/ 84 h 90"/>
                <a:gd name="T50" fmla="*/ 33 w 111"/>
                <a:gd name="T51" fmla="*/ 84 h 90"/>
                <a:gd name="T52" fmla="*/ 36 w 111"/>
                <a:gd name="T53" fmla="*/ 80 h 90"/>
                <a:gd name="T54" fmla="*/ 37 w 111"/>
                <a:gd name="T55" fmla="*/ 80 h 90"/>
                <a:gd name="T56" fmla="*/ 33 w 111"/>
                <a:gd name="T57" fmla="*/ 85 h 90"/>
                <a:gd name="T58" fmla="*/ 27 w 111"/>
                <a:gd name="T59" fmla="*/ 85 h 90"/>
                <a:gd name="T60" fmla="*/ 17 w 111"/>
                <a:gd name="T61" fmla="*/ 85 h 90"/>
                <a:gd name="T62" fmla="*/ 13 w 111"/>
                <a:gd name="T63" fmla="*/ 86 h 90"/>
                <a:gd name="T64" fmla="*/ 23 w 111"/>
                <a:gd name="T65" fmla="*/ 87 h 90"/>
                <a:gd name="T66" fmla="*/ 74 w 111"/>
                <a:gd name="T67" fmla="*/ 83 h 90"/>
                <a:gd name="T68" fmla="*/ 111 w 111"/>
                <a:gd name="T69" fmla="*/ 87 h 90"/>
                <a:gd name="T70" fmla="*/ 110 w 111"/>
                <a:gd name="T71" fmla="*/ 76 h 90"/>
                <a:gd name="T72" fmla="*/ 101 w 111"/>
                <a:gd name="T73" fmla="*/ 67 h 90"/>
                <a:gd name="T74" fmla="*/ 99 w 111"/>
                <a:gd name="T75" fmla="*/ 59 h 90"/>
                <a:gd name="T76" fmla="*/ 96 w 111"/>
                <a:gd name="T77" fmla="*/ 47 h 90"/>
                <a:gd name="T78" fmla="*/ 93 w 111"/>
                <a:gd name="T79" fmla="*/ 39 h 90"/>
                <a:gd name="T80" fmla="*/ 85 w 111"/>
                <a:gd name="T81" fmla="*/ 32 h 90"/>
                <a:gd name="T82" fmla="*/ 83 w 111"/>
                <a:gd name="T83" fmla="*/ 26 h 90"/>
                <a:gd name="T84" fmla="*/ 77 w 111"/>
                <a:gd name="T85" fmla="*/ 19 h 90"/>
                <a:gd name="T86" fmla="*/ 72 w 111"/>
                <a:gd name="T87" fmla="*/ 13 h 90"/>
                <a:gd name="T88" fmla="*/ 69 w 111"/>
                <a:gd name="T89" fmla="*/ 11 h 90"/>
                <a:gd name="T90" fmla="*/ 59 w 111"/>
                <a:gd name="T91" fmla="*/ 3 h 90"/>
                <a:gd name="T92" fmla="*/ 54 w 111"/>
                <a:gd name="T93" fmla="*/ 2 h 90"/>
                <a:gd name="T94" fmla="*/ 49 w 111"/>
                <a:gd name="T95" fmla="*/ 2 h 90"/>
                <a:gd name="T96" fmla="*/ 43 w 111"/>
                <a:gd name="T97" fmla="*/ 0 h 90"/>
                <a:gd name="T98" fmla="*/ 32 w 111"/>
                <a:gd name="T99" fmla="*/ 4 h 90"/>
                <a:gd name="T100" fmla="*/ 23 w 111"/>
                <a:gd name="T101" fmla="*/ 6 h 90"/>
                <a:gd name="T102" fmla="*/ 18 w 111"/>
                <a:gd name="T103" fmla="*/ 13 h 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1" h="90">
                  <a:moveTo>
                    <a:pt x="18" y="13"/>
                  </a:moveTo>
                  <a:lnTo>
                    <a:pt x="18" y="18"/>
                  </a:lnTo>
                  <a:lnTo>
                    <a:pt x="16" y="24"/>
                  </a:lnTo>
                  <a:lnTo>
                    <a:pt x="11" y="31"/>
                  </a:lnTo>
                  <a:lnTo>
                    <a:pt x="6" y="37"/>
                  </a:lnTo>
                  <a:lnTo>
                    <a:pt x="4" y="37"/>
                  </a:lnTo>
                  <a:lnTo>
                    <a:pt x="3" y="39"/>
                  </a:lnTo>
                  <a:lnTo>
                    <a:pt x="0" y="43"/>
                  </a:lnTo>
                  <a:lnTo>
                    <a:pt x="1" y="42"/>
                  </a:lnTo>
                  <a:lnTo>
                    <a:pt x="3" y="42"/>
                  </a:lnTo>
                  <a:lnTo>
                    <a:pt x="6" y="43"/>
                  </a:lnTo>
                  <a:lnTo>
                    <a:pt x="7" y="44"/>
                  </a:lnTo>
                  <a:lnTo>
                    <a:pt x="10" y="47"/>
                  </a:lnTo>
                  <a:lnTo>
                    <a:pt x="10" y="50"/>
                  </a:lnTo>
                  <a:lnTo>
                    <a:pt x="11" y="52"/>
                  </a:lnTo>
                  <a:lnTo>
                    <a:pt x="13" y="56"/>
                  </a:lnTo>
                  <a:lnTo>
                    <a:pt x="12" y="58"/>
                  </a:lnTo>
                  <a:lnTo>
                    <a:pt x="13" y="57"/>
                  </a:lnTo>
                  <a:lnTo>
                    <a:pt x="13" y="56"/>
                  </a:lnTo>
                  <a:lnTo>
                    <a:pt x="13" y="54"/>
                  </a:lnTo>
                  <a:lnTo>
                    <a:pt x="14" y="53"/>
                  </a:lnTo>
                  <a:lnTo>
                    <a:pt x="14" y="54"/>
                  </a:lnTo>
                  <a:lnTo>
                    <a:pt x="14" y="56"/>
                  </a:lnTo>
                  <a:lnTo>
                    <a:pt x="16" y="54"/>
                  </a:lnTo>
                  <a:lnTo>
                    <a:pt x="18" y="52"/>
                  </a:lnTo>
                  <a:lnTo>
                    <a:pt x="18" y="52"/>
                  </a:lnTo>
                  <a:lnTo>
                    <a:pt x="19" y="52"/>
                  </a:lnTo>
                  <a:lnTo>
                    <a:pt x="20" y="52"/>
                  </a:lnTo>
                  <a:lnTo>
                    <a:pt x="19" y="52"/>
                  </a:lnTo>
                  <a:lnTo>
                    <a:pt x="18" y="53"/>
                  </a:lnTo>
                  <a:lnTo>
                    <a:pt x="17" y="54"/>
                  </a:lnTo>
                  <a:lnTo>
                    <a:pt x="17" y="54"/>
                  </a:lnTo>
                  <a:lnTo>
                    <a:pt x="17" y="56"/>
                  </a:lnTo>
                  <a:lnTo>
                    <a:pt x="16" y="56"/>
                  </a:lnTo>
                  <a:lnTo>
                    <a:pt x="16" y="56"/>
                  </a:lnTo>
                  <a:lnTo>
                    <a:pt x="14" y="57"/>
                  </a:lnTo>
                  <a:lnTo>
                    <a:pt x="13" y="58"/>
                  </a:lnTo>
                  <a:lnTo>
                    <a:pt x="13" y="60"/>
                  </a:lnTo>
                  <a:lnTo>
                    <a:pt x="14" y="60"/>
                  </a:lnTo>
                  <a:lnTo>
                    <a:pt x="14" y="59"/>
                  </a:lnTo>
                  <a:lnTo>
                    <a:pt x="18" y="56"/>
                  </a:lnTo>
                  <a:lnTo>
                    <a:pt x="18" y="58"/>
                  </a:lnTo>
                  <a:lnTo>
                    <a:pt x="18" y="59"/>
                  </a:lnTo>
                  <a:lnTo>
                    <a:pt x="18" y="59"/>
                  </a:lnTo>
                  <a:lnTo>
                    <a:pt x="17" y="59"/>
                  </a:lnTo>
                  <a:lnTo>
                    <a:pt x="17" y="59"/>
                  </a:lnTo>
                  <a:lnTo>
                    <a:pt x="14" y="62"/>
                  </a:lnTo>
                  <a:lnTo>
                    <a:pt x="14" y="62"/>
                  </a:lnTo>
                  <a:lnTo>
                    <a:pt x="16" y="62"/>
                  </a:lnTo>
                  <a:lnTo>
                    <a:pt x="18" y="62"/>
                  </a:lnTo>
                  <a:lnTo>
                    <a:pt x="17" y="63"/>
                  </a:lnTo>
                  <a:lnTo>
                    <a:pt x="16" y="64"/>
                  </a:lnTo>
                  <a:lnTo>
                    <a:pt x="17" y="64"/>
                  </a:lnTo>
                  <a:lnTo>
                    <a:pt x="39" y="59"/>
                  </a:lnTo>
                  <a:lnTo>
                    <a:pt x="44" y="59"/>
                  </a:lnTo>
                  <a:lnTo>
                    <a:pt x="47" y="60"/>
                  </a:lnTo>
                  <a:lnTo>
                    <a:pt x="51" y="63"/>
                  </a:lnTo>
                  <a:lnTo>
                    <a:pt x="57" y="67"/>
                  </a:lnTo>
                  <a:lnTo>
                    <a:pt x="60" y="65"/>
                  </a:lnTo>
                  <a:lnTo>
                    <a:pt x="64" y="65"/>
                  </a:lnTo>
                  <a:lnTo>
                    <a:pt x="66" y="69"/>
                  </a:lnTo>
                  <a:lnTo>
                    <a:pt x="60" y="71"/>
                  </a:lnTo>
                  <a:lnTo>
                    <a:pt x="56" y="71"/>
                  </a:lnTo>
                  <a:lnTo>
                    <a:pt x="52" y="69"/>
                  </a:lnTo>
                  <a:lnTo>
                    <a:pt x="49" y="67"/>
                  </a:lnTo>
                  <a:lnTo>
                    <a:pt x="45" y="66"/>
                  </a:lnTo>
                  <a:lnTo>
                    <a:pt x="40" y="65"/>
                  </a:lnTo>
                  <a:lnTo>
                    <a:pt x="37" y="69"/>
                  </a:lnTo>
                  <a:lnTo>
                    <a:pt x="31" y="69"/>
                  </a:lnTo>
                  <a:lnTo>
                    <a:pt x="13" y="74"/>
                  </a:lnTo>
                  <a:lnTo>
                    <a:pt x="13" y="76"/>
                  </a:lnTo>
                  <a:lnTo>
                    <a:pt x="12" y="78"/>
                  </a:lnTo>
                  <a:lnTo>
                    <a:pt x="12" y="80"/>
                  </a:lnTo>
                  <a:lnTo>
                    <a:pt x="12" y="82"/>
                  </a:lnTo>
                  <a:lnTo>
                    <a:pt x="12" y="83"/>
                  </a:lnTo>
                  <a:lnTo>
                    <a:pt x="12" y="82"/>
                  </a:lnTo>
                  <a:lnTo>
                    <a:pt x="13" y="82"/>
                  </a:lnTo>
                  <a:lnTo>
                    <a:pt x="13" y="83"/>
                  </a:lnTo>
                  <a:lnTo>
                    <a:pt x="12" y="85"/>
                  </a:lnTo>
                  <a:lnTo>
                    <a:pt x="13" y="83"/>
                  </a:lnTo>
                  <a:lnTo>
                    <a:pt x="14" y="82"/>
                  </a:lnTo>
                  <a:lnTo>
                    <a:pt x="16" y="82"/>
                  </a:lnTo>
                  <a:lnTo>
                    <a:pt x="16" y="82"/>
                  </a:lnTo>
                  <a:lnTo>
                    <a:pt x="14" y="83"/>
                  </a:lnTo>
                  <a:lnTo>
                    <a:pt x="16" y="83"/>
                  </a:lnTo>
                  <a:lnTo>
                    <a:pt x="16" y="83"/>
                  </a:lnTo>
                  <a:lnTo>
                    <a:pt x="17" y="83"/>
                  </a:lnTo>
                  <a:lnTo>
                    <a:pt x="17" y="84"/>
                  </a:lnTo>
                  <a:lnTo>
                    <a:pt x="17" y="83"/>
                  </a:lnTo>
                  <a:lnTo>
                    <a:pt x="18" y="83"/>
                  </a:lnTo>
                  <a:lnTo>
                    <a:pt x="18" y="83"/>
                  </a:lnTo>
                  <a:lnTo>
                    <a:pt x="18" y="85"/>
                  </a:lnTo>
                  <a:lnTo>
                    <a:pt x="19" y="85"/>
                  </a:lnTo>
                  <a:lnTo>
                    <a:pt x="20" y="84"/>
                  </a:lnTo>
                  <a:lnTo>
                    <a:pt x="21" y="84"/>
                  </a:lnTo>
                  <a:lnTo>
                    <a:pt x="24" y="84"/>
                  </a:lnTo>
                  <a:lnTo>
                    <a:pt x="25" y="84"/>
                  </a:lnTo>
                  <a:lnTo>
                    <a:pt x="25" y="83"/>
                  </a:lnTo>
                  <a:lnTo>
                    <a:pt x="25" y="83"/>
                  </a:lnTo>
                  <a:lnTo>
                    <a:pt x="29" y="84"/>
                  </a:lnTo>
                  <a:lnTo>
                    <a:pt x="30" y="84"/>
                  </a:lnTo>
                  <a:lnTo>
                    <a:pt x="31" y="84"/>
                  </a:lnTo>
                  <a:lnTo>
                    <a:pt x="32" y="84"/>
                  </a:lnTo>
                  <a:lnTo>
                    <a:pt x="33" y="84"/>
                  </a:lnTo>
                  <a:lnTo>
                    <a:pt x="33" y="85"/>
                  </a:lnTo>
                  <a:lnTo>
                    <a:pt x="33" y="84"/>
                  </a:lnTo>
                  <a:lnTo>
                    <a:pt x="34" y="82"/>
                  </a:lnTo>
                  <a:lnTo>
                    <a:pt x="36" y="80"/>
                  </a:lnTo>
                  <a:lnTo>
                    <a:pt x="36" y="80"/>
                  </a:lnTo>
                  <a:lnTo>
                    <a:pt x="37" y="79"/>
                  </a:lnTo>
                  <a:lnTo>
                    <a:pt x="37" y="80"/>
                  </a:lnTo>
                  <a:lnTo>
                    <a:pt x="37" y="80"/>
                  </a:lnTo>
                  <a:lnTo>
                    <a:pt x="36" y="80"/>
                  </a:lnTo>
                  <a:lnTo>
                    <a:pt x="34" y="83"/>
                  </a:lnTo>
                  <a:lnTo>
                    <a:pt x="34" y="84"/>
                  </a:lnTo>
                  <a:lnTo>
                    <a:pt x="33" y="85"/>
                  </a:lnTo>
                  <a:lnTo>
                    <a:pt x="32" y="85"/>
                  </a:lnTo>
                  <a:lnTo>
                    <a:pt x="31" y="85"/>
                  </a:lnTo>
                  <a:lnTo>
                    <a:pt x="29" y="85"/>
                  </a:lnTo>
                  <a:lnTo>
                    <a:pt x="27" y="85"/>
                  </a:lnTo>
                  <a:lnTo>
                    <a:pt x="23" y="85"/>
                  </a:lnTo>
                  <a:lnTo>
                    <a:pt x="21" y="85"/>
                  </a:lnTo>
                  <a:lnTo>
                    <a:pt x="19" y="85"/>
                  </a:lnTo>
                  <a:lnTo>
                    <a:pt x="17" y="85"/>
                  </a:lnTo>
                  <a:lnTo>
                    <a:pt x="17" y="85"/>
                  </a:lnTo>
                  <a:lnTo>
                    <a:pt x="17" y="85"/>
                  </a:lnTo>
                  <a:lnTo>
                    <a:pt x="16" y="84"/>
                  </a:lnTo>
                  <a:lnTo>
                    <a:pt x="13" y="86"/>
                  </a:lnTo>
                  <a:lnTo>
                    <a:pt x="12" y="87"/>
                  </a:lnTo>
                  <a:lnTo>
                    <a:pt x="13" y="89"/>
                  </a:lnTo>
                  <a:lnTo>
                    <a:pt x="13" y="90"/>
                  </a:lnTo>
                  <a:lnTo>
                    <a:pt x="23" y="87"/>
                  </a:lnTo>
                  <a:lnTo>
                    <a:pt x="37" y="85"/>
                  </a:lnTo>
                  <a:lnTo>
                    <a:pt x="40" y="83"/>
                  </a:lnTo>
                  <a:lnTo>
                    <a:pt x="67" y="83"/>
                  </a:lnTo>
                  <a:lnTo>
                    <a:pt x="74" y="83"/>
                  </a:lnTo>
                  <a:lnTo>
                    <a:pt x="76" y="83"/>
                  </a:lnTo>
                  <a:lnTo>
                    <a:pt x="81" y="85"/>
                  </a:lnTo>
                  <a:lnTo>
                    <a:pt x="97" y="89"/>
                  </a:lnTo>
                  <a:lnTo>
                    <a:pt x="111" y="87"/>
                  </a:lnTo>
                  <a:lnTo>
                    <a:pt x="110" y="85"/>
                  </a:lnTo>
                  <a:lnTo>
                    <a:pt x="110" y="83"/>
                  </a:lnTo>
                  <a:lnTo>
                    <a:pt x="111" y="79"/>
                  </a:lnTo>
                  <a:lnTo>
                    <a:pt x="110" y="76"/>
                  </a:lnTo>
                  <a:lnTo>
                    <a:pt x="110" y="73"/>
                  </a:lnTo>
                  <a:lnTo>
                    <a:pt x="106" y="70"/>
                  </a:lnTo>
                  <a:lnTo>
                    <a:pt x="101" y="70"/>
                  </a:lnTo>
                  <a:lnTo>
                    <a:pt x="101" y="67"/>
                  </a:lnTo>
                  <a:lnTo>
                    <a:pt x="100" y="65"/>
                  </a:lnTo>
                  <a:lnTo>
                    <a:pt x="98" y="64"/>
                  </a:lnTo>
                  <a:lnTo>
                    <a:pt x="97" y="63"/>
                  </a:lnTo>
                  <a:lnTo>
                    <a:pt x="99" y="59"/>
                  </a:lnTo>
                  <a:lnTo>
                    <a:pt x="99" y="53"/>
                  </a:lnTo>
                  <a:lnTo>
                    <a:pt x="98" y="51"/>
                  </a:lnTo>
                  <a:lnTo>
                    <a:pt x="97" y="49"/>
                  </a:lnTo>
                  <a:lnTo>
                    <a:pt x="96" y="47"/>
                  </a:lnTo>
                  <a:lnTo>
                    <a:pt x="96" y="45"/>
                  </a:lnTo>
                  <a:lnTo>
                    <a:pt x="96" y="44"/>
                  </a:lnTo>
                  <a:lnTo>
                    <a:pt x="94" y="42"/>
                  </a:lnTo>
                  <a:lnTo>
                    <a:pt x="93" y="39"/>
                  </a:lnTo>
                  <a:lnTo>
                    <a:pt x="92" y="38"/>
                  </a:lnTo>
                  <a:lnTo>
                    <a:pt x="91" y="36"/>
                  </a:lnTo>
                  <a:lnTo>
                    <a:pt x="87" y="32"/>
                  </a:lnTo>
                  <a:lnTo>
                    <a:pt x="85" y="32"/>
                  </a:lnTo>
                  <a:lnTo>
                    <a:pt x="83" y="31"/>
                  </a:lnTo>
                  <a:lnTo>
                    <a:pt x="84" y="30"/>
                  </a:lnTo>
                  <a:lnTo>
                    <a:pt x="84" y="29"/>
                  </a:lnTo>
                  <a:lnTo>
                    <a:pt x="83" y="26"/>
                  </a:lnTo>
                  <a:lnTo>
                    <a:pt x="80" y="25"/>
                  </a:lnTo>
                  <a:lnTo>
                    <a:pt x="78" y="23"/>
                  </a:lnTo>
                  <a:lnTo>
                    <a:pt x="77" y="22"/>
                  </a:lnTo>
                  <a:lnTo>
                    <a:pt x="77" y="19"/>
                  </a:lnTo>
                  <a:lnTo>
                    <a:pt x="76" y="18"/>
                  </a:lnTo>
                  <a:lnTo>
                    <a:pt x="77" y="16"/>
                  </a:lnTo>
                  <a:lnTo>
                    <a:pt x="76" y="13"/>
                  </a:lnTo>
                  <a:lnTo>
                    <a:pt x="72" y="13"/>
                  </a:lnTo>
                  <a:lnTo>
                    <a:pt x="71" y="13"/>
                  </a:lnTo>
                  <a:lnTo>
                    <a:pt x="72" y="12"/>
                  </a:lnTo>
                  <a:lnTo>
                    <a:pt x="69" y="13"/>
                  </a:lnTo>
                  <a:lnTo>
                    <a:pt x="69" y="11"/>
                  </a:lnTo>
                  <a:lnTo>
                    <a:pt x="66" y="10"/>
                  </a:lnTo>
                  <a:lnTo>
                    <a:pt x="63" y="9"/>
                  </a:lnTo>
                  <a:lnTo>
                    <a:pt x="63" y="6"/>
                  </a:lnTo>
                  <a:lnTo>
                    <a:pt x="59" y="3"/>
                  </a:lnTo>
                  <a:lnTo>
                    <a:pt x="58" y="3"/>
                  </a:lnTo>
                  <a:lnTo>
                    <a:pt x="56" y="0"/>
                  </a:lnTo>
                  <a:lnTo>
                    <a:pt x="56" y="2"/>
                  </a:lnTo>
                  <a:lnTo>
                    <a:pt x="54" y="2"/>
                  </a:lnTo>
                  <a:lnTo>
                    <a:pt x="52" y="2"/>
                  </a:lnTo>
                  <a:lnTo>
                    <a:pt x="51" y="2"/>
                  </a:lnTo>
                  <a:lnTo>
                    <a:pt x="49" y="2"/>
                  </a:lnTo>
                  <a:lnTo>
                    <a:pt x="49" y="2"/>
                  </a:lnTo>
                  <a:lnTo>
                    <a:pt x="47" y="2"/>
                  </a:lnTo>
                  <a:lnTo>
                    <a:pt x="46" y="0"/>
                  </a:lnTo>
                  <a:lnTo>
                    <a:pt x="45" y="3"/>
                  </a:lnTo>
                  <a:lnTo>
                    <a:pt x="43" y="0"/>
                  </a:lnTo>
                  <a:lnTo>
                    <a:pt x="40" y="3"/>
                  </a:lnTo>
                  <a:lnTo>
                    <a:pt x="38" y="3"/>
                  </a:lnTo>
                  <a:lnTo>
                    <a:pt x="37" y="4"/>
                  </a:lnTo>
                  <a:lnTo>
                    <a:pt x="32" y="4"/>
                  </a:lnTo>
                  <a:lnTo>
                    <a:pt x="29" y="5"/>
                  </a:lnTo>
                  <a:lnTo>
                    <a:pt x="26" y="3"/>
                  </a:lnTo>
                  <a:lnTo>
                    <a:pt x="25" y="4"/>
                  </a:lnTo>
                  <a:lnTo>
                    <a:pt x="23" y="6"/>
                  </a:lnTo>
                  <a:lnTo>
                    <a:pt x="19" y="10"/>
                  </a:lnTo>
                  <a:lnTo>
                    <a:pt x="18" y="12"/>
                  </a:lnTo>
                  <a:lnTo>
                    <a:pt x="18" y="13"/>
                  </a:lnTo>
                  <a:lnTo>
                    <a:pt x="18" y="13"/>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279" name="San Marino">
              <a:extLst>
                <a:ext uri="{FF2B5EF4-FFF2-40B4-BE49-F238E27FC236}">
                  <a16:creationId xmlns:a16="http://schemas.microsoft.com/office/drawing/2014/main" id="{9CCBAF84-F421-7C47-8ABC-F8CFF88A4DFF}"/>
                </a:ext>
              </a:extLst>
            </p:cNvPr>
            <p:cNvSpPr>
              <a:spLocks/>
            </p:cNvSpPr>
            <p:nvPr/>
          </p:nvSpPr>
          <p:spPr bwMode="auto">
            <a:xfrm>
              <a:off x="6661210" y="2674378"/>
              <a:ext cx="2915" cy="1458"/>
            </a:xfrm>
            <a:custGeom>
              <a:avLst/>
              <a:gdLst>
                <a:gd name="T0" fmla="*/ 1 w 2"/>
                <a:gd name="T1" fmla="*/ 1 h 1"/>
                <a:gd name="T2" fmla="*/ 2 w 2"/>
                <a:gd name="T3" fmla="*/ 1 h 1"/>
                <a:gd name="T4" fmla="*/ 1 w 2"/>
                <a:gd name="T5" fmla="*/ 0 h 1"/>
                <a:gd name="T6" fmla="*/ 0 w 2"/>
                <a:gd name="T7" fmla="*/ 0 h 1"/>
                <a:gd name="T8" fmla="*/ 0 w 2"/>
                <a:gd name="T9" fmla="*/ 1 h 1"/>
                <a:gd name="T10" fmla="*/ 1 w 2"/>
                <a:gd name="T11" fmla="*/ 1 h 1"/>
                <a:gd name="T12" fmla="*/ 1 w 2"/>
                <a:gd name="T13" fmla="*/ 1 h 1"/>
              </a:gdLst>
              <a:ahLst/>
              <a:cxnLst>
                <a:cxn ang="0">
                  <a:pos x="T0" y="T1"/>
                </a:cxn>
                <a:cxn ang="0">
                  <a:pos x="T2" y="T3"/>
                </a:cxn>
                <a:cxn ang="0">
                  <a:pos x="T4" y="T5"/>
                </a:cxn>
                <a:cxn ang="0">
                  <a:pos x="T6" y="T7"/>
                </a:cxn>
                <a:cxn ang="0">
                  <a:pos x="T8" y="T9"/>
                </a:cxn>
                <a:cxn ang="0">
                  <a:pos x="T10" y="T11"/>
                </a:cxn>
                <a:cxn ang="0">
                  <a:pos x="T12" y="T13"/>
                </a:cxn>
              </a:cxnLst>
              <a:rect l="0" t="0" r="r" b="b"/>
              <a:pathLst>
                <a:path w="2" h="1">
                  <a:moveTo>
                    <a:pt x="1" y="1"/>
                  </a:moveTo>
                  <a:lnTo>
                    <a:pt x="2" y="1"/>
                  </a:lnTo>
                  <a:lnTo>
                    <a:pt x="1" y="0"/>
                  </a:lnTo>
                  <a:lnTo>
                    <a:pt x="0" y="0"/>
                  </a:lnTo>
                  <a:lnTo>
                    <a:pt x="0" y="1"/>
                  </a:lnTo>
                  <a:lnTo>
                    <a:pt x="1" y="1"/>
                  </a:lnTo>
                  <a:lnTo>
                    <a:pt x="1" y="1"/>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280" name="El Salvador">
              <a:extLst>
                <a:ext uri="{FF2B5EF4-FFF2-40B4-BE49-F238E27FC236}">
                  <a16:creationId xmlns:a16="http://schemas.microsoft.com/office/drawing/2014/main" id="{0556B442-2A00-5244-8772-F08B50F94EFB}"/>
                </a:ext>
              </a:extLst>
            </p:cNvPr>
            <p:cNvSpPr>
              <a:spLocks/>
            </p:cNvSpPr>
            <p:nvPr/>
          </p:nvSpPr>
          <p:spPr bwMode="auto">
            <a:xfrm>
              <a:off x="4000453" y="3554979"/>
              <a:ext cx="62691" cy="39364"/>
            </a:xfrm>
            <a:custGeom>
              <a:avLst/>
              <a:gdLst>
                <a:gd name="T0" fmla="*/ 1 w 43"/>
                <a:gd name="T1" fmla="*/ 11 h 27"/>
                <a:gd name="T2" fmla="*/ 7 w 43"/>
                <a:gd name="T3" fmla="*/ 9 h 27"/>
                <a:gd name="T4" fmla="*/ 8 w 43"/>
                <a:gd name="T5" fmla="*/ 6 h 27"/>
                <a:gd name="T6" fmla="*/ 10 w 43"/>
                <a:gd name="T7" fmla="*/ 5 h 27"/>
                <a:gd name="T8" fmla="*/ 10 w 43"/>
                <a:gd name="T9" fmla="*/ 3 h 27"/>
                <a:gd name="T10" fmla="*/ 11 w 43"/>
                <a:gd name="T11" fmla="*/ 0 h 27"/>
                <a:gd name="T12" fmla="*/ 13 w 43"/>
                <a:gd name="T13" fmla="*/ 0 h 27"/>
                <a:gd name="T14" fmla="*/ 21 w 43"/>
                <a:gd name="T15" fmla="*/ 3 h 27"/>
                <a:gd name="T16" fmla="*/ 23 w 43"/>
                <a:gd name="T17" fmla="*/ 5 h 27"/>
                <a:gd name="T18" fmla="*/ 25 w 43"/>
                <a:gd name="T19" fmla="*/ 7 h 27"/>
                <a:gd name="T20" fmla="*/ 28 w 43"/>
                <a:gd name="T21" fmla="*/ 10 h 27"/>
                <a:gd name="T22" fmla="*/ 29 w 43"/>
                <a:gd name="T23" fmla="*/ 12 h 27"/>
                <a:gd name="T24" fmla="*/ 31 w 43"/>
                <a:gd name="T25" fmla="*/ 11 h 27"/>
                <a:gd name="T26" fmla="*/ 34 w 43"/>
                <a:gd name="T27" fmla="*/ 10 h 27"/>
                <a:gd name="T28" fmla="*/ 35 w 43"/>
                <a:gd name="T29" fmla="*/ 10 h 27"/>
                <a:gd name="T30" fmla="*/ 38 w 43"/>
                <a:gd name="T31" fmla="*/ 12 h 27"/>
                <a:gd name="T32" fmla="*/ 40 w 43"/>
                <a:gd name="T33" fmla="*/ 11 h 27"/>
                <a:gd name="T34" fmla="*/ 42 w 43"/>
                <a:gd name="T35" fmla="*/ 11 h 27"/>
                <a:gd name="T36" fmla="*/ 42 w 43"/>
                <a:gd name="T37" fmla="*/ 15 h 27"/>
                <a:gd name="T38" fmla="*/ 41 w 43"/>
                <a:gd name="T39" fmla="*/ 19 h 27"/>
                <a:gd name="T40" fmla="*/ 42 w 43"/>
                <a:gd name="T41" fmla="*/ 19 h 27"/>
                <a:gd name="T42" fmla="*/ 41 w 43"/>
                <a:gd name="T43" fmla="*/ 20 h 27"/>
                <a:gd name="T44" fmla="*/ 41 w 43"/>
                <a:gd name="T45" fmla="*/ 24 h 27"/>
                <a:gd name="T46" fmla="*/ 38 w 43"/>
                <a:gd name="T47" fmla="*/ 26 h 27"/>
                <a:gd name="T48" fmla="*/ 30 w 43"/>
                <a:gd name="T49" fmla="*/ 26 h 27"/>
                <a:gd name="T50" fmla="*/ 30 w 43"/>
                <a:gd name="T51" fmla="*/ 25 h 27"/>
                <a:gd name="T52" fmla="*/ 30 w 43"/>
                <a:gd name="T53" fmla="*/ 26 h 27"/>
                <a:gd name="T54" fmla="*/ 29 w 43"/>
                <a:gd name="T55" fmla="*/ 26 h 27"/>
                <a:gd name="T56" fmla="*/ 29 w 43"/>
                <a:gd name="T57" fmla="*/ 25 h 27"/>
                <a:gd name="T58" fmla="*/ 28 w 43"/>
                <a:gd name="T59" fmla="*/ 25 h 27"/>
                <a:gd name="T60" fmla="*/ 25 w 43"/>
                <a:gd name="T61" fmla="*/ 24 h 27"/>
                <a:gd name="T62" fmla="*/ 27 w 43"/>
                <a:gd name="T63" fmla="*/ 24 h 27"/>
                <a:gd name="T64" fmla="*/ 27 w 43"/>
                <a:gd name="T65" fmla="*/ 25 h 27"/>
                <a:gd name="T66" fmla="*/ 22 w 43"/>
                <a:gd name="T67" fmla="*/ 25 h 27"/>
                <a:gd name="T68" fmla="*/ 14 w 43"/>
                <a:gd name="T69" fmla="*/ 19 h 27"/>
                <a:gd name="T70" fmla="*/ 8 w 43"/>
                <a:gd name="T71" fmla="*/ 18 h 27"/>
                <a:gd name="T72" fmla="*/ 4 w 43"/>
                <a:gd name="T73" fmla="*/ 18 h 27"/>
                <a:gd name="T74" fmla="*/ 2 w 43"/>
                <a:gd name="T75" fmla="*/ 15 h 27"/>
                <a:gd name="T76" fmla="*/ 0 w 43"/>
                <a:gd name="T77" fmla="*/ 15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43" h="27">
                  <a:moveTo>
                    <a:pt x="0" y="15"/>
                  </a:moveTo>
                  <a:lnTo>
                    <a:pt x="1" y="11"/>
                  </a:lnTo>
                  <a:lnTo>
                    <a:pt x="5" y="7"/>
                  </a:lnTo>
                  <a:lnTo>
                    <a:pt x="7" y="9"/>
                  </a:lnTo>
                  <a:lnTo>
                    <a:pt x="7" y="7"/>
                  </a:lnTo>
                  <a:lnTo>
                    <a:pt x="8" y="6"/>
                  </a:lnTo>
                  <a:lnTo>
                    <a:pt x="9" y="4"/>
                  </a:lnTo>
                  <a:lnTo>
                    <a:pt x="10" y="5"/>
                  </a:lnTo>
                  <a:lnTo>
                    <a:pt x="11" y="4"/>
                  </a:lnTo>
                  <a:lnTo>
                    <a:pt x="10" y="3"/>
                  </a:lnTo>
                  <a:lnTo>
                    <a:pt x="11" y="0"/>
                  </a:lnTo>
                  <a:lnTo>
                    <a:pt x="11" y="0"/>
                  </a:lnTo>
                  <a:lnTo>
                    <a:pt x="11" y="2"/>
                  </a:lnTo>
                  <a:lnTo>
                    <a:pt x="13" y="0"/>
                  </a:lnTo>
                  <a:lnTo>
                    <a:pt x="15" y="0"/>
                  </a:lnTo>
                  <a:lnTo>
                    <a:pt x="21" y="3"/>
                  </a:lnTo>
                  <a:lnTo>
                    <a:pt x="21" y="5"/>
                  </a:lnTo>
                  <a:lnTo>
                    <a:pt x="23" y="5"/>
                  </a:lnTo>
                  <a:lnTo>
                    <a:pt x="24" y="6"/>
                  </a:lnTo>
                  <a:lnTo>
                    <a:pt x="25" y="7"/>
                  </a:lnTo>
                  <a:lnTo>
                    <a:pt x="25" y="9"/>
                  </a:lnTo>
                  <a:lnTo>
                    <a:pt x="28" y="10"/>
                  </a:lnTo>
                  <a:lnTo>
                    <a:pt x="29" y="10"/>
                  </a:lnTo>
                  <a:lnTo>
                    <a:pt x="29" y="12"/>
                  </a:lnTo>
                  <a:lnTo>
                    <a:pt x="31" y="12"/>
                  </a:lnTo>
                  <a:lnTo>
                    <a:pt x="31" y="11"/>
                  </a:lnTo>
                  <a:lnTo>
                    <a:pt x="34" y="11"/>
                  </a:lnTo>
                  <a:lnTo>
                    <a:pt x="34" y="10"/>
                  </a:lnTo>
                  <a:lnTo>
                    <a:pt x="35" y="10"/>
                  </a:lnTo>
                  <a:lnTo>
                    <a:pt x="35" y="10"/>
                  </a:lnTo>
                  <a:lnTo>
                    <a:pt x="37" y="10"/>
                  </a:lnTo>
                  <a:lnTo>
                    <a:pt x="38" y="12"/>
                  </a:lnTo>
                  <a:lnTo>
                    <a:pt x="38" y="11"/>
                  </a:lnTo>
                  <a:lnTo>
                    <a:pt x="40" y="11"/>
                  </a:lnTo>
                  <a:lnTo>
                    <a:pt x="40" y="11"/>
                  </a:lnTo>
                  <a:lnTo>
                    <a:pt x="42" y="11"/>
                  </a:lnTo>
                  <a:lnTo>
                    <a:pt x="43" y="13"/>
                  </a:lnTo>
                  <a:lnTo>
                    <a:pt x="42" y="15"/>
                  </a:lnTo>
                  <a:lnTo>
                    <a:pt x="43" y="16"/>
                  </a:lnTo>
                  <a:lnTo>
                    <a:pt x="41" y="19"/>
                  </a:lnTo>
                  <a:lnTo>
                    <a:pt x="42" y="19"/>
                  </a:lnTo>
                  <a:lnTo>
                    <a:pt x="42" y="19"/>
                  </a:lnTo>
                  <a:lnTo>
                    <a:pt x="42" y="20"/>
                  </a:lnTo>
                  <a:lnTo>
                    <a:pt x="41" y="20"/>
                  </a:lnTo>
                  <a:lnTo>
                    <a:pt x="40" y="22"/>
                  </a:lnTo>
                  <a:lnTo>
                    <a:pt x="41" y="24"/>
                  </a:lnTo>
                  <a:lnTo>
                    <a:pt x="38" y="26"/>
                  </a:lnTo>
                  <a:lnTo>
                    <a:pt x="38" y="26"/>
                  </a:lnTo>
                  <a:lnTo>
                    <a:pt x="38" y="27"/>
                  </a:lnTo>
                  <a:lnTo>
                    <a:pt x="30" y="26"/>
                  </a:lnTo>
                  <a:lnTo>
                    <a:pt x="31" y="26"/>
                  </a:lnTo>
                  <a:lnTo>
                    <a:pt x="30" y="25"/>
                  </a:lnTo>
                  <a:lnTo>
                    <a:pt x="30" y="26"/>
                  </a:lnTo>
                  <a:lnTo>
                    <a:pt x="30" y="26"/>
                  </a:lnTo>
                  <a:lnTo>
                    <a:pt x="30" y="26"/>
                  </a:lnTo>
                  <a:lnTo>
                    <a:pt x="29" y="26"/>
                  </a:lnTo>
                  <a:lnTo>
                    <a:pt x="29" y="25"/>
                  </a:lnTo>
                  <a:lnTo>
                    <a:pt x="29" y="25"/>
                  </a:lnTo>
                  <a:lnTo>
                    <a:pt x="29" y="25"/>
                  </a:lnTo>
                  <a:lnTo>
                    <a:pt x="28" y="25"/>
                  </a:lnTo>
                  <a:lnTo>
                    <a:pt x="27" y="24"/>
                  </a:lnTo>
                  <a:lnTo>
                    <a:pt x="25" y="24"/>
                  </a:lnTo>
                  <a:lnTo>
                    <a:pt x="24" y="24"/>
                  </a:lnTo>
                  <a:lnTo>
                    <a:pt x="27" y="24"/>
                  </a:lnTo>
                  <a:lnTo>
                    <a:pt x="27" y="25"/>
                  </a:lnTo>
                  <a:lnTo>
                    <a:pt x="27" y="25"/>
                  </a:lnTo>
                  <a:lnTo>
                    <a:pt x="29" y="26"/>
                  </a:lnTo>
                  <a:lnTo>
                    <a:pt x="22" y="25"/>
                  </a:lnTo>
                  <a:lnTo>
                    <a:pt x="15" y="22"/>
                  </a:lnTo>
                  <a:lnTo>
                    <a:pt x="14" y="19"/>
                  </a:lnTo>
                  <a:lnTo>
                    <a:pt x="11" y="19"/>
                  </a:lnTo>
                  <a:lnTo>
                    <a:pt x="8" y="18"/>
                  </a:lnTo>
                  <a:lnTo>
                    <a:pt x="4" y="19"/>
                  </a:lnTo>
                  <a:lnTo>
                    <a:pt x="4" y="18"/>
                  </a:lnTo>
                  <a:lnTo>
                    <a:pt x="4" y="17"/>
                  </a:lnTo>
                  <a:lnTo>
                    <a:pt x="2" y="15"/>
                  </a:lnTo>
                  <a:lnTo>
                    <a:pt x="0" y="15"/>
                  </a:lnTo>
                  <a:lnTo>
                    <a:pt x="0" y="15"/>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281" name="Rwanda">
              <a:extLst>
                <a:ext uri="{FF2B5EF4-FFF2-40B4-BE49-F238E27FC236}">
                  <a16:creationId xmlns:a16="http://schemas.microsoft.com/office/drawing/2014/main" id="{5B6714F6-FFC8-B04C-854E-2F4A4BAEB0FD}"/>
                </a:ext>
              </a:extLst>
            </p:cNvPr>
            <p:cNvSpPr>
              <a:spLocks/>
            </p:cNvSpPr>
            <p:nvPr/>
          </p:nvSpPr>
          <p:spPr bwMode="auto">
            <a:xfrm>
              <a:off x="7127754" y="4018606"/>
              <a:ext cx="52486" cy="52486"/>
            </a:xfrm>
            <a:custGeom>
              <a:avLst/>
              <a:gdLst>
                <a:gd name="T0" fmla="*/ 8 w 36"/>
                <a:gd name="T1" fmla="*/ 33 h 36"/>
                <a:gd name="T2" fmla="*/ 8 w 36"/>
                <a:gd name="T3" fmla="*/ 35 h 36"/>
                <a:gd name="T4" fmla="*/ 12 w 36"/>
                <a:gd name="T5" fmla="*/ 36 h 36"/>
                <a:gd name="T6" fmla="*/ 14 w 36"/>
                <a:gd name="T7" fmla="*/ 35 h 36"/>
                <a:gd name="T8" fmla="*/ 15 w 36"/>
                <a:gd name="T9" fmla="*/ 36 h 36"/>
                <a:gd name="T10" fmla="*/ 18 w 36"/>
                <a:gd name="T11" fmla="*/ 35 h 36"/>
                <a:gd name="T12" fmla="*/ 19 w 36"/>
                <a:gd name="T13" fmla="*/ 33 h 36"/>
                <a:gd name="T14" fmla="*/ 19 w 36"/>
                <a:gd name="T15" fmla="*/ 26 h 36"/>
                <a:gd name="T16" fmla="*/ 22 w 36"/>
                <a:gd name="T17" fmla="*/ 28 h 36"/>
                <a:gd name="T18" fmla="*/ 23 w 36"/>
                <a:gd name="T19" fmla="*/ 26 h 36"/>
                <a:gd name="T20" fmla="*/ 27 w 36"/>
                <a:gd name="T21" fmla="*/ 27 h 36"/>
                <a:gd name="T22" fmla="*/ 32 w 36"/>
                <a:gd name="T23" fmla="*/ 27 h 36"/>
                <a:gd name="T24" fmla="*/ 34 w 36"/>
                <a:gd name="T25" fmla="*/ 28 h 36"/>
                <a:gd name="T26" fmla="*/ 35 w 36"/>
                <a:gd name="T27" fmla="*/ 27 h 36"/>
                <a:gd name="T28" fmla="*/ 35 w 36"/>
                <a:gd name="T29" fmla="*/ 23 h 36"/>
                <a:gd name="T30" fmla="*/ 36 w 36"/>
                <a:gd name="T31" fmla="*/ 21 h 36"/>
                <a:gd name="T32" fmla="*/ 35 w 36"/>
                <a:gd name="T33" fmla="*/ 18 h 36"/>
                <a:gd name="T34" fmla="*/ 35 w 36"/>
                <a:gd name="T35" fmla="*/ 13 h 36"/>
                <a:gd name="T36" fmla="*/ 34 w 36"/>
                <a:gd name="T37" fmla="*/ 8 h 36"/>
                <a:gd name="T38" fmla="*/ 30 w 36"/>
                <a:gd name="T39" fmla="*/ 6 h 36"/>
                <a:gd name="T40" fmla="*/ 29 w 36"/>
                <a:gd name="T41" fmla="*/ 2 h 36"/>
                <a:gd name="T42" fmla="*/ 29 w 36"/>
                <a:gd name="T43" fmla="*/ 2 h 36"/>
                <a:gd name="T44" fmla="*/ 28 w 36"/>
                <a:gd name="T45" fmla="*/ 1 h 36"/>
                <a:gd name="T46" fmla="*/ 29 w 36"/>
                <a:gd name="T47" fmla="*/ 0 h 36"/>
                <a:gd name="T48" fmla="*/ 27 w 36"/>
                <a:gd name="T49" fmla="*/ 0 h 36"/>
                <a:gd name="T50" fmla="*/ 26 w 36"/>
                <a:gd name="T51" fmla="*/ 3 h 36"/>
                <a:gd name="T52" fmla="*/ 20 w 36"/>
                <a:gd name="T53" fmla="*/ 8 h 36"/>
                <a:gd name="T54" fmla="*/ 19 w 36"/>
                <a:gd name="T55" fmla="*/ 9 h 36"/>
                <a:gd name="T56" fmla="*/ 16 w 36"/>
                <a:gd name="T57" fmla="*/ 6 h 36"/>
                <a:gd name="T58" fmla="*/ 13 w 36"/>
                <a:gd name="T59" fmla="*/ 7 h 36"/>
                <a:gd name="T60" fmla="*/ 8 w 36"/>
                <a:gd name="T61" fmla="*/ 11 h 36"/>
                <a:gd name="T62" fmla="*/ 5 w 36"/>
                <a:gd name="T63" fmla="*/ 16 h 36"/>
                <a:gd name="T64" fmla="*/ 5 w 36"/>
                <a:gd name="T65" fmla="*/ 22 h 36"/>
                <a:gd name="T66" fmla="*/ 3 w 36"/>
                <a:gd name="T67" fmla="*/ 25 h 36"/>
                <a:gd name="T68" fmla="*/ 2 w 36"/>
                <a:gd name="T69" fmla="*/ 26 h 36"/>
                <a:gd name="T70" fmla="*/ 1 w 36"/>
                <a:gd name="T71" fmla="*/ 27 h 36"/>
                <a:gd name="T72" fmla="*/ 0 w 36"/>
                <a:gd name="T73" fmla="*/ 27 h 36"/>
                <a:gd name="T74" fmla="*/ 0 w 36"/>
                <a:gd name="T75" fmla="*/ 33 h 36"/>
                <a:gd name="T76" fmla="*/ 2 w 36"/>
                <a:gd name="T77" fmla="*/ 34 h 36"/>
                <a:gd name="T78" fmla="*/ 3 w 36"/>
                <a:gd name="T79" fmla="*/ 32 h 36"/>
                <a:gd name="T80" fmla="*/ 5 w 36"/>
                <a:gd name="T81" fmla="*/ 32 h 36"/>
                <a:gd name="T82" fmla="*/ 8 w 36"/>
                <a:gd name="T83" fmla="*/ 33 h 36"/>
                <a:gd name="T84" fmla="*/ 8 w 36"/>
                <a:gd name="T85" fmla="*/ 33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6" h="36">
                  <a:moveTo>
                    <a:pt x="8" y="33"/>
                  </a:moveTo>
                  <a:lnTo>
                    <a:pt x="8" y="35"/>
                  </a:lnTo>
                  <a:lnTo>
                    <a:pt x="12" y="36"/>
                  </a:lnTo>
                  <a:lnTo>
                    <a:pt x="14" y="35"/>
                  </a:lnTo>
                  <a:lnTo>
                    <a:pt x="15" y="36"/>
                  </a:lnTo>
                  <a:lnTo>
                    <a:pt x="18" y="35"/>
                  </a:lnTo>
                  <a:lnTo>
                    <a:pt x="19" y="33"/>
                  </a:lnTo>
                  <a:lnTo>
                    <a:pt x="19" y="26"/>
                  </a:lnTo>
                  <a:lnTo>
                    <a:pt x="22" y="28"/>
                  </a:lnTo>
                  <a:lnTo>
                    <a:pt x="23" y="26"/>
                  </a:lnTo>
                  <a:lnTo>
                    <a:pt x="27" y="27"/>
                  </a:lnTo>
                  <a:lnTo>
                    <a:pt x="32" y="27"/>
                  </a:lnTo>
                  <a:lnTo>
                    <a:pt x="34" y="28"/>
                  </a:lnTo>
                  <a:lnTo>
                    <a:pt x="35" y="27"/>
                  </a:lnTo>
                  <a:lnTo>
                    <a:pt x="35" y="23"/>
                  </a:lnTo>
                  <a:lnTo>
                    <a:pt x="36" y="21"/>
                  </a:lnTo>
                  <a:lnTo>
                    <a:pt x="35" y="18"/>
                  </a:lnTo>
                  <a:lnTo>
                    <a:pt x="35" y="13"/>
                  </a:lnTo>
                  <a:lnTo>
                    <a:pt x="34" y="8"/>
                  </a:lnTo>
                  <a:lnTo>
                    <a:pt x="30" y="6"/>
                  </a:lnTo>
                  <a:lnTo>
                    <a:pt x="29" y="2"/>
                  </a:lnTo>
                  <a:lnTo>
                    <a:pt x="29" y="2"/>
                  </a:lnTo>
                  <a:lnTo>
                    <a:pt x="28" y="1"/>
                  </a:lnTo>
                  <a:lnTo>
                    <a:pt x="29" y="0"/>
                  </a:lnTo>
                  <a:lnTo>
                    <a:pt x="27" y="0"/>
                  </a:lnTo>
                  <a:lnTo>
                    <a:pt x="26" y="3"/>
                  </a:lnTo>
                  <a:lnTo>
                    <a:pt x="20" y="8"/>
                  </a:lnTo>
                  <a:lnTo>
                    <a:pt x="19" y="9"/>
                  </a:lnTo>
                  <a:lnTo>
                    <a:pt x="16" y="6"/>
                  </a:lnTo>
                  <a:lnTo>
                    <a:pt x="13" y="7"/>
                  </a:lnTo>
                  <a:lnTo>
                    <a:pt x="8" y="11"/>
                  </a:lnTo>
                  <a:lnTo>
                    <a:pt x="5" y="16"/>
                  </a:lnTo>
                  <a:lnTo>
                    <a:pt x="5" y="22"/>
                  </a:lnTo>
                  <a:lnTo>
                    <a:pt x="3" y="25"/>
                  </a:lnTo>
                  <a:lnTo>
                    <a:pt x="2" y="26"/>
                  </a:lnTo>
                  <a:lnTo>
                    <a:pt x="1" y="27"/>
                  </a:lnTo>
                  <a:lnTo>
                    <a:pt x="0" y="27"/>
                  </a:lnTo>
                  <a:lnTo>
                    <a:pt x="0" y="33"/>
                  </a:lnTo>
                  <a:lnTo>
                    <a:pt x="2" y="34"/>
                  </a:lnTo>
                  <a:lnTo>
                    <a:pt x="3" y="32"/>
                  </a:lnTo>
                  <a:lnTo>
                    <a:pt x="5" y="32"/>
                  </a:lnTo>
                  <a:lnTo>
                    <a:pt x="8" y="33"/>
                  </a:lnTo>
                  <a:lnTo>
                    <a:pt x="8" y="33"/>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282" name="Paraguay">
              <a:extLst>
                <a:ext uri="{FF2B5EF4-FFF2-40B4-BE49-F238E27FC236}">
                  <a16:creationId xmlns:a16="http://schemas.microsoft.com/office/drawing/2014/main" id="{13F8E326-1AA0-D64D-AAE9-5D34AAFDA311}"/>
                </a:ext>
              </a:extLst>
            </p:cNvPr>
            <p:cNvSpPr>
              <a:spLocks/>
            </p:cNvSpPr>
            <p:nvPr/>
          </p:nvSpPr>
          <p:spPr bwMode="auto">
            <a:xfrm>
              <a:off x="4742550" y="4563878"/>
              <a:ext cx="221608" cy="250767"/>
            </a:xfrm>
            <a:custGeom>
              <a:avLst/>
              <a:gdLst>
                <a:gd name="T0" fmla="*/ 5 w 152"/>
                <a:gd name="T1" fmla="*/ 38 h 172"/>
                <a:gd name="T2" fmla="*/ 14 w 152"/>
                <a:gd name="T3" fmla="*/ 12 h 172"/>
                <a:gd name="T4" fmla="*/ 36 w 152"/>
                <a:gd name="T5" fmla="*/ 1 h 172"/>
                <a:gd name="T6" fmla="*/ 62 w 152"/>
                <a:gd name="T7" fmla="*/ 6 h 172"/>
                <a:gd name="T8" fmla="*/ 75 w 152"/>
                <a:gd name="T9" fmla="*/ 14 h 172"/>
                <a:gd name="T10" fmla="*/ 75 w 152"/>
                <a:gd name="T11" fmla="*/ 19 h 172"/>
                <a:gd name="T12" fmla="*/ 76 w 152"/>
                <a:gd name="T13" fmla="*/ 21 h 172"/>
                <a:gd name="T14" fmla="*/ 81 w 152"/>
                <a:gd name="T15" fmla="*/ 29 h 172"/>
                <a:gd name="T16" fmla="*/ 83 w 152"/>
                <a:gd name="T17" fmla="*/ 35 h 172"/>
                <a:gd name="T18" fmla="*/ 82 w 152"/>
                <a:gd name="T19" fmla="*/ 47 h 172"/>
                <a:gd name="T20" fmla="*/ 82 w 152"/>
                <a:gd name="T21" fmla="*/ 56 h 172"/>
                <a:gd name="T22" fmla="*/ 86 w 152"/>
                <a:gd name="T23" fmla="*/ 59 h 172"/>
                <a:gd name="T24" fmla="*/ 94 w 152"/>
                <a:gd name="T25" fmla="*/ 61 h 172"/>
                <a:gd name="T26" fmla="*/ 99 w 152"/>
                <a:gd name="T27" fmla="*/ 61 h 172"/>
                <a:gd name="T28" fmla="*/ 103 w 152"/>
                <a:gd name="T29" fmla="*/ 62 h 172"/>
                <a:gd name="T30" fmla="*/ 109 w 152"/>
                <a:gd name="T31" fmla="*/ 59 h 172"/>
                <a:gd name="T32" fmla="*/ 119 w 152"/>
                <a:gd name="T33" fmla="*/ 62 h 172"/>
                <a:gd name="T34" fmla="*/ 126 w 152"/>
                <a:gd name="T35" fmla="*/ 78 h 172"/>
                <a:gd name="T36" fmla="*/ 129 w 152"/>
                <a:gd name="T37" fmla="*/ 85 h 172"/>
                <a:gd name="T38" fmla="*/ 137 w 152"/>
                <a:gd name="T39" fmla="*/ 97 h 172"/>
                <a:gd name="T40" fmla="*/ 152 w 152"/>
                <a:gd name="T41" fmla="*/ 100 h 172"/>
                <a:gd name="T42" fmla="*/ 152 w 152"/>
                <a:gd name="T43" fmla="*/ 121 h 172"/>
                <a:gd name="T44" fmla="*/ 149 w 152"/>
                <a:gd name="T45" fmla="*/ 130 h 172"/>
                <a:gd name="T46" fmla="*/ 149 w 152"/>
                <a:gd name="T47" fmla="*/ 136 h 172"/>
                <a:gd name="T48" fmla="*/ 149 w 152"/>
                <a:gd name="T49" fmla="*/ 143 h 172"/>
                <a:gd name="T50" fmla="*/ 148 w 152"/>
                <a:gd name="T51" fmla="*/ 153 h 172"/>
                <a:gd name="T52" fmla="*/ 143 w 152"/>
                <a:gd name="T53" fmla="*/ 159 h 172"/>
                <a:gd name="T54" fmla="*/ 136 w 152"/>
                <a:gd name="T55" fmla="*/ 161 h 172"/>
                <a:gd name="T56" fmla="*/ 136 w 152"/>
                <a:gd name="T57" fmla="*/ 167 h 172"/>
                <a:gd name="T58" fmla="*/ 130 w 152"/>
                <a:gd name="T59" fmla="*/ 167 h 172"/>
                <a:gd name="T60" fmla="*/ 125 w 152"/>
                <a:gd name="T61" fmla="*/ 167 h 172"/>
                <a:gd name="T62" fmla="*/ 117 w 152"/>
                <a:gd name="T63" fmla="*/ 169 h 172"/>
                <a:gd name="T64" fmla="*/ 110 w 152"/>
                <a:gd name="T65" fmla="*/ 169 h 172"/>
                <a:gd name="T66" fmla="*/ 101 w 152"/>
                <a:gd name="T67" fmla="*/ 167 h 172"/>
                <a:gd name="T68" fmla="*/ 88 w 152"/>
                <a:gd name="T69" fmla="*/ 166 h 172"/>
                <a:gd name="T70" fmla="*/ 82 w 152"/>
                <a:gd name="T71" fmla="*/ 162 h 172"/>
                <a:gd name="T72" fmla="*/ 85 w 152"/>
                <a:gd name="T73" fmla="*/ 159 h 172"/>
                <a:gd name="T74" fmla="*/ 87 w 152"/>
                <a:gd name="T75" fmla="*/ 157 h 172"/>
                <a:gd name="T76" fmla="*/ 88 w 152"/>
                <a:gd name="T77" fmla="*/ 154 h 172"/>
                <a:gd name="T78" fmla="*/ 88 w 152"/>
                <a:gd name="T79" fmla="*/ 149 h 172"/>
                <a:gd name="T80" fmla="*/ 88 w 152"/>
                <a:gd name="T81" fmla="*/ 142 h 172"/>
                <a:gd name="T82" fmla="*/ 93 w 152"/>
                <a:gd name="T83" fmla="*/ 139 h 172"/>
                <a:gd name="T84" fmla="*/ 94 w 152"/>
                <a:gd name="T85" fmla="*/ 135 h 172"/>
                <a:gd name="T86" fmla="*/ 95 w 152"/>
                <a:gd name="T87" fmla="*/ 132 h 172"/>
                <a:gd name="T88" fmla="*/ 97 w 152"/>
                <a:gd name="T89" fmla="*/ 127 h 172"/>
                <a:gd name="T90" fmla="*/ 92 w 152"/>
                <a:gd name="T91" fmla="*/ 121 h 172"/>
                <a:gd name="T92" fmla="*/ 86 w 152"/>
                <a:gd name="T93" fmla="*/ 119 h 172"/>
                <a:gd name="T94" fmla="*/ 80 w 152"/>
                <a:gd name="T95" fmla="*/ 115 h 172"/>
                <a:gd name="T96" fmla="*/ 69 w 152"/>
                <a:gd name="T97" fmla="*/ 110 h 172"/>
                <a:gd name="T98" fmla="*/ 50 w 152"/>
                <a:gd name="T99" fmla="*/ 99 h 172"/>
                <a:gd name="T100" fmla="*/ 41 w 152"/>
                <a:gd name="T101" fmla="*/ 96 h 172"/>
                <a:gd name="T102" fmla="*/ 34 w 152"/>
                <a:gd name="T103" fmla="*/ 94 h 172"/>
                <a:gd name="T104" fmla="*/ 29 w 152"/>
                <a:gd name="T105" fmla="*/ 88 h 172"/>
                <a:gd name="T106" fmla="*/ 23 w 152"/>
                <a:gd name="T107" fmla="*/ 86 h 172"/>
                <a:gd name="T108" fmla="*/ 20 w 152"/>
                <a:gd name="T109" fmla="*/ 83 h 172"/>
                <a:gd name="T110" fmla="*/ 16 w 152"/>
                <a:gd name="T111" fmla="*/ 79 h 172"/>
                <a:gd name="T112" fmla="*/ 9 w 152"/>
                <a:gd name="T113" fmla="*/ 70 h 172"/>
                <a:gd name="T114" fmla="*/ 7 w 152"/>
                <a:gd name="T115" fmla="*/ 67 h 172"/>
                <a:gd name="T116" fmla="*/ 2 w 152"/>
                <a:gd name="T117" fmla="*/ 63 h 172"/>
                <a:gd name="T118" fmla="*/ 0 w 152"/>
                <a:gd name="T119" fmla="*/ 6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2" h="172">
                  <a:moveTo>
                    <a:pt x="0" y="61"/>
                  </a:moveTo>
                  <a:lnTo>
                    <a:pt x="1" y="50"/>
                  </a:lnTo>
                  <a:lnTo>
                    <a:pt x="5" y="38"/>
                  </a:lnTo>
                  <a:lnTo>
                    <a:pt x="3" y="27"/>
                  </a:lnTo>
                  <a:lnTo>
                    <a:pt x="7" y="20"/>
                  </a:lnTo>
                  <a:lnTo>
                    <a:pt x="14" y="12"/>
                  </a:lnTo>
                  <a:lnTo>
                    <a:pt x="16" y="5"/>
                  </a:lnTo>
                  <a:lnTo>
                    <a:pt x="30" y="5"/>
                  </a:lnTo>
                  <a:lnTo>
                    <a:pt x="36" y="1"/>
                  </a:lnTo>
                  <a:lnTo>
                    <a:pt x="42" y="1"/>
                  </a:lnTo>
                  <a:lnTo>
                    <a:pt x="53" y="0"/>
                  </a:lnTo>
                  <a:lnTo>
                    <a:pt x="62" y="6"/>
                  </a:lnTo>
                  <a:lnTo>
                    <a:pt x="68" y="8"/>
                  </a:lnTo>
                  <a:lnTo>
                    <a:pt x="75" y="12"/>
                  </a:lnTo>
                  <a:lnTo>
                    <a:pt x="75" y="14"/>
                  </a:lnTo>
                  <a:lnTo>
                    <a:pt x="75" y="15"/>
                  </a:lnTo>
                  <a:lnTo>
                    <a:pt x="76" y="18"/>
                  </a:lnTo>
                  <a:lnTo>
                    <a:pt x="75" y="19"/>
                  </a:lnTo>
                  <a:lnTo>
                    <a:pt x="76" y="20"/>
                  </a:lnTo>
                  <a:lnTo>
                    <a:pt x="75" y="20"/>
                  </a:lnTo>
                  <a:lnTo>
                    <a:pt x="76" y="21"/>
                  </a:lnTo>
                  <a:lnTo>
                    <a:pt x="79" y="25"/>
                  </a:lnTo>
                  <a:lnTo>
                    <a:pt x="80" y="29"/>
                  </a:lnTo>
                  <a:lnTo>
                    <a:pt x="81" y="29"/>
                  </a:lnTo>
                  <a:lnTo>
                    <a:pt x="81" y="32"/>
                  </a:lnTo>
                  <a:lnTo>
                    <a:pt x="81" y="34"/>
                  </a:lnTo>
                  <a:lnTo>
                    <a:pt x="83" y="35"/>
                  </a:lnTo>
                  <a:lnTo>
                    <a:pt x="83" y="38"/>
                  </a:lnTo>
                  <a:lnTo>
                    <a:pt x="82" y="42"/>
                  </a:lnTo>
                  <a:lnTo>
                    <a:pt x="82" y="47"/>
                  </a:lnTo>
                  <a:lnTo>
                    <a:pt x="83" y="50"/>
                  </a:lnTo>
                  <a:lnTo>
                    <a:pt x="83" y="54"/>
                  </a:lnTo>
                  <a:lnTo>
                    <a:pt x="82" y="56"/>
                  </a:lnTo>
                  <a:lnTo>
                    <a:pt x="83" y="59"/>
                  </a:lnTo>
                  <a:lnTo>
                    <a:pt x="85" y="59"/>
                  </a:lnTo>
                  <a:lnTo>
                    <a:pt x="86" y="59"/>
                  </a:lnTo>
                  <a:lnTo>
                    <a:pt x="86" y="59"/>
                  </a:lnTo>
                  <a:lnTo>
                    <a:pt x="89" y="60"/>
                  </a:lnTo>
                  <a:lnTo>
                    <a:pt x="94" y="61"/>
                  </a:lnTo>
                  <a:lnTo>
                    <a:pt x="95" y="61"/>
                  </a:lnTo>
                  <a:lnTo>
                    <a:pt x="97" y="61"/>
                  </a:lnTo>
                  <a:lnTo>
                    <a:pt x="99" y="61"/>
                  </a:lnTo>
                  <a:lnTo>
                    <a:pt x="102" y="62"/>
                  </a:lnTo>
                  <a:lnTo>
                    <a:pt x="102" y="62"/>
                  </a:lnTo>
                  <a:lnTo>
                    <a:pt x="103" y="62"/>
                  </a:lnTo>
                  <a:lnTo>
                    <a:pt x="106" y="61"/>
                  </a:lnTo>
                  <a:lnTo>
                    <a:pt x="107" y="61"/>
                  </a:lnTo>
                  <a:lnTo>
                    <a:pt x="109" y="59"/>
                  </a:lnTo>
                  <a:lnTo>
                    <a:pt x="112" y="60"/>
                  </a:lnTo>
                  <a:lnTo>
                    <a:pt x="116" y="62"/>
                  </a:lnTo>
                  <a:lnTo>
                    <a:pt x="119" y="62"/>
                  </a:lnTo>
                  <a:lnTo>
                    <a:pt x="121" y="62"/>
                  </a:lnTo>
                  <a:lnTo>
                    <a:pt x="123" y="68"/>
                  </a:lnTo>
                  <a:lnTo>
                    <a:pt x="126" y="78"/>
                  </a:lnTo>
                  <a:lnTo>
                    <a:pt x="127" y="80"/>
                  </a:lnTo>
                  <a:lnTo>
                    <a:pt x="128" y="82"/>
                  </a:lnTo>
                  <a:lnTo>
                    <a:pt x="129" y="85"/>
                  </a:lnTo>
                  <a:lnTo>
                    <a:pt x="129" y="89"/>
                  </a:lnTo>
                  <a:lnTo>
                    <a:pt x="132" y="97"/>
                  </a:lnTo>
                  <a:lnTo>
                    <a:pt x="137" y="97"/>
                  </a:lnTo>
                  <a:lnTo>
                    <a:pt x="141" y="96"/>
                  </a:lnTo>
                  <a:lnTo>
                    <a:pt x="149" y="96"/>
                  </a:lnTo>
                  <a:lnTo>
                    <a:pt x="152" y="100"/>
                  </a:lnTo>
                  <a:lnTo>
                    <a:pt x="152" y="108"/>
                  </a:lnTo>
                  <a:lnTo>
                    <a:pt x="152" y="114"/>
                  </a:lnTo>
                  <a:lnTo>
                    <a:pt x="152" y="121"/>
                  </a:lnTo>
                  <a:lnTo>
                    <a:pt x="149" y="129"/>
                  </a:lnTo>
                  <a:lnTo>
                    <a:pt x="149" y="130"/>
                  </a:lnTo>
                  <a:lnTo>
                    <a:pt x="149" y="130"/>
                  </a:lnTo>
                  <a:lnTo>
                    <a:pt x="149" y="132"/>
                  </a:lnTo>
                  <a:lnTo>
                    <a:pt x="149" y="134"/>
                  </a:lnTo>
                  <a:lnTo>
                    <a:pt x="149" y="136"/>
                  </a:lnTo>
                  <a:lnTo>
                    <a:pt x="149" y="139"/>
                  </a:lnTo>
                  <a:lnTo>
                    <a:pt x="149" y="142"/>
                  </a:lnTo>
                  <a:lnTo>
                    <a:pt x="149" y="143"/>
                  </a:lnTo>
                  <a:lnTo>
                    <a:pt x="149" y="148"/>
                  </a:lnTo>
                  <a:lnTo>
                    <a:pt x="148" y="150"/>
                  </a:lnTo>
                  <a:lnTo>
                    <a:pt x="148" y="153"/>
                  </a:lnTo>
                  <a:lnTo>
                    <a:pt x="147" y="153"/>
                  </a:lnTo>
                  <a:lnTo>
                    <a:pt x="145" y="155"/>
                  </a:lnTo>
                  <a:lnTo>
                    <a:pt x="143" y="159"/>
                  </a:lnTo>
                  <a:lnTo>
                    <a:pt x="141" y="157"/>
                  </a:lnTo>
                  <a:lnTo>
                    <a:pt x="137" y="160"/>
                  </a:lnTo>
                  <a:lnTo>
                    <a:pt x="136" y="161"/>
                  </a:lnTo>
                  <a:lnTo>
                    <a:pt x="135" y="163"/>
                  </a:lnTo>
                  <a:lnTo>
                    <a:pt x="136" y="166"/>
                  </a:lnTo>
                  <a:lnTo>
                    <a:pt x="136" y="167"/>
                  </a:lnTo>
                  <a:lnTo>
                    <a:pt x="134" y="168"/>
                  </a:lnTo>
                  <a:lnTo>
                    <a:pt x="132" y="168"/>
                  </a:lnTo>
                  <a:lnTo>
                    <a:pt x="130" y="167"/>
                  </a:lnTo>
                  <a:lnTo>
                    <a:pt x="128" y="166"/>
                  </a:lnTo>
                  <a:lnTo>
                    <a:pt x="127" y="166"/>
                  </a:lnTo>
                  <a:lnTo>
                    <a:pt x="125" y="167"/>
                  </a:lnTo>
                  <a:lnTo>
                    <a:pt x="123" y="172"/>
                  </a:lnTo>
                  <a:lnTo>
                    <a:pt x="120" y="169"/>
                  </a:lnTo>
                  <a:lnTo>
                    <a:pt x="117" y="169"/>
                  </a:lnTo>
                  <a:lnTo>
                    <a:pt x="116" y="169"/>
                  </a:lnTo>
                  <a:lnTo>
                    <a:pt x="114" y="168"/>
                  </a:lnTo>
                  <a:lnTo>
                    <a:pt x="110" y="169"/>
                  </a:lnTo>
                  <a:lnTo>
                    <a:pt x="108" y="169"/>
                  </a:lnTo>
                  <a:lnTo>
                    <a:pt x="105" y="168"/>
                  </a:lnTo>
                  <a:lnTo>
                    <a:pt x="101" y="167"/>
                  </a:lnTo>
                  <a:lnTo>
                    <a:pt x="97" y="166"/>
                  </a:lnTo>
                  <a:lnTo>
                    <a:pt x="93" y="166"/>
                  </a:lnTo>
                  <a:lnTo>
                    <a:pt x="88" y="166"/>
                  </a:lnTo>
                  <a:lnTo>
                    <a:pt x="83" y="166"/>
                  </a:lnTo>
                  <a:lnTo>
                    <a:pt x="82" y="163"/>
                  </a:lnTo>
                  <a:lnTo>
                    <a:pt x="82" y="162"/>
                  </a:lnTo>
                  <a:lnTo>
                    <a:pt x="83" y="161"/>
                  </a:lnTo>
                  <a:lnTo>
                    <a:pt x="85" y="161"/>
                  </a:lnTo>
                  <a:lnTo>
                    <a:pt x="85" y="159"/>
                  </a:lnTo>
                  <a:lnTo>
                    <a:pt x="85" y="157"/>
                  </a:lnTo>
                  <a:lnTo>
                    <a:pt x="86" y="157"/>
                  </a:lnTo>
                  <a:lnTo>
                    <a:pt x="87" y="157"/>
                  </a:lnTo>
                  <a:lnTo>
                    <a:pt x="86" y="155"/>
                  </a:lnTo>
                  <a:lnTo>
                    <a:pt x="88" y="155"/>
                  </a:lnTo>
                  <a:lnTo>
                    <a:pt x="88" y="154"/>
                  </a:lnTo>
                  <a:lnTo>
                    <a:pt x="89" y="153"/>
                  </a:lnTo>
                  <a:lnTo>
                    <a:pt x="89" y="150"/>
                  </a:lnTo>
                  <a:lnTo>
                    <a:pt x="88" y="149"/>
                  </a:lnTo>
                  <a:lnTo>
                    <a:pt x="87" y="148"/>
                  </a:lnTo>
                  <a:lnTo>
                    <a:pt x="88" y="145"/>
                  </a:lnTo>
                  <a:lnTo>
                    <a:pt x="88" y="142"/>
                  </a:lnTo>
                  <a:lnTo>
                    <a:pt x="89" y="142"/>
                  </a:lnTo>
                  <a:lnTo>
                    <a:pt x="90" y="141"/>
                  </a:lnTo>
                  <a:lnTo>
                    <a:pt x="93" y="139"/>
                  </a:lnTo>
                  <a:lnTo>
                    <a:pt x="93" y="139"/>
                  </a:lnTo>
                  <a:lnTo>
                    <a:pt x="93" y="137"/>
                  </a:lnTo>
                  <a:lnTo>
                    <a:pt x="94" y="135"/>
                  </a:lnTo>
                  <a:lnTo>
                    <a:pt x="94" y="133"/>
                  </a:lnTo>
                  <a:lnTo>
                    <a:pt x="94" y="133"/>
                  </a:lnTo>
                  <a:lnTo>
                    <a:pt x="95" y="132"/>
                  </a:lnTo>
                  <a:lnTo>
                    <a:pt x="96" y="130"/>
                  </a:lnTo>
                  <a:lnTo>
                    <a:pt x="96" y="130"/>
                  </a:lnTo>
                  <a:lnTo>
                    <a:pt x="97" y="127"/>
                  </a:lnTo>
                  <a:lnTo>
                    <a:pt x="95" y="125"/>
                  </a:lnTo>
                  <a:lnTo>
                    <a:pt x="93" y="123"/>
                  </a:lnTo>
                  <a:lnTo>
                    <a:pt x="92" y="121"/>
                  </a:lnTo>
                  <a:lnTo>
                    <a:pt x="88" y="120"/>
                  </a:lnTo>
                  <a:lnTo>
                    <a:pt x="87" y="119"/>
                  </a:lnTo>
                  <a:lnTo>
                    <a:pt x="86" y="119"/>
                  </a:lnTo>
                  <a:lnTo>
                    <a:pt x="83" y="117"/>
                  </a:lnTo>
                  <a:lnTo>
                    <a:pt x="82" y="119"/>
                  </a:lnTo>
                  <a:lnTo>
                    <a:pt x="80" y="115"/>
                  </a:lnTo>
                  <a:lnTo>
                    <a:pt x="76" y="114"/>
                  </a:lnTo>
                  <a:lnTo>
                    <a:pt x="73" y="114"/>
                  </a:lnTo>
                  <a:lnTo>
                    <a:pt x="69" y="110"/>
                  </a:lnTo>
                  <a:lnTo>
                    <a:pt x="67" y="109"/>
                  </a:lnTo>
                  <a:lnTo>
                    <a:pt x="63" y="108"/>
                  </a:lnTo>
                  <a:lnTo>
                    <a:pt x="50" y="99"/>
                  </a:lnTo>
                  <a:lnTo>
                    <a:pt x="46" y="99"/>
                  </a:lnTo>
                  <a:lnTo>
                    <a:pt x="42" y="97"/>
                  </a:lnTo>
                  <a:lnTo>
                    <a:pt x="41" y="96"/>
                  </a:lnTo>
                  <a:lnTo>
                    <a:pt x="39" y="95"/>
                  </a:lnTo>
                  <a:lnTo>
                    <a:pt x="37" y="95"/>
                  </a:lnTo>
                  <a:lnTo>
                    <a:pt x="34" y="94"/>
                  </a:lnTo>
                  <a:lnTo>
                    <a:pt x="32" y="93"/>
                  </a:lnTo>
                  <a:lnTo>
                    <a:pt x="30" y="90"/>
                  </a:lnTo>
                  <a:lnTo>
                    <a:pt x="29" y="88"/>
                  </a:lnTo>
                  <a:lnTo>
                    <a:pt x="27" y="88"/>
                  </a:lnTo>
                  <a:lnTo>
                    <a:pt x="25" y="86"/>
                  </a:lnTo>
                  <a:lnTo>
                    <a:pt x="23" y="86"/>
                  </a:lnTo>
                  <a:lnTo>
                    <a:pt x="22" y="85"/>
                  </a:lnTo>
                  <a:lnTo>
                    <a:pt x="22" y="85"/>
                  </a:lnTo>
                  <a:lnTo>
                    <a:pt x="20" y="83"/>
                  </a:lnTo>
                  <a:lnTo>
                    <a:pt x="17" y="81"/>
                  </a:lnTo>
                  <a:lnTo>
                    <a:pt x="17" y="80"/>
                  </a:lnTo>
                  <a:lnTo>
                    <a:pt x="16" y="79"/>
                  </a:lnTo>
                  <a:lnTo>
                    <a:pt x="13" y="78"/>
                  </a:lnTo>
                  <a:lnTo>
                    <a:pt x="9" y="72"/>
                  </a:lnTo>
                  <a:lnTo>
                    <a:pt x="9" y="70"/>
                  </a:lnTo>
                  <a:lnTo>
                    <a:pt x="8" y="69"/>
                  </a:lnTo>
                  <a:lnTo>
                    <a:pt x="8" y="68"/>
                  </a:lnTo>
                  <a:lnTo>
                    <a:pt x="7" y="67"/>
                  </a:lnTo>
                  <a:lnTo>
                    <a:pt x="5" y="66"/>
                  </a:lnTo>
                  <a:lnTo>
                    <a:pt x="3" y="65"/>
                  </a:lnTo>
                  <a:lnTo>
                    <a:pt x="2" y="63"/>
                  </a:lnTo>
                  <a:lnTo>
                    <a:pt x="1" y="63"/>
                  </a:lnTo>
                  <a:lnTo>
                    <a:pt x="0" y="61"/>
                  </a:lnTo>
                  <a:lnTo>
                    <a:pt x="0" y="61"/>
                  </a:lnTo>
                  <a:lnTo>
                    <a:pt x="0" y="61"/>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283" name="Papua New Guinea">
              <a:extLst>
                <a:ext uri="{FF2B5EF4-FFF2-40B4-BE49-F238E27FC236}">
                  <a16:creationId xmlns:a16="http://schemas.microsoft.com/office/drawing/2014/main" id="{41DDDDFD-3D4E-3A41-B338-3E9A02DACBDC}"/>
                </a:ext>
              </a:extLst>
            </p:cNvPr>
            <p:cNvSpPr>
              <a:spLocks noEditPoints="1"/>
            </p:cNvSpPr>
            <p:nvPr>
              <p:custDataLst>
                <p:tags r:id="rId4"/>
              </p:custDataLst>
            </p:nvPr>
          </p:nvSpPr>
          <p:spPr bwMode="auto">
            <a:xfrm>
              <a:off x="10087390" y="4041933"/>
              <a:ext cx="333870" cy="300337"/>
            </a:xfrm>
            <a:custGeom>
              <a:avLst/>
              <a:gdLst>
                <a:gd name="T0" fmla="*/ 170 w 229"/>
                <a:gd name="T1" fmla="*/ 158 h 206"/>
                <a:gd name="T2" fmla="*/ 172 w 229"/>
                <a:gd name="T3" fmla="*/ 162 h 206"/>
                <a:gd name="T4" fmla="*/ 180 w 229"/>
                <a:gd name="T5" fmla="*/ 164 h 206"/>
                <a:gd name="T6" fmla="*/ 179 w 229"/>
                <a:gd name="T7" fmla="*/ 171 h 206"/>
                <a:gd name="T8" fmla="*/ 183 w 229"/>
                <a:gd name="T9" fmla="*/ 171 h 206"/>
                <a:gd name="T10" fmla="*/ 102 w 229"/>
                <a:gd name="T11" fmla="*/ 3 h 206"/>
                <a:gd name="T12" fmla="*/ 116 w 229"/>
                <a:gd name="T13" fmla="*/ 2 h 206"/>
                <a:gd name="T14" fmla="*/ 105 w 229"/>
                <a:gd name="T15" fmla="*/ 5 h 206"/>
                <a:gd name="T16" fmla="*/ 168 w 229"/>
                <a:gd name="T17" fmla="*/ 10 h 206"/>
                <a:gd name="T18" fmla="*/ 152 w 229"/>
                <a:gd name="T19" fmla="*/ 90 h 206"/>
                <a:gd name="T20" fmla="*/ 131 w 229"/>
                <a:gd name="T21" fmla="*/ 79 h 206"/>
                <a:gd name="T22" fmla="*/ 139 w 229"/>
                <a:gd name="T23" fmla="*/ 72 h 206"/>
                <a:gd name="T24" fmla="*/ 160 w 229"/>
                <a:gd name="T25" fmla="*/ 65 h 206"/>
                <a:gd name="T26" fmla="*/ 165 w 229"/>
                <a:gd name="T27" fmla="*/ 74 h 206"/>
                <a:gd name="T28" fmla="*/ 185 w 229"/>
                <a:gd name="T29" fmla="*/ 63 h 206"/>
                <a:gd name="T30" fmla="*/ 189 w 229"/>
                <a:gd name="T31" fmla="*/ 47 h 206"/>
                <a:gd name="T32" fmla="*/ 203 w 229"/>
                <a:gd name="T33" fmla="*/ 49 h 206"/>
                <a:gd name="T34" fmla="*/ 199 w 229"/>
                <a:gd name="T35" fmla="*/ 64 h 206"/>
                <a:gd name="T36" fmla="*/ 190 w 229"/>
                <a:gd name="T37" fmla="*/ 74 h 206"/>
                <a:gd name="T38" fmla="*/ 182 w 229"/>
                <a:gd name="T39" fmla="*/ 83 h 206"/>
                <a:gd name="T40" fmla="*/ 159 w 229"/>
                <a:gd name="T41" fmla="*/ 91 h 206"/>
                <a:gd name="T42" fmla="*/ 219 w 229"/>
                <a:gd name="T43" fmla="*/ 199 h 206"/>
                <a:gd name="T44" fmla="*/ 107 w 229"/>
                <a:gd name="T45" fmla="*/ 67 h 206"/>
                <a:gd name="T46" fmla="*/ 118 w 229"/>
                <a:gd name="T47" fmla="*/ 76 h 206"/>
                <a:gd name="T48" fmla="*/ 214 w 229"/>
                <a:gd name="T49" fmla="*/ 57 h 206"/>
                <a:gd name="T50" fmla="*/ 188 w 229"/>
                <a:gd name="T51" fmla="*/ 24 h 206"/>
                <a:gd name="T52" fmla="*/ 188 w 229"/>
                <a:gd name="T53" fmla="*/ 22 h 206"/>
                <a:gd name="T54" fmla="*/ 210 w 229"/>
                <a:gd name="T55" fmla="*/ 40 h 206"/>
                <a:gd name="T56" fmla="*/ 222 w 229"/>
                <a:gd name="T57" fmla="*/ 53 h 206"/>
                <a:gd name="T58" fmla="*/ 212 w 229"/>
                <a:gd name="T59" fmla="*/ 156 h 206"/>
                <a:gd name="T60" fmla="*/ 216 w 229"/>
                <a:gd name="T61" fmla="*/ 156 h 206"/>
                <a:gd name="T62" fmla="*/ 7 w 229"/>
                <a:gd name="T63" fmla="*/ 15 h 206"/>
                <a:gd name="T64" fmla="*/ 51 w 229"/>
                <a:gd name="T65" fmla="*/ 32 h 206"/>
                <a:gd name="T66" fmla="*/ 65 w 229"/>
                <a:gd name="T67" fmla="*/ 40 h 206"/>
                <a:gd name="T68" fmla="*/ 81 w 229"/>
                <a:gd name="T69" fmla="*/ 53 h 206"/>
                <a:gd name="T70" fmla="*/ 85 w 229"/>
                <a:gd name="T71" fmla="*/ 72 h 206"/>
                <a:gd name="T72" fmla="*/ 109 w 229"/>
                <a:gd name="T73" fmla="*/ 84 h 206"/>
                <a:gd name="T74" fmla="*/ 119 w 229"/>
                <a:gd name="T75" fmla="*/ 100 h 206"/>
                <a:gd name="T76" fmla="*/ 109 w 229"/>
                <a:gd name="T77" fmla="*/ 114 h 206"/>
                <a:gd name="T78" fmla="*/ 126 w 229"/>
                <a:gd name="T79" fmla="*/ 132 h 206"/>
                <a:gd name="T80" fmla="*/ 133 w 229"/>
                <a:gd name="T81" fmla="*/ 149 h 206"/>
                <a:gd name="T82" fmla="*/ 139 w 229"/>
                <a:gd name="T83" fmla="*/ 156 h 206"/>
                <a:gd name="T84" fmla="*/ 150 w 229"/>
                <a:gd name="T85" fmla="*/ 162 h 206"/>
                <a:gd name="T86" fmla="*/ 166 w 229"/>
                <a:gd name="T87" fmla="*/ 173 h 206"/>
                <a:gd name="T88" fmla="*/ 166 w 229"/>
                <a:gd name="T89" fmla="*/ 183 h 206"/>
                <a:gd name="T90" fmla="*/ 142 w 229"/>
                <a:gd name="T91" fmla="*/ 174 h 206"/>
                <a:gd name="T92" fmla="*/ 112 w 229"/>
                <a:gd name="T93" fmla="*/ 170 h 206"/>
                <a:gd name="T94" fmla="*/ 102 w 229"/>
                <a:gd name="T95" fmla="*/ 160 h 206"/>
                <a:gd name="T96" fmla="*/ 92 w 229"/>
                <a:gd name="T97" fmla="*/ 145 h 206"/>
                <a:gd name="T98" fmla="*/ 74 w 229"/>
                <a:gd name="T99" fmla="*/ 125 h 206"/>
                <a:gd name="T100" fmla="*/ 51 w 229"/>
                <a:gd name="T101" fmla="*/ 114 h 206"/>
                <a:gd name="T102" fmla="*/ 54 w 229"/>
                <a:gd name="T103" fmla="*/ 126 h 206"/>
                <a:gd name="T104" fmla="*/ 48 w 229"/>
                <a:gd name="T105" fmla="*/ 125 h 206"/>
                <a:gd name="T106" fmla="*/ 29 w 229"/>
                <a:gd name="T107" fmla="*/ 131 h 206"/>
                <a:gd name="T108" fmla="*/ 28 w 229"/>
                <a:gd name="T109" fmla="*/ 131 h 206"/>
                <a:gd name="T110" fmla="*/ 40 w 229"/>
                <a:gd name="T111" fmla="*/ 142 h 206"/>
                <a:gd name="T112" fmla="*/ 20 w 229"/>
                <a:gd name="T113" fmla="*/ 154 h 206"/>
                <a:gd name="T114" fmla="*/ 1 w 229"/>
                <a:gd name="T115" fmla="*/ 131 h 206"/>
                <a:gd name="T116" fmla="*/ 3 w 229"/>
                <a:gd name="T117" fmla="*/ 90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9" h="206">
                  <a:moveTo>
                    <a:pt x="169" y="160"/>
                  </a:moveTo>
                  <a:lnTo>
                    <a:pt x="167" y="160"/>
                  </a:lnTo>
                  <a:lnTo>
                    <a:pt x="167" y="159"/>
                  </a:lnTo>
                  <a:lnTo>
                    <a:pt x="166" y="158"/>
                  </a:lnTo>
                  <a:lnTo>
                    <a:pt x="165" y="157"/>
                  </a:lnTo>
                  <a:lnTo>
                    <a:pt x="166" y="156"/>
                  </a:lnTo>
                  <a:lnTo>
                    <a:pt x="167" y="154"/>
                  </a:lnTo>
                  <a:lnTo>
                    <a:pt x="169" y="157"/>
                  </a:lnTo>
                  <a:lnTo>
                    <a:pt x="170" y="158"/>
                  </a:lnTo>
                  <a:lnTo>
                    <a:pt x="169" y="159"/>
                  </a:lnTo>
                  <a:lnTo>
                    <a:pt x="169" y="160"/>
                  </a:lnTo>
                  <a:lnTo>
                    <a:pt x="169" y="160"/>
                  </a:lnTo>
                  <a:lnTo>
                    <a:pt x="169" y="160"/>
                  </a:lnTo>
                  <a:close/>
                  <a:moveTo>
                    <a:pt x="178" y="165"/>
                  </a:moveTo>
                  <a:lnTo>
                    <a:pt x="178" y="164"/>
                  </a:lnTo>
                  <a:lnTo>
                    <a:pt x="170" y="163"/>
                  </a:lnTo>
                  <a:lnTo>
                    <a:pt x="170" y="163"/>
                  </a:lnTo>
                  <a:lnTo>
                    <a:pt x="172" y="162"/>
                  </a:lnTo>
                  <a:lnTo>
                    <a:pt x="172" y="162"/>
                  </a:lnTo>
                  <a:lnTo>
                    <a:pt x="170" y="159"/>
                  </a:lnTo>
                  <a:lnTo>
                    <a:pt x="170" y="158"/>
                  </a:lnTo>
                  <a:lnTo>
                    <a:pt x="172" y="157"/>
                  </a:lnTo>
                  <a:lnTo>
                    <a:pt x="175" y="159"/>
                  </a:lnTo>
                  <a:lnTo>
                    <a:pt x="176" y="159"/>
                  </a:lnTo>
                  <a:lnTo>
                    <a:pt x="179" y="162"/>
                  </a:lnTo>
                  <a:lnTo>
                    <a:pt x="179" y="163"/>
                  </a:lnTo>
                  <a:lnTo>
                    <a:pt x="180" y="164"/>
                  </a:lnTo>
                  <a:lnTo>
                    <a:pt x="178" y="165"/>
                  </a:lnTo>
                  <a:lnTo>
                    <a:pt x="178" y="165"/>
                  </a:lnTo>
                  <a:close/>
                  <a:moveTo>
                    <a:pt x="185" y="176"/>
                  </a:moveTo>
                  <a:lnTo>
                    <a:pt x="181" y="173"/>
                  </a:lnTo>
                  <a:lnTo>
                    <a:pt x="180" y="173"/>
                  </a:lnTo>
                  <a:lnTo>
                    <a:pt x="180" y="171"/>
                  </a:lnTo>
                  <a:lnTo>
                    <a:pt x="180" y="171"/>
                  </a:lnTo>
                  <a:lnTo>
                    <a:pt x="180" y="170"/>
                  </a:lnTo>
                  <a:lnTo>
                    <a:pt x="179" y="171"/>
                  </a:lnTo>
                  <a:lnTo>
                    <a:pt x="179" y="170"/>
                  </a:lnTo>
                  <a:lnTo>
                    <a:pt x="178" y="167"/>
                  </a:lnTo>
                  <a:lnTo>
                    <a:pt x="176" y="167"/>
                  </a:lnTo>
                  <a:lnTo>
                    <a:pt x="176" y="165"/>
                  </a:lnTo>
                  <a:lnTo>
                    <a:pt x="181" y="170"/>
                  </a:lnTo>
                  <a:lnTo>
                    <a:pt x="181" y="171"/>
                  </a:lnTo>
                  <a:lnTo>
                    <a:pt x="182" y="172"/>
                  </a:lnTo>
                  <a:lnTo>
                    <a:pt x="183" y="172"/>
                  </a:lnTo>
                  <a:lnTo>
                    <a:pt x="183" y="171"/>
                  </a:lnTo>
                  <a:lnTo>
                    <a:pt x="185" y="170"/>
                  </a:lnTo>
                  <a:lnTo>
                    <a:pt x="186" y="170"/>
                  </a:lnTo>
                  <a:lnTo>
                    <a:pt x="186" y="172"/>
                  </a:lnTo>
                  <a:lnTo>
                    <a:pt x="185" y="176"/>
                  </a:lnTo>
                  <a:lnTo>
                    <a:pt x="185" y="176"/>
                  </a:lnTo>
                  <a:close/>
                  <a:moveTo>
                    <a:pt x="101" y="6"/>
                  </a:moveTo>
                  <a:lnTo>
                    <a:pt x="100" y="4"/>
                  </a:lnTo>
                  <a:lnTo>
                    <a:pt x="101" y="3"/>
                  </a:lnTo>
                  <a:lnTo>
                    <a:pt x="102" y="3"/>
                  </a:lnTo>
                  <a:lnTo>
                    <a:pt x="102" y="3"/>
                  </a:lnTo>
                  <a:lnTo>
                    <a:pt x="101" y="2"/>
                  </a:lnTo>
                  <a:lnTo>
                    <a:pt x="102" y="2"/>
                  </a:lnTo>
                  <a:lnTo>
                    <a:pt x="105" y="0"/>
                  </a:lnTo>
                  <a:lnTo>
                    <a:pt x="106" y="0"/>
                  </a:lnTo>
                  <a:lnTo>
                    <a:pt x="107" y="0"/>
                  </a:lnTo>
                  <a:lnTo>
                    <a:pt x="115" y="2"/>
                  </a:lnTo>
                  <a:lnTo>
                    <a:pt x="116" y="3"/>
                  </a:lnTo>
                  <a:lnTo>
                    <a:pt x="116" y="2"/>
                  </a:lnTo>
                  <a:lnTo>
                    <a:pt x="116" y="0"/>
                  </a:lnTo>
                  <a:lnTo>
                    <a:pt x="118" y="2"/>
                  </a:lnTo>
                  <a:lnTo>
                    <a:pt x="118" y="3"/>
                  </a:lnTo>
                  <a:lnTo>
                    <a:pt x="114" y="3"/>
                  </a:lnTo>
                  <a:lnTo>
                    <a:pt x="114" y="5"/>
                  </a:lnTo>
                  <a:lnTo>
                    <a:pt x="113" y="5"/>
                  </a:lnTo>
                  <a:lnTo>
                    <a:pt x="106" y="5"/>
                  </a:lnTo>
                  <a:lnTo>
                    <a:pt x="105" y="3"/>
                  </a:lnTo>
                  <a:lnTo>
                    <a:pt x="105" y="5"/>
                  </a:lnTo>
                  <a:lnTo>
                    <a:pt x="101" y="6"/>
                  </a:lnTo>
                  <a:lnTo>
                    <a:pt x="101" y="6"/>
                  </a:lnTo>
                  <a:close/>
                  <a:moveTo>
                    <a:pt x="172" y="16"/>
                  </a:moveTo>
                  <a:lnTo>
                    <a:pt x="169" y="16"/>
                  </a:lnTo>
                  <a:lnTo>
                    <a:pt x="167" y="15"/>
                  </a:lnTo>
                  <a:lnTo>
                    <a:pt x="166" y="12"/>
                  </a:lnTo>
                  <a:lnTo>
                    <a:pt x="165" y="11"/>
                  </a:lnTo>
                  <a:lnTo>
                    <a:pt x="166" y="11"/>
                  </a:lnTo>
                  <a:lnTo>
                    <a:pt x="168" y="10"/>
                  </a:lnTo>
                  <a:lnTo>
                    <a:pt x="173" y="11"/>
                  </a:lnTo>
                  <a:lnTo>
                    <a:pt x="173" y="16"/>
                  </a:lnTo>
                  <a:lnTo>
                    <a:pt x="172" y="16"/>
                  </a:lnTo>
                  <a:lnTo>
                    <a:pt x="172" y="16"/>
                  </a:lnTo>
                  <a:close/>
                  <a:moveTo>
                    <a:pt x="159" y="90"/>
                  </a:moveTo>
                  <a:lnTo>
                    <a:pt x="158" y="89"/>
                  </a:lnTo>
                  <a:lnTo>
                    <a:pt x="155" y="90"/>
                  </a:lnTo>
                  <a:lnTo>
                    <a:pt x="154" y="90"/>
                  </a:lnTo>
                  <a:lnTo>
                    <a:pt x="152" y="90"/>
                  </a:lnTo>
                  <a:lnTo>
                    <a:pt x="147" y="89"/>
                  </a:lnTo>
                  <a:lnTo>
                    <a:pt x="145" y="87"/>
                  </a:lnTo>
                  <a:lnTo>
                    <a:pt x="141" y="86"/>
                  </a:lnTo>
                  <a:lnTo>
                    <a:pt x="141" y="85"/>
                  </a:lnTo>
                  <a:lnTo>
                    <a:pt x="139" y="83"/>
                  </a:lnTo>
                  <a:lnTo>
                    <a:pt x="136" y="83"/>
                  </a:lnTo>
                  <a:lnTo>
                    <a:pt x="136" y="82"/>
                  </a:lnTo>
                  <a:lnTo>
                    <a:pt x="133" y="78"/>
                  </a:lnTo>
                  <a:lnTo>
                    <a:pt x="131" y="79"/>
                  </a:lnTo>
                  <a:lnTo>
                    <a:pt x="127" y="77"/>
                  </a:lnTo>
                  <a:lnTo>
                    <a:pt x="127" y="76"/>
                  </a:lnTo>
                  <a:lnTo>
                    <a:pt x="127" y="72"/>
                  </a:lnTo>
                  <a:lnTo>
                    <a:pt x="128" y="71"/>
                  </a:lnTo>
                  <a:lnTo>
                    <a:pt x="129" y="71"/>
                  </a:lnTo>
                  <a:lnTo>
                    <a:pt x="132" y="73"/>
                  </a:lnTo>
                  <a:lnTo>
                    <a:pt x="134" y="72"/>
                  </a:lnTo>
                  <a:lnTo>
                    <a:pt x="136" y="73"/>
                  </a:lnTo>
                  <a:lnTo>
                    <a:pt x="139" y="72"/>
                  </a:lnTo>
                  <a:lnTo>
                    <a:pt x="143" y="73"/>
                  </a:lnTo>
                  <a:lnTo>
                    <a:pt x="143" y="74"/>
                  </a:lnTo>
                  <a:lnTo>
                    <a:pt x="153" y="73"/>
                  </a:lnTo>
                  <a:lnTo>
                    <a:pt x="154" y="74"/>
                  </a:lnTo>
                  <a:lnTo>
                    <a:pt x="155" y="73"/>
                  </a:lnTo>
                  <a:lnTo>
                    <a:pt x="156" y="73"/>
                  </a:lnTo>
                  <a:lnTo>
                    <a:pt x="159" y="72"/>
                  </a:lnTo>
                  <a:lnTo>
                    <a:pt x="158" y="70"/>
                  </a:lnTo>
                  <a:lnTo>
                    <a:pt x="160" y="65"/>
                  </a:lnTo>
                  <a:lnTo>
                    <a:pt x="160" y="64"/>
                  </a:lnTo>
                  <a:lnTo>
                    <a:pt x="161" y="63"/>
                  </a:lnTo>
                  <a:lnTo>
                    <a:pt x="163" y="64"/>
                  </a:lnTo>
                  <a:lnTo>
                    <a:pt x="163" y="64"/>
                  </a:lnTo>
                  <a:lnTo>
                    <a:pt x="161" y="65"/>
                  </a:lnTo>
                  <a:lnTo>
                    <a:pt x="160" y="70"/>
                  </a:lnTo>
                  <a:lnTo>
                    <a:pt x="161" y="73"/>
                  </a:lnTo>
                  <a:lnTo>
                    <a:pt x="162" y="74"/>
                  </a:lnTo>
                  <a:lnTo>
                    <a:pt x="165" y="74"/>
                  </a:lnTo>
                  <a:lnTo>
                    <a:pt x="167" y="72"/>
                  </a:lnTo>
                  <a:lnTo>
                    <a:pt x="170" y="73"/>
                  </a:lnTo>
                  <a:lnTo>
                    <a:pt x="170" y="74"/>
                  </a:lnTo>
                  <a:lnTo>
                    <a:pt x="173" y="73"/>
                  </a:lnTo>
                  <a:lnTo>
                    <a:pt x="174" y="72"/>
                  </a:lnTo>
                  <a:lnTo>
                    <a:pt x="176" y="73"/>
                  </a:lnTo>
                  <a:lnTo>
                    <a:pt x="179" y="72"/>
                  </a:lnTo>
                  <a:lnTo>
                    <a:pt x="180" y="67"/>
                  </a:lnTo>
                  <a:lnTo>
                    <a:pt x="185" y="63"/>
                  </a:lnTo>
                  <a:lnTo>
                    <a:pt x="186" y="62"/>
                  </a:lnTo>
                  <a:lnTo>
                    <a:pt x="188" y="63"/>
                  </a:lnTo>
                  <a:lnTo>
                    <a:pt x="190" y="63"/>
                  </a:lnTo>
                  <a:lnTo>
                    <a:pt x="190" y="63"/>
                  </a:lnTo>
                  <a:lnTo>
                    <a:pt x="192" y="62"/>
                  </a:lnTo>
                  <a:lnTo>
                    <a:pt x="193" y="60"/>
                  </a:lnTo>
                  <a:lnTo>
                    <a:pt x="192" y="59"/>
                  </a:lnTo>
                  <a:lnTo>
                    <a:pt x="192" y="53"/>
                  </a:lnTo>
                  <a:lnTo>
                    <a:pt x="189" y="47"/>
                  </a:lnTo>
                  <a:lnTo>
                    <a:pt x="189" y="46"/>
                  </a:lnTo>
                  <a:lnTo>
                    <a:pt x="195" y="47"/>
                  </a:lnTo>
                  <a:lnTo>
                    <a:pt x="196" y="50"/>
                  </a:lnTo>
                  <a:lnTo>
                    <a:pt x="198" y="50"/>
                  </a:lnTo>
                  <a:lnTo>
                    <a:pt x="199" y="49"/>
                  </a:lnTo>
                  <a:lnTo>
                    <a:pt x="199" y="47"/>
                  </a:lnTo>
                  <a:lnTo>
                    <a:pt x="202" y="46"/>
                  </a:lnTo>
                  <a:lnTo>
                    <a:pt x="203" y="47"/>
                  </a:lnTo>
                  <a:lnTo>
                    <a:pt x="203" y="49"/>
                  </a:lnTo>
                  <a:lnTo>
                    <a:pt x="202" y="47"/>
                  </a:lnTo>
                  <a:lnTo>
                    <a:pt x="202" y="49"/>
                  </a:lnTo>
                  <a:lnTo>
                    <a:pt x="202" y="50"/>
                  </a:lnTo>
                  <a:lnTo>
                    <a:pt x="207" y="51"/>
                  </a:lnTo>
                  <a:lnTo>
                    <a:pt x="205" y="54"/>
                  </a:lnTo>
                  <a:lnTo>
                    <a:pt x="206" y="56"/>
                  </a:lnTo>
                  <a:lnTo>
                    <a:pt x="206" y="60"/>
                  </a:lnTo>
                  <a:lnTo>
                    <a:pt x="202" y="64"/>
                  </a:lnTo>
                  <a:lnTo>
                    <a:pt x="199" y="64"/>
                  </a:lnTo>
                  <a:lnTo>
                    <a:pt x="198" y="64"/>
                  </a:lnTo>
                  <a:lnTo>
                    <a:pt x="198" y="66"/>
                  </a:lnTo>
                  <a:lnTo>
                    <a:pt x="200" y="71"/>
                  </a:lnTo>
                  <a:lnTo>
                    <a:pt x="200" y="72"/>
                  </a:lnTo>
                  <a:lnTo>
                    <a:pt x="199" y="73"/>
                  </a:lnTo>
                  <a:lnTo>
                    <a:pt x="194" y="77"/>
                  </a:lnTo>
                  <a:lnTo>
                    <a:pt x="193" y="76"/>
                  </a:lnTo>
                  <a:lnTo>
                    <a:pt x="193" y="76"/>
                  </a:lnTo>
                  <a:lnTo>
                    <a:pt x="190" y="74"/>
                  </a:lnTo>
                  <a:lnTo>
                    <a:pt x="190" y="76"/>
                  </a:lnTo>
                  <a:lnTo>
                    <a:pt x="188" y="74"/>
                  </a:lnTo>
                  <a:lnTo>
                    <a:pt x="187" y="74"/>
                  </a:lnTo>
                  <a:lnTo>
                    <a:pt x="187" y="76"/>
                  </a:lnTo>
                  <a:lnTo>
                    <a:pt x="188" y="77"/>
                  </a:lnTo>
                  <a:lnTo>
                    <a:pt x="188" y="78"/>
                  </a:lnTo>
                  <a:lnTo>
                    <a:pt x="186" y="79"/>
                  </a:lnTo>
                  <a:lnTo>
                    <a:pt x="185" y="82"/>
                  </a:lnTo>
                  <a:lnTo>
                    <a:pt x="182" y="83"/>
                  </a:lnTo>
                  <a:lnTo>
                    <a:pt x="181" y="84"/>
                  </a:lnTo>
                  <a:lnTo>
                    <a:pt x="180" y="84"/>
                  </a:lnTo>
                  <a:lnTo>
                    <a:pt x="179" y="85"/>
                  </a:lnTo>
                  <a:lnTo>
                    <a:pt x="178" y="85"/>
                  </a:lnTo>
                  <a:lnTo>
                    <a:pt x="174" y="84"/>
                  </a:lnTo>
                  <a:lnTo>
                    <a:pt x="173" y="86"/>
                  </a:lnTo>
                  <a:lnTo>
                    <a:pt x="168" y="89"/>
                  </a:lnTo>
                  <a:lnTo>
                    <a:pt x="166" y="90"/>
                  </a:lnTo>
                  <a:lnTo>
                    <a:pt x="159" y="91"/>
                  </a:lnTo>
                  <a:lnTo>
                    <a:pt x="159" y="90"/>
                  </a:lnTo>
                  <a:lnTo>
                    <a:pt x="159" y="90"/>
                  </a:lnTo>
                  <a:close/>
                  <a:moveTo>
                    <a:pt x="227" y="206"/>
                  </a:moveTo>
                  <a:lnTo>
                    <a:pt x="223" y="205"/>
                  </a:lnTo>
                  <a:lnTo>
                    <a:pt x="223" y="204"/>
                  </a:lnTo>
                  <a:lnTo>
                    <a:pt x="222" y="204"/>
                  </a:lnTo>
                  <a:lnTo>
                    <a:pt x="222" y="203"/>
                  </a:lnTo>
                  <a:lnTo>
                    <a:pt x="220" y="203"/>
                  </a:lnTo>
                  <a:lnTo>
                    <a:pt x="219" y="199"/>
                  </a:lnTo>
                  <a:lnTo>
                    <a:pt x="227" y="204"/>
                  </a:lnTo>
                  <a:lnTo>
                    <a:pt x="229" y="205"/>
                  </a:lnTo>
                  <a:lnTo>
                    <a:pt x="227" y="206"/>
                  </a:lnTo>
                  <a:lnTo>
                    <a:pt x="227" y="206"/>
                  </a:lnTo>
                  <a:close/>
                  <a:moveTo>
                    <a:pt x="108" y="73"/>
                  </a:moveTo>
                  <a:lnTo>
                    <a:pt x="107" y="71"/>
                  </a:lnTo>
                  <a:lnTo>
                    <a:pt x="106" y="70"/>
                  </a:lnTo>
                  <a:lnTo>
                    <a:pt x="107" y="70"/>
                  </a:lnTo>
                  <a:lnTo>
                    <a:pt x="107" y="67"/>
                  </a:lnTo>
                  <a:lnTo>
                    <a:pt x="108" y="67"/>
                  </a:lnTo>
                  <a:lnTo>
                    <a:pt x="111" y="71"/>
                  </a:lnTo>
                  <a:lnTo>
                    <a:pt x="111" y="73"/>
                  </a:lnTo>
                  <a:lnTo>
                    <a:pt x="108" y="73"/>
                  </a:lnTo>
                  <a:lnTo>
                    <a:pt x="108" y="73"/>
                  </a:lnTo>
                  <a:close/>
                  <a:moveTo>
                    <a:pt x="122" y="83"/>
                  </a:moveTo>
                  <a:lnTo>
                    <a:pt x="120" y="80"/>
                  </a:lnTo>
                  <a:lnTo>
                    <a:pt x="118" y="78"/>
                  </a:lnTo>
                  <a:lnTo>
                    <a:pt x="118" y="76"/>
                  </a:lnTo>
                  <a:lnTo>
                    <a:pt x="120" y="74"/>
                  </a:lnTo>
                  <a:lnTo>
                    <a:pt x="122" y="77"/>
                  </a:lnTo>
                  <a:lnTo>
                    <a:pt x="123" y="78"/>
                  </a:lnTo>
                  <a:lnTo>
                    <a:pt x="122" y="82"/>
                  </a:lnTo>
                  <a:lnTo>
                    <a:pt x="122" y="83"/>
                  </a:lnTo>
                  <a:lnTo>
                    <a:pt x="122" y="83"/>
                  </a:lnTo>
                  <a:close/>
                  <a:moveTo>
                    <a:pt x="218" y="65"/>
                  </a:moveTo>
                  <a:lnTo>
                    <a:pt x="215" y="62"/>
                  </a:lnTo>
                  <a:lnTo>
                    <a:pt x="214" y="57"/>
                  </a:lnTo>
                  <a:lnTo>
                    <a:pt x="215" y="54"/>
                  </a:lnTo>
                  <a:lnTo>
                    <a:pt x="214" y="49"/>
                  </a:lnTo>
                  <a:lnTo>
                    <a:pt x="209" y="43"/>
                  </a:lnTo>
                  <a:lnTo>
                    <a:pt x="207" y="38"/>
                  </a:lnTo>
                  <a:lnTo>
                    <a:pt x="205" y="37"/>
                  </a:lnTo>
                  <a:lnTo>
                    <a:pt x="201" y="36"/>
                  </a:lnTo>
                  <a:lnTo>
                    <a:pt x="198" y="31"/>
                  </a:lnTo>
                  <a:lnTo>
                    <a:pt x="195" y="30"/>
                  </a:lnTo>
                  <a:lnTo>
                    <a:pt x="188" y="24"/>
                  </a:lnTo>
                  <a:lnTo>
                    <a:pt x="185" y="22"/>
                  </a:lnTo>
                  <a:lnTo>
                    <a:pt x="181" y="22"/>
                  </a:lnTo>
                  <a:lnTo>
                    <a:pt x="181" y="20"/>
                  </a:lnTo>
                  <a:lnTo>
                    <a:pt x="181" y="20"/>
                  </a:lnTo>
                  <a:lnTo>
                    <a:pt x="183" y="20"/>
                  </a:lnTo>
                  <a:lnTo>
                    <a:pt x="183" y="19"/>
                  </a:lnTo>
                  <a:lnTo>
                    <a:pt x="182" y="18"/>
                  </a:lnTo>
                  <a:lnTo>
                    <a:pt x="182" y="17"/>
                  </a:lnTo>
                  <a:lnTo>
                    <a:pt x="188" y="22"/>
                  </a:lnTo>
                  <a:lnTo>
                    <a:pt x="189" y="23"/>
                  </a:lnTo>
                  <a:lnTo>
                    <a:pt x="189" y="24"/>
                  </a:lnTo>
                  <a:lnTo>
                    <a:pt x="193" y="24"/>
                  </a:lnTo>
                  <a:lnTo>
                    <a:pt x="199" y="30"/>
                  </a:lnTo>
                  <a:lnTo>
                    <a:pt x="201" y="31"/>
                  </a:lnTo>
                  <a:lnTo>
                    <a:pt x="205" y="32"/>
                  </a:lnTo>
                  <a:lnTo>
                    <a:pt x="205" y="33"/>
                  </a:lnTo>
                  <a:lnTo>
                    <a:pt x="207" y="36"/>
                  </a:lnTo>
                  <a:lnTo>
                    <a:pt x="210" y="40"/>
                  </a:lnTo>
                  <a:lnTo>
                    <a:pt x="210" y="40"/>
                  </a:lnTo>
                  <a:lnTo>
                    <a:pt x="212" y="40"/>
                  </a:lnTo>
                  <a:lnTo>
                    <a:pt x="213" y="43"/>
                  </a:lnTo>
                  <a:lnTo>
                    <a:pt x="213" y="44"/>
                  </a:lnTo>
                  <a:lnTo>
                    <a:pt x="216" y="45"/>
                  </a:lnTo>
                  <a:lnTo>
                    <a:pt x="218" y="45"/>
                  </a:lnTo>
                  <a:lnTo>
                    <a:pt x="218" y="47"/>
                  </a:lnTo>
                  <a:lnTo>
                    <a:pt x="220" y="50"/>
                  </a:lnTo>
                  <a:lnTo>
                    <a:pt x="222" y="53"/>
                  </a:lnTo>
                  <a:lnTo>
                    <a:pt x="222" y="56"/>
                  </a:lnTo>
                  <a:lnTo>
                    <a:pt x="221" y="58"/>
                  </a:lnTo>
                  <a:lnTo>
                    <a:pt x="221" y="60"/>
                  </a:lnTo>
                  <a:lnTo>
                    <a:pt x="218" y="65"/>
                  </a:lnTo>
                  <a:lnTo>
                    <a:pt x="218" y="65"/>
                  </a:lnTo>
                  <a:close/>
                  <a:moveTo>
                    <a:pt x="214" y="157"/>
                  </a:moveTo>
                  <a:lnTo>
                    <a:pt x="213" y="156"/>
                  </a:lnTo>
                  <a:lnTo>
                    <a:pt x="213" y="157"/>
                  </a:lnTo>
                  <a:lnTo>
                    <a:pt x="212" y="156"/>
                  </a:lnTo>
                  <a:lnTo>
                    <a:pt x="213" y="154"/>
                  </a:lnTo>
                  <a:lnTo>
                    <a:pt x="209" y="152"/>
                  </a:lnTo>
                  <a:lnTo>
                    <a:pt x="208" y="152"/>
                  </a:lnTo>
                  <a:lnTo>
                    <a:pt x="209" y="151"/>
                  </a:lnTo>
                  <a:lnTo>
                    <a:pt x="214" y="151"/>
                  </a:lnTo>
                  <a:lnTo>
                    <a:pt x="218" y="154"/>
                  </a:lnTo>
                  <a:lnTo>
                    <a:pt x="218" y="156"/>
                  </a:lnTo>
                  <a:lnTo>
                    <a:pt x="216" y="156"/>
                  </a:lnTo>
                  <a:lnTo>
                    <a:pt x="216" y="156"/>
                  </a:lnTo>
                  <a:lnTo>
                    <a:pt x="214" y="157"/>
                  </a:lnTo>
                  <a:lnTo>
                    <a:pt x="214" y="157"/>
                  </a:lnTo>
                  <a:close/>
                  <a:moveTo>
                    <a:pt x="3" y="90"/>
                  </a:moveTo>
                  <a:lnTo>
                    <a:pt x="3" y="82"/>
                  </a:lnTo>
                  <a:lnTo>
                    <a:pt x="5" y="69"/>
                  </a:lnTo>
                  <a:lnTo>
                    <a:pt x="5" y="54"/>
                  </a:lnTo>
                  <a:lnTo>
                    <a:pt x="6" y="42"/>
                  </a:lnTo>
                  <a:lnTo>
                    <a:pt x="7" y="27"/>
                  </a:lnTo>
                  <a:lnTo>
                    <a:pt x="7" y="15"/>
                  </a:lnTo>
                  <a:lnTo>
                    <a:pt x="9" y="15"/>
                  </a:lnTo>
                  <a:lnTo>
                    <a:pt x="18" y="18"/>
                  </a:lnTo>
                  <a:lnTo>
                    <a:pt x="22" y="22"/>
                  </a:lnTo>
                  <a:lnTo>
                    <a:pt x="25" y="22"/>
                  </a:lnTo>
                  <a:lnTo>
                    <a:pt x="26" y="23"/>
                  </a:lnTo>
                  <a:lnTo>
                    <a:pt x="26" y="24"/>
                  </a:lnTo>
                  <a:lnTo>
                    <a:pt x="34" y="27"/>
                  </a:lnTo>
                  <a:lnTo>
                    <a:pt x="42" y="31"/>
                  </a:lnTo>
                  <a:lnTo>
                    <a:pt x="51" y="32"/>
                  </a:lnTo>
                  <a:lnTo>
                    <a:pt x="53" y="34"/>
                  </a:lnTo>
                  <a:lnTo>
                    <a:pt x="54" y="36"/>
                  </a:lnTo>
                  <a:lnTo>
                    <a:pt x="55" y="36"/>
                  </a:lnTo>
                  <a:lnTo>
                    <a:pt x="55" y="36"/>
                  </a:lnTo>
                  <a:lnTo>
                    <a:pt x="59" y="39"/>
                  </a:lnTo>
                  <a:lnTo>
                    <a:pt x="60" y="40"/>
                  </a:lnTo>
                  <a:lnTo>
                    <a:pt x="63" y="42"/>
                  </a:lnTo>
                  <a:lnTo>
                    <a:pt x="65" y="42"/>
                  </a:lnTo>
                  <a:lnTo>
                    <a:pt x="65" y="40"/>
                  </a:lnTo>
                  <a:lnTo>
                    <a:pt x="69" y="42"/>
                  </a:lnTo>
                  <a:lnTo>
                    <a:pt x="69" y="43"/>
                  </a:lnTo>
                  <a:lnTo>
                    <a:pt x="69" y="44"/>
                  </a:lnTo>
                  <a:lnTo>
                    <a:pt x="71" y="45"/>
                  </a:lnTo>
                  <a:lnTo>
                    <a:pt x="74" y="46"/>
                  </a:lnTo>
                  <a:lnTo>
                    <a:pt x="75" y="47"/>
                  </a:lnTo>
                  <a:lnTo>
                    <a:pt x="75" y="49"/>
                  </a:lnTo>
                  <a:lnTo>
                    <a:pt x="78" y="50"/>
                  </a:lnTo>
                  <a:lnTo>
                    <a:pt x="81" y="53"/>
                  </a:lnTo>
                  <a:lnTo>
                    <a:pt x="82" y="53"/>
                  </a:lnTo>
                  <a:lnTo>
                    <a:pt x="86" y="56"/>
                  </a:lnTo>
                  <a:lnTo>
                    <a:pt x="87" y="59"/>
                  </a:lnTo>
                  <a:lnTo>
                    <a:pt x="86" y="62"/>
                  </a:lnTo>
                  <a:lnTo>
                    <a:pt x="86" y="65"/>
                  </a:lnTo>
                  <a:lnTo>
                    <a:pt x="83" y="69"/>
                  </a:lnTo>
                  <a:lnTo>
                    <a:pt x="82" y="70"/>
                  </a:lnTo>
                  <a:lnTo>
                    <a:pt x="82" y="72"/>
                  </a:lnTo>
                  <a:lnTo>
                    <a:pt x="85" y="72"/>
                  </a:lnTo>
                  <a:lnTo>
                    <a:pt x="87" y="72"/>
                  </a:lnTo>
                  <a:lnTo>
                    <a:pt x="89" y="74"/>
                  </a:lnTo>
                  <a:lnTo>
                    <a:pt x="91" y="76"/>
                  </a:lnTo>
                  <a:lnTo>
                    <a:pt x="98" y="77"/>
                  </a:lnTo>
                  <a:lnTo>
                    <a:pt x="100" y="78"/>
                  </a:lnTo>
                  <a:lnTo>
                    <a:pt x="101" y="78"/>
                  </a:lnTo>
                  <a:lnTo>
                    <a:pt x="107" y="80"/>
                  </a:lnTo>
                  <a:lnTo>
                    <a:pt x="108" y="83"/>
                  </a:lnTo>
                  <a:lnTo>
                    <a:pt x="109" y="84"/>
                  </a:lnTo>
                  <a:lnTo>
                    <a:pt x="109" y="84"/>
                  </a:lnTo>
                  <a:lnTo>
                    <a:pt x="114" y="86"/>
                  </a:lnTo>
                  <a:lnTo>
                    <a:pt x="115" y="89"/>
                  </a:lnTo>
                  <a:lnTo>
                    <a:pt x="119" y="91"/>
                  </a:lnTo>
                  <a:lnTo>
                    <a:pt x="120" y="92"/>
                  </a:lnTo>
                  <a:lnTo>
                    <a:pt x="121" y="93"/>
                  </a:lnTo>
                  <a:lnTo>
                    <a:pt x="120" y="96"/>
                  </a:lnTo>
                  <a:lnTo>
                    <a:pt x="121" y="98"/>
                  </a:lnTo>
                  <a:lnTo>
                    <a:pt x="119" y="100"/>
                  </a:lnTo>
                  <a:lnTo>
                    <a:pt x="118" y="102"/>
                  </a:lnTo>
                  <a:lnTo>
                    <a:pt x="116" y="103"/>
                  </a:lnTo>
                  <a:lnTo>
                    <a:pt x="113" y="102"/>
                  </a:lnTo>
                  <a:lnTo>
                    <a:pt x="111" y="103"/>
                  </a:lnTo>
                  <a:lnTo>
                    <a:pt x="111" y="106"/>
                  </a:lnTo>
                  <a:lnTo>
                    <a:pt x="111" y="109"/>
                  </a:lnTo>
                  <a:lnTo>
                    <a:pt x="111" y="110"/>
                  </a:lnTo>
                  <a:lnTo>
                    <a:pt x="108" y="112"/>
                  </a:lnTo>
                  <a:lnTo>
                    <a:pt x="109" y="114"/>
                  </a:lnTo>
                  <a:lnTo>
                    <a:pt x="113" y="118"/>
                  </a:lnTo>
                  <a:lnTo>
                    <a:pt x="113" y="122"/>
                  </a:lnTo>
                  <a:lnTo>
                    <a:pt x="115" y="123"/>
                  </a:lnTo>
                  <a:lnTo>
                    <a:pt x="121" y="125"/>
                  </a:lnTo>
                  <a:lnTo>
                    <a:pt x="121" y="129"/>
                  </a:lnTo>
                  <a:lnTo>
                    <a:pt x="122" y="129"/>
                  </a:lnTo>
                  <a:lnTo>
                    <a:pt x="121" y="131"/>
                  </a:lnTo>
                  <a:lnTo>
                    <a:pt x="123" y="132"/>
                  </a:lnTo>
                  <a:lnTo>
                    <a:pt x="126" y="132"/>
                  </a:lnTo>
                  <a:lnTo>
                    <a:pt x="122" y="134"/>
                  </a:lnTo>
                  <a:lnTo>
                    <a:pt x="125" y="138"/>
                  </a:lnTo>
                  <a:lnTo>
                    <a:pt x="127" y="139"/>
                  </a:lnTo>
                  <a:lnTo>
                    <a:pt x="126" y="140"/>
                  </a:lnTo>
                  <a:lnTo>
                    <a:pt x="127" y="144"/>
                  </a:lnTo>
                  <a:lnTo>
                    <a:pt x="128" y="146"/>
                  </a:lnTo>
                  <a:lnTo>
                    <a:pt x="128" y="146"/>
                  </a:lnTo>
                  <a:lnTo>
                    <a:pt x="132" y="147"/>
                  </a:lnTo>
                  <a:lnTo>
                    <a:pt x="133" y="149"/>
                  </a:lnTo>
                  <a:lnTo>
                    <a:pt x="134" y="149"/>
                  </a:lnTo>
                  <a:lnTo>
                    <a:pt x="136" y="147"/>
                  </a:lnTo>
                  <a:lnTo>
                    <a:pt x="138" y="149"/>
                  </a:lnTo>
                  <a:lnTo>
                    <a:pt x="138" y="150"/>
                  </a:lnTo>
                  <a:lnTo>
                    <a:pt x="138" y="150"/>
                  </a:lnTo>
                  <a:lnTo>
                    <a:pt x="139" y="151"/>
                  </a:lnTo>
                  <a:lnTo>
                    <a:pt x="139" y="153"/>
                  </a:lnTo>
                  <a:lnTo>
                    <a:pt x="141" y="156"/>
                  </a:lnTo>
                  <a:lnTo>
                    <a:pt x="139" y="156"/>
                  </a:lnTo>
                  <a:lnTo>
                    <a:pt x="140" y="157"/>
                  </a:lnTo>
                  <a:lnTo>
                    <a:pt x="140" y="157"/>
                  </a:lnTo>
                  <a:lnTo>
                    <a:pt x="142" y="159"/>
                  </a:lnTo>
                  <a:lnTo>
                    <a:pt x="142" y="159"/>
                  </a:lnTo>
                  <a:lnTo>
                    <a:pt x="145" y="159"/>
                  </a:lnTo>
                  <a:lnTo>
                    <a:pt x="148" y="159"/>
                  </a:lnTo>
                  <a:lnTo>
                    <a:pt x="149" y="160"/>
                  </a:lnTo>
                  <a:lnTo>
                    <a:pt x="150" y="160"/>
                  </a:lnTo>
                  <a:lnTo>
                    <a:pt x="150" y="162"/>
                  </a:lnTo>
                  <a:lnTo>
                    <a:pt x="150" y="163"/>
                  </a:lnTo>
                  <a:lnTo>
                    <a:pt x="149" y="164"/>
                  </a:lnTo>
                  <a:lnTo>
                    <a:pt x="150" y="165"/>
                  </a:lnTo>
                  <a:lnTo>
                    <a:pt x="150" y="167"/>
                  </a:lnTo>
                  <a:lnTo>
                    <a:pt x="153" y="169"/>
                  </a:lnTo>
                  <a:lnTo>
                    <a:pt x="156" y="171"/>
                  </a:lnTo>
                  <a:lnTo>
                    <a:pt x="160" y="170"/>
                  </a:lnTo>
                  <a:lnTo>
                    <a:pt x="162" y="172"/>
                  </a:lnTo>
                  <a:lnTo>
                    <a:pt x="166" y="173"/>
                  </a:lnTo>
                  <a:lnTo>
                    <a:pt x="165" y="174"/>
                  </a:lnTo>
                  <a:lnTo>
                    <a:pt x="163" y="177"/>
                  </a:lnTo>
                  <a:lnTo>
                    <a:pt x="163" y="178"/>
                  </a:lnTo>
                  <a:lnTo>
                    <a:pt x="165" y="179"/>
                  </a:lnTo>
                  <a:lnTo>
                    <a:pt x="165" y="180"/>
                  </a:lnTo>
                  <a:lnTo>
                    <a:pt x="167" y="180"/>
                  </a:lnTo>
                  <a:lnTo>
                    <a:pt x="169" y="183"/>
                  </a:lnTo>
                  <a:lnTo>
                    <a:pt x="170" y="184"/>
                  </a:lnTo>
                  <a:lnTo>
                    <a:pt x="166" y="183"/>
                  </a:lnTo>
                  <a:lnTo>
                    <a:pt x="166" y="183"/>
                  </a:lnTo>
                  <a:lnTo>
                    <a:pt x="161" y="180"/>
                  </a:lnTo>
                  <a:lnTo>
                    <a:pt x="158" y="180"/>
                  </a:lnTo>
                  <a:lnTo>
                    <a:pt x="154" y="179"/>
                  </a:lnTo>
                  <a:lnTo>
                    <a:pt x="149" y="178"/>
                  </a:lnTo>
                  <a:lnTo>
                    <a:pt x="148" y="176"/>
                  </a:lnTo>
                  <a:lnTo>
                    <a:pt x="146" y="174"/>
                  </a:lnTo>
                  <a:lnTo>
                    <a:pt x="143" y="176"/>
                  </a:lnTo>
                  <a:lnTo>
                    <a:pt x="142" y="174"/>
                  </a:lnTo>
                  <a:lnTo>
                    <a:pt x="140" y="173"/>
                  </a:lnTo>
                  <a:lnTo>
                    <a:pt x="131" y="171"/>
                  </a:lnTo>
                  <a:lnTo>
                    <a:pt x="128" y="170"/>
                  </a:lnTo>
                  <a:lnTo>
                    <a:pt x="127" y="171"/>
                  </a:lnTo>
                  <a:lnTo>
                    <a:pt x="127" y="172"/>
                  </a:lnTo>
                  <a:lnTo>
                    <a:pt x="119" y="170"/>
                  </a:lnTo>
                  <a:lnTo>
                    <a:pt x="118" y="171"/>
                  </a:lnTo>
                  <a:lnTo>
                    <a:pt x="115" y="171"/>
                  </a:lnTo>
                  <a:lnTo>
                    <a:pt x="112" y="170"/>
                  </a:lnTo>
                  <a:lnTo>
                    <a:pt x="109" y="169"/>
                  </a:lnTo>
                  <a:lnTo>
                    <a:pt x="107" y="169"/>
                  </a:lnTo>
                  <a:lnTo>
                    <a:pt x="106" y="167"/>
                  </a:lnTo>
                  <a:lnTo>
                    <a:pt x="106" y="166"/>
                  </a:lnTo>
                  <a:lnTo>
                    <a:pt x="106" y="165"/>
                  </a:lnTo>
                  <a:lnTo>
                    <a:pt x="106" y="164"/>
                  </a:lnTo>
                  <a:lnTo>
                    <a:pt x="105" y="160"/>
                  </a:lnTo>
                  <a:lnTo>
                    <a:pt x="105" y="159"/>
                  </a:lnTo>
                  <a:lnTo>
                    <a:pt x="102" y="160"/>
                  </a:lnTo>
                  <a:lnTo>
                    <a:pt x="100" y="159"/>
                  </a:lnTo>
                  <a:lnTo>
                    <a:pt x="99" y="159"/>
                  </a:lnTo>
                  <a:lnTo>
                    <a:pt x="99" y="157"/>
                  </a:lnTo>
                  <a:lnTo>
                    <a:pt x="100" y="154"/>
                  </a:lnTo>
                  <a:lnTo>
                    <a:pt x="98" y="149"/>
                  </a:lnTo>
                  <a:lnTo>
                    <a:pt x="98" y="146"/>
                  </a:lnTo>
                  <a:lnTo>
                    <a:pt x="96" y="145"/>
                  </a:lnTo>
                  <a:lnTo>
                    <a:pt x="93" y="147"/>
                  </a:lnTo>
                  <a:lnTo>
                    <a:pt x="92" y="145"/>
                  </a:lnTo>
                  <a:lnTo>
                    <a:pt x="92" y="143"/>
                  </a:lnTo>
                  <a:lnTo>
                    <a:pt x="91" y="139"/>
                  </a:lnTo>
                  <a:lnTo>
                    <a:pt x="87" y="138"/>
                  </a:lnTo>
                  <a:lnTo>
                    <a:pt x="87" y="136"/>
                  </a:lnTo>
                  <a:lnTo>
                    <a:pt x="86" y="132"/>
                  </a:lnTo>
                  <a:lnTo>
                    <a:pt x="85" y="130"/>
                  </a:lnTo>
                  <a:lnTo>
                    <a:pt x="82" y="130"/>
                  </a:lnTo>
                  <a:lnTo>
                    <a:pt x="78" y="126"/>
                  </a:lnTo>
                  <a:lnTo>
                    <a:pt x="74" y="125"/>
                  </a:lnTo>
                  <a:lnTo>
                    <a:pt x="71" y="126"/>
                  </a:lnTo>
                  <a:lnTo>
                    <a:pt x="66" y="123"/>
                  </a:lnTo>
                  <a:lnTo>
                    <a:pt x="63" y="122"/>
                  </a:lnTo>
                  <a:lnTo>
                    <a:pt x="62" y="122"/>
                  </a:lnTo>
                  <a:lnTo>
                    <a:pt x="59" y="120"/>
                  </a:lnTo>
                  <a:lnTo>
                    <a:pt x="56" y="119"/>
                  </a:lnTo>
                  <a:lnTo>
                    <a:pt x="54" y="118"/>
                  </a:lnTo>
                  <a:lnTo>
                    <a:pt x="51" y="113"/>
                  </a:lnTo>
                  <a:lnTo>
                    <a:pt x="51" y="114"/>
                  </a:lnTo>
                  <a:lnTo>
                    <a:pt x="53" y="117"/>
                  </a:lnTo>
                  <a:lnTo>
                    <a:pt x="53" y="120"/>
                  </a:lnTo>
                  <a:lnTo>
                    <a:pt x="55" y="122"/>
                  </a:lnTo>
                  <a:lnTo>
                    <a:pt x="55" y="125"/>
                  </a:lnTo>
                  <a:lnTo>
                    <a:pt x="55" y="125"/>
                  </a:lnTo>
                  <a:lnTo>
                    <a:pt x="54" y="125"/>
                  </a:lnTo>
                  <a:lnTo>
                    <a:pt x="53" y="124"/>
                  </a:lnTo>
                  <a:lnTo>
                    <a:pt x="54" y="125"/>
                  </a:lnTo>
                  <a:lnTo>
                    <a:pt x="54" y="126"/>
                  </a:lnTo>
                  <a:lnTo>
                    <a:pt x="52" y="126"/>
                  </a:lnTo>
                  <a:lnTo>
                    <a:pt x="49" y="125"/>
                  </a:lnTo>
                  <a:lnTo>
                    <a:pt x="47" y="125"/>
                  </a:lnTo>
                  <a:lnTo>
                    <a:pt x="46" y="123"/>
                  </a:lnTo>
                  <a:lnTo>
                    <a:pt x="45" y="123"/>
                  </a:lnTo>
                  <a:lnTo>
                    <a:pt x="45" y="123"/>
                  </a:lnTo>
                  <a:lnTo>
                    <a:pt x="46" y="124"/>
                  </a:lnTo>
                  <a:lnTo>
                    <a:pt x="47" y="125"/>
                  </a:lnTo>
                  <a:lnTo>
                    <a:pt x="48" y="125"/>
                  </a:lnTo>
                  <a:lnTo>
                    <a:pt x="49" y="129"/>
                  </a:lnTo>
                  <a:lnTo>
                    <a:pt x="49" y="130"/>
                  </a:lnTo>
                  <a:lnTo>
                    <a:pt x="46" y="130"/>
                  </a:lnTo>
                  <a:lnTo>
                    <a:pt x="42" y="131"/>
                  </a:lnTo>
                  <a:lnTo>
                    <a:pt x="39" y="131"/>
                  </a:lnTo>
                  <a:lnTo>
                    <a:pt x="38" y="131"/>
                  </a:lnTo>
                  <a:lnTo>
                    <a:pt x="33" y="130"/>
                  </a:lnTo>
                  <a:lnTo>
                    <a:pt x="31" y="130"/>
                  </a:lnTo>
                  <a:lnTo>
                    <a:pt x="29" y="131"/>
                  </a:lnTo>
                  <a:lnTo>
                    <a:pt x="28" y="131"/>
                  </a:lnTo>
                  <a:lnTo>
                    <a:pt x="27" y="127"/>
                  </a:lnTo>
                  <a:lnTo>
                    <a:pt x="23" y="127"/>
                  </a:lnTo>
                  <a:lnTo>
                    <a:pt x="22" y="129"/>
                  </a:lnTo>
                  <a:lnTo>
                    <a:pt x="23" y="129"/>
                  </a:lnTo>
                  <a:lnTo>
                    <a:pt x="26" y="127"/>
                  </a:lnTo>
                  <a:lnTo>
                    <a:pt x="26" y="129"/>
                  </a:lnTo>
                  <a:lnTo>
                    <a:pt x="27" y="131"/>
                  </a:lnTo>
                  <a:lnTo>
                    <a:pt x="28" y="131"/>
                  </a:lnTo>
                  <a:lnTo>
                    <a:pt x="29" y="132"/>
                  </a:lnTo>
                  <a:lnTo>
                    <a:pt x="32" y="131"/>
                  </a:lnTo>
                  <a:lnTo>
                    <a:pt x="34" y="131"/>
                  </a:lnTo>
                  <a:lnTo>
                    <a:pt x="36" y="133"/>
                  </a:lnTo>
                  <a:lnTo>
                    <a:pt x="40" y="134"/>
                  </a:lnTo>
                  <a:lnTo>
                    <a:pt x="41" y="136"/>
                  </a:lnTo>
                  <a:lnTo>
                    <a:pt x="40" y="137"/>
                  </a:lnTo>
                  <a:lnTo>
                    <a:pt x="38" y="139"/>
                  </a:lnTo>
                  <a:lnTo>
                    <a:pt x="40" y="142"/>
                  </a:lnTo>
                  <a:lnTo>
                    <a:pt x="35" y="143"/>
                  </a:lnTo>
                  <a:lnTo>
                    <a:pt x="34" y="146"/>
                  </a:lnTo>
                  <a:lnTo>
                    <a:pt x="33" y="150"/>
                  </a:lnTo>
                  <a:lnTo>
                    <a:pt x="31" y="151"/>
                  </a:lnTo>
                  <a:lnTo>
                    <a:pt x="29" y="151"/>
                  </a:lnTo>
                  <a:lnTo>
                    <a:pt x="26" y="149"/>
                  </a:lnTo>
                  <a:lnTo>
                    <a:pt x="26" y="152"/>
                  </a:lnTo>
                  <a:lnTo>
                    <a:pt x="21" y="153"/>
                  </a:lnTo>
                  <a:lnTo>
                    <a:pt x="20" y="154"/>
                  </a:lnTo>
                  <a:lnTo>
                    <a:pt x="19" y="154"/>
                  </a:lnTo>
                  <a:lnTo>
                    <a:pt x="16" y="154"/>
                  </a:lnTo>
                  <a:lnTo>
                    <a:pt x="15" y="153"/>
                  </a:lnTo>
                  <a:lnTo>
                    <a:pt x="11" y="152"/>
                  </a:lnTo>
                  <a:lnTo>
                    <a:pt x="8" y="152"/>
                  </a:lnTo>
                  <a:lnTo>
                    <a:pt x="1" y="152"/>
                  </a:lnTo>
                  <a:lnTo>
                    <a:pt x="0" y="146"/>
                  </a:lnTo>
                  <a:lnTo>
                    <a:pt x="0" y="142"/>
                  </a:lnTo>
                  <a:lnTo>
                    <a:pt x="1" y="131"/>
                  </a:lnTo>
                  <a:lnTo>
                    <a:pt x="2" y="116"/>
                  </a:lnTo>
                  <a:lnTo>
                    <a:pt x="3" y="100"/>
                  </a:lnTo>
                  <a:lnTo>
                    <a:pt x="1" y="99"/>
                  </a:lnTo>
                  <a:lnTo>
                    <a:pt x="1" y="94"/>
                  </a:lnTo>
                  <a:lnTo>
                    <a:pt x="1" y="94"/>
                  </a:lnTo>
                  <a:lnTo>
                    <a:pt x="2" y="91"/>
                  </a:lnTo>
                  <a:lnTo>
                    <a:pt x="2" y="90"/>
                  </a:lnTo>
                  <a:lnTo>
                    <a:pt x="3" y="90"/>
                  </a:lnTo>
                  <a:lnTo>
                    <a:pt x="3" y="90"/>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284" name="Panama">
              <a:extLst>
                <a:ext uri="{FF2B5EF4-FFF2-40B4-BE49-F238E27FC236}">
                  <a16:creationId xmlns:a16="http://schemas.microsoft.com/office/drawing/2014/main" id="{8119347E-7AAB-9C4D-909B-AC9FF770A994}"/>
                </a:ext>
              </a:extLst>
            </p:cNvPr>
            <p:cNvSpPr>
              <a:spLocks noEditPoints="1"/>
            </p:cNvSpPr>
            <p:nvPr/>
          </p:nvSpPr>
          <p:spPr bwMode="auto">
            <a:xfrm>
              <a:off x="4175407" y="3699316"/>
              <a:ext cx="153085" cy="72897"/>
            </a:xfrm>
            <a:custGeom>
              <a:avLst/>
              <a:gdLst>
                <a:gd name="T0" fmla="*/ 40 w 105"/>
                <a:gd name="T1" fmla="*/ 15 h 50"/>
                <a:gd name="T2" fmla="*/ 25 w 105"/>
                <a:gd name="T3" fmla="*/ 15 h 50"/>
                <a:gd name="T4" fmla="*/ 22 w 105"/>
                <a:gd name="T5" fmla="*/ 11 h 50"/>
                <a:gd name="T6" fmla="*/ 15 w 105"/>
                <a:gd name="T7" fmla="*/ 13 h 50"/>
                <a:gd name="T8" fmla="*/ 16 w 105"/>
                <a:gd name="T9" fmla="*/ 8 h 50"/>
                <a:gd name="T10" fmla="*/ 11 w 105"/>
                <a:gd name="T11" fmla="*/ 7 h 50"/>
                <a:gd name="T12" fmla="*/ 9 w 105"/>
                <a:gd name="T13" fmla="*/ 3 h 50"/>
                <a:gd name="T14" fmla="*/ 4 w 105"/>
                <a:gd name="T15" fmla="*/ 3 h 50"/>
                <a:gd name="T16" fmla="*/ 3 w 105"/>
                <a:gd name="T17" fmla="*/ 17 h 50"/>
                <a:gd name="T18" fmla="*/ 1 w 105"/>
                <a:gd name="T19" fmla="*/ 27 h 50"/>
                <a:gd name="T20" fmla="*/ 3 w 105"/>
                <a:gd name="T21" fmla="*/ 28 h 50"/>
                <a:gd name="T22" fmla="*/ 10 w 105"/>
                <a:gd name="T23" fmla="*/ 27 h 50"/>
                <a:gd name="T24" fmla="*/ 14 w 105"/>
                <a:gd name="T25" fmla="*/ 30 h 50"/>
                <a:gd name="T26" fmla="*/ 18 w 105"/>
                <a:gd name="T27" fmla="*/ 30 h 50"/>
                <a:gd name="T28" fmla="*/ 23 w 105"/>
                <a:gd name="T29" fmla="*/ 32 h 50"/>
                <a:gd name="T30" fmla="*/ 24 w 105"/>
                <a:gd name="T31" fmla="*/ 35 h 50"/>
                <a:gd name="T32" fmla="*/ 29 w 105"/>
                <a:gd name="T33" fmla="*/ 40 h 50"/>
                <a:gd name="T34" fmla="*/ 31 w 105"/>
                <a:gd name="T35" fmla="*/ 37 h 50"/>
                <a:gd name="T36" fmla="*/ 36 w 105"/>
                <a:gd name="T37" fmla="*/ 40 h 50"/>
                <a:gd name="T38" fmla="*/ 36 w 105"/>
                <a:gd name="T39" fmla="*/ 48 h 50"/>
                <a:gd name="T40" fmla="*/ 48 w 105"/>
                <a:gd name="T41" fmla="*/ 46 h 50"/>
                <a:gd name="T42" fmla="*/ 45 w 105"/>
                <a:gd name="T43" fmla="*/ 32 h 50"/>
                <a:gd name="T44" fmla="*/ 57 w 105"/>
                <a:gd name="T45" fmla="*/ 20 h 50"/>
                <a:gd name="T46" fmla="*/ 62 w 105"/>
                <a:gd name="T47" fmla="*/ 14 h 50"/>
                <a:gd name="T48" fmla="*/ 57 w 105"/>
                <a:gd name="T49" fmla="*/ 10 h 50"/>
                <a:gd name="T50" fmla="*/ 57 w 105"/>
                <a:gd name="T51" fmla="*/ 11 h 50"/>
                <a:gd name="T52" fmla="*/ 55 w 105"/>
                <a:gd name="T53" fmla="*/ 12 h 50"/>
                <a:gd name="T54" fmla="*/ 56 w 105"/>
                <a:gd name="T55" fmla="*/ 6 h 50"/>
                <a:gd name="T56" fmla="*/ 61 w 105"/>
                <a:gd name="T57" fmla="*/ 3 h 50"/>
                <a:gd name="T58" fmla="*/ 72 w 105"/>
                <a:gd name="T59" fmla="*/ 1 h 50"/>
                <a:gd name="T60" fmla="*/ 76 w 105"/>
                <a:gd name="T61" fmla="*/ 5 h 50"/>
                <a:gd name="T62" fmla="*/ 94 w 105"/>
                <a:gd name="T63" fmla="*/ 12 h 50"/>
                <a:gd name="T64" fmla="*/ 98 w 105"/>
                <a:gd name="T65" fmla="*/ 18 h 50"/>
                <a:gd name="T66" fmla="*/ 100 w 105"/>
                <a:gd name="T67" fmla="*/ 23 h 50"/>
                <a:gd name="T68" fmla="*/ 103 w 105"/>
                <a:gd name="T69" fmla="*/ 28 h 50"/>
                <a:gd name="T70" fmla="*/ 102 w 105"/>
                <a:gd name="T71" fmla="*/ 40 h 50"/>
                <a:gd name="T72" fmla="*/ 94 w 105"/>
                <a:gd name="T73" fmla="*/ 41 h 50"/>
                <a:gd name="T74" fmla="*/ 89 w 105"/>
                <a:gd name="T75" fmla="*/ 46 h 50"/>
                <a:gd name="T76" fmla="*/ 84 w 105"/>
                <a:gd name="T77" fmla="*/ 40 h 50"/>
                <a:gd name="T78" fmla="*/ 83 w 105"/>
                <a:gd name="T79" fmla="*/ 32 h 50"/>
                <a:gd name="T80" fmla="*/ 85 w 105"/>
                <a:gd name="T81" fmla="*/ 28 h 50"/>
                <a:gd name="T82" fmla="*/ 88 w 105"/>
                <a:gd name="T83" fmla="*/ 27 h 50"/>
                <a:gd name="T84" fmla="*/ 94 w 105"/>
                <a:gd name="T85" fmla="*/ 30 h 50"/>
                <a:gd name="T86" fmla="*/ 95 w 105"/>
                <a:gd name="T87" fmla="*/ 31 h 50"/>
                <a:gd name="T88" fmla="*/ 94 w 105"/>
                <a:gd name="T89" fmla="*/ 30 h 50"/>
                <a:gd name="T90" fmla="*/ 89 w 105"/>
                <a:gd name="T91" fmla="*/ 24 h 50"/>
                <a:gd name="T92" fmla="*/ 89 w 105"/>
                <a:gd name="T93" fmla="*/ 25 h 50"/>
                <a:gd name="T94" fmla="*/ 87 w 105"/>
                <a:gd name="T95" fmla="*/ 25 h 50"/>
                <a:gd name="T96" fmla="*/ 85 w 105"/>
                <a:gd name="T97" fmla="*/ 23 h 50"/>
                <a:gd name="T98" fmla="*/ 83 w 105"/>
                <a:gd name="T99" fmla="*/ 23 h 50"/>
                <a:gd name="T100" fmla="*/ 82 w 105"/>
                <a:gd name="T101" fmla="*/ 24 h 50"/>
                <a:gd name="T102" fmla="*/ 82 w 105"/>
                <a:gd name="T103" fmla="*/ 21 h 50"/>
                <a:gd name="T104" fmla="*/ 80 w 105"/>
                <a:gd name="T105" fmla="*/ 18 h 50"/>
                <a:gd name="T106" fmla="*/ 77 w 105"/>
                <a:gd name="T107" fmla="*/ 15 h 50"/>
                <a:gd name="T108" fmla="*/ 71 w 105"/>
                <a:gd name="T109" fmla="*/ 13 h 50"/>
                <a:gd name="T110" fmla="*/ 74 w 105"/>
                <a:gd name="T111" fmla="*/ 11 h 50"/>
                <a:gd name="T112" fmla="*/ 71 w 105"/>
                <a:gd name="T113" fmla="*/ 13 h 50"/>
                <a:gd name="T114" fmla="*/ 64 w 105"/>
                <a:gd name="T115" fmla="*/ 14 h 50"/>
                <a:gd name="T116" fmla="*/ 62 w 105"/>
                <a:gd name="T117" fmla="*/ 8 h 50"/>
                <a:gd name="T118" fmla="*/ 60 w 105"/>
                <a:gd name="T119" fmla="*/ 7 h 50"/>
                <a:gd name="T120" fmla="*/ 58 w 105"/>
                <a:gd name="T121" fmla="*/ 6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05" h="50">
                  <a:moveTo>
                    <a:pt x="56" y="6"/>
                  </a:moveTo>
                  <a:lnTo>
                    <a:pt x="55" y="6"/>
                  </a:lnTo>
                  <a:lnTo>
                    <a:pt x="52" y="8"/>
                  </a:lnTo>
                  <a:lnTo>
                    <a:pt x="44" y="12"/>
                  </a:lnTo>
                  <a:lnTo>
                    <a:pt x="42" y="13"/>
                  </a:lnTo>
                  <a:lnTo>
                    <a:pt x="40" y="13"/>
                  </a:lnTo>
                  <a:lnTo>
                    <a:pt x="40" y="15"/>
                  </a:lnTo>
                  <a:lnTo>
                    <a:pt x="40" y="17"/>
                  </a:lnTo>
                  <a:lnTo>
                    <a:pt x="37" y="17"/>
                  </a:lnTo>
                  <a:lnTo>
                    <a:pt x="36" y="17"/>
                  </a:lnTo>
                  <a:lnTo>
                    <a:pt x="34" y="18"/>
                  </a:lnTo>
                  <a:lnTo>
                    <a:pt x="30" y="18"/>
                  </a:lnTo>
                  <a:lnTo>
                    <a:pt x="28" y="18"/>
                  </a:lnTo>
                  <a:lnTo>
                    <a:pt x="25" y="15"/>
                  </a:lnTo>
                  <a:lnTo>
                    <a:pt x="25" y="13"/>
                  </a:lnTo>
                  <a:lnTo>
                    <a:pt x="23" y="12"/>
                  </a:lnTo>
                  <a:lnTo>
                    <a:pt x="22" y="12"/>
                  </a:lnTo>
                  <a:lnTo>
                    <a:pt x="22" y="11"/>
                  </a:lnTo>
                  <a:lnTo>
                    <a:pt x="22" y="11"/>
                  </a:lnTo>
                  <a:lnTo>
                    <a:pt x="21" y="10"/>
                  </a:lnTo>
                  <a:lnTo>
                    <a:pt x="22" y="11"/>
                  </a:lnTo>
                  <a:lnTo>
                    <a:pt x="20" y="11"/>
                  </a:lnTo>
                  <a:lnTo>
                    <a:pt x="23" y="13"/>
                  </a:lnTo>
                  <a:lnTo>
                    <a:pt x="23" y="14"/>
                  </a:lnTo>
                  <a:lnTo>
                    <a:pt x="21" y="14"/>
                  </a:lnTo>
                  <a:lnTo>
                    <a:pt x="17" y="14"/>
                  </a:lnTo>
                  <a:lnTo>
                    <a:pt x="16" y="13"/>
                  </a:lnTo>
                  <a:lnTo>
                    <a:pt x="15" y="13"/>
                  </a:lnTo>
                  <a:lnTo>
                    <a:pt x="15" y="11"/>
                  </a:lnTo>
                  <a:lnTo>
                    <a:pt x="14" y="11"/>
                  </a:lnTo>
                  <a:lnTo>
                    <a:pt x="14" y="10"/>
                  </a:lnTo>
                  <a:lnTo>
                    <a:pt x="16" y="10"/>
                  </a:lnTo>
                  <a:lnTo>
                    <a:pt x="16" y="8"/>
                  </a:lnTo>
                  <a:lnTo>
                    <a:pt x="16" y="8"/>
                  </a:lnTo>
                  <a:lnTo>
                    <a:pt x="16" y="8"/>
                  </a:lnTo>
                  <a:lnTo>
                    <a:pt x="15" y="8"/>
                  </a:lnTo>
                  <a:lnTo>
                    <a:pt x="15" y="8"/>
                  </a:lnTo>
                  <a:lnTo>
                    <a:pt x="14" y="8"/>
                  </a:lnTo>
                  <a:lnTo>
                    <a:pt x="14" y="8"/>
                  </a:lnTo>
                  <a:lnTo>
                    <a:pt x="14" y="8"/>
                  </a:lnTo>
                  <a:lnTo>
                    <a:pt x="12" y="8"/>
                  </a:lnTo>
                  <a:lnTo>
                    <a:pt x="11" y="7"/>
                  </a:lnTo>
                  <a:lnTo>
                    <a:pt x="12" y="6"/>
                  </a:lnTo>
                  <a:lnTo>
                    <a:pt x="12" y="6"/>
                  </a:lnTo>
                  <a:lnTo>
                    <a:pt x="12" y="5"/>
                  </a:lnTo>
                  <a:lnTo>
                    <a:pt x="11" y="3"/>
                  </a:lnTo>
                  <a:lnTo>
                    <a:pt x="9" y="1"/>
                  </a:lnTo>
                  <a:lnTo>
                    <a:pt x="9" y="3"/>
                  </a:lnTo>
                  <a:lnTo>
                    <a:pt x="9" y="3"/>
                  </a:lnTo>
                  <a:lnTo>
                    <a:pt x="9" y="3"/>
                  </a:lnTo>
                  <a:lnTo>
                    <a:pt x="7" y="1"/>
                  </a:lnTo>
                  <a:lnTo>
                    <a:pt x="5" y="1"/>
                  </a:lnTo>
                  <a:lnTo>
                    <a:pt x="4" y="0"/>
                  </a:lnTo>
                  <a:lnTo>
                    <a:pt x="4" y="1"/>
                  </a:lnTo>
                  <a:lnTo>
                    <a:pt x="3" y="3"/>
                  </a:lnTo>
                  <a:lnTo>
                    <a:pt x="4" y="3"/>
                  </a:lnTo>
                  <a:lnTo>
                    <a:pt x="2" y="4"/>
                  </a:lnTo>
                  <a:lnTo>
                    <a:pt x="2" y="12"/>
                  </a:lnTo>
                  <a:lnTo>
                    <a:pt x="3" y="12"/>
                  </a:lnTo>
                  <a:lnTo>
                    <a:pt x="5" y="14"/>
                  </a:lnTo>
                  <a:lnTo>
                    <a:pt x="5" y="15"/>
                  </a:lnTo>
                  <a:lnTo>
                    <a:pt x="3" y="17"/>
                  </a:lnTo>
                  <a:lnTo>
                    <a:pt x="3" y="17"/>
                  </a:lnTo>
                  <a:lnTo>
                    <a:pt x="3" y="17"/>
                  </a:lnTo>
                  <a:lnTo>
                    <a:pt x="3" y="17"/>
                  </a:lnTo>
                  <a:lnTo>
                    <a:pt x="2" y="18"/>
                  </a:lnTo>
                  <a:lnTo>
                    <a:pt x="3" y="20"/>
                  </a:lnTo>
                  <a:lnTo>
                    <a:pt x="3" y="24"/>
                  </a:lnTo>
                  <a:lnTo>
                    <a:pt x="0" y="27"/>
                  </a:lnTo>
                  <a:lnTo>
                    <a:pt x="1" y="27"/>
                  </a:lnTo>
                  <a:lnTo>
                    <a:pt x="1" y="28"/>
                  </a:lnTo>
                  <a:lnTo>
                    <a:pt x="2" y="32"/>
                  </a:lnTo>
                  <a:lnTo>
                    <a:pt x="2" y="33"/>
                  </a:lnTo>
                  <a:lnTo>
                    <a:pt x="2" y="33"/>
                  </a:lnTo>
                  <a:lnTo>
                    <a:pt x="3" y="32"/>
                  </a:lnTo>
                  <a:lnTo>
                    <a:pt x="3" y="30"/>
                  </a:lnTo>
                  <a:lnTo>
                    <a:pt x="3" y="28"/>
                  </a:lnTo>
                  <a:lnTo>
                    <a:pt x="4" y="27"/>
                  </a:lnTo>
                  <a:lnTo>
                    <a:pt x="7" y="27"/>
                  </a:lnTo>
                  <a:lnTo>
                    <a:pt x="8" y="27"/>
                  </a:lnTo>
                  <a:lnTo>
                    <a:pt x="9" y="28"/>
                  </a:lnTo>
                  <a:lnTo>
                    <a:pt x="10" y="27"/>
                  </a:lnTo>
                  <a:lnTo>
                    <a:pt x="10" y="26"/>
                  </a:lnTo>
                  <a:lnTo>
                    <a:pt x="10" y="27"/>
                  </a:lnTo>
                  <a:lnTo>
                    <a:pt x="10" y="27"/>
                  </a:lnTo>
                  <a:lnTo>
                    <a:pt x="11" y="27"/>
                  </a:lnTo>
                  <a:lnTo>
                    <a:pt x="11" y="27"/>
                  </a:lnTo>
                  <a:lnTo>
                    <a:pt x="12" y="27"/>
                  </a:lnTo>
                  <a:lnTo>
                    <a:pt x="14" y="27"/>
                  </a:lnTo>
                  <a:lnTo>
                    <a:pt x="14" y="27"/>
                  </a:lnTo>
                  <a:lnTo>
                    <a:pt x="14" y="30"/>
                  </a:lnTo>
                  <a:lnTo>
                    <a:pt x="15" y="30"/>
                  </a:lnTo>
                  <a:lnTo>
                    <a:pt x="15" y="30"/>
                  </a:lnTo>
                  <a:lnTo>
                    <a:pt x="16" y="31"/>
                  </a:lnTo>
                  <a:lnTo>
                    <a:pt x="16" y="28"/>
                  </a:lnTo>
                  <a:lnTo>
                    <a:pt x="17" y="30"/>
                  </a:lnTo>
                  <a:lnTo>
                    <a:pt x="18" y="30"/>
                  </a:lnTo>
                  <a:lnTo>
                    <a:pt x="18" y="30"/>
                  </a:lnTo>
                  <a:lnTo>
                    <a:pt x="20" y="28"/>
                  </a:lnTo>
                  <a:lnTo>
                    <a:pt x="18" y="30"/>
                  </a:lnTo>
                  <a:lnTo>
                    <a:pt x="22" y="31"/>
                  </a:lnTo>
                  <a:lnTo>
                    <a:pt x="22" y="30"/>
                  </a:lnTo>
                  <a:lnTo>
                    <a:pt x="24" y="32"/>
                  </a:lnTo>
                  <a:lnTo>
                    <a:pt x="23" y="32"/>
                  </a:lnTo>
                  <a:lnTo>
                    <a:pt x="23" y="32"/>
                  </a:lnTo>
                  <a:lnTo>
                    <a:pt x="23" y="33"/>
                  </a:lnTo>
                  <a:lnTo>
                    <a:pt x="23" y="33"/>
                  </a:lnTo>
                  <a:lnTo>
                    <a:pt x="23" y="32"/>
                  </a:lnTo>
                  <a:lnTo>
                    <a:pt x="24" y="34"/>
                  </a:lnTo>
                  <a:lnTo>
                    <a:pt x="24" y="34"/>
                  </a:lnTo>
                  <a:lnTo>
                    <a:pt x="25" y="34"/>
                  </a:lnTo>
                  <a:lnTo>
                    <a:pt x="24" y="35"/>
                  </a:lnTo>
                  <a:lnTo>
                    <a:pt x="25" y="37"/>
                  </a:lnTo>
                  <a:lnTo>
                    <a:pt x="24" y="38"/>
                  </a:lnTo>
                  <a:lnTo>
                    <a:pt x="25" y="39"/>
                  </a:lnTo>
                  <a:lnTo>
                    <a:pt x="27" y="39"/>
                  </a:lnTo>
                  <a:lnTo>
                    <a:pt x="25" y="40"/>
                  </a:lnTo>
                  <a:lnTo>
                    <a:pt x="27" y="40"/>
                  </a:lnTo>
                  <a:lnTo>
                    <a:pt x="29" y="40"/>
                  </a:lnTo>
                  <a:lnTo>
                    <a:pt x="30" y="40"/>
                  </a:lnTo>
                  <a:lnTo>
                    <a:pt x="31" y="41"/>
                  </a:lnTo>
                  <a:lnTo>
                    <a:pt x="32" y="41"/>
                  </a:lnTo>
                  <a:lnTo>
                    <a:pt x="31" y="39"/>
                  </a:lnTo>
                  <a:lnTo>
                    <a:pt x="31" y="39"/>
                  </a:lnTo>
                  <a:lnTo>
                    <a:pt x="32" y="38"/>
                  </a:lnTo>
                  <a:lnTo>
                    <a:pt x="31" y="37"/>
                  </a:lnTo>
                  <a:lnTo>
                    <a:pt x="31" y="35"/>
                  </a:lnTo>
                  <a:lnTo>
                    <a:pt x="34" y="37"/>
                  </a:lnTo>
                  <a:lnTo>
                    <a:pt x="35" y="35"/>
                  </a:lnTo>
                  <a:lnTo>
                    <a:pt x="35" y="37"/>
                  </a:lnTo>
                  <a:lnTo>
                    <a:pt x="36" y="38"/>
                  </a:lnTo>
                  <a:lnTo>
                    <a:pt x="34" y="38"/>
                  </a:lnTo>
                  <a:lnTo>
                    <a:pt x="36" y="40"/>
                  </a:lnTo>
                  <a:lnTo>
                    <a:pt x="35" y="40"/>
                  </a:lnTo>
                  <a:lnTo>
                    <a:pt x="36" y="41"/>
                  </a:lnTo>
                  <a:lnTo>
                    <a:pt x="36" y="43"/>
                  </a:lnTo>
                  <a:lnTo>
                    <a:pt x="36" y="44"/>
                  </a:lnTo>
                  <a:lnTo>
                    <a:pt x="37" y="45"/>
                  </a:lnTo>
                  <a:lnTo>
                    <a:pt x="37" y="47"/>
                  </a:lnTo>
                  <a:lnTo>
                    <a:pt x="36" y="48"/>
                  </a:lnTo>
                  <a:lnTo>
                    <a:pt x="37" y="48"/>
                  </a:lnTo>
                  <a:lnTo>
                    <a:pt x="37" y="50"/>
                  </a:lnTo>
                  <a:lnTo>
                    <a:pt x="45" y="48"/>
                  </a:lnTo>
                  <a:lnTo>
                    <a:pt x="48" y="47"/>
                  </a:lnTo>
                  <a:lnTo>
                    <a:pt x="47" y="46"/>
                  </a:lnTo>
                  <a:lnTo>
                    <a:pt x="49" y="46"/>
                  </a:lnTo>
                  <a:lnTo>
                    <a:pt x="48" y="46"/>
                  </a:lnTo>
                  <a:lnTo>
                    <a:pt x="54" y="45"/>
                  </a:lnTo>
                  <a:lnTo>
                    <a:pt x="54" y="44"/>
                  </a:lnTo>
                  <a:lnTo>
                    <a:pt x="51" y="39"/>
                  </a:lnTo>
                  <a:lnTo>
                    <a:pt x="48" y="35"/>
                  </a:lnTo>
                  <a:lnTo>
                    <a:pt x="48" y="34"/>
                  </a:lnTo>
                  <a:lnTo>
                    <a:pt x="45" y="33"/>
                  </a:lnTo>
                  <a:lnTo>
                    <a:pt x="45" y="32"/>
                  </a:lnTo>
                  <a:lnTo>
                    <a:pt x="45" y="30"/>
                  </a:lnTo>
                  <a:lnTo>
                    <a:pt x="48" y="27"/>
                  </a:lnTo>
                  <a:lnTo>
                    <a:pt x="50" y="27"/>
                  </a:lnTo>
                  <a:lnTo>
                    <a:pt x="54" y="25"/>
                  </a:lnTo>
                  <a:lnTo>
                    <a:pt x="57" y="23"/>
                  </a:lnTo>
                  <a:lnTo>
                    <a:pt x="60" y="21"/>
                  </a:lnTo>
                  <a:lnTo>
                    <a:pt x="57" y="20"/>
                  </a:lnTo>
                  <a:lnTo>
                    <a:pt x="60" y="19"/>
                  </a:lnTo>
                  <a:lnTo>
                    <a:pt x="60" y="18"/>
                  </a:lnTo>
                  <a:lnTo>
                    <a:pt x="60" y="17"/>
                  </a:lnTo>
                  <a:lnTo>
                    <a:pt x="60" y="15"/>
                  </a:lnTo>
                  <a:lnTo>
                    <a:pt x="61" y="15"/>
                  </a:lnTo>
                  <a:lnTo>
                    <a:pt x="62" y="15"/>
                  </a:lnTo>
                  <a:lnTo>
                    <a:pt x="62" y="14"/>
                  </a:lnTo>
                  <a:lnTo>
                    <a:pt x="63" y="14"/>
                  </a:lnTo>
                  <a:lnTo>
                    <a:pt x="61" y="12"/>
                  </a:lnTo>
                  <a:lnTo>
                    <a:pt x="61" y="12"/>
                  </a:lnTo>
                  <a:lnTo>
                    <a:pt x="60" y="11"/>
                  </a:lnTo>
                  <a:lnTo>
                    <a:pt x="58" y="10"/>
                  </a:lnTo>
                  <a:lnTo>
                    <a:pt x="58" y="10"/>
                  </a:lnTo>
                  <a:lnTo>
                    <a:pt x="57" y="10"/>
                  </a:lnTo>
                  <a:lnTo>
                    <a:pt x="57" y="10"/>
                  </a:lnTo>
                  <a:lnTo>
                    <a:pt x="57" y="10"/>
                  </a:lnTo>
                  <a:lnTo>
                    <a:pt x="57" y="11"/>
                  </a:lnTo>
                  <a:lnTo>
                    <a:pt x="57" y="10"/>
                  </a:lnTo>
                  <a:lnTo>
                    <a:pt x="57" y="11"/>
                  </a:lnTo>
                  <a:lnTo>
                    <a:pt x="57" y="11"/>
                  </a:lnTo>
                  <a:lnTo>
                    <a:pt x="57" y="11"/>
                  </a:lnTo>
                  <a:lnTo>
                    <a:pt x="56" y="11"/>
                  </a:lnTo>
                  <a:lnTo>
                    <a:pt x="56" y="11"/>
                  </a:lnTo>
                  <a:lnTo>
                    <a:pt x="56" y="11"/>
                  </a:lnTo>
                  <a:lnTo>
                    <a:pt x="56" y="12"/>
                  </a:lnTo>
                  <a:lnTo>
                    <a:pt x="56" y="12"/>
                  </a:lnTo>
                  <a:lnTo>
                    <a:pt x="55" y="12"/>
                  </a:lnTo>
                  <a:lnTo>
                    <a:pt x="55" y="12"/>
                  </a:lnTo>
                  <a:lnTo>
                    <a:pt x="56" y="11"/>
                  </a:lnTo>
                  <a:lnTo>
                    <a:pt x="56" y="10"/>
                  </a:lnTo>
                  <a:lnTo>
                    <a:pt x="57" y="8"/>
                  </a:lnTo>
                  <a:lnTo>
                    <a:pt x="57" y="7"/>
                  </a:lnTo>
                  <a:lnTo>
                    <a:pt x="57" y="7"/>
                  </a:lnTo>
                  <a:lnTo>
                    <a:pt x="57" y="6"/>
                  </a:lnTo>
                  <a:lnTo>
                    <a:pt x="56" y="6"/>
                  </a:lnTo>
                  <a:lnTo>
                    <a:pt x="56" y="6"/>
                  </a:lnTo>
                  <a:close/>
                  <a:moveTo>
                    <a:pt x="58" y="6"/>
                  </a:moveTo>
                  <a:lnTo>
                    <a:pt x="57" y="6"/>
                  </a:lnTo>
                  <a:lnTo>
                    <a:pt x="57" y="6"/>
                  </a:lnTo>
                  <a:lnTo>
                    <a:pt x="57" y="6"/>
                  </a:lnTo>
                  <a:lnTo>
                    <a:pt x="60" y="4"/>
                  </a:lnTo>
                  <a:lnTo>
                    <a:pt x="61" y="3"/>
                  </a:lnTo>
                  <a:lnTo>
                    <a:pt x="62" y="1"/>
                  </a:lnTo>
                  <a:lnTo>
                    <a:pt x="63" y="0"/>
                  </a:lnTo>
                  <a:lnTo>
                    <a:pt x="64" y="0"/>
                  </a:lnTo>
                  <a:lnTo>
                    <a:pt x="64" y="1"/>
                  </a:lnTo>
                  <a:lnTo>
                    <a:pt x="65" y="1"/>
                  </a:lnTo>
                  <a:lnTo>
                    <a:pt x="70" y="3"/>
                  </a:lnTo>
                  <a:lnTo>
                    <a:pt x="72" y="1"/>
                  </a:lnTo>
                  <a:lnTo>
                    <a:pt x="74" y="1"/>
                  </a:lnTo>
                  <a:lnTo>
                    <a:pt x="74" y="3"/>
                  </a:lnTo>
                  <a:lnTo>
                    <a:pt x="72" y="3"/>
                  </a:lnTo>
                  <a:lnTo>
                    <a:pt x="72" y="4"/>
                  </a:lnTo>
                  <a:lnTo>
                    <a:pt x="72" y="4"/>
                  </a:lnTo>
                  <a:lnTo>
                    <a:pt x="75" y="4"/>
                  </a:lnTo>
                  <a:lnTo>
                    <a:pt x="76" y="5"/>
                  </a:lnTo>
                  <a:lnTo>
                    <a:pt x="76" y="4"/>
                  </a:lnTo>
                  <a:lnTo>
                    <a:pt x="81" y="5"/>
                  </a:lnTo>
                  <a:lnTo>
                    <a:pt x="82" y="4"/>
                  </a:lnTo>
                  <a:lnTo>
                    <a:pt x="87" y="5"/>
                  </a:lnTo>
                  <a:lnTo>
                    <a:pt x="88" y="7"/>
                  </a:lnTo>
                  <a:lnTo>
                    <a:pt x="91" y="8"/>
                  </a:lnTo>
                  <a:lnTo>
                    <a:pt x="94" y="12"/>
                  </a:lnTo>
                  <a:lnTo>
                    <a:pt x="94" y="11"/>
                  </a:lnTo>
                  <a:lnTo>
                    <a:pt x="95" y="12"/>
                  </a:lnTo>
                  <a:lnTo>
                    <a:pt x="96" y="14"/>
                  </a:lnTo>
                  <a:lnTo>
                    <a:pt x="95" y="14"/>
                  </a:lnTo>
                  <a:lnTo>
                    <a:pt x="98" y="17"/>
                  </a:lnTo>
                  <a:lnTo>
                    <a:pt x="98" y="17"/>
                  </a:lnTo>
                  <a:lnTo>
                    <a:pt x="98" y="18"/>
                  </a:lnTo>
                  <a:lnTo>
                    <a:pt x="100" y="18"/>
                  </a:lnTo>
                  <a:lnTo>
                    <a:pt x="100" y="19"/>
                  </a:lnTo>
                  <a:lnTo>
                    <a:pt x="101" y="20"/>
                  </a:lnTo>
                  <a:lnTo>
                    <a:pt x="102" y="20"/>
                  </a:lnTo>
                  <a:lnTo>
                    <a:pt x="101" y="20"/>
                  </a:lnTo>
                  <a:lnTo>
                    <a:pt x="101" y="21"/>
                  </a:lnTo>
                  <a:lnTo>
                    <a:pt x="100" y="23"/>
                  </a:lnTo>
                  <a:lnTo>
                    <a:pt x="100" y="23"/>
                  </a:lnTo>
                  <a:lnTo>
                    <a:pt x="100" y="24"/>
                  </a:lnTo>
                  <a:lnTo>
                    <a:pt x="101" y="24"/>
                  </a:lnTo>
                  <a:lnTo>
                    <a:pt x="102" y="25"/>
                  </a:lnTo>
                  <a:lnTo>
                    <a:pt x="102" y="27"/>
                  </a:lnTo>
                  <a:lnTo>
                    <a:pt x="103" y="27"/>
                  </a:lnTo>
                  <a:lnTo>
                    <a:pt x="103" y="28"/>
                  </a:lnTo>
                  <a:lnTo>
                    <a:pt x="103" y="30"/>
                  </a:lnTo>
                  <a:lnTo>
                    <a:pt x="104" y="32"/>
                  </a:lnTo>
                  <a:lnTo>
                    <a:pt x="105" y="34"/>
                  </a:lnTo>
                  <a:lnTo>
                    <a:pt x="103" y="35"/>
                  </a:lnTo>
                  <a:lnTo>
                    <a:pt x="102" y="37"/>
                  </a:lnTo>
                  <a:lnTo>
                    <a:pt x="101" y="38"/>
                  </a:lnTo>
                  <a:lnTo>
                    <a:pt x="102" y="40"/>
                  </a:lnTo>
                  <a:lnTo>
                    <a:pt x="98" y="41"/>
                  </a:lnTo>
                  <a:lnTo>
                    <a:pt x="97" y="43"/>
                  </a:lnTo>
                  <a:lnTo>
                    <a:pt x="97" y="43"/>
                  </a:lnTo>
                  <a:lnTo>
                    <a:pt x="97" y="41"/>
                  </a:lnTo>
                  <a:lnTo>
                    <a:pt x="96" y="40"/>
                  </a:lnTo>
                  <a:lnTo>
                    <a:pt x="94" y="39"/>
                  </a:lnTo>
                  <a:lnTo>
                    <a:pt x="94" y="41"/>
                  </a:lnTo>
                  <a:lnTo>
                    <a:pt x="95" y="44"/>
                  </a:lnTo>
                  <a:lnTo>
                    <a:pt x="94" y="44"/>
                  </a:lnTo>
                  <a:lnTo>
                    <a:pt x="92" y="44"/>
                  </a:lnTo>
                  <a:lnTo>
                    <a:pt x="91" y="50"/>
                  </a:lnTo>
                  <a:lnTo>
                    <a:pt x="91" y="50"/>
                  </a:lnTo>
                  <a:lnTo>
                    <a:pt x="90" y="47"/>
                  </a:lnTo>
                  <a:lnTo>
                    <a:pt x="89" y="46"/>
                  </a:lnTo>
                  <a:lnTo>
                    <a:pt x="88" y="45"/>
                  </a:lnTo>
                  <a:lnTo>
                    <a:pt x="87" y="44"/>
                  </a:lnTo>
                  <a:lnTo>
                    <a:pt x="87" y="44"/>
                  </a:lnTo>
                  <a:lnTo>
                    <a:pt x="87" y="43"/>
                  </a:lnTo>
                  <a:lnTo>
                    <a:pt x="87" y="43"/>
                  </a:lnTo>
                  <a:lnTo>
                    <a:pt x="87" y="41"/>
                  </a:lnTo>
                  <a:lnTo>
                    <a:pt x="84" y="40"/>
                  </a:lnTo>
                  <a:lnTo>
                    <a:pt x="84" y="39"/>
                  </a:lnTo>
                  <a:lnTo>
                    <a:pt x="83" y="34"/>
                  </a:lnTo>
                  <a:lnTo>
                    <a:pt x="83" y="34"/>
                  </a:lnTo>
                  <a:lnTo>
                    <a:pt x="82" y="33"/>
                  </a:lnTo>
                  <a:lnTo>
                    <a:pt x="82" y="32"/>
                  </a:lnTo>
                  <a:lnTo>
                    <a:pt x="83" y="31"/>
                  </a:lnTo>
                  <a:lnTo>
                    <a:pt x="83" y="32"/>
                  </a:lnTo>
                  <a:lnTo>
                    <a:pt x="83" y="32"/>
                  </a:lnTo>
                  <a:lnTo>
                    <a:pt x="84" y="32"/>
                  </a:lnTo>
                  <a:lnTo>
                    <a:pt x="84" y="32"/>
                  </a:lnTo>
                  <a:lnTo>
                    <a:pt x="85" y="32"/>
                  </a:lnTo>
                  <a:lnTo>
                    <a:pt x="85" y="30"/>
                  </a:lnTo>
                  <a:lnTo>
                    <a:pt x="85" y="28"/>
                  </a:lnTo>
                  <a:lnTo>
                    <a:pt x="85" y="28"/>
                  </a:lnTo>
                  <a:lnTo>
                    <a:pt x="85" y="28"/>
                  </a:lnTo>
                  <a:lnTo>
                    <a:pt x="85" y="28"/>
                  </a:lnTo>
                  <a:lnTo>
                    <a:pt x="85" y="27"/>
                  </a:lnTo>
                  <a:lnTo>
                    <a:pt x="85" y="27"/>
                  </a:lnTo>
                  <a:lnTo>
                    <a:pt x="87" y="28"/>
                  </a:lnTo>
                  <a:lnTo>
                    <a:pt x="87" y="27"/>
                  </a:lnTo>
                  <a:lnTo>
                    <a:pt x="88" y="27"/>
                  </a:lnTo>
                  <a:lnTo>
                    <a:pt x="88" y="26"/>
                  </a:lnTo>
                  <a:lnTo>
                    <a:pt x="88" y="25"/>
                  </a:lnTo>
                  <a:lnTo>
                    <a:pt x="88" y="26"/>
                  </a:lnTo>
                  <a:lnTo>
                    <a:pt x="90" y="28"/>
                  </a:lnTo>
                  <a:lnTo>
                    <a:pt x="90" y="28"/>
                  </a:lnTo>
                  <a:lnTo>
                    <a:pt x="90" y="28"/>
                  </a:lnTo>
                  <a:lnTo>
                    <a:pt x="94" y="30"/>
                  </a:lnTo>
                  <a:lnTo>
                    <a:pt x="94" y="30"/>
                  </a:lnTo>
                  <a:lnTo>
                    <a:pt x="94" y="31"/>
                  </a:lnTo>
                  <a:lnTo>
                    <a:pt x="94" y="32"/>
                  </a:lnTo>
                  <a:lnTo>
                    <a:pt x="95" y="32"/>
                  </a:lnTo>
                  <a:lnTo>
                    <a:pt x="95" y="32"/>
                  </a:lnTo>
                  <a:lnTo>
                    <a:pt x="95" y="31"/>
                  </a:lnTo>
                  <a:lnTo>
                    <a:pt x="95" y="31"/>
                  </a:lnTo>
                  <a:lnTo>
                    <a:pt x="95" y="31"/>
                  </a:lnTo>
                  <a:lnTo>
                    <a:pt x="95" y="31"/>
                  </a:lnTo>
                  <a:lnTo>
                    <a:pt x="95" y="30"/>
                  </a:lnTo>
                  <a:lnTo>
                    <a:pt x="94" y="30"/>
                  </a:lnTo>
                  <a:lnTo>
                    <a:pt x="94" y="30"/>
                  </a:lnTo>
                  <a:lnTo>
                    <a:pt x="94" y="30"/>
                  </a:lnTo>
                  <a:lnTo>
                    <a:pt x="94" y="30"/>
                  </a:lnTo>
                  <a:lnTo>
                    <a:pt x="94" y="30"/>
                  </a:lnTo>
                  <a:lnTo>
                    <a:pt x="91" y="28"/>
                  </a:lnTo>
                  <a:lnTo>
                    <a:pt x="90" y="28"/>
                  </a:lnTo>
                  <a:lnTo>
                    <a:pt x="89" y="25"/>
                  </a:lnTo>
                  <a:lnTo>
                    <a:pt x="90" y="25"/>
                  </a:lnTo>
                  <a:lnTo>
                    <a:pt x="89" y="24"/>
                  </a:lnTo>
                  <a:lnTo>
                    <a:pt x="89" y="24"/>
                  </a:lnTo>
                  <a:lnTo>
                    <a:pt x="89" y="24"/>
                  </a:lnTo>
                  <a:lnTo>
                    <a:pt x="89" y="23"/>
                  </a:lnTo>
                  <a:lnTo>
                    <a:pt x="89" y="23"/>
                  </a:lnTo>
                  <a:lnTo>
                    <a:pt x="89" y="23"/>
                  </a:lnTo>
                  <a:lnTo>
                    <a:pt x="88" y="23"/>
                  </a:lnTo>
                  <a:lnTo>
                    <a:pt x="89" y="24"/>
                  </a:lnTo>
                  <a:lnTo>
                    <a:pt x="89" y="25"/>
                  </a:lnTo>
                  <a:lnTo>
                    <a:pt x="89" y="24"/>
                  </a:lnTo>
                  <a:lnTo>
                    <a:pt x="88" y="24"/>
                  </a:lnTo>
                  <a:lnTo>
                    <a:pt x="88" y="25"/>
                  </a:lnTo>
                  <a:lnTo>
                    <a:pt x="87" y="25"/>
                  </a:lnTo>
                  <a:lnTo>
                    <a:pt x="87" y="26"/>
                  </a:lnTo>
                  <a:lnTo>
                    <a:pt x="85" y="25"/>
                  </a:lnTo>
                  <a:lnTo>
                    <a:pt x="87" y="25"/>
                  </a:lnTo>
                  <a:lnTo>
                    <a:pt x="87" y="25"/>
                  </a:lnTo>
                  <a:lnTo>
                    <a:pt x="87" y="23"/>
                  </a:lnTo>
                  <a:lnTo>
                    <a:pt x="87" y="23"/>
                  </a:lnTo>
                  <a:lnTo>
                    <a:pt x="87" y="25"/>
                  </a:lnTo>
                  <a:lnTo>
                    <a:pt x="85" y="24"/>
                  </a:lnTo>
                  <a:lnTo>
                    <a:pt x="87" y="24"/>
                  </a:lnTo>
                  <a:lnTo>
                    <a:pt x="85" y="23"/>
                  </a:lnTo>
                  <a:lnTo>
                    <a:pt x="85" y="25"/>
                  </a:lnTo>
                  <a:lnTo>
                    <a:pt x="85" y="24"/>
                  </a:lnTo>
                  <a:lnTo>
                    <a:pt x="84" y="25"/>
                  </a:lnTo>
                  <a:lnTo>
                    <a:pt x="84" y="25"/>
                  </a:lnTo>
                  <a:lnTo>
                    <a:pt x="84" y="24"/>
                  </a:lnTo>
                  <a:lnTo>
                    <a:pt x="83" y="23"/>
                  </a:lnTo>
                  <a:lnTo>
                    <a:pt x="83" y="23"/>
                  </a:lnTo>
                  <a:lnTo>
                    <a:pt x="84" y="25"/>
                  </a:lnTo>
                  <a:lnTo>
                    <a:pt x="84" y="26"/>
                  </a:lnTo>
                  <a:lnTo>
                    <a:pt x="83" y="27"/>
                  </a:lnTo>
                  <a:lnTo>
                    <a:pt x="83" y="26"/>
                  </a:lnTo>
                  <a:lnTo>
                    <a:pt x="83" y="26"/>
                  </a:lnTo>
                  <a:lnTo>
                    <a:pt x="83" y="24"/>
                  </a:lnTo>
                  <a:lnTo>
                    <a:pt x="82" y="24"/>
                  </a:lnTo>
                  <a:lnTo>
                    <a:pt x="82" y="25"/>
                  </a:lnTo>
                  <a:lnTo>
                    <a:pt x="82" y="24"/>
                  </a:lnTo>
                  <a:lnTo>
                    <a:pt x="82" y="24"/>
                  </a:lnTo>
                  <a:lnTo>
                    <a:pt x="82" y="23"/>
                  </a:lnTo>
                  <a:lnTo>
                    <a:pt x="82" y="23"/>
                  </a:lnTo>
                  <a:lnTo>
                    <a:pt x="81" y="21"/>
                  </a:lnTo>
                  <a:lnTo>
                    <a:pt x="82" y="21"/>
                  </a:lnTo>
                  <a:lnTo>
                    <a:pt x="81" y="21"/>
                  </a:lnTo>
                  <a:lnTo>
                    <a:pt x="82" y="21"/>
                  </a:lnTo>
                  <a:lnTo>
                    <a:pt x="82" y="20"/>
                  </a:lnTo>
                  <a:lnTo>
                    <a:pt x="81" y="20"/>
                  </a:lnTo>
                  <a:lnTo>
                    <a:pt x="80" y="20"/>
                  </a:lnTo>
                  <a:lnTo>
                    <a:pt x="80" y="19"/>
                  </a:lnTo>
                  <a:lnTo>
                    <a:pt x="80" y="18"/>
                  </a:lnTo>
                  <a:lnTo>
                    <a:pt x="80" y="19"/>
                  </a:lnTo>
                  <a:lnTo>
                    <a:pt x="80" y="19"/>
                  </a:lnTo>
                  <a:lnTo>
                    <a:pt x="80" y="19"/>
                  </a:lnTo>
                  <a:lnTo>
                    <a:pt x="78" y="19"/>
                  </a:lnTo>
                  <a:lnTo>
                    <a:pt x="77" y="18"/>
                  </a:lnTo>
                  <a:lnTo>
                    <a:pt x="77" y="17"/>
                  </a:lnTo>
                  <a:lnTo>
                    <a:pt x="77" y="15"/>
                  </a:lnTo>
                  <a:lnTo>
                    <a:pt x="76" y="17"/>
                  </a:lnTo>
                  <a:lnTo>
                    <a:pt x="76" y="17"/>
                  </a:lnTo>
                  <a:lnTo>
                    <a:pt x="75" y="17"/>
                  </a:lnTo>
                  <a:lnTo>
                    <a:pt x="75" y="15"/>
                  </a:lnTo>
                  <a:lnTo>
                    <a:pt x="74" y="14"/>
                  </a:lnTo>
                  <a:lnTo>
                    <a:pt x="72" y="14"/>
                  </a:lnTo>
                  <a:lnTo>
                    <a:pt x="71" y="13"/>
                  </a:lnTo>
                  <a:lnTo>
                    <a:pt x="71" y="13"/>
                  </a:lnTo>
                  <a:lnTo>
                    <a:pt x="71" y="13"/>
                  </a:lnTo>
                  <a:lnTo>
                    <a:pt x="71" y="12"/>
                  </a:lnTo>
                  <a:lnTo>
                    <a:pt x="71" y="12"/>
                  </a:lnTo>
                  <a:lnTo>
                    <a:pt x="72" y="11"/>
                  </a:lnTo>
                  <a:lnTo>
                    <a:pt x="72" y="11"/>
                  </a:lnTo>
                  <a:lnTo>
                    <a:pt x="74" y="11"/>
                  </a:lnTo>
                  <a:lnTo>
                    <a:pt x="74" y="10"/>
                  </a:lnTo>
                  <a:lnTo>
                    <a:pt x="72" y="10"/>
                  </a:lnTo>
                  <a:lnTo>
                    <a:pt x="71" y="11"/>
                  </a:lnTo>
                  <a:lnTo>
                    <a:pt x="71" y="12"/>
                  </a:lnTo>
                  <a:lnTo>
                    <a:pt x="71" y="12"/>
                  </a:lnTo>
                  <a:lnTo>
                    <a:pt x="71" y="13"/>
                  </a:lnTo>
                  <a:lnTo>
                    <a:pt x="71" y="13"/>
                  </a:lnTo>
                  <a:lnTo>
                    <a:pt x="71" y="13"/>
                  </a:lnTo>
                  <a:lnTo>
                    <a:pt x="70" y="13"/>
                  </a:lnTo>
                  <a:lnTo>
                    <a:pt x="70" y="12"/>
                  </a:lnTo>
                  <a:lnTo>
                    <a:pt x="68" y="12"/>
                  </a:lnTo>
                  <a:lnTo>
                    <a:pt x="67" y="13"/>
                  </a:lnTo>
                  <a:lnTo>
                    <a:pt x="67" y="13"/>
                  </a:lnTo>
                  <a:lnTo>
                    <a:pt x="64" y="14"/>
                  </a:lnTo>
                  <a:lnTo>
                    <a:pt x="63" y="14"/>
                  </a:lnTo>
                  <a:lnTo>
                    <a:pt x="63" y="12"/>
                  </a:lnTo>
                  <a:lnTo>
                    <a:pt x="62" y="12"/>
                  </a:lnTo>
                  <a:lnTo>
                    <a:pt x="62" y="11"/>
                  </a:lnTo>
                  <a:lnTo>
                    <a:pt x="62" y="10"/>
                  </a:lnTo>
                  <a:lnTo>
                    <a:pt x="62" y="8"/>
                  </a:lnTo>
                  <a:lnTo>
                    <a:pt x="62" y="8"/>
                  </a:lnTo>
                  <a:lnTo>
                    <a:pt x="61" y="8"/>
                  </a:lnTo>
                  <a:lnTo>
                    <a:pt x="61" y="10"/>
                  </a:lnTo>
                  <a:lnTo>
                    <a:pt x="60" y="10"/>
                  </a:lnTo>
                  <a:lnTo>
                    <a:pt x="58" y="8"/>
                  </a:lnTo>
                  <a:lnTo>
                    <a:pt x="58" y="8"/>
                  </a:lnTo>
                  <a:lnTo>
                    <a:pt x="58" y="7"/>
                  </a:lnTo>
                  <a:lnTo>
                    <a:pt x="60" y="7"/>
                  </a:lnTo>
                  <a:lnTo>
                    <a:pt x="58" y="7"/>
                  </a:lnTo>
                  <a:lnTo>
                    <a:pt x="58" y="7"/>
                  </a:lnTo>
                  <a:lnTo>
                    <a:pt x="58" y="7"/>
                  </a:lnTo>
                  <a:lnTo>
                    <a:pt x="58" y="7"/>
                  </a:lnTo>
                  <a:lnTo>
                    <a:pt x="58" y="6"/>
                  </a:lnTo>
                  <a:lnTo>
                    <a:pt x="58" y="6"/>
                  </a:lnTo>
                  <a:lnTo>
                    <a:pt x="58" y="6"/>
                  </a:lnTo>
                  <a:close/>
                  <a:moveTo>
                    <a:pt x="58" y="5"/>
                  </a:moveTo>
                  <a:lnTo>
                    <a:pt x="58" y="5"/>
                  </a:lnTo>
                  <a:lnTo>
                    <a:pt x="58" y="5"/>
                  </a:lnTo>
                  <a:lnTo>
                    <a:pt x="58" y="5"/>
                  </a:lnTo>
                  <a:lnTo>
                    <a:pt x="58" y="5"/>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285" name="Pakistan">
              <a:extLst>
                <a:ext uri="{FF2B5EF4-FFF2-40B4-BE49-F238E27FC236}">
                  <a16:creationId xmlns:a16="http://schemas.microsoft.com/office/drawing/2014/main" id="{CDF53611-FC16-654B-BE91-4E0FC1CF4251}"/>
                </a:ext>
              </a:extLst>
            </p:cNvPr>
            <p:cNvSpPr>
              <a:spLocks/>
            </p:cNvSpPr>
            <p:nvPr/>
          </p:nvSpPr>
          <p:spPr bwMode="auto">
            <a:xfrm>
              <a:off x="7901924" y="2768618"/>
              <a:ext cx="387814" cy="403852"/>
            </a:xfrm>
            <a:custGeom>
              <a:avLst/>
              <a:gdLst>
                <a:gd name="T0" fmla="*/ 247 w 266"/>
                <a:gd name="T1" fmla="*/ 31 h 277"/>
                <a:gd name="T2" fmla="*/ 229 w 266"/>
                <a:gd name="T3" fmla="*/ 14 h 277"/>
                <a:gd name="T4" fmla="*/ 209 w 266"/>
                <a:gd name="T5" fmla="*/ 0 h 277"/>
                <a:gd name="T6" fmla="*/ 182 w 266"/>
                <a:gd name="T7" fmla="*/ 7 h 277"/>
                <a:gd name="T8" fmla="*/ 158 w 266"/>
                <a:gd name="T9" fmla="*/ 17 h 277"/>
                <a:gd name="T10" fmla="*/ 151 w 266"/>
                <a:gd name="T11" fmla="*/ 24 h 277"/>
                <a:gd name="T12" fmla="*/ 160 w 266"/>
                <a:gd name="T13" fmla="*/ 39 h 277"/>
                <a:gd name="T14" fmla="*/ 154 w 266"/>
                <a:gd name="T15" fmla="*/ 55 h 277"/>
                <a:gd name="T16" fmla="*/ 142 w 266"/>
                <a:gd name="T17" fmla="*/ 72 h 277"/>
                <a:gd name="T18" fmla="*/ 136 w 266"/>
                <a:gd name="T19" fmla="*/ 86 h 277"/>
                <a:gd name="T20" fmla="*/ 126 w 266"/>
                <a:gd name="T21" fmla="*/ 112 h 277"/>
                <a:gd name="T22" fmla="*/ 119 w 266"/>
                <a:gd name="T23" fmla="*/ 112 h 277"/>
                <a:gd name="T24" fmla="*/ 112 w 266"/>
                <a:gd name="T25" fmla="*/ 120 h 277"/>
                <a:gd name="T26" fmla="*/ 94 w 266"/>
                <a:gd name="T27" fmla="*/ 128 h 277"/>
                <a:gd name="T28" fmla="*/ 73 w 266"/>
                <a:gd name="T29" fmla="*/ 160 h 277"/>
                <a:gd name="T30" fmla="*/ 0 w 266"/>
                <a:gd name="T31" fmla="*/ 151 h 277"/>
                <a:gd name="T32" fmla="*/ 12 w 266"/>
                <a:gd name="T33" fmla="*/ 168 h 277"/>
                <a:gd name="T34" fmla="*/ 23 w 266"/>
                <a:gd name="T35" fmla="*/ 179 h 277"/>
                <a:gd name="T36" fmla="*/ 37 w 266"/>
                <a:gd name="T37" fmla="*/ 190 h 277"/>
                <a:gd name="T38" fmla="*/ 44 w 266"/>
                <a:gd name="T39" fmla="*/ 205 h 277"/>
                <a:gd name="T40" fmla="*/ 47 w 266"/>
                <a:gd name="T41" fmla="*/ 214 h 277"/>
                <a:gd name="T42" fmla="*/ 38 w 266"/>
                <a:gd name="T43" fmla="*/ 219 h 277"/>
                <a:gd name="T44" fmla="*/ 33 w 266"/>
                <a:gd name="T45" fmla="*/ 225 h 277"/>
                <a:gd name="T46" fmla="*/ 27 w 266"/>
                <a:gd name="T47" fmla="*/ 232 h 277"/>
                <a:gd name="T48" fmla="*/ 25 w 266"/>
                <a:gd name="T49" fmla="*/ 241 h 277"/>
                <a:gd name="T50" fmla="*/ 32 w 266"/>
                <a:gd name="T51" fmla="*/ 249 h 277"/>
                <a:gd name="T52" fmla="*/ 54 w 266"/>
                <a:gd name="T53" fmla="*/ 246 h 277"/>
                <a:gd name="T54" fmla="*/ 67 w 266"/>
                <a:gd name="T55" fmla="*/ 245 h 277"/>
                <a:gd name="T56" fmla="*/ 86 w 266"/>
                <a:gd name="T57" fmla="*/ 245 h 277"/>
                <a:gd name="T58" fmla="*/ 114 w 266"/>
                <a:gd name="T59" fmla="*/ 252 h 277"/>
                <a:gd name="T60" fmla="*/ 124 w 266"/>
                <a:gd name="T61" fmla="*/ 261 h 277"/>
                <a:gd name="T62" fmla="*/ 131 w 266"/>
                <a:gd name="T63" fmla="*/ 274 h 277"/>
                <a:gd name="T64" fmla="*/ 138 w 266"/>
                <a:gd name="T65" fmla="*/ 274 h 277"/>
                <a:gd name="T66" fmla="*/ 145 w 266"/>
                <a:gd name="T67" fmla="*/ 274 h 277"/>
                <a:gd name="T68" fmla="*/ 156 w 266"/>
                <a:gd name="T69" fmla="*/ 265 h 277"/>
                <a:gd name="T70" fmla="*/ 177 w 266"/>
                <a:gd name="T71" fmla="*/ 268 h 277"/>
                <a:gd name="T72" fmla="*/ 190 w 266"/>
                <a:gd name="T73" fmla="*/ 267 h 277"/>
                <a:gd name="T74" fmla="*/ 192 w 266"/>
                <a:gd name="T75" fmla="*/ 259 h 277"/>
                <a:gd name="T76" fmla="*/ 177 w 266"/>
                <a:gd name="T77" fmla="*/ 238 h 277"/>
                <a:gd name="T78" fmla="*/ 166 w 266"/>
                <a:gd name="T79" fmla="*/ 219 h 277"/>
                <a:gd name="T80" fmla="*/ 163 w 266"/>
                <a:gd name="T81" fmla="*/ 204 h 277"/>
                <a:gd name="T82" fmla="*/ 174 w 266"/>
                <a:gd name="T83" fmla="*/ 190 h 277"/>
                <a:gd name="T84" fmla="*/ 199 w 266"/>
                <a:gd name="T85" fmla="*/ 185 h 277"/>
                <a:gd name="T86" fmla="*/ 219 w 266"/>
                <a:gd name="T87" fmla="*/ 148 h 277"/>
                <a:gd name="T88" fmla="*/ 227 w 266"/>
                <a:gd name="T89" fmla="*/ 134 h 277"/>
                <a:gd name="T90" fmla="*/ 232 w 266"/>
                <a:gd name="T91" fmla="*/ 126 h 277"/>
                <a:gd name="T92" fmla="*/ 233 w 266"/>
                <a:gd name="T93" fmla="*/ 108 h 277"/>
                <a:gd name="T94" fmla="*/ 239 w 266"/>
                <a:gd name="T95" fmla="*/ 105 h 277"/>
                <a:gd name="T96" fmla="*/ 229 w 266"/>
                <a:gd name="T97" fmla="*/ 98 h 277"/>
                <a:gd name="T98" fmla="*/ 219 w 266"/>
                <a:gd name="T99" fmla="*/ 86 h 277"/>
                <a:gd name="T100" fmla="*/ 213 w 266"/>
                <a:gd name="T101" fmla="*/ 74 h 277"/>
                <a:gd name="T102" fmla="*/ 212 w 266"/>
                <a:gd name="T103" fmla="*/ 66 h 277"/>
                <a:gd name="T104" fmla="*/ 203 w 266"/>
                <a:gd name="T105" fmla="*/ 59 h 277"/>
                <a:gd name="T106" fmla="*/ 214 w 266"/>
                <a:gd name="T107" fmla="*/ 52 h 277"/>
                <a:gd name="T108" fmla="*/ 233 w 266"/>
                <a:gd name="T109" fmla="*/ 59 h 277"/>
                <a:gd name="T110" fmla="*/ 253 w 266"/>
                <a:gd name="T111" fmla="*/ 51 h 2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66" h="277">
                  <a:moveTo>
                    <a:pt x="266" y="35"/>
                  </a:moveTo>
                  <a:lnTo>
                    <a:pt x="260" y="35"/>
                  </a:lnTo>
                  <a:lnTo>
                    <a:pt x="259" y="37"/>
                  </a:lnTo>
                  <a:lnTo>
                    <a:pt x="258" y="35"/>
                  </a:lnTo>
                  <a:lnTo>
                    <a:pt x="252" y="34"/>
                  </a:lnTo>
                  <a:lnTo>
                    <a:pt x="250" y="34"/>
                  </a:lnTo>
                  <a:lnTo>
                    <a:pt x="247" y="33"/>
                  </a:lnTo>
                  <a:lnTo>
                    <a:pt x="247" y="31"/>
                  </a:lnTo>
                  <a:lnTo>
                    <a:pt x="244" y="31"/>
                  </a:lnTo>
                  <a:lnTo>
                    <a:pt x="240" y="26"/>
                  </a:lnTo>
                  <a:lnTo>
                    <a:pt x="239" y="28"/>
                  </a:lnTo>
                  <a:lnTo>
                    <a:pt x="238" y="28"/>
                  </a:lnTo>
                  <a:lnTo>
                    <a:pt x="236" y="28"/>
                  </a:lnTo>
                  <a:lnTo>
                    <a:pt x="231" y="23"/>
                  </a:lnTo>
                  <a:lnTo>
                    <a:pt x="232" y="20"/>
                  </a:lnTo>
                  <a:lnTo>
                    <a:pt x="229" y="14"/>
                  </a:lnTo>
                  <a:lnTo>
                    <a:pt x="227" y="13"/>
                  </a:lnTo>
                  <a:lnTo>
                    <a:pt x="226" y="12"/>
                  </a:lnTo>
                  <a:lnTo>
                    <a:pt x="225" y="10"/>
                  </a:lnTo>
                  <a:lnTo>
                    <a:pt x="220" y="10"/>
                  </a:lnTo>
                  <a:lnTo>
                    <a:pt x="218" y="10"/>
                  </a:lnTo>
                  <a:lnTo>
                    <a:pt x="217" y="7"/>
                  </a:lnTo>
                  <a:lnTo>
                    <a:pt x="212" y="4"/>
                  </a:lnTo>
                  <a:lnTo>
                    <a:pt x="209" y="0"/>
                  </a:lnTo>
                  <a:lnTo>
                    <a:pt x="209" y="6"/>
                  </a:lnTo>
                  <a:lnTo>
                    <a:pt x="203" y="10"/>
                  </a:lnTo>
                  <a:lnTo>
                    <a:pt x="199" y="5"/>
                  </a:lnTo>
                  <a:lnTo>
                    <a:pt x="198" y="7"/>
                  </a:lnTo>
                  <a:lnTo>
                    <a:pt x="194" y="8"/>
                  </a:lnTo>
                  <a:lnTo>
                    <a:pt x="187" y="7"/>
                  </a:lnTo>
                  <a:lnTo>
                    <a:pt x="183" y="7"/>
                  </a:lnTo>
                  <a:lnTo>
                    <a:pt x="182" y="7"/>
                  </a:lnTo>
                  <a:lnTo>
                    <a:pt x="178" y="7"/>
                  </a:lnTo>
                  <a:lnTo>
                    <a:pt x="177" y="7"/>
                  </a:lnTo>
                  <a:lnTo>
                    <a:pt x="174" y="8"/>
                  </a:lnTo>
                  <a:lnTo>
                    <a:pt x="164" y="11"/>
                  </a:lnTo>
                  <a:lnTo>
                    <a:pt x="164" y="12"/>
                  </a:lnTo>
                  <a:lnTo>
                    <a:pt x="162" y="12"/>
                  </a:lnTo>
                  <a:lnTo>
                    <a:pt x="163" y="14"/>
                  </a:lnTo>
                  <a:lnTo>
                    <a:pt x="158" y="17"/>
                  </a:lnTo>
                  <a:lnTo>
                    <a:pt x="158" y="17"/>
                  </a:lnTo>
                  <a:lnTo>
                    <a:pt x="156" y="17"/>
                  </a:lnTo>
                  <a:lnTo>
                    <a:pt x="156" y="17"/>
                  </a:lnTo>
                  <a:lnTo>
                    <a:pt x="154" y="18"/>
                  </a:lnTo>
                  <a:lnTo>
                    <a:pt x="156" y="19"/>
                  </a:lnTo>
                  <a:lnTo>
                    <a:pt x="153" y="21"/>
                  </a:lnTo>
                  <a:lnTo>
                    <a:pt x="152" y="21"/>
                  </a:lnTo>
                  <a:lnTo>
                    <a:pt x="151" y="24"/>
                  </a:lnTo>
                  <a:lnTo>
                    <a:pt x="150" y="25"/>
                  </a:lnTo>
                  <a:lnTo>
                    <a:pt x="153" y="26"/>
                  </a:lnTo>
                  <a:lnTo>
                    <a:pt x="154" y="26"/>
                  </a:lnTo>
                  <a:lnTo>
                    <a:pt x="158" y="31"/>
                  </a:lnTo>
                  <a:lnTo>
                    <a:pt x="157" y="33"/>
                  </a:lnTo>
                  <a:lnTo>
                    <a:pt x="160" y="34"/>
                  </a:lnTo>
                  <a:lnTo>
                    <a:pt x="160" y="38"/>
                  </a:lnTo>
                  <a:lnTo>
                    <a:pt x="160" y="39"/>
                  </a:lnTo>
                  <a:lnTo>
                    <a:pt x="162" y="41"/>
                  </a:lnTo>
                  <a:lnTo>
                    <a:pt x="162" y="43"/>
                  </a:lnTo>
                  <a:lnTo>
                    <a:pt x="162" y="44"/>
                  </a:lnTo>
                  <a:lnTo>
                    <a:pt x="160" y="47"/>
                  </a:lnTo>
                  <a:lnTo>
                    <a:pt x="159" y="50"/>
                  </a:lnTo>
                  <a:lnTo>
                    <a:pt x="156" y="53"/>
                  </a:lnTo>
                  <a:lnTo>
                    <a:pt x="156" y="54"/>
                  </a:lnTo>
                  <a:lnTo>
                    <a:pt x="154" y="55"/>
                  </a:lnTo>
                  <a:lnTo>
                    <a:pt x="157" y="59"/>
                  </a:lnTo>
                  <a:lnTo>
                    <a:pt x="159" y="59"/>
                  </a:lnTo>
                  <a:lnTo>
                    <a:pt x="159" y="63"/>
                  </a:lnTo>
                  <a:lnTo>
                    <a:pt x="159" y="65"/>
                  </a:lnTo>
                  <a:lnTo>
                    <a:pt x="153" y="67"/>
                  </a:lnTo>
                  <a:lnTo>
                    <a:pt x="138" y="66"/>
                  </a:lnTo>
                  <a:lnTo>
                    <a:pt x="138" y="68"/>
                  </a:lnTo>
                  <a:lnTo>
                    <a:pt x="142" y="72"/>
                  </a:lnTo>
                  <a:lnTo>
                    <a:pt x="144" y="72"/>
                  </a:lnTo>
                  <a:lnTo>
                    <a:pt x="146" y="78"/>
                  </a:lnTo>
                  <a:lnTo>
                    <a:pt x="147" y="79"/>
                  </a:lnTo>
                  <a:lnTo>
                    <a:pt x="150" y="80"/>
                  </a:lnTo>
                  <a:lnTo>
                    <a:pt x="146" y="83"/>
                  </a:lnTo>
                  <a:lnTo>
                    <a:pt x="143" y="86"/>
                  </a:lnTo>
                  <a:lnTo>
                    <a:pt x="139" y="85"/>
                  </a:lnTo>
                  <a:lnTo>
                    <a:pt x="136" y="86"/>
                  </a:lnTo>
                  <a:lnTo>
                    <a:pt x="138" y="91"/>
                  </a:lnTo>
                  <a:lnTo>
                    <a:pt x="134" y="98"/>
                  </a:lnTo>
                  <a:lnTo>
                    <a:pt x="136" y="105"/>
                  </a:lnTo>
                  <a:lnTo>
                    <a:pt x="138" y="108"/>
                  </a:lnTo>
                  <a:lnTo>
                    <a:pt x="137" y="111"/>
                  </a:lnTo>
                  <a:lnTo>
                    <a:pt x="134" y="115"/>
                  </a:lnTo>
                  <a:lnTo>
                    <a:pt x="130" y="115"/>
                  </a:lnTo>
                  <a:lnTo>
                    <a:pt x="126" y="112"/>
                  </a:lnTo>
                  <a:lnTo>
                    <a:pt x="126" y="112"/>
                  </a:lnTo>
                  <a:lnTo>
                    <a:pt x="125" y="112"/>
                  </a:lnTo>
                  <a:lnTo>
                    <a:pt x="125" y="111"/>
                  </a:lnTo>
                  <a:lnTo>
                    <a:pt x="123" y="112"/>
                  </a:lnTo>
                  <a:lnTo>
                    <a:pt x="125" y="112"/>
                  </a:lnTo>
                  <a:lnTo>
                    <a:pt x="125" y="113"/>
                  </a:lnTo>
                  <a:lnTo>
                    <a:pt x="122" y="112"/>
                  </a:lnTo>
                  <a:lnTo>
                    <a:pt x="119" y="112"/>
                  </a:lnTo>
                  <a:lnTo>
                    <a:pt x="118" y="112"/>
                  </a:lnTo>
                  <a:lnTo>
                    <a:pt x="118" y="113"/>
                  </a:lnTo>
                  <a:lnTo>
                    <a:pt x="117" y="113"/>
                  </a:lnTo>
                  <a:lnTo>
                    <a:pt x="116" y="115"/>
                  </a:lnTo>
                  <a:lnTo>
                    <a:pt x="113" y="115"/>
                  </a:lnTo>
                  <a:lnTo>
                    <a:pt x="113" y="115"/>
                  </a:lnTo>
                  <a:lnTo>
                    <a:pt x="110" y="118"/>
                  </a:lnTo>
                  <a:lnTo>
                    <a:pt x="112" y="120"/>
                  </a:lnTo>
                  <a:lnTo>
                    <a:pt x="112" y="120"/>
                  </a:lnTo>
                  <a:lnTo>
                    <a:pt x="113" y="121"/>
                  </a:lnTo>
                  <a:lnTo>
                    <a:pt x="106" y="124"/>
                  </a:lnTo>
                  <a:lnTo>
                    <a:pt x="100" y="124"/>
                  </a:lnTo>
                  <a:lnTo>
                    <a:pt x="102" y="122"/>
                  </a:lnTo>
                  <a:lnTo>
                    <a:pt x="97" y="122"/>
                  </a:lnTo>
                  <a:lnTo>
                    <a:pt x="96" y="124"/>
                  </a:lnTo>
                  <a:lnTo>
                    <a:pt x="94" y="128"/>
                  </a:lnTo>
                  <a:lnTo>
                    <a:pt x="92" y="130"/>
                  </a:lnTo>
                  <a:lnTo>
                    <a:pt x="91" y="138"/>
                  </a:lnTo>
                  <a:lnTo>
                    <a:pt x="92" y="140"/>
                  </a:lnTo>
                  <a:lnTo>
                    <a:pt x="92" y="144"/>
                  </a:lnTo>
                  <a:lnTo>
                    <a:pt x="91" y="147"/>
                  </a:lnTo>
                  <a:lnTo>
                    <a:pt x="93" y="150"/>
                  </a:lnTo>
                  <a:lnTo>
                    <a:pt x="92" y="152"/>
                  </a:lnTo>
                  <a:lnTo>
                    <a:pt x="73" y="160"/>
                  </a:lnTo>
                  <a:lnTo>
                    <a:pt x="70" y="158"/>
                  </a:lnTo>
                  <a:lnTo>
                    <a:pt x="65" y="158"/>
                  </a:lnTo>
                  <a:lnTo>
                    <a:pt x="60" y="158"/>
                  </a:lnTo>
                  <a:lnTo>
                    <a:pt x="58" y="159"/>
                  </a:lnTo>
                  <a:lnTo>
                    <a:pt x="57" y="161"/>
                  </a:lnTo>
                  <a:lnTo>
                    <a:pt x="47" y="159"/>
                  </a:lnTo>
                  <a:lnTo>
                    <a:pt x="27" y="161"/>
                  </a:lnTo>
                  <a:lnTo>
                    <a:pt x="0" y="151"/>
                  </a:lnTo>
                  <a:lnTo>
                    <a:pt x="0" y="151"/>
                  </a:lnTo>
                  <a:lnTo>
                    <a:pt x="0" y="151"/>
                  </a:lnTo>
                  <a:lnTo>
                    <a:pt x="9" y="161"/>
                  </a:lnTo>
                  <a:lnTo>
                    <a:pt x="12" y="161"/>
                  </a:lnTo>
                  <a:lnTo>
                    <a:pt x="11" y="165"/>
                  </a:lnTo>
                  <a:lnTo>
                    <a:pt x="11" y="166"/>
                  </a:lnTo>
                  <a:lnTo>
                    <a:pt x="11" y="166"/>
                  </a:lnTo>
                  <a:lnTo>
                    <a:pt x="12" y="168"/>
                  </a:lnTo>
                  <a:lnTo>
                    <a:pt x="12" y="170"/>
                  </a:lnTo>
                  <a:lnTo>
                    <a:pt x="15" y="171"/>
                  </a:lnTo>
                  <a:lnTo>
                    <a:pt x="15" y="172"/>
                  </a:lnTo>
                  <a:lnTo>
                    <a:pt x="16" y="173"/>
                  </a:lnTo>
                  <a:lnTo>
                    <a:pt x="17" y="175"/>
                  </a:lnTo>
                  <a:lnTo>
                    <a:pt x="19" y="177"/>
                  </a:lnTo>
                  <a:lnTo>
                    <a:pt x="20" y="178"/>
                  </a:lnTo>
                  <a:lnTo>
                    <a:pt x="23" y="179"/>
                  </a:lnTo>
                  <a:lnTo>
                    <a:pt x="27" y="180"/>
                  </a:lnTo>
                  <a:lnTo>
                    <a:pt x="30" y="180"/>
                  </a:lnTo>
                  <a:lnTo>
                    <a:pt x="31" y="182"/>
                  </a:lnTo>
                  <a:lnTo>
                    <a:pt x="33" y="184"/>
                  </a:lnTo>
                  <a:lnTo>
                    <a:pt x="33" y="185"/>
                  </a:lnTo>
                  <a:lnTo>
                    <a:pt x="38" y="185"/>
                  </a:lnTo>
                  <a:lnTo>
                    <a:pt x="38" y="185"/>
                  </a:lnTo>
                  <a:lnTo>
                    <a:pt x="37" y="190"/>
                  </a:lnTo>
                  <a:lnTo>
                    <a:pt x="40" y="194"/>
                  </a:lnTo>
                  <a:lnTo>
                    <a:pt x="40" y="201"/>
                  </a:lnTo>
                  <a:lnTo>
                    <a:pt x="40" y="204"/>
                  </a:lnTo>
                  <a:lnTo>
                    <a:pt x="40" y="204"/>
                  </a:lnTo>
                  <a:lnTo>
                    <a:pt x="40" y="205"/>
                  </a:lnTo>
                  <a:lnTo>
                    <a:pt x="42" y="206"/>
                  </a:lnTo>
                  <a:lnTo>
                    <a:pt x="44" y="206"/>
                  </a:lnTo>
                  <a:lnTo>
                    <a:pt x="44" y="205"/>
                  </a:lnTo>
                  <a:lnTo>
                    <a:pt x="46" y="204"/>
                  </a:lnTo>
                  <a:lnTo>
                    <a:pt x="49" y="205"/>
                  </a:lnTo>
                  <a:lnTo>
                    <a:pt x="49" y="206"/>
                  </a:lnTo>
                  <a:lnTo>
                    <a:pt x="49" y="206"/>
                  </a:lnTo>
                  <a:lnTo>
                    <a:pt x="50" y="207"/>
                  </a:lnTo>
                  <a:lnTo>
                    <a:pt x="49" y="208"/>
                  </a:lnTo>
                  <a:lnTo>
                    <a:pt x="50" y="213"/>
                  </a:lnTo>
                  <a:lnTo>
                    <a:pt x="47" y="214"/>
                  </a:lnTo>
                  <a:lnTo>
                    <a:pt x="49" y="217"/>
                  </a:lnTo>
                  <a:lnTo>
                    <a:pt x="47" y="218"/>
                  </a:lnTo>
                  <a:lnTo>
                    <a:pt x="43" y="218"/>
                  </a:lnTo>
                  <a:lnTo>
                    <a:pt x="43" y="218"/>
                  </a:lnTo>
                  <a:lnTo>
                    <a:pt x="40" y="219"/>
                  </a:lnTo>
                  <a:lnTo>
                    <a:pt x="40" y="219"/>
                  </a:lnTo>
                  <a:lnTo>
                    <a:pt x="40" y="219"/>
                  </a:lnTo>
                  <a:lnTo>
                    <a:pt x="38" y="219"/>
                  </a:lnTo>
                  <a:lnTo>
                    <a:pt x="36" y="220"/>
                  </a:lnTo>
                  <a:lnTo>
                    <a:pt x="35" y="220"/>
                  </a:lnTo>
                  <a:lnTo>
                    <a:pt x="33" y="221"/>
                  </a:lnTo>
                  <a:lnTo>
                    <a:pt x="33" y="221"/>
                  </a:lnTo>
                  <a:lnTo>
                    <a:pt x="33" y="222"/>
                  </a:lnTo>
                  <a:lnTo>
                    <a:pt x="33" y="224"/>
                  </a:lnTo>
                  <a:lnTo>
                    <a:pt x="33" y="225"/>
                  </a:lnTo>
                  <a:lnTo>
                    <a:pt x="33" y="225"/>
                  </a:lnTo>
                  <a:lnTo>
                    <a:pt x="31" y="225"/>
                  </a:lnTo>
                  <a:lnTo>
                    <a:pt x="31" y="225"/>
                  </a:lnTo>
                  <a:lnTo>
                    <a:pt x="29" y="224"/>
                  </a:lnTo>
                  <a:lnTo>
                    <a:pt x="29" y="225"/>
                  </a:lnTo>
                  <a:lnTo>
                    <a:pt x="26" y="226"/>
                  </a:lnTo>
                  <a:lnTo>
                    <a:pt x="27" y="230"/>
                  </a:lnTo>
                  <a:lnTo>
                    <a:pt x="27" y="231"/>
                  </a:lnTo>
                  <a:lnTo>
                    <a:pt x="27" y="232"/>
                  </a:lnTo>
                  <a:lnTo>
                    <a:pt x="27" y="233"/>
                  </a:lnTo>
                  <a:lnTo>
                    <a:pt x="27" y="234"/>
                  </a:lnTo>
                  <a:lnTo>
                    <a:pt x="27" y="234"/>
                  </a:lnTo>
                  <a:lnTo>
                    <a:pt x="27" y="235"/>
                  </a:lnTo>
                  <a:lnTo>
                    <a:pt x="29" y="237"/>
                  </a:lnTo>
                  <a:lnTo>
                    <a:pt x="27" y="237"/>
                  </a:lnTo>
                  <a:lnTo>
                    <a:pt x="25" y="237"/>
                  </a:lnTo>
                  <a:lnTo>
                    <a:pt x="25" y="241"/>
                  </a:lnTo>
                  <a:lnTo>
                    <a:pt x="26" y="245"/>
                  </a:lnTo>
                  <a:lnTo>
                    <a:pt x="24" y="247"/>
                  </a:lnTo>
                  <a:lnTo>
                    <a:pt x="27" y="247"/>
                  </a:lnTo>
                  <a:lnTo>
                    <a:pt x="29" y="247"/>
                  </a:lnTo>
                  <a:lnTo>
                    <a:pt x="27" y="249"/>
                  </a:lnTo>
                  <a:lnTo>
                    <a:pt x="29" y="251"/>
                  </a:lnTo>
                  <a:lnTo>
                    <a:pt x="31" y="248"/>
                  </a:lnTo>
                  <a:lnTo>
                    <a:pt x="32" y="249"/>
                  </a:lnTo>
                  <a:lnTo>
                    <a:pt x="32" y="248"/>
                  </a:lnTo>
                  <a:lnTo>
                    <a:pt x="35" y="247"/>
                  </a:lnTo>
                  <a:lnTo>
                    <a:pt x="37" y="247"/>
                  </a:lnTo>
                  <a:lnTo>
                    <a:pt x="39" y="247"/>
                  </a:lnTo>
                  <a:lnTo>
                    <a:pt x="42" y="246"/>
                  </a:lnTo>
                  <a:lnTo>
                    <a:pt x="50" y="247"/>
                  </a:lnTo>
                  <a:lnTo>
                    <a:pt x="52" y="245"/>
                  </a:lnTo>
                  <a:lnTo>
                    <a:pt x="54" y="246"/>
                  </a:lnTo>
                  <a:lnTo>
                    <a:pt x="57" y="245"/>
                  </a:lnTo>
                  <a:lnTo>
                    <a:pt x="59" y="244"/>
                  </a:lnTo>
                  <a:lnTo>
                    <a:pt x="64" y="245"/>
                  </a:lnTo>
                  <a:lnTo>
                    <a:pt x="66" y="244"/>
                  </a:lnTo>
                  <a:lnTo>
                    <a:pt x="66" y="242"/>
                  </a:lnTo>
                  <a:lnTo>
                    <a:pt x="69" y="242"/>
                  </a:lnTo>
                  <a:lnTo>
                    <a:pt x="69" y="244"/>
                  </a:lnTo>
                  <a:lnTo>
                    <a:pt x="67" y="245"/>
                  </a:lnTo>
                  <a:lnTo>
                    <a:pt x="74" y="246"/>
                  </a:lnTo>
                  <a:lnTo>
                    <a:pt x="76" y="249"/>
                  </a:lnTo>
                  <a:lnTo>
                    <a:pt x="77" y="248"/>
                  </a:lnTo>
                  <a:lnTo>
                    <a:pt x="79" y="248"/>
                  </a:lnTo>
                  <a:lnTo>
                    <a:pt x="80" y="247"/>
                  </a:lnTo>
                  <a:lnTo>
                    <a:pt x="79" y="245"/>
                  </a:lnTo>
                  <a:lnTo>
                    <a:pt x="80" y="245"/>
                  </a:lnTo>
                  <a:lnTo>
                    <a:pt x="86" y="245"/>
                  </a:lnTo>
                  <a:lnTo>
                    <a:pt x="90" y="244"/>
                  </a:lnTo>
                  <a:lnTo>
                    <a:pt x="97" y="245"/>
                  </a:lnTo>
                  <a:lnTo>
                    <a:pt x="99" y="242"/>
                  </a:lnTo>
                  <a:lnTo>
                    <a:pt x="105" y="242"/>
                  </a:lnTo>
                  <a:lnTo>
                    <a:pt x="110" y="242"/>
                  </a:lnTo>
                  <a:lnTo>
                    <a:pt x="112" y="244"/>
                  </a:lnTo>
                  <a:lnTo>
                    <a:pt x="116" y="247"/>
                  </a:lnTo>
                  <a:lnTo>
                    <a:pt x="114" y="252"/>
                  </a:lnTo>
                  <a:lnTo>
                    <a:pt x="118" y="254"/>
                  </a:lnTo>
                  <a:lnTo>
                    <a:pt x="120" y="255"/>
                  </a:lnTo>
                  <a:lnTo>
                    <a:pt x="120" y="254"/>
                  </a:lnTo>
                  <a:lnTo>
                    <a:pt x="125" y="255"/>
                  </a:lnTo>
                  <a:lnTo>
                    <a:pt x="125" y="257"/>
                  </a:lnTo>
                  <a:lnTo>
                    <a:pt x="125" y="259"/>
                  </a:lnTo>
                  <a:lnTo>
                    <a:pt x="126" y="260"/>
                  </a:lnTo>
                  <a:lnTo>
                    <a:pt x="124" y="261"/>
                  </a:lnTo>
                  <a:lnTo>
                    <a:pt x="125" y="262"/>
                  </a:lnTo>
                  <a:lnTo>
                    <a:pt x="127" y="265"/>
                  </a:lnTo>
                  <a:lnTo>
                    <a:pt x="129" y="267"/>
                  </a:lnTo>
                  <a:lnTo>
                    <a:pt x="127" y="269"/>
                  </a:lnTo>
                  <a:lnTo>
                    <a:pt x="130" y="269"/>
                  </a:lnTo>
                  <a:lnTo>
                    <a:pt x="131" y="272"/>
                  </a:lnTo>
                  <a:lnTo>
                    <a:pt x="133" y="274"/>
                  </a:lnTo>
                  <a:lnTo>
                    <a:pt x="131" y="274"/>
                  </a:lnTo>
                  <a:lnTo>
                    <a:pt x="133" y="275"/>
                  </a:lnTo>
                  <a:lnTo>
                    <a:pt x="133" y="274"/>
                  </a:lnTo>
                  <a:lnTo>
                    <a:pt x="134" y="275"/>
                  </a:lnTo>
                  <a:lnTo>
                    <a:pt x="134" y="274"/>
                  </a:lnTo>
                  <a:lnTo>
                    <a:pt x="134" y="275"/>
                  </a:lnTo>
                  <a:lnTo>
                    <a:pt x="136" y="277"/>
                  </a:lnTo>
                  <a:lnTo>
                    <a:pt x="138" y="275"/>
                  </a:lnTo>
                  <a:lnTo>
                    <a:pt x="138" y="274"/>
                  </a:lnTo>
                  <a:lnTo>
                    <a:pt x="140" y="275"/>
                  </a:lnTo>
                  <a:lnTo>
                    <a:pt x="140" y="274"/>
                  </a:lnTo>
                  <a:lnTo>
                    <a:pt x="143" y="274"/>
                  </a:lnTo>
                  <a:lnTo>
                    <a:pt x="140" y="277"/>
                  </a:lnTo>
                  <a:lnTo>
                    <a:pt x="144" y="275"/>
                  </a:lnTo>
                  <a:lnTo>
                    <a:pt x="144" y="274"/>
                  </a:lnTo>
                  <a:lnTo>
                    <a:pt x="145" y="277"/>
                  </a:lnTo>
                  <a:lnTo>
                    <a:pt x="145" y="274"/>
                  </a:lnTo>
                  <a:lnTo>
                    <a:pt x="146" y="274"/>
                  </a:lnTo>
                  <a:lnTo>
                    <a:pt x="149" y="273"/>
                  </a:lnTo>
                  <a:lnTo>
                    <a:pt x="153" y="273"/>
                  </a:lnTo>
                  <a:lnTo>
                    <a:pt x="153" y="265"/>
                  </a:lnTo>
                  <a:lnTo>
                    <a:pt x="153" y="265"/>
                  </a:lnTo>
                  <a:lnTo>
                    <a:pt x="154" y="265"/>
                  </a:lnTo>
                  <a:lnTo>
                    <a:pt x="154" y="268"/>
                  </a:lnTo>
                  <a:lnTo>
                    <a:pt x="156" y="265"/>
                  </a:lnTo>
                  <a:lnTo>
                    <a:pt x="156" y="265"/>
                  </a:lnTo>
                  <a:lnTo>
                    <a:pt x="158" y="267"/>
                  </a:lnTo>
                  <a:lnTo>
                    <a:pt x="159" y="267"/>
                  </a:lnTo>
                  <a:lnTo>
                    <a:pt x="162" y="267"/>
                  </a:lnTo>
                  <a:lnTo>
                    <a:pt x="163" y="267"/>
                  </a:lnTo>
                  <a:lnTo>
                    <a:pt x="169" y="267"/>
                  </a:lnTo>
                  <a:lnTo>
                    <a:pt x="171" y="268"/>
                  </a:lnTo>
                  <a:lnTo>
                    <a:pt x="177" y="268"/>
                  </a:lnTo>
                  <a:lnTo>
                    <a:pt x="177" y="265"/>
                  </a:lnTo>
                  <a:lnTo>
                    <a:pt x="180" y="265"/>
                  </a:lnTo>
                  <a:lnTo>
                    <a:pt x="182" y="264"/>
                  </a:lnTo>
                  <a:lnTo>
                    <a:pt x="183" y="264"/>
                  </a:lnTo>
                  <a:lnTo>
                    <a:pt x="185" y="264"/>
                  </a:lnTo>
                  <a:lnTo>
                    <a:pt x="185" y="267"/>
                  </a:lnTo>
                  <a:lnTo>
                    <a:pt x="187" y="267"/>
                  </a:lnTo>
                  <a:lnTo>
                    <a:pt x="190" y="267"/>
                  </a:lnTo>
                  <a:lnTo>
                    <a:pt x="191" y="267"/>
                  </a:lnTo>
                  <a:lnTo>
                    <a:pt x="191" y="267"/>
                  </a:lnTo>
                  <a:lnTo>
                    <a:pt x="191" y="265"/>
                  </a:lnTo>
                  <a:lnTo>
                    <a:pt x="193" y="265"/>
                  </a:lnTo>
                  <a:lnTo>
                    <a:pt x="194" y="264"/>
                  </a:lnTo>
                  <a:lnTo>
                    <a:pt x="194" y="262"/>
                  </a:lnTo>
                  <a:lnTo>
                    <a:pt x="192" y="262"/>
                  </a:lnTo>
                  <a:lnTo>
                    <a:pt x="192" y="259"/>
                  </a:lnTo>
                  <a:lnTo>
                    <a:pt x="193" y="258"/>
                  </a:lnTo>
                  <a:lnTo>
                    <a:pt x="193" y="257"/>
                  </a:lnTo>
                  <a:lnTo>
                    <a:pt x="192" y="255"/>
                  </a:lnTo>
                  <a:lnTo>
                    <a:pt x="191" y="253"/>
                  </a:lnTo>
                  <a:lnTo>
                    <a:pt x="189" y="248"/>
                  </a:lnTo>
                  <a:lnTo>
                    <a:pt x="185" y="246"/>
                  </a:lnTo>
                  <a:lnTo>
                    <a:pt x="184" y="238"/>
                  </a:lnTo>
                  <a:lnTo>
                    <a:pt x="177" y="238"/>
                  </a:lnTo>
                  <a:lnTo>
                    <a:pt x="176" y="237"/>
                  </a:lnTo>
                  <a:lnTo>
                    <a:pt x="173" y="234"/>
                  </a:lnTo>
                  <a:lnTo>
                    <a:pt x="173" y="233"/>
                  </a:lnTo>
                  <a:lnTo>
                    <a:pt x="172" y="232"/>
                  </a:lnTo>
                  <a:lnTo>
                    <a:pt x="173" y="225"/>
                  </a:lnTo>
                  <a:lnTo>
                    <a:pt x="174" y="220"/>
                  </a:lnTo>
                  <a:lnTo>
                    <a:pt x="170" y="219"/>
                  </a:lnTo>
                  <a:lnTo>
                    <a:pt x="166" y="219"/>
                  </a:lnTo>
                  <a:lnTo>
                    <a:pt x="165" y="219"/>
                  </a:lnTo>
                  <a:lnTo>
                    <a:pt x="164" y="218"/>
                  </a:lnTo>
                  <a:lnTo>
                    <a:pt x="160" y="215"/>
                  </a:lnTo>
                  <a:lnTo>
                    <a:pt x="159" y="214"/>
                  </a:lnTo>
                  <a:lnTo>
                    <a:pt x="158" y="211"/>
                  </a:lnTo>
                  <a:lnTo>
                    <a:pt x="159" y="207"/>
                  </a:lnTo>
                  <a:lnTo>
                    <a:pt x="162" y="205"/>
                  </a:lnTo>
                  <a:lnTo>
                    <a:pt x="163" y="204"/>
                  </a:lnTo>
                  <a:lnTo>
                    <a:pt x="165" y="201"/>
                  </a:lnTo>
                  <a:lnTo>
                    <a:pt x="166" y="197"/>
                  </a:lnTo>
                  <a:lnTo>
                    <a:pt x="167" y="193"/>
                  </a:lnTo>
                  <a:lnTo>
                    <a:pt x="170" y="191"/>
                  </a:lnTo>
                  <a:lnTo>
                    <a:pt x="171" y="190"/>
                  </a:lnTo>
                  <a:lnTo>
                    <a:pt x="172" y="188"/>
                  </a:lnTo>
                  <a:lnTo>
                    <a:pt x="173" y="188"/>
                  </a:lnTo>
                  <a:lnTo>
                    <a:pt x="174" y="190"/>
                  </a:lnTo>
                  <a:lnTo>
                    <a:pt x="177" y="191"/>
                  </a:lnTo>
                  <a:lnTo>
                    <a:pt x="178" y="195"/>
                  </a:lnTo>
                  <a:lnTo>
                    <a:pt x="183" y="195"/>
                  </a:lnTo>
                  <a:lnTo>
                    <a:pt x="189" y="192"/>
                  </a:lnTo>
                  <a:lnTo>
                    <a:pt x="193" y="192"/>
                  </a:lnTo>
                  <a:lnTo>
                    <a:pt x="198" y="191"/>
                  </a:lnTo>
                  <a:lnTo>
                    <a:pt x="198" y="187"/>
                  </a:lnTo>
                  <a:lnTo>
                    <a:pt x="199" y="185"/>
                  </a:lnTo>
                  <a:lnTo>
                    <a:pt x="202" y="184"/>
                  </a:lnTo>
                  <a:lnTo>
                    <a:pt x="202" y="182"/>
                  </a:lnTo>
                  <a:lnTo>
                    <a:pt x="203" y="177"/>
                  </a:lnTo>
                  <a:lnTo>
                    <a:pt x="204" y="174"/>
                  </a:lnTo>
                  <a:lnTo>
                    <a:pt x="213" y="168"/>
                  </a:lnTo>
                  <a:lnTo>
                    <a:pt x="216" y="158"/>
                  </a:lnTo>
                  <a:lnTo>
                    <a:pt x="216" y="150"/>
                  </a:lnTo>
                  <a:lnTo>
                    <a:pt x="219" y="148"/>
                  </a:lnTo>
                  <a:lnTo>
                    <a:pt x="223" y="147"/>
                  </a:lnTo>
                  <a:lnTo>
                    <a:pt x="226" y="145"/>
                  </a:lnTo>
                  <a:lnTo>
                    <a:pt x="223" y="140"/>
                  </a:lnTo>
                  <a:lnTo>
                    <a:pt x="225" y="139"/>
                  </a:lnTo>
                  <a:lnTo>
                    <a:pt x="225" y="138"/>
                  </a:lnTo>
                  <a:lnTo>
                    <a:pt x="226" y="138"/>
                  </a:lnTo>
                  <a:lnTo>
                    <a:pt x="226" y="137"/>
                  </a:lnTo>
                  <a:lnTo>
                    <a:pt x="227" y="134"/>
                  </a:lnTo>
                  <a:lnTo>
                    <a:pt x="229" y="132"/>
                  </a:lnTo>
                  <a:lnTo>
                    <a:pt x="229" y="131"/>
                  </a:lnTo>
                  <a:lnTo>
                    <a:pt x="231" y="131"/>
                  </a:lnTo>
                  <a:lnTo>
                    <a:pt x="231" y="128"/>
                  </a:lnTo>
                  <a:lnTo>
                    <a:pt x="232" y="128"/>
                  </a:lnTo>
                  <a:lnTo>
                    <a:pt x="232" y="126"/>
                  </a:lnTo>
                  <a:lnTo>
                    <a:pt x="234" y="126"/>
                  </a:lnTo>
                  <a:lnTo>
                    <a:pt x="232" y="126"/>
                  </a:lnTo>
                  <a:lnTo>
                    <a:pt x="231" y="125"/>
                  </a:lnTo>
                  <a:lnTo>
                    <a:pt x="231" y="122"/>
                  </a:lnTo>
                  <a:lnTo>
                    <a:pt x="232" y="118"/>
                  </a:lnTo>
                  <a:lnTo>
                    <a:pt x="230" y="115"/>
                  </a:lnTo>
                  <a:lnTo>
                    <a:pt x="229" y="112"/>
                  </a:lnTo>
                  <a:lnTo>
                    <a:pt x="229" y="112"/>
                  </a:lnTo>
                  <a:lnTo>
                    <a:pt x="231" y="110"/>
                  </a:lnTo>
                  <a:lnTo>
                    <a:pt x="233" y="108"/>
                  </a:lnTo>
                  <a:lnTo>
                    <a:pt x="233" y="107"/>
                  </a:lnTo>
                  <a:lnTo>
                    <a:pt x="233" y="107"/>
                  </a:lnTo>
                  <a:lnTo>
                    <a:pt x="236" y="106"/>
                  </a:lnTo>
                  <a:lnTo>
                    <a:pt x="236" y="106"/>
                  </a:lnTo>
                  <a:lnTo>
                    <a:pt x="236" y="106"/>
                  </a:lnTo>
                  <a:lnTo>
                    <a:pt x="237" y="106"/>
                  </a:lnTo>
                  <a:lnTo>
                    <a:pt x="238" y="106"/>
                  </a:lnTo>
                  <a:lnTo>
                    <a:pt x="239" y="105"/>
                  </a:lnTo>
                  <a:lnTo>
                    <a:pt x="240" y="105"/>
                  </a:lnTo>
                  <a:lnTo>
                    <a:pt x="240" y="101"/>
                  </a:lnTo>
                  <a:lnTo>
                    <a:pt x="240" y="100"/>
                  </a:lnTo>
                  <a:lnTo>
                    <a:pt x="237" y="99"/>
                  </a:lnTo>
                  <a:lnTo>
                    <a:pt x="234" y="98"/>
                  </a:lnTo>
                  <a:lnTo>
                    <a:pt x="231" y="98"/>
                  </a:lnTo>
                  <a:lnTo>
                    <a:pt x="229" y="98"/>
                  </a:lnTo>
                  <a:lnTo>
                    <a:pt x="229" y="98"/>
                  </a:lnTo>
                  <a:lnTo>
                    <a:pt x="227" y="94"/>
                  </a:lnTo>
                  <a:lnTo>
                    <a:pt x="226" y="92"/>
                  </a:lnTo>
                  <a:lnTo>
                    <a:pt x="227" y="90"/>
                  </a:lnTo>
                  <a:lnTo>
                    <a:pt x="225" y="90"/>
                  </a:lnTo>
                  <a:lnTo>
                    <a:pt x="225" y="92"/>
                  </a:lnTo>
                  <a:lnTo>
                    <a:pt x="223" y="92"/>
                  </a:lnTo>
                  <a:lnTo>
                    <a:pt x="222" y="92"/>
                  </a:lnTo>
                  <a:lnTo>
                    <a:pt x="219" y="86"/>
                  </a:lnTo>
                  <a:lnTo>
                    <a:pt x="218" y="86"/>
                  </a:lnTo>
                  <a:lnTo>
                    <a:pt x="214" y="84"/>
                  </a:lnTo>
                  <a:lnTo>
                    <a:pt x="213" y="83"/>
                  </a:lnTo>
                  <a:lnTo>
                    <a:pt x="212" y="81"/>
                  </a:lnTo>
                  <a:lnTo>
                    <a:pt x="214" y="81"/>
                  </a:lnTo>
                  <a:lnTo>
                    <a:pt x="214" y="80"/>
                  </a:lnTo>
                  <a:lnTo>
                    <a:pt x="216" y="78"/>
                  </a:lnTo>
                  <a:lnTo>
                    <a:pt x="213" y="74"/>
                  </a:lnTo>
                  <a:lnTo>
                    <a:pt x="212" y="74"/>
                  </a:lnTo>
                  <a:lnTo>
                    <a:pt x="211" y="74"/>
                  </a:lnTo>
                  <a:lnTo>
                    <a:pt x="210" y="72"/>
                  </a:lnTo>
                  <a:lnTo>
                    <a:pt x="211" y="71"/>
                  </a:lnTo>
                  <a:lnTo>
                    <a:pt x="213" y="68"/>
                  </a:lnTo>
                  <a:lnTo>
                    <a:pt x="214" y="67"/>
                  </a:lnTo>
                  <a:lnTo>
                    <a:pt x="214" y="67"/>
                  </a:lnTo>
                  <a:lnTo>
                    <a:pt x="212" y="66"/>
                  </a:lnTo>
                  <a:lnTo>
                    <a:pt x="209" y="66"/>
                  </a:lnTo>
                  <a:lnTo>
                    <a:pt x="207" y="65"/>
                  </a:lnTo>
                  <a:lnTo>
                    <a:pt x="209" y="63"/>
                  </a:lnTo>
                  <a:lnTo>
                    <a:pt x="209" y="60"/>
                  </a:lnTo>
                  <a:lnTo>
                    <a:pt x="207" y="59"/>
                  </a:lnTo>
                  <a:lnTo>
                    <a:pt x="205" y="59"/>
                  </a:lnTo>
                  <a:lnTo>
                    <a:pt x="203" y="60"/>
                  </a:lnTo>
                  <a:lnTo>
                    <a:pt x="203" y="59"/>
                  </a:lnTo>
                  <a:lnTo>
                    <a:pt x="205" y="55"/>
                  </a:lnTo>
                  <a:lnTo>
                    <a:pt x="204" y="54"/>
                  </a:lnTo>
                  <a:lnTo>
                    <a:pt x="206" y="53"/>
                  </a:lnTo>
                  <a:lnTo>
                    <a:pt x="209" y="53"/>
                  </a:lnTo>
                  <a:lnTo>
                    <a:pt x="209" y="52"/>
                  </a:lnTo>
                  <a:lnTo>
                    <a:pt x="210" y="51"/>
                  </a:lnTo>
                  <a:lnTo>
                    <a:pt x="211" y="51"/>
                  </a:lnTo>
                  <a:lnTo>
                    <a:pt x="214" y="52"/>
                  </a:lnTo>
                  <a:lnTo>
                    <a:pt x="214" y="52"/>
                  </a:lnTo>
                  <a:lnTo>
                    <a:pt x="217" y="53"/>
                  </a:lnTo>
                  <a:lnTo>
                    <a:pt x="219" y="52"/>
                  </a:lnTo>
                  <a:lnTo>
                    <a:pt x="222" y="53"/>
                  </a:lnTo>
                  <a:lnTo>
                    <a:pt x="225" y="53"/>
                  </a:lnTo>
                  <a:lnTo>
                    <a:pt x="227" y="54"/>
                  </a:lnTo>
                  <a:lnTo>
                    <a:pt x="230" y="55"/>
                  </a:lnTo>
                  <a:lnTo>
                    <a:pt x="233" y="59"/>
                  </a:lnTo>
                  <a:lnTo>
                    <a:pt x="237" y="57"/>
                  </a:lnTo>
                  <a:lnTo>
                    <a:pt x="243" y="53"/>
                  </a:lnTo>
                  <a:lnTo>
                    <a:pt x="246" y="53"/>
                  </a:lnTo>
                  <a:lnTo>
                    <a:pt x="246" y="52"/>
                  </a:lnTo>
                  <a:lnTo>
                    <a:pt x="247" y="51"/>
                  </a:lnTo>
                  <a:lnTo>
                    <a:pt x="250" y="51"/>
                  </a:lnTo>
                  <a:lnTo>
                    <a:pt x="252" y="51"/>
                  </a:lnTo>
                  <a:lnTo>
                    <a:pt x="253" y="51"/>
                  </a:lnTo>
                  <a:lnTo>
                    <a:pt x="254" y="51"/>
                  </a:lnTo>
                  <a:lnTo>
                    <a:pt x="256" y="50"/>
                  </a:lnTo>
                  <a:lnTo>
                    <a:pt x="266" y="35"/>
                  </a:lnTo>
                  <a:lnTo>
                    <a:pt x="266" y="35"/>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286" name="Nepal">
              <a:extLst>
                <a:ext uri="{FF2B5EF4-FFF2-40B4-BE49-F238E27FC236}">
                  <a16:creationId xmlns:a16="http://schemas.microsoft.com/office/drawing/2014/main" id="{69C6C40A-173D-9B49-9FAB-FAB3D32FB0A9}"/>
                </a:ext>
              </a:extLst>
            </p:cNvPr>
            <p:cNvSpPr>
              <a:spLocks/>
            </p:cNvSpPr>
            <p:nvPr/>
          </p:nvSpPr>
          <p:spPr bwMode="auto">
            <a:xfrm>
              <a:off x="8402001" y="3068024"/>
              <a:ext cx="224525" cy="129757"/>
            </a:xfrm>
            <a:custGeom>
              <a:avLst/>
              <a:gdLst>
                <a:gd name="T0" fmla="*/ 13 w 154"/>
                <a:gd name="T1" fmla="*/ 7 h 89"/>
                <a:gd name="T2" fmla="*/ 8 w 154"/>
                <a:gd name="T3" fmla="*/ 10 h 89"/>
                <a:gd name="T4" fmla="*/ 7 w 154"/>
                <a:gd name="T5" fmla="*/ 15 h 89"/>
                <a:gd name="T6" fmla="*/ 3 w 154"/>
                <a:gd name="T7" fmla="*/ 20 h 89"/>
                <a:gd name="T8" fmla="*/ 2 w 154"/>
                <a:gd name="T9" fmla="*/ 27 h 89"/>
                <a:gd name="T10" fmla="*/ 2 w 154"/>
                <a:gd name="T11" fmla="*/ 35 h 89"/>
                <a:gd name="T12" fmla="*/ 2 w 154"/>
                <a:gd name="T13" fmla="*/ 38 h 89"/>
                <a:gd name="T14" fmla="*/ 6 w 154"/>
                <a:gd name="T15" fmla="*/ 42 h 89"/>
                <a:gd name="T16" fmla="*/ 10 w 154"/>
                <a:gd name="T17" fmla="*/ 40 h 89"/>
                <a:gd name="T18" fmla="*/ 14 w 154"/>
                <a:gd name="T19" fmla="*/ 43 h 89"/>
                <a:gd name="T20" fmla="*/ 16 w 154"/>
                <a:gd name="T21" fmla="*/ 45 h 89"/>
                <a:gd name="T22" fmla="*/ 22 w 154"/>
                <a:gd name="T23" fmla="*/ 47 h 89"/>
                <a:gd name="T24" fmla="*/ 26 w 154"/>
                <a:gd name="T25" fmla="*/ 52 h 89"/>
                <a:gd name="T26" fmla="*/ 32 w 154"/>
                <a:gd name="T27" fmla="*/ 56 h 89"/>
                <a:gd name="T28" fmla="*/ 37 w 154"/>
                <a:gd name="T29" fmla="*/ 57 h 89"/>
                <a:gd name="T30" fmla="*/ 44 w 154"/>
                <a:gd name="T31" fmla="*/ 59 h 89"/>
                <a:gd name="T32" fmla="*/ 52 w 154"/>
                <a:gd name="T33" fmla="*/ 60 h 89"/>
                <a:gd name="T34" fmla="*/ 56 w 154"/>
                <a:gd name="T35" fmla="*/ 65 h 89"/>
                <a:gd name="T36" fmla="*/ 63 w 154"/>
                <a:gd name="T37" fmla="*/ 69 h 89"/>
                <a:gd name="T38" fmla="*/ 73 w 154"/>
                <a:gd name="T39" fmla="*/ 69 h 89"/>
                <a:gd name="T40" fmla="*/ 75 w 154"/>
                <a:gd name="T41" fmla="*/ 66 h 89"/>
                <a:gd name="T42" fmla="*/ 86 w 154"/>
                <a:gd name="T43" fmla="*/ 70 h 89"/>
                <a:gd name="T44" fmla="*/ 90 w 154"/>
                <a:gd name="T45" fmla="*/ 76 h 89"/>
                <a:gd name="T46" fmla="*/ 95 w 154"/>
                <a:gd name="T47" fmla="*/ 78 h 89"/>
                <a:gd name="T48" fmla="*/ 99 w 154"/>
                <a:gd name="T49" fmla="*/ 78 h 89"/>
                <a:gd name="T50" fmla="*/ 104 w 154"/>
                <a:gd name="T51" fmla="*/ 79 h 89"/>
                <a:gd name="T52" fmla="*/ 108 w 154"/>
                <a:gd name="T53" fmla="*/ 84 h 89"/>
                <a:gd name="T54" fmla="*/ 113 w 154"/>
                <a:gd name="T55" fmla="*/ 83 h 89"/>
                <a:gd name="T56" fmla="*/ 116 w 154"/>
                <a:gd name="T57" fmla="*/ 83 h 89"/>
                <a:gd name="T58" fmla="*/ 121 w 154"/>
                <a:gd name="T59" fmla="*/ 84 h 89"/>
                <a:gd name="T60" fmla="*/ 127 w 154"/>
                <a:gd name="T61" fmla="*/ 87 h 89"/>
                <a:gd name="T62" fmla="*/ 130 w 154"/>
                <a:gd name="T63" fmla="*/ 86 h 89"/>
                <a:gd name="T64" fmla="*/ 133 w 154"/>
                <a:gd name="T65" fmla="*/ 87 h 89"/>
                <a:gd name="T66" fmla="*/ 139 w 154"/>
                <a:gd name="T67" fmla="*/ 89 h 89"/>
                <a:gd name="T68" fmla="*/ 142 w 154"/>
                <a:gd name="T69" fmla="*/ 89 h 89"/>
                <a:gd name="T70" fmla="*/ 148 w 154"/>
                <a:gd name="T71" fmla="*/ 87 h 89"/>
                <a:gd name="T72" fmla="*/ 153 w 154"/>
                <a:gd name="T73" fmla="*/ 78 h 89"/>
                <a:gd name="T74" fmla="*/ 150 w 154"/>
                <a:gd name="T75" fmla="*/ 65 h 89"/>
                <a:gd name="T76" fmla="*/ 146 w 154"/>
                <a:gd name="T77" fmla="*/ 58 h 89"/>
                <a:gd name="T78" fmla="*/ 139 w 154"/>
                <a:gd name="T79" fmla="*/ 57 h 89"/>
                <a:gd name="T80" fmla="*/ 128 w 154"/>
                <a:gd name="T81" fmla="*/ 55 h 89"/>
                <a:gd name="T82" fmla="*/ 122 w 154"/>
                <a:gd name="T83" fmla="*/ 52 h 89"/>
                <a:gd name="T84" fmla="*/ 116 w 154"/>
                <a:gd name="T85" fmla="*/ 52 h 89"/>
                <a:gd name="T86" fmla="*/ 112 w 154"/>
                <a:gd name="T87" fmla="*/ 57 h 89"/>
                <a:gd name="T88" fmla="*/ 110 w 154"/>
                <a:gd name="T89" fmla="*/ 52 h 89"/>
                <a:gd name="T90" fmla="*/ 103 w 154"/>
                <a:gd name="T91" fmla="*/ 47 h 89"/>
                <a:gd name="T92" fmla="*/ 96 w 154"/>
                <a:gd name="T93" fmla="*/ 43 h 89"/>
                <a:gd name="T94" fmla="*/ 89 w 154"/>
                <a:gd name="T95" fmla="*/ 42 h 89"/>
                <a:gd name="T96" fmla="*/ 77 w 154"/>
                <a:gd name="T97" fmla="*/ 27 h 89"/>
                <a:gd name="T98" fmla="*/ 66 w 154"/>
                <a:gd name="T99" fmla="*/ 29 h 89"/>
                <a:gd name="T100" fmla="*/ 57 w 154"/>
                <a:gd name="T101" fmla="*/ 18 h 89"/>
                <a:gd name="T102" fmla="*/ 46 w 154"/>
                <a:gd name="T103" fmla="*/ 11 h 89"/>
                <a:gd name="T104" fmla="*/ 27 w 154"/>
                <a:gd name="T105" fmla="*/ 3 h 89"/>
                <a:gd name="T106" fmla="*/ 21 w 154"/>
                <a:gd name="T107" fmla="*/ 6 h 89"/>
                <a:gd name="T108" fmla="*/ 16 w 154"/>
                <a:gd name="T109" fmla="*/ 5 h 89"/>
                <a:gd name="T110" fmla="*/ 14 w 154"/>
                <a:gd name="T111" fmla="*/ 5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54" h="89">
                  <a:moveTo>
                    <a:pt x="14" y="5"/>
                  </a:moveTo>
                  <a:lnTo>
                    <a:pt x="14" y="6"/>
                  </a:lnTo>
                  <a:lnTo>
                    <a:pt x="14" y="7"/>
                  </a:lnTo>
                  <a:lnTo>
                    <a:pt x="13" y="7"/>
                  </a:lnTo>
                  <a:lnTo>
                    <a:pt x="12" y="9"/>
                  </a:lnTo>
                  <a:lnTo>
                    <a:pt x="9" y="10"/>
                  </a:lnTo>
                  <a:lnTo>
                    <a:pt x="9" y="10"/>
                  </a:lnTo>
                  <a:lnTo>
                    <a:pt x="8" y="10"/>
                  </a:lnTo>
                  <a:lnTo>
                    <a:pt x="9" y="11"/>
                  </a:lnTo>
                  <a:lnTo>
                    <a:pt x="8" y="12"/>
                  </a:lnTo>
                  <a:lnTo>
                    <a:pt x="8" y="15"/>
                  </a:lnTo>
                  <a:lnTo>
                    <a:pt x="7" y="15"/>
                  </a:lnTo>
                  <a:lnTo>
                    <a:pt x="4" y="15"/>
                  </a:lnTo>
                  <a:lnTo>
                    <a:pt x="4" y="17"/>
                  </a:lnTo>
                  <a:lnTo>
                    <a:pt x="2" y="18"/>
                  </a:lnTo>
                  <a:lnTo>
                    <a:pt x="3" y="20"/>
                  </a:lnTo>
                  <a:lnTo>
                    <a:pt x="1" y="23"/>
                  </a:lnTo>
                  <a:lnTo>
                    <a:pt x="2" y="23"/>
                  </a:lnTo>
                  <a:lnTo>
                    <a:pt x="0" y="25"/>
                  </a:lnTo>
                  <a:lnTo>
                    <a:pt x="2" y="27"/>
                  </a:lnTo>
                  <a:lnTo>
                    <a:pt x="2" y="31"/>
                  </a:lnTo>
                  <a:lnTo>
                    <a:pt x="2" y="31"/>
                  </a:lnTo>
                  <a:lnTo>
                    <a:pt x="1" y="33"/>
                  </a:lnTo>
                  <a:lnTo>
                    <a:pt x="2" y="35"/>
                  </a:lnTo>
                  <a:lnTo>
                    <a:pt x="0" y="36"/>
                  </a:lnTo>
                  <a:lnTo>
                    <a:pt x="0" y="36"/>
                  </a:lnTo>
                  <a:lnTo>
                    <a:pt x="1" y="37"/>
                  </a:lnTo>
                  <a:lnTo>
                    <a:pt x="2" y="38"/>
                  </a:lnTo>
                  <a:lnTo>
                    <a:pt x="3" y="39"/>
                  </a:lnTo>
                  <a:lnTo>
                    <a:pt x="4" y="40"/>
                  </a:lnTo>
                  <a:lnTo>
                    <a:pt x="6" y="40"/>
                  </a:lnTo>
                  <a:lnTo>
                    <a:pt x="6" y="42"/>
                  </a:lnTo>
                  <a:lnTo>
                    <a:pt x="8" y="42"/>
                  </a:lnTo>
                  <a:lnTo>
                    <a:pt x="9" y="43"/>
                  </a:lnTo>
                  <a:lnTo>
                    <a:pt x="9" y="42"/>
                  </a:lnTo>
                  <a:lnTo>
                    <a:pt x="10" y="40"/>
                  </a:lnTo>
                  <a:lnTo>
                    <a:pt x="10" y="42"/>
                  </a:lnTo>
                  <a:lnTo>
                    <a:pt x="13" y="42"/>
                  </a:lnTo>
                  <a:lnTo>
                    <a:pt x="13" y="43"/>
                  </a:lnTo>
                  <a:lnTo>
                    <a:pt x="14" y="43"/>
                  </a:lnTo>
                  <a:lnTo>
                    <a:pt x="14" y="44"/>
                  </a:lnTo>
                  <a:lnTo>
                    <a:pt x="16" y="45"/>
                  </a:lnTo>
                  <a:lnTo>
                    <a:pt x="16" y="45"/>
                  </a:lnTo>
                  <a:lnTo>
                    <a:pt x="16" y="45"/>
                  </a:lnTo>
                  <a:lnTo>
                    <a:pt x="19" y="45"/>
                  </a:lnTo>
                  <a:lnTo>
                    <a:pt x="19" y="46"/>
                  </a:lnTo>
                  <a:lnTo>
                    <a:pt x="19" y="47"/>
                  </a:lnTo>
                  <a:lnTo>
                    <a:pt x="22" y="47"/>
                  </a:lnTo>
                  <a:lnTo>
                    <a:pt x="23" y="49"/>
                  </a:lnTo>
                  <a:lnTo>
                    <a:pt x="24" y="51"/>
                  </a:lnTo>
                  <a:lnTo>
                    <a:pt x="24" y="52"/>
                  </a:lnTo>
                  <a:lnTo>
                    <a:pt x="26" y="52"/>
                  </a:lnTo>
                  <a:lnTo>
                    <a:pt x="26" y="52"/>
                  </a:lnTo>
                  <a:lnTo>
                    <a:pt x="28" y="52"/>
                  </a:lnTo>
                  <a:lnTo>
                    <a:pt x="28" y="52"/>
                  </a:lnTo>
                  <a:lnTo>
                    <a:pt x="32" y="56"/>
                  </a:lnTo>
                  <a:lnTo>
                    <a:pt x="34" y="56"/>
                  </a:lnTo>
                  <a:lnTo>
                    <a:pt x="36" y="58"/>
                  </a:lnTo>
                  <a:lnTo>
                    <a:pt x="37" y="58"/>
                  </a:lnTo>
                  <a:lnTo>
                    <a:pt x="37" y="57"/>
                  </a:lnTo>
                  <a:lnTo>
                    <a:pt x="40" y="57"/>
                  </a:lnTo>
                  <a:lnTo>
                    <a:pt x="40" y="57"/>
                  </a:lnTo>
                  <a:lnTo>
                    <a:pt x="41" y="58"/>
                  </a:lnTo>
                  <a:lnTo>
                    <a:pt x="44" y="59"/>
                  </a:lnTo>
                  <a:lnTo>
                    <a:pt x="44" y="60"/>
                  </a:lnTo>
                  <a:lnTo>
                    <a:pt x="47" y="62"/>
                  </a:lnTo>
                  <a:lnTo>
                    <a:pt x="48" y="62"/>
                  </a:lnTo>
                  <a:lnTo>
                    <a:pt x="52" y="60"/>
                  </a:lnTo>
                  <a:lnTo>
                    <a:pt x="52" y="62"/>
                  </a:lnTo>
                  <a:lnTo>
                    <a:pt x="53" y="64"/>
                  </a:lnTo>
                  <a:lnTo>
                    <a:pt x="53" y="65"/>
                  </a:lnTo>
                  <a:lnTo>
                    <a:pt x="56" y="65"/>
                  </a:lnTo>
                  <a:lnTo>
                    <a:pt x="56" y="66"/>
                  </a:lnTo>
                  <a:lnTo>
                    <a:pt x="60" y="66"/>
                  </a:lnTo>
                  <a:lnTo>
                    <a:pt x="61" y="69"/>
                  </a:lnTo>
                  <a:lnTo>
                    <a:pt x="63" y="69"/>
                  </a:lnTo>
                  <a:lnTo>
                    <a:pt x="67" y="67"/>
                  </a:lnTo>
                  <a:lnTo>
                    <a:pt x="67" y="66"/>
                  </a:lnTo>
                  <a:lnTo>
                    <a:pt x="68" y="66"/>
                  </a:lnTo>
                  <a:lnTo>
                    <a:pt x="73" y="69"/>
                  </a:lnTo>
                  <a:lnTo>
                    <a:pt x="73" y="67"/>
                  </a:lnTo>
                  <a:lnTo>
                    <a:pt x="73" y="67"/>
                  </a:lnTo>
                  <a:lnTo>
                    <a:pt x="74" y="66"/>
                  </a:lnTo>
                  <a:lnTo>
                    <a:pt x="75" y="66"/>
                  </a:lnTo>
                  <a:lnTo>
                    <a:pt x="77" y="66"/>
                  </a:lnTo>
                  <a:lnTo>
                    <a:pt x="80" y="66"/>
                  </a:lnTo>
                  <a:lnTo>
                    <a:pt x="81" y="67"/>
                  </a:lnTo>
                  <a:lnTo>
                    <a:pt x="86" y="70"/>
                  </a:lnTo>
                  <a:lnTo>
                    <a:pt x="88" y="71"/>
                  </a:lnTo>
                  <a:lnTo>
                    <a:pt x="89" y="72"/>
                  </a:lnTo>
                  <a:lnTo>
                    <a:pt x="88" y="75"/>
                  </a:lnTo>
                  <a:lnTo>
                    <a:pt x="90" y="76"/>
                  </a:lnTo>
                  <a:lnTo>
                    <a:pt x="92" y="75"/>
                  </a:lnTo>
                  <a:lnTo>
                    <a:pt x="93" y="76"/>
                  </a:lnTo>
                  <a:lnTo>
                    <a:pt x="93" y="77"/>
                  </a:lnTo>
                  <a:lnTo>
                    <a:pt x="95" y="78"/>
                  </a:lnTo>
                  <a:lnTo>
                    <a:pt x="95" y="78"/>
                  </a:lnTo>
                  <a:lnTo>
                    <a:pt x="96" y="78"/>
                  </a:lnTo>
                  <a:lnTo>
                    <a:pt x="97" y="78"/>
                  </a:lnTo>
                  <a:lnTo>
                    <a:pt x="99" y="78"/>
                  </a:lnTo>
                  <a:lnTo>
                    <a:pt x="100" y="80"/>
                  </a:lnTo>
                  <a:lnTo>
                    <a:pt x="102" y="80"/>
                  </a:lnTo>
                  <a:lnTo>
                    <a:pt x="102" y="79"/>
                  </a:lnTo>
                  <a:lnTo>
                    <a:pt x="104" y="79"/>
                  </a:lnTo>
                  <a:lnTo>
                    <a:pt x="106" y="79"/>
                  </a:lnTo>
                  <a:lnTo>
                    <a:pt x="107" y="79"/>
                  </a:lnTo>
                  <a:lnTo>
                    <a:pt x="107" y="80"/>
                  </a:lnTo>
                  <a:lnTo>
                    <a:pt x="108" y="84"/>
                  </a:lnTo>
                  <a:lnTo>
                    <a:pt x="109" y="83"/>
                  </a:lnTo>
                  <a:lnTo>
                    <a:pt x="110" y="85"/>
                  </a:lnTo>
                  <a:lnTo>
                    <a:pt x="113" y="83"/>
                  </a:lnTo>
                  <a:lnTo>
                    <a:pt x="113" y="83"/>
                  </a:lnTo>
                  <a:lnTo>
                    <a:pt x="114" y="83"/>
                  </a:lnTo>
                  <a:lnTo>
                    <a:pt x="115" y="86"/>
                  </a:lnTo>
                  <a:lnTo>
                    <a:pt x="116" y="84"/>
                  </a:lnTo>
                  <a:lnTo>
                    <a:pt x="116" y="83"/>
                  </a:lnTo>
                  <a:lnTo>
                    <a:pt x="119" y="84"/>
                  </a:lnTo>
                  <a:lnTo>
                    <a:pt x="119" y="83"/>
                  </a:lnTo>
                  <a:lnTo>
                    <a:pt x="120" y="85"/>
                  </a:lnTo>
                  <a:lnTo>
                    <a:pt x="121" y="84"/>
                  </a:lnTo>
                  <a:lnTo>
                    <a:pt x="123" y="86"/>
                  </a:lnTo>
                  <a:lnTo>
                    <a:pt x="124" y="85"/>
                  </a:lnTo>
                  <a:lnTo>
                    <a:pt x="126" y="86"/>
                  </a:lnTo>
                  <a:lnTo>
                    <a:pt x="127" y="87"/>
                  </a:lnTo>
                  <a:lnTo>
                    <a:pt x="128" y="86"/>
                  </a:lnTo>
                  <a:lnTo>
                    <a:pt x="128" y="87"/>
                  </a:lnTo>
                  <a:lnTo>
                    <a:pt x="129" y="86"/>
                  </a:lnTo>
                  <a:lnTo>
                    <a:pt x="130" y="86"/>
                  </a:lnTo>
                  <a:lnTo>
                    <a:pt x="129" y="85"/>
                  </a:lnTo>
                  <a:lnTo>
                    <a:pt x="132" y="85"/>
                  </a:lnTo>
                  <a:lnTo>
                    <a:pt x="133" y="84"/>
                  </a:lnTo>
                  <a:lnTo>
                    <a:pt x="133" y="87"/>
                  </a:lnTo>
                  <a:lnTo>
                    <a:pt x="135" y="87"/>
                  </a:lnTo>
                  <a:lnTo>
                    <a:pt x="136" y="87"/>
                  </a:lnTo>
                  <a:lnTo>
                    <a:pt x="136" y="89"/>
                  </a:lnTo>
                  <a:lnTo>
                    <a:pt x="139" y="89"/>
                  </a:lnTo>
                  <a:lnTo>
                    <a:pt x="139" y="87"/>
                  </a:lnTo>
                  <a:lnTo>
                    <a:pt x="140" y="87"/>
                  </a:lnTo>
                  <a:lnTo>
                    <a:pt x="141" y="87"/>
                  </a:lnTo>
                  <a:lnTo>
                    <a:pt x="142" y="89"/>
                  </a:lnTo>
                  <a:lnTo>
                    <a:pt x="143" y="87"/>
                  </a:lnTo>
                  <a:lnTo>
                    <a:pt x="144" y="89"/>
                  </a:lnTo>
                  <a:lnTo>
                    <a:pt x="146" y="87"/>
                  </a:lnTo>
                  <a:lnTo>
                    <a:pt x="148" y="87"/>
                  </a:lnTo>
                  <a:lnTo>
                    <a:pt x="149" y="89"/>
                  </a:lnTo>
                  <a:lnTo>
                    <a:pt x="152" y="87"/>
                  </a:lnTo>
                  <a:lnTo>
                    <a:pt x="153" y="83"/>
                  </a:lnTo>
                  <a:lnTo>
                    <a:pt x="153" y="78"/>
                  </a:lnTo>
                  <a:lnTo>
                    <a:pt x="149" y="75"/>
                  </a:lnTo>
                  <a:lnTo>
                    <a:pt x="150" y="72"/>
                  </a:lnTo>
                  <a:lnTo>
                    <a:pt x="152" y="66"/>
                  </a:lnTo>
                  <a:lnTo>
                    <a:pt x="150" y="65"/>
                  </a:lnTo>
                  <a:lnTo>
                    <a:pt x="154" y="58"/>
                  </a:lnTo>
                  <a:lnTo>
                    <a:pt x="154" y="57"/>
                  </a:lnTo>
                  <a:lnTo>
                    <a:pt x="147" y="56"/>
                  </a:lnTo>
                  <a:lnTo>
                    <a:pt x="146" y="58"/>
                  </a:lnTo>
                  <a:lnTo>
                    <a:pt x="144" y="58"/>
                  </a:lnTo>
                  <a:lnTo>
                    <a:pt x="141" y="58"/>
                  </a:lnTo>
                  <a:lnTo>
                    <a:pt x="139" y="58"/>
                  </a:lnTo>
                  <a:lnTo>
                    <a:pt x="139" y="57"/>
                  </a:lnTo>
                  <a:lnTo>
                    <a:pt x="134" y="58"/>
                  </a:lnTo>
                  <a:lnTo>
                    <a:pt x="132" y="55"/>
                  </a:lnTo>
                  <a:lnTo>
                    <a:pt x="129" y="56"/>
                  </a:lnTo>
                  <a:lnTo>
                    <a:pt x="128" y="55"/>
                  </a:lnTo>
                  <a:lnTo>
                    <a:pt x="127" y="53"/>
                  </a:lnTo>
                  <a:lnTo>
                    <a:pt x="126" y="52"/>
                  </a:lnTo>
                  <a:lnTo>
                    <a:pt x="126" y="52"/>
                  </a:lnTo>
                  <a:lnTo>
                    <a:pt x="122" y="52"/>
                  </a:lnTo>
                  <a:lnTo>
                    <a:pt x="122" y="56"/>
                  </a:lnTo>
                  <a:lnTo>
                    <a:pt x="120" y="57"/>
                  </a:lnTo>
                  <a:lnTo>
                    <a:pt x="116" y="55"/>
                  </a:lnTo>
                  <a:lnTo>
                    <a:pt x="116" y="52"/>
                  </a:lnTo>
                  <a:lnTo>
                    <a:pt x="115" y="51"/>
                  </a:lnTo>
                  <a:lnTo>
                    <a:pt x="114" y="52"/>
                  </a:lnTo>
                  <a:lnTo>
                    <a:pt x="114" y="56"/>
                  </a:lnTo>
                  <a:lnTo>
                    <a:pt x="112" y="57"/>
                  </a:lnTo>
                  <a:lnTo>
                    <a:pt x="112" y="56"/>
                  </a:lnTo>
                  <a:lnTo>
                    <a:pt x="112" y="55"/>
                  </a:lnTo>
                  <a:lnTo>
                    <a:pt x="110" y="53"/>
                  </a:lnTo>
                  <a:lnTo>
                    <a:pt x="110" y="52"/>
                  </a:lnTo>
                  <a:lnTo>
                    <a:pt x="107" y="50"/>
                  </a:lnTo>
                  <a:lnTo>
                    <a:pt x="106" y="46"/>
                  </a:lnTo>
                  <a:lnTo>
                    <a:pt x="104" y="49"/>
                  </a:lnTo>
                  <a:lnTo>
                    <a:pt x="103" y="47"/>
                  </a:lnTo>
                  <a:lnTo>
                    <a:pt x="97" y="49"/>
                  </a:lnTo>
                  <a:lnTo>
                    <a:pt x="94" y="47"/>
                  </a:lnTo>
                  <a:lnTo>
                    <a:pt x="94" y="44"/>
                  </a:lnTo>
                  <a:lnTo>
                    <a:pt x="96" y="43"/>
                  </a:lnTo>
                  <a:lnTo>
                    <a:pt x="96" y="40"/>
                  </a:lnTo>
                  <a:lnTo>
                    <a:pt x="94" y="40"/>
                  </a:lnTo>
                  <a:lnTo>
                    <a:pt x="92" y="43"/>
                  </a:lnTo>
                  <a:lnTo>
                    <a:pt x="89" y="42"/>
                  </a:lnTo>
                  <a:lnTo>
                    <a:pt x="77" y="33"/>
                  </a:lnTo>
                  <a:lnTo>
                    <a:pt x="79" y="31"/>
                  </a:lnTo>
                  <a:lnTo>
                    <a:pt x="77" y="31"/>
                  </a:lnTo>
                  <a:lnTo>
                    <a:pt x="77" y="27"/>
                  </a:lnTo>
                  <a:lnTo>
                    <a:pt x="74" y="25"/>
                  </a:lnTo>
                  <a:lnTo>
                    <a:pt x="68" y="26"/>
                  </a:lnTo>
                  <a:lnTo>
                    <a:pt x="67" y="29"/>
                  </a:lnTo>
                  <a:lnTo>
                    <a:pt x="66" y="29"/>
                  </a:lnTo>
                  <a:lnTo>
                    <a:pt x="61" y="20"/>
                  </a:lnTo>
                  <a:lnTo>
                    <a:pt x="60" y="22"/>
                  </a:lnTo>
                  <a:lnTo>
                    <a:pt x="60" y="19"/>
                  </a:lnTo>
                  <a:lnTo>
                    <a:pt x="57" y="18"/>
                  </a:lnTo>
                  <a:lnTo>
                    <a:pt x="56" y="19"/>
                  </a:lnTo>
                  <a:lnTo>
                    <a:pt x="54" y="17"/>
                  </a:lnTo>
                  <a:lnTo>
                    <a:pt x="52" y="17"/>
                  </a:lnTo>
                  <a:lnTo>
                    <a:pt x="46" y="11"/>
                  </a:lnTo>
                  <a:lnTo>
                    <a:pt x="39" y="7"/>
                  </a:lnTo>
                  <a:lnTo>
                    <a:pt x="37" y="2"/>
                  </a:lnTo>
                  <a:lnTo>
                    <a:pt x="28" y="0"/>
                  </a:lnTo>
                  <a:lnTo>
                    <a:pt x="27" y="3"/>
                  </a:lnTo>
                  <a:lnTo>
                    <a:pt x="24" y="2"/>
                  </a:lnTo>
                  <a:lnTo>
                    <a:pt x="23" y="3"/>
                  </a:lnTo>
                  <a:lnTo>
                    <a:pt x="23" y="6"/>
                  </a:lnTo>
                  <a:lnTo>
                    <a:pt x="21" y="6"/>
                  </a:lnTo>
                  <a:lnTo>
                    <a:pt x="22" y="7"/>
                  </a:lnTo>
                  <a:lnTo>
                    <a:pt x="20" y="10"/>
                  </a:lnTo>
                  <a:lnTo>
                    <a:pt x="19" y="9"/>
                  </a:lnTo>
                  <a:lnTo>
                    <a:pt x="16" y="5"/>
                  </a:lnTo>
                  <a:lnTo>
                    <a:pt x="15" y="5"/>
                  </a:lnTo>
                  <a:lnTo>
                    <a:pt x="14" y="5"/>
                  </a:lnTo>
                  <a:lnTo>
                    <a:pt x="14" y="5"/>
                  </a:lnTo>
                  <a:lnTo>
                    <a:pt x="14" y="5"/>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287" name="Niger">
              <a:extLst>
                <a:ext uri="{FF2B5EF4-FFF2-40B4-BE49-F238E27FC236}">
                  <a16:creationId xmlns:a16="http://schemas.microsoft.com/office/drawing/2014/main" id="{AFC013AA-632E-6C41-B8EC-5F304BA70D91}"/>
                </a:ext>
              </a:extLst>
            </p:cNvPr>
            <p:cNvSpPr>
              <a:spLocks/>
            </p:cNvSpPr>
            <p:nvPr/>
          </p:nvSpPr>
          <p:spPr bwMode="auto">
            <a:xfrm>
              <a:off x="6368161" y="3282342"/>
              <a:ext cx="411142" cy="354281"/>
            </a:xfrm>
            <a:custGeom>
              <a:avLst/>
              <a:gdLst>
                <a:gd name="T0" fmla="*/ 47 w 282"/>
                <a:gd name="T1" fmla="*/ 229 h 243"/>
                <a:gd name="T2" fmla="*/ 45 w 282"/>
                <a:gd name="T3" fmla="*/ 231 h 243"/>
                <a:gd name="T4" fmla="*/ 42 w 282"/>
                <a:gd name="T5" fmla="*/ 231 h 243"/>
                <a:gd name="T6" fmla="*/ 40 w 282"/>
                <a:gd name="T7" fmla="*/ 237 h 243"/>
                <a:gd name="T8" fmla="*/ 34 w 282"/>
                <a:gd name="T9" fmla="*/ 230 h 243"/>
                <a:gd name="T10" fmla="*/ 37 w 282"/>
                <a:gd name="T11" fmla="*/ 227 h 243"/>
                <a:gd name="T12" fmla="*/ 32 w 282"/>
                <a:gd name="T13" fmla="*/ 222 h 243"/>
                <a:gd name="T14" fmla="*/ 26 w 282"/>
                <a:gd name="T15" fmla="*/ 224 h 243"/>
                <a:gd name="T16" fmla="*/ 14 w 282"/>
                <a:gd name="T17" fmla="*/ 214 h 243"/>
                <a:gd name="T18" fmla="*/ 20 w 282"/>
                <a:gd name="T19" fmla="*/ 209 h 243"/>
                <a:gd name="T20" fmla="*/ 15 w 282"/>
                <a:gd name="T21" fmla="*/ 206 h 243"/>
                <a:gd name="T22" fmla="*/ 12 w 282"/>
                <a:gd name="T23" fmla="*/ 204 h 243"/>
                <a:gd name="T24" fmla="*/ 8 w 282"/>
                <a:gd name="T25" fmla="*/ 203 h 243"/>
                <a:gd name="T26" fmla="*/ 6 w 282"/>
                <a:gd name="T27" fmla="*/ 197 h 243"/>
                <a:gd name="T28" fmla="*/ 3 w 282"/>
                <a:gd name="T29" fmla="*/ 194 h 243"/>
                <a:gd name="T30" fmla="*/ 5 w 282"/>
                <a:gd name="T31" fmla="*/ 191 h 243"/>
                <a:gd name="T32" fmla="*/ 0 w 282"/>
                <a:gd name="T33" fmla="*/ 185 h 243"/>
                <a:gd name="T34" fmla="*/ 8 w 282"/>
                <a:gd name="T35" fmla="*/ 176 h 243"/>
                <a:gd name="T36" fmla="*/ 43 w 282"/>
                <a:gd name="T37" fmla="*/ 169 h 243"/>
                <a:gd name="T38" fmla="*/ 60 w 282"/>
                <a:gd name="T39" fmla="*/ 169 h 243"/>
                <a:gd name="T40" fmla="*/ 65 w 282"/>
                <a:gd name="T41" fmla="*/ 163 h 243"/>
                <a:gd name="T42" fmla="*/ 67 w 282"/>
                <a:gd name="T43" fmla="*/ 157 h 243"/>
                <a:gd name="T44" fmla="*/ 69 w 282"/>
                <a:gd name="T45" fmla="*/ 149 h 243"/>
                <a:gd name="T46" fmla="*/ 75 w 282"/>
                <a:gd name="T47" fmla="*/ 122 h 243"/>
                <a:gd name="T48" fmla="*/ 127 w 282"/>
                <a:gd name="T49" fmla="*/ 44 h 243"/>
                <a:gd name="T50" fmla="*/ 249 w 282"/>
                <a:gd name="T51" fmla="*/ 19 h 243"/>
                <a:gd name="T52" fmla="*/ 267 w 282"/>
                <a:gd name="T53" fmla="*/ 42 h 243"/>
                <a:gd name="T54" fmla="*/ 274 w 282"/>
                <a:gd name="T55" fmla="*/ 53 h 243"/>
                <a:gd name="T56" fmla="*/ 282 w 282"/>
                <a:gd name="T57" fmla="*/ 65 h 243"/>
                <a:gd name="T58" fmla="*/ 274 w 282"/>
                <a:gd name="T59" fmla="*/ 137 h 243"/>
                <a:gd name="T60" fmla="*/ 244 w 282"/>
                <a:gd name="T61" fmla="*/ 178 h 243"/>
                <a:gd name="T62" fmla="*/ 242 w 282"/>
                <a:gd name="T63" fmla="*/ 184 h 243"/>
                <a:gd name="T64" fmla="*/ 237 w 282"/>
                <a:gd name="T65" fmla="*/ 202 h 243"/>
                <a:gd name="T66" fmla="*/ 235 w 282"/>
                <a:gd name="T67" fmla="*/ 207 h 243"/>
                <a:gd name="T68" fmla="*/ 227 w 282"/>
                <a:gd name="T69" fmla="*/ 207 h 243"/>
                <a:gd name="T70" fmla="*/ 221 w 282"/>
                <a:gd name="T71" fmla="*/ 216 h 243"/>
                <a:gd name="T72" fmla="*/ 180 w 282"/>
                <a:gd name="T73" fmla="*/ 211 h 243"/>
                <a:gd name="T74" fmla="*/ 153 w 282"/>
                <a:gd name="T75" fmla="*/ 217 h 243"/>
                <a:gd name="T76" fmla="*/ 125 w 282"/>
                <a:gd name="T77" fmla="*/ 216 h 243"/>
                <a:gd name="T78" fmla="*/ 107 w 282"/>
                <a:gd name="T79" fmla="*/ 203 h 243"/>
                <a:gd name="T80" fmla="*/ 77 w 282"/>
                <a:gd name="T81" fmla="*/ 202 h 243"/>
                <a:gd name="T82" fmla="*/ 63 w 282"/>
                <a:gd name="T83" fmla="*/ 229 h 243"/>
                <a:gd name="T84" fmla="*/ 61 w 282"/>
                <a:gd name="T85" fmla="*/ 243 h 243"/>
                <a:gd name="T86" fmla="*/ 56 w 282"/>
                <a:gd name="T87" fmla="*/ 239 h 2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82" h="243">
                  <a:moveTo>
                    <a:pt x="56" y="239"/>
                  </a:moveTo>
                  <a:lnTo>
                    <a:pt x="54" y="234"/>
                  </a:lnTo>
                  <a:lnTo>
                    <a:pt x="47" y="229"/>
                  </a:lnTo>
                  <a:lnTo>
                    <a:pt x="46" y="230"/>
                  </a:lnTo>
                  <a:lnTo>
                    <a:pt x="46" y="230"/>
                  </a:lnTo>
                  <a:lnTo>
                    <a:pt x="45" y="231"/>
                  </a:lnTo>
                  <a:lnTo>
                    <a:pt x="43" y="231"/>
                  </a:lnTo>
                  <a:lnTo>
                    <a:pt x="42" y="232"/>
                  </a:lnTo>
                  <a:lnTo>
                    <a:pt x="42" y="231"/>
                  </a:lnTo>
                  <a:lnTo>
                    <a:pt x="39" y="233"/>
                  </a:lnTo>
                  <a:lnTo>
                    <a:pt x="39" y="236"/>
                  </a:lnTo>
                  <a:lnTo>
                    <a:pt x="40" y="237"/>
                  </a:lnTo>
                  <a:lnTo>
                    <a:pt x="40" y="239"/>
                  </a:lnTo>
                  <a:lnTo>
                    <a:pt x="39" y="239"/>
                  </a:lnTo>
                  <a:lnTo>
                    <a:pt x="34" y="230"/>
                  </a:lnTo>
                  <a:lnTo>
                    <a:pt x="34" y="229"/>
                  </a:lnTo>
                  <a:lnTo>
                    <a:pt x="37" y="229"/>
                  </a:lnTo>
                  <a:lnTo>
                    <a:pt x="37" y="227"/>
                  </a:lnTo>
                  <a:lnTo>
                    <a:pt x="35" y="223"/>
                  </a:lnTo>
                  <a:lnTo>
                    <a:pt x="35" y="222"/>
                  </a:lnTo>
                  <a:lnTo>
                    <a:pt x="32" y="222"/>
                  </a:lnTo>
                  <a:lnTo>
                    <a:pt x="32" y="223"/>
                  </a:lnTo>
                  <a:lnTo>
                    <a:pt x="30" y="224"/>
                  </a:lnTo>
                  <a:lnTo>
                    <a:pt x="26" y="224"/>
                  </a:lnTo>
                  <a:lnTo>
                    <a:pt x="16" y="216"/>
                  </a:lnTo>
                  <a:lnTo>
                    <a:pt x="15" y="216"/>
                  </a:lnTo>
                  <a:lnTo>
                    <a:pt x="14" y="214"/>
                  </a:lnTo>
                  <a:lnTo>
                    <a:pt x="15" y="210"/>
                  </a:lnTo>
                  <a:lnTo>
                    <a:pt x="19" y="209"/>
                  </a:lnTo>
                  <a:lnTo>
                    <a:pt x="20" y="209"/>
                  </a:lnTo>
                  <a:lnTo>
                    <a:pt x="20" y="207"/>
                  </a:lnTo>
                  <a:lnTo>
                    <a:pt x="19" y="207"/>
                  </a:lnTo>
                  <a:lnTo>
                    <a:pt x="15" y="206"/>
                  </a:lnTo>
                  <a:lnTo>
                    <a:pt x="15" y="204"/>
                  </a:lnTo>
                  <a:lnTo>
                    <a:pt x="13" y="204"/>
                  </a:lnTo>
                  <a:lnTo>
                    <a:pt x="12" y="204"/>
                  </a:lnTo>
                  <a:lnTo>
                    <a:pt x="13" y="203"/>
                  </a:lnTo>
                  <a:lnTo>
                    <a:pt x="12" y="203"/>
                  </a:lnTo>
                  <a:lnTo>
                    <a:pt x="8" y="203"/>
                  </a:lnTo>
                  <a:lnTo>
                    <a:pt x="8" y="200"/>
                  </a:lnTo>
                  <a:lnTo>
                    <a:pt x="7" y="200"/>
                  </a:lnTo>
                  <a:lnTo>
                    <a:pt x="6" y="197"/>
                  </a:lnTo>
                  <a:lnTo>
                    <a:pt x="5" y="196"/>
                  </a:lnTo>
                  <a:lnTo>
                    <a:pt x="3" y="196"/>
                  </a:lnTo>
                  <a:lnTo>
                    <a:pt x="3" y="194"/>
                  </a:lnTo>
                  <a:lnTo>
                    <a:pt x="2" y="193"/>
                  </a:lnTo>
                  <a:lnTo>
                    <a:pt x="3" y="193"/>
                  </a:lnTo>
                  <a:lnTo>
                    <a:pt x="5" y="191"/>
                  </a:lnTo>
                  <a:lnTo>
                    <a:pt x="3" y="190"/>
                  </a:lnTo>
                  <a:lnTo>
                    <a:pt x="0" y="186"/>
                  </a:lnTo>
                  <a:lnTo>
                    <a:pt x="0" y="185"/>
                  </a:lnTo>
                  <a:lnTo>
                    <a:pt x="1" y="180"/>
                  </a:lnTo>
                  <a:lnTo>
                    <a:pt x="1" y="176"/>
                  </a:lnTo>
                  <a:lnTo>
                    <a:pt x="8" y="176"/>
                  </a:lnTo>
                  <a:lnTo>
                    <a:pt x="16" y="174"/>
                  </a:lnTo>
                  <a:lnTo>
                    <a:pt x="20" y="169"/>
                  </a:lnTo>
                  <a:lnTo>
                    <a:pt x="43" y="169"/>
                  </a:lnTo>
                  <a:lnTo>
                    <a:pt x="52" y="169"/>
                  </a:lnTo>
                  <a:lnTo>
                    <a:pt x="52" y="166"/>
                  </a:lnTo>
                  <a:lnTo>
                    <a:pt x="60" y="169"/>
                  </a:lnTo>
                  <a:lnTo>
                    <a:pt x="60" y="164"/>
                  </a:lnTo>
                  <a:lnTo>
                    <a:pt x="62" y="164"/>
                  </a:lnTo>
                  <a:lnTo>
                    <a:pt x="65" y="163"/>
                  </a:lnTo>
                  <a:lnTo>
                    <a:pt x="66" y="160"/>
                  </a:lnTo>
                  <a:lnTo>
                    <a:pt x="67" y="159"/>
                  </a:lnTo>
                  <a:lnTo>
                    <a:pt x="67" y="157"/>
                  </a:lnTo>
                  <a:lnTo>
                    <a:pt x="69" y="156"/>
                  </a:lnTo>
                  <a:lnTo>
                    <a:pt x="68" y="152"/>
                  </a:lnTo>
                  <a:lnTo>
                    <a:pt x="69" y="149"/>
                  </a:lnTo>
                  <a:lnTo>
                    <a:pt x="73" y="146"/>
                  </a:lnTo>
                  <a:lnTo>
                    <a:pt x="73" y="133"/>
                  </a:lnTo>
                  <a:lnTo>
                    <a:pt x="75" y="122"/>
                  </a:lnTo>
                  <a:lnTo>
                    <a:pt x="73" y="89"/>
                  </a:lnTo>
                  <a:lnTo>
                    <a:pt x="100" y="84"/>
                  </a:lnTo>
                  <a:lnTo>
                    <a:pt x="127" y="44"/>
                  </a:lnTo>
                  <a:lnTo>
                    <a:pt x="209" y="0"/>
                  </a:lnTo>
                  <a:lnTo>
                    <a:pt x="237" y="10"/>
                  </a:lnTo>
                  <a:lnTo>
                    <a:pt x="249" y="19"/>
                  </a:lnTo>
                  <a:lnTo>
                    <a:pt x="263" y="11"/>
                  </a:lnTo>
                  <a:lnTo>
                    <a:pt x="267" y="31"/>
                  </a:lnTo>
                  <a:lnTo>
                    <a:pt x="267" y="42"/>
                  </a:lnTo>
                  <a:lnTo>
                    <a:pt x="268" y="43"/>
                  </a:lnTo>
                  <a:lnTo>
                    <a:pt x="274" y="53"/>
                  </a:lnTo>
                  <a:lnTo>
                    <a:pt x="274" y="53"/>
                  </a:lnTo>
                  <a:lnTo>
                    <a:pt x="273" y="55"/>
                  </a:lnTo>
                  <a:lnTo>
                    <a:pt x="275" y="58"/>
                  </a:lnTo>
                  <a:lnTo>
                    <a:pt x="282" y="65"/>
                  </a:lnTo>
                  <a:lnTo>
                    <a:pt x="277" y="73"/>
                  </a:lnTo>
                  <a:lnTo>
                    <a:pt x="275" y="98"/>
                  </a:lnTo>
                  <a:lnTo>
                    <a:pt x="274" y="137"/>
                  </a:lnTo>
                  <a:lnTo>
                    <a:pt x="255" y="160"/>
                  </a:lnTo>
                  <a:lnTo>
                    <a:pt x="248" y="171"/>
                  </a:lnTo>
                  <a:lnTo>
                    <a:pt x="244" y="178"/>
                  </a:lnTo>
                  <a:lnTo>
                    <a:pt x="244" y="180"/>
                  </a:lnTo>
                  <a:lnTo>
                    <a:pt x="242" y="182"/>
                  </a:lnTo>
                  <a:lnTo>
                    <a:pt x="242" y="184"/>
                  </a:lnTo>
                  <a:lnTo>
                    <a:pt x="239" y="186"/>
                  </a:lnTo>
                  <a:lnTo>
                    <a:pt x="242" y="200"/>
                  </a:lnTo>
                  <a:lnTo>
                    <a:pt x="237" y="202"/>
                  </a:lnTo>
                  <a:lnTo>
                    <a:pt x="235" y="205"/>
                  </a:lnTo>
                  <a:lnTo>
                    <a:pt x="239" y="205"/>
                  </a:lnTo>
                  <a:lnTo>
                    <a:pt x="235" y="207"/>
                  </a:lnTo>
                  <a:lnTo>
                    <a:pt x="232" y="206"/>
                  </a:lnTo>
                  <a:lnTo>
                    <a:pt x="229" y="206"/>
                  </a:lnTo>
                  <a:lnTo>
                    <a:pt x="227" y="207"/>
                  </a:lnTo>
                  <a:lnTo>
                    <a:pt x="223" y="211"/>
                  </a:lnTo>
                  <a:lnTo>
                    <a:pt x="222" y="213"/>
                  </a:lnTo>
                  <a:lnTo>
                    <a:pt x="221" y="216"/>
                  </a:lnTo>
                  <a:lnTo>
                    <a:pt x="215" y="214"/>
                  </a:lnTo>
                  <a:lnTo>
                    <a:pt x="203" y="209"/>
                  </a:lnTo>
                  <a:lnTo>
                    <a:pt x="180" y="211"/>
                  </a:lnTo>
                  <a:lnTo>
                    <a:pt x="176" y="214"/>
                  </a:lnTo>
                  <a:lnTo>
                    <a:pt x="170" y="220"/>
                  </a:lnTo>
                  <a:lnTo>
                    <a:pt x="153" y="217"/>
                  </a:lnTo>
                  <a:lnTo>
                    <a:pt x="143" y="211"/>
                  </a:lnTo>
                  <a:lnTo>
                    <a:pt x="129" y="214"/>
                  </a:lnTo>
                  <a:lnTo>
                    <a:pt x="125" y="216"/>
                  </a:lnTo>
                  <a:lnTo>
                    <a:pt x="119" y="214"/>
                  </a:lnTo>
                  <a:lnTo>
                    <a:pt x="112" y="204"/>
                  </a:lnTo>
                  <a:lnTo>
                    <a:pt x="107" y="203"/>
                  </a:lnTo>
                  <a:lnTo>
                    <a:pt x="93" y="199"/>
                  </a:lnTo>
                  <a:lnTo>
                    <a:pt x="85" y="202"/>
                  </a:lnTo>
                  <a:lnTo>
                    <a:pt x="77" y="202"/>
                  </a:lnTo>
                  <a:lnTo>
                    <a:pt x="70" y="206"/>
                  </a:lnTo>
                  <a:lnTo>
                    <a:pt x="68" y="223"/>
                  </a:lnTo>
                  <a:lnTo>
                    <a:pt x="63" y="229"/>
                  </a:lnTo>
                  <a:lnTo>
                    <a:pt x="65" y="237"/>
                  </a:lnTo>
                  <a:lnTo>
                    <a:pt x="63" y="242"/>
                  </a:lnTo>
                  <a:lnTo>
                    <a:pt x="61" y="243"/>
                  </a:lnTo>
                  <a:lnTo>
                    <a:pt x="60" y="242"/>
                  </a:lnTo>
                  <a:lnTo>
                    <a:pt x="56" y="239"/>
                  </a:lnTo>
                  <a:lnTo>
                    <a:pt x="56" y="239"/>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288" name="Nicaragua">
              <a:extLst>
                <a:ext uri="{FF2B5EF4-FFF2-40B4-BE49-F238E27FC236}">
                  <a16:creationId xmlns:a16="http://schemas.microsoft.com/office/drawing/2014/main" id="{C9707B1B-3E6B-0D4F-B572-6EA16B761C22}"/>
                </a:ext>
              </a:extLst>
            </p:cNvPr>
            <p:cNvSpPr>
              <a:spLocks/>
            </p:cNvSpPr>
            <p:nvPr/>
          </p:nvSpPr>
          <p:spPr bwMode="auto">
            <a:xfrm>
              <a:off x="4061688" y="3538941"/>
              <a:ext cx="125384" cy="128299"/>
            </a:xfrm>
            <a:custGeom>
              <a:avLst/>
              <a:gdLst>
                <a:gd name="T0" fmla="*/ 14 w 86"/>
                <a:gd name="T1" fmla="*/ 38 h 88"/>
                <a:gd name="T2" fmla="*/ 14 w 86"/>
                <a:gd name="T3" fmla="*/ 37 h 88"/>
                <a:gd name="T4" fmla="*/ 18 w 86"/>
                <a:gd name="T5" fmla="*/ 35 h 88"/>
                <a:gd name="T6" fmla="*/ 22 w 86"/>
                <a:gd name="T7" fmla="*/ 24 h 88"/>
                <a:gd name="T8" fmla="*/ 30 w 86"/>
                <a:gd name="T9" fmla="*/ 20 h 88"/>
                <a:gd name="T10" fmla="*/ 34 w 86"/>
                <a:gd name="T11" fmla="*/ 22 h 88"/>
                <a:gd name="T12" fmla="*/ 35 w 86"/>
                <a:gd name="T13" fmla="*/ 23 h 88"/>
                <a:gd name="T14" fmla="*/ 38 w 86"/>
                <a:gd name="T15" fmla="*/ 21 h 88"/>
                <a:gd name="T16" fmla="*/ 42 w 86"/>
                <a:gd name="T17" fmla="*/ 18 h 88"/>
                <a:gd name="T18" fmla="*/ 45 w 86"/>
                <a:gd name="T19" fmla="*/ 15 h 88"/>
                <a:gd name="T20" fmla="*/ 48 w 86"/>
                <a:gd name="T21" fmla="*/ 13 h 88"/>
                <a:gd name="T22" fmla="*/ 48 w 86"/>
                <a:gd name="T23" fmla="*/ 8 h 88"/>
                <a:gd name="T24" fmla="*/ 50 w 86"/>
                <a:gd name="T25" fmla="*/ 8 h 88"/>
                <a:gd name="T26" fmla="*/ 55 w 86"/>
                <a:gd name="T27" fmla="*/ 3 h 88"/>
                <a:gd name="T28" fmla="*/ 56 w 86"/>
                <a:gd name="T29" fmla="*/ 4 h 88"/>
                <a:gd name="T30" fmla="*/ 60 w 86"/>
                <a:gd name="T31" fmla="*/ 7 h 88"/>
                <a:gd name="T32" fmla="*/ 63 w 86"/>
                <a:gd name="T33" fmla="*/ 6 h 88"/>
                <a:gd name="T34" fmla="*/ 65 w 86"/>
                <a:gd name="T35" fmla="*/ 6 h 88"/>
                <a:gd name="T36" fmla="*/ 68 w 86"/>
                <a:gd name="T37" fmla="*/ 6 h 88"/>
                <a:gd name="T38" fmla="*/ 70 w 86"/>
                <a:gd name="T39" fmla="*/ 4 h 88"/>
                <a:gd name="T40" fmla="*/ 72 w 86"/>
                <a:gd name="T41" fmla="*/ 4 h 88"/>
                <a:gd name="T42" fmla="*/ 75 w 86"/>
                <a:gd name="T43" fmla="*/ 3 h 88"/>
                <a:gd name="T44" fmla="*/ 79 w 86"/>
                <a:gd name="T45" fmla="*/ 1 h 88"/>
                <a:gd name="T46" fmla="*/ 79 w 86"/>
                <a:gd name="T47" fmla="*/ 1 h 88"/>
                <a:gd name="T48" fmla="*/ 80 w 86"/>
                <a:gd name="T49" fmla="*/ 0 h 88"/>
                <a:gd name="T50" fmla="*/ 86 w 86"/>
                <a:gd name="T51" fmla="*/ 0 h 88"/>
                <a:gd name="T52" fmla="*/ 82 w 86"/>
                <a:gd name="T53" fmla="*/ 3 h 88"/>
                <a:gd name="T54" fmla="*/ 80 w 86"/>
                <a:gd name="T55" fmla="*/ 4 h 88"/>
                <a:gd name="T56" fmla="*/ 81 w 86"/>
                <a:gd name="T57" fmla="*/ 6 h 88"/>
                <a:gd name="T58" fmla="*/ 82 w 86"/>
                <a:gd name="T59" fmla="*/ 4 h 88"/>
                <a:gd name="T60" fmla="*/ 79 w 86"/>
                <a:gd name="T61" fmla="*/ 21 h 88"/>
                <a:gd name="T62" fmla="*/ 75 w 86"/>
                <a:gd name="T63" fmla="*/ 43 h 88"/>
                <a:gd name="T64" fmla="*/ 72 w 86"/>
                <a:gd name="T65" fmla="*/ 54 h 88"/>
                <a:gd name="T66" fmla="*/ 73 w 86"/>
                <a:gd name="T67" fmla="*/ 49 h 88"/>
                <a:gd name="T68" fmla="*/ 73 w 86"/>
                <a:gd name="T69" fmla="*/ 44 h 88"/>
                <a:gd name="T70" fmla="*/ 70 w 86"/>
                <a:gd name="T71" fmla="*/ 50 h 88"/>
                <a:gd name="T72" fmla="*/ 70 w 86"/>
                <a:gd name="T73" fmla="*/ 55 h 88"/>
                <a:gd name="T74" fmla="*/ 72 w 86"/>
                <a:gd name="T75" fmla="*/ 54 h 88"/>
                <a:gd name="T76" fmla="*/ 70 w 86"/>
                <a:gd name="T77" fmla="*/ 62 h 88"/>
                <a:gd name="T78" fmla="*/ 70 w 86"/>
                <a:gd name="T79" fmla="*/ 58 h 88"/>
                <a:gd name="T80" fmla="*/ 69 w 86"/>
                <a:gd name="T81" fmla="*/ 61 h 88"/>
                <a:gd name="T82" fmla="*/ 68 w 86"/>
                <a:gd name="T83" fmla="*/ 66 h 88"/>
                <a:gd name="T84" fmla="*/ 70 w 86"/>
                <a:gd name="T85" fmla="*/ 64 h 88"/>
                <a:gd name="T86" fmla="*/ 68 w 86"/>
                <a:gd name="T87" fmla="*/ 73 h 88"/>
                <a:gd name="T88" fmla="*/ 66 w 86"/>
                <a:gd name="T89" fmla="*/ 78 h 88"/>
                <a:gd name="T90" fmla="*/ 69 w 86"/>
                <a:gd name="T91" fmla="*/ 85 h 88"/>
                <a:gd name="T92" fmla="*/ 63 w 86"/>
                <a:gd name="T93" fmla="*/ 87 h 88"/>
                <a:gd name="T94" fmla="*/ 61 w 86"/>
                <a:gd name="T95" fmla="*/ 87 h 88"/>
                <a:gd name="T96" fmla="*/ 59 w 86"/>
                <a:gd name="T97" fmla="*/ 85 h 88"/>
                <a:gd name="T98" fmla="*/ 58 w 86"/>
                <a:gd name="T99" fmla="*/ 82 h 88"/>
                <a:gd name="T100" fmla="*/ 54 w 86"/>
                <a:gd name="T101" fmla="*/ 82 h 88"/>
                <a:gd name="T102" fmla="*/ 52 w 86"/>
                <a:gd name="T103" fmla="*/ 81 h 88"/>
                <a:gd name="T104" fmla="*/ 42 w 86"/>
                <a:gd name="T105" fmla="*/ 82 h 88"/>
                <a:gd name="T106" fmla="*/ 35 w 86"/>
                <a:gd name="T107" fmla="*/ 77 h 88"/>
                <a:gd name="T108" fmla="*/ 32 w 86"/>
                <a:gd name="T109" fmla="*/ 80 h 88"/>
                <a:gd name="T110" fmla="*/ 21 w 86"/>
                <a:gd name="T111" fmla="*/ 68 h 88"/>
                <a:gd name="T112" fmla="*/ 8 w 86"/>
                <a:gd name="T113" fmla="*/ 53 h 88"/>
                <a:gd name="T114" fmla="*/ 8 w 86"/>
                <a:gd name="T115" fmla="*/ 51 h 88"/>
                <a:gd name="T116" fmla="*/ 3 w 86"/>
                <a:gd name="T117" fmla="*/ 46 h 88"/>
                <a:gd name="T118" fmla="*/ 2 w 86"/>
                <a:gd name="T119" fmla="*/ 38 h 88"/>
                <a:gd name="T120" fmla="*/ 3 w 86"/>
                <a:gd name="T121" fmla="*/ 42 h 88"/>
                <a:gd name="T122" fmla="*/ 6 w 86"/>
                <a:gd name="T123" fmla="*/ 42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86" h="88">
                  <a:moveTo>
                    <a:pt x="7" y="41"/>
                  </a:moveTo>
                  <a:lnTo>
                    <a:pt x="12" y="41"/>
                  </a:lnTo>
                  <a:lnTo>
                    <a:pt x="14" y="38"/>
                  </a:lnTo>
                  <a:lnTo>
                    <a:pt x="14" y="38"/>
                  </a:lnTo>
                  <a:lnTo>
                    <a:pt x="14" y="38"/>
                  </a:lnTo>
                  <a:lnTo>
                    <a:pt x="14" y="37"/>
                  </a:lnTo>
                  <a:lnTo>
                    <a:pt x="14" y="36"/>
                  </a:lnTo>
                  <a:lnTo>
                    <a:pt x="16" y="35"/>
                  </a:lnTo>
                  <a:lnTo>
                    <a:pt x="18" y="35"/>
                  </a:lnTo>
                  <a:lnTo>
                    <a:pt x="19" y="35"/>
                  </a:lnTo>
                  <a:lnTo>
                    <a:pt x="18" y="26"/>
                  </a:lnTo>
                  <a:lnTo>
                    <a:pt x="22" y="24"/>
                  </a:lnTo>
                  <a:lnTo>
                    <a:pt x="25" y="26"/>
                  </a:lnTo>
                  <a:lnTo>
                    <a:pt x="26" y="26"/>
                  </a:lnTo>
                  <a:lnTo>
                    <a:pt x="30" y="20"/>
                  </a:lnTo>
                  <a:lnTo>
                    <a:pt x="32" y="18"/>
                  </a:lnTo>
                  <a:lnTo>
                    <a:pt x="32" y="21"/>
                  </a:lnTo>
                  <a:lnTo>
                    <a:pt x="34" y="22"/>
                  </a:lnTo>
                  <a:lnTo>
                    <a:pt x="35" y="22"/>
                  </a:lnTo>
                  <a:lnTo>
                    <a:pt x="35" y="23"/>
                  </a:lnTo>
                  <a:lnTo>
                    <a:pt x="35" y="23"/>
                  </a:lnTo>
                  <a:lnTo>
                    <a:pt x="36" y="23"/>
                  </a:lnTo>
                  <a:lnTo>
                    <a:pt x="36" y="21"/>
                  </a:lnTo>
                  <a:lnTo>
                    <a:pt x="38" y="21"/>
                  </a:lnTo>
                  <a:lnTo>
                    <a:pt x="41" y="20"/>
                  </a:lnTo>
                  <a:lnTo>
                    <a:pt x="41" y="18"/>
                  </a:lnTo>
                  <a:lnTo>
                    <a:pt x="42" y="18"/>
                  </a:lnTo>
                  <a:lnTo>
                    <a:pt x="43" y="17"/>
                  </a:lnTo>
                  <a:lnTo>
                    <a:pt x="43" y="15"/>
                  </a:lnTo>
                  <a:lnTo>
                    <a:pt x="45" y="15"/>
                  </a:lnTo>
                  <a:lnTo>
                    <a:pt x="46" y="14"/>
                  </a:lnTo>
                  <a:lnTo>
                    <a:pt x="47" y="14"/>
                  </a:lnTo>
                  <a:lnTo>
                    <a:pt x="48" y="13"/>
                  </a:lnTo>
                  <a:lnTo>
                    <a:pt x="47" y="13"/>
                  </a:lnTo>
                  <a:lnTo>
                    <a:pt x="49" y="9"/>
                  </a:lnTo>
                  <a:lnTo>
                    <a:pt x="48" y="8"/>
                  </a:lnTo>
                  <a:lnTo>
                    <a:pt x="50" y="9"/>
                  </a:lnTo>
                  <a:lnTo>
                    <a:pt x="50" y="8"/>
                  </a:lnTo>
                  <a:lnTo>
                    <a:pt x="50" y="8"/>
                  </a:lnTo>
                  <a:lnTo>
                    <a:pt x="50" y="7"/>
                  </a:lnTo>
                  <a:lnTo>
                    <a:pt x="50" y="7"/>
                  </a:lnTo>
                  <a:lnTo>
                    <a:pt x="55" y="3"/>
                  </a:lnTo>
                  <a:lnTo>
                    <a:pt x="56" y="4"/>
                  </a:lnTo>
                  <a:lnTo>
                    <a:pt x="55" y="4"/>
                  </a:lnTo>
                  <a:lnTo>
                    <a:pt x="56" y="4"/>
                  </a:lnTo>
                  <a:lnTo>
                    <a:pt x="56" y="6"/>
                  </a:lnTo>
                  <a:lnTo>
                    <a:pt x="59" y="7"/>
                  </a:lnTo>
                  <a:lnTo>
                    <a:pt x="60" y="7"/>
                  </a:lnTo>
                  <a:lnTo>
                    <a:pt x="60" y="7"/>
                  </a:lnTo>
                  <a:lnTo>
                    <a:pt x="62" y="7"/>
                  </a:lnTo>
                  <a:lnTo>
                    <a:pt x="63" y="6"/>
                  </a:lnTo>
                  <a:lnTo>
                    <a:pt x="63" y="7"/>
                  </a:lnTo>
                  <a:lnTo>
                    <a:pt x="65" y="7"/>
                  </a:lnTo>
                  <a:lnTo>
                    <a:pt x="65" y="6"/>
                  </a:lnTo>
                  <a:lnTo>
                    <a:pt x="66" y="4"/>
                  </a:lnTo>
                  <a:lnTo>
                    <a:pt x="66" y="6"/>
                  </a:lnTo>
                  <a:lnTo>
                    <a:pt x="68" y="6"/>
                  </a:lnTo>
                  <a:lnTo>
                    <a:pt x="68" y="4"/>
                  </a:lnTo>
                  <a:lnTo>
                    <a:pt x="68" y="4"/>
                  </a:lnTo>
                  <a:lnTo>
                    <a:pt x="70" y="4"/>
                  </a:lnTo>
                  <a:lnTo>
                    <a:pt x="72" y="4"/>
                  </a:lnTo>
                  <a:lnTo>
                    <a:pt x="72" y="4"/>
                  </a:lnTo>
                  <a:lnTo>
                    <a:pt x="72" y="4"/>
                  </a:lnTo>
                  <a:lnTo>
                    <a:pt x="74" y="3"/>
                  </a:lnTo>
                  <a:lnTo>
                    <a:pt x="75" y="3"/>
                  </a:lnTo>
                  <a:lnTo>
                    <a:pt x="75" y="3"/>
                  </a:lnTo>
                  <a:lnTo>
                    <a:pt x="75" y="2"/>
                  </a:lnTo>
                  <a:lnTo>
                    <a:pt x="76" y="3"/>
                  </a:lnTo>
                  <a:lnTo>
                    <a:pt x="79" y="1"/>
                  </a:lnTo>
                  <a:lnTo>
                    <a:pt x="78" y="1"/>
                  </a:lnTo>
                  <a:lnTo>
                    <a:pt x="79" y="1"/>
                  </a:lnTo>
                  <a:lnTo>
                    <a:pt x="79" y="1"/>
                  </a:lnTo>
                  <a:lnTo>
                    <a:pt x="79" y="1"/>
                  </a:lnTo>
                  <a:lnTo>
                    <a:pt x="79" y="0"/>
                  </a:lnTo>
                  <a:lnTo>
                    <a:pt x="80" y="0"/>
                  </a:lnTo>
                  <a:lnTo>
                    <a:pt x="81" y="0"/>
                  </a:lnTo>
                  <a:lnTo>
                    <a:pt x="82" y="0"/>
                  </a:lnTo>
                  <a:lnTo>
                    <a:pt x="86" y="0"/>
                  </a:lnTo>
                  <a:lnTo>
                    <a:pt x="85" y="1"/>
                  </a:lnTo>
                  <a:lnTo>
                    <a:pt x="82" y="4"/>
                  </a:lnTo>
                  <a:lnTo>
                    <a:pt x="82" y="3"/>
                  </a:lnTo>
                  <a:lnTo>
                    <a:pt x="82" y="3"/>
                  </a:lnTo>
                  <a:lnTo>
                    <a:pt x="82" y="2"/>
                  </a:lnTo>
                  <a:lnTo>
                    <a:pt x="80" y="4"/>
                  </a:lnTo>
                  <a:lnTo>
                    <a:pt x="81" y="4"/>
                  </a:lnTo>
                  <a:lnTo>
                    <a:pt x="81" y="4"/>
                  </a:lnTo>
                  <a:lnTo>
                    <a:pt x="81" y="6"/>
                  </a:lnTo>
                  <a:lnTo>
                    <a:pt x="82" y="4"/>
                  </a:lnTo>
                  <a:lnTo>
                    <a:pt x="82" y="4"/>
                  </a:lnTo>
                  <a:lnTo>
                    <a:pt x="82" y="4"/>
                  </a:lnTo>
                  <a:lnTo>
                    <a:pt x="83" y="14"/>
                  </a:lnTo>
                  <a:lnTo>
                    <a:pt x="80" y="20"/>
                  </a:lnTo>
                  <a:lnTo>
                    <a:pt x="79" y="21"/>
                  </a:lnTo>
                  <a:lnTo>
                    <a:pt x="75" y="31"/>
                  </a:lnTo>
                  <a:lnTo>
                    <a:pt x="74" y="36"/>
                  </a:lnTo>
                  <a:lnTo>
                    <a:pt x="75" y="43"/>
                  </a:lnTo>
                  <a:lnTo>
                    <a:pt x="74" y="48"/>
                  </a:lnTo>
                  <a:lnTo>
                    <a:pt x="74" y="53"/>
                  </a:lnTo>
                  <a:lnTo>
                    <a:pt x="72" y="54"/>
                  </a:lnTo>
                  <a:lnTo>
                    <a:pt x="73" y="53"/>
                  </a:lnTo>
                  <a:lnTo>
                    <a:pt x="72" y="49"/>
                  </a:lnTo>
                  <a:lnTo>
                    <a:pt x="73" y="49"/>
                  </a:lnTo>
                  <a:lnTo>
                    <a:pt x="74" y="46"/>
                  </a:lnTo>
                  <a:lnTo>
                    <a:pt x="74" y="46"/>
                  </a:lnTo>
                  <a:lnTo>
                    <a:pt x="73" y="44"/>
                  </a:lnTo>
                  <a:lnTo>
                    <a:pt x="73" y="44"/>
                  </a:lnTo>
                  <a:lnTo>
                    <a:pt x="73" y="48"/>
                  </a:lnTo>
                  <a:lnTo>
                    <a:pt x="70" y="50"/>
                  </a:lnTo>
                  <a:lnTo>
                    <a:pt x="69" y="51"/>
                  </a:lnTo>
                  <a:lnTo>
                    <a:pt x="70" y="51"/>
                  </a:lnTo>
                  <a:lnTo>
                    <a:pt x="70" y="55"/>
                  </a:lnTo>
                  <a:lnTo>
                    <a:pt x="72" y="54"/>
                  </a:lnTo>
                  <a:lnTo>
                    <a:pt x="70" y="56"/>
                  </a:lnTo>
                  <a:lnTo>
                    <a:pt x="72" y="54"/>
                  </a:lnTo>
                  <a:lnTo>
                    <a:pt x="72" y="55"/>
                  </a:lnTo>
                  <a:lnTo>
                    <a:pt x="70" y="58"/>
                  </a:lnTo>
                  <a:lnTo>
                    <a:pt x="70" y="62"/>
                  </a:lnTo>
                  <a:lnTo>
                    <a:pt x="70" y="57"/>
                  </a:lnTo>
                  <a:lnTo>
                    <a:pt x="69" y="57"/>
                  </a:lnTo>
                  <a:lnTo>
                    <a:pt x="70" y="58"/>
                  </a:lnTo>
                  <a:lnTo>
                    <a:pt x="69" y="60"/>
                  </a:lnTo>
                  <a:lnTo>
                    <a:pt x="68" y="60"/>
                  </a:lnTo>
                  <a:lnTo>
                    <a:pt x="69" y="61"/>
                  </a:lnTo>
                  <a:lnTo>
                    <a:pt x="69" y="63"/>
                  </a:lnTo>
                  <a:lnTo>
                    <a:pt x="67" y="64"/>
                  </a:lnTo>
                  <a:lnTo>
                    <a:pt x="68" y="66"/>
                  </a:lnTo>
                  <a:lnTo>
                    <a:pt x="69" y="66"/>
                  </a:lnTo>
                  <a:lnTo>
                    <a:pt x="69" y="64"/>
                  </a:lnTo>
                  <a:lnTo>
                    <a:pt x="70" y="64"/>
                  </a:lnTo>
                  <a:lnTo>
                    <a:pt x="70" y="69"/>
                  </a:lnTo>
                  <a:lnTo>
                    <a:pt x="68" y="70"/>
                  </a:lnTo>
                  <a:lnTo>
                    <a:pt x="68" y="73"/>
                  </a:lnTo>
                  <a:lnTo>
                    <a:pt x="67" y="74"/>
                  </a:lnTo>
                  <a:lnTo>
                    <a:pt x="66" y="75"/>
                  </a:lnTo>
                  <a:lnTo>
                    <a:pt x="66" y="78"/>
                  </a:lnTo>
                  <a:lnTo>
                    <a:pt x="68" y="83"/>
                  </a:lnTo>
                  <a:lnTo>
                    <a:pt x="69" y="83"/>
                  </a:lnTo>
                  <a:lnTo>
                    <a:pt x="69" y="85"/>
                  </a:lnTo>
                  <a:lnTo>
                    <a:pt x="66" y="88"/>
                  </a:lnTo>
                  <a:lnTo>
                    <a:pt x="63" y="88"/>
                  </a:lnTo>
                  <a:lnTo>
                    <a:pt x="63" y="87"/>
                  </a:lnTo>
                  <a:lnTo>
                    <a:pt x="62" y="87"/>
                  </a:lnTo>
                  <a:lnTo>
                    <a:pt x="61" y="87"/>
                  </a:lnTo>
                  <a:lnTo>
                    <a:pt x="61" y="87"/>
                  </a:lnTo>
                  <a:lnTo>
                    <a:pt x="61" y="87"/>
                  </a:lnTo>
                  <a:lnTo>
                    <a:pt x="60" y="87"/>
                  </a:lnTo>
                  <a:lnTo>
                    <a:pt x="59" y="85"/>
                  </a:lnTo>
                  <a:lnTo>
                    <a:pt x="60" y="85"/>
                  </a:lnTo>
                  <a:lnTo>
                    <a:pt x="56" y="83"/>
                  </a:lnTo>
                  <a:lnTo>
                    <a:pt x="58" y="82"/>
                  </a:lnTo>
                  <a:lnTo>
                    <a:pt x="56" y="82"/>
                  </a:lnTo>
                  <a:lnTo>
                    <a:pt x="55" y="82"/>
                  </a:lnTo>
                  <a:lnTo>
                    <a:pt x="54" y="82"/>
                  </a:lnTo>
                  <a:lnTo>
                    <a:pt x="53" y="81"/>
                  </a:lnTo>
                  <a:lnTo>
                    <a:pt x="53" y="81"/>
                  </a:lnTo>
                  <a:lnTo>
                    <a:pt x="52" y="81"/>
                  </a:lnTo>
                  <a:lnTo>
                    <a:pt x="49" y="83"/>
                  </a:lnTo>
                  <a:lnTo>
                    <a:pt x="47" y="83"/>
                  </a:lnTo>
                  <a:lnTo>
                    <a:pt x="42" y="82"/>
                  </a:lnTo>
                  <a:lnTo>
                    <a:pt x="39" y="80"/>
                  </a:lnTo>
                  <a:lnTo>
                    <a:pt x="35" y="78"/>
                  </a:lnTo>
                  <a:lnTo>
                    <a:pt x="35" y="77"/>
                  </a:lnTo>
                  <a:lnTo>
                    <a:pt x="34" y="77"/>
                  </a:lnTo>
                  <a:lnTo>
                    <a:pt x="33" y="81"/>
                  </a:lnTo>
                  <a:lnTo>
                    <a:pt x="32" y="80"/>
                  </a:lnTo>
                  <a:lnTo>
                    <a:pt x="29" y="76"/>
                  </a:lnTo>
                  <a:lnTo>
                    <a:pt x="21" y="69"/>
                  </a:lnTo>
                  <a:lnTo>
                    <a:pt x="21" y="68"/>
                  </a:lnTo>
                  <a:lnTo>
                    <a:pt x="19" y="67"/>
                  </a:lnTo>
                  <a:lnTo>
                    <a:pt x="15" y="57"/>
                  </a:lnTo>
                  <a:lnTo>
                    <a:pt x="8" y="53"/>
                  </a:lnTo>
                  <a:lnTo>
                    <a:pt x="9" y="53"/>
                  </a:lnTo>
                  <a:lnTo>
                    <a:pt x="8" y="50"/>
                  </a:lnTo>
                  <a:lnTo>
                    <a:pt x="8" y="51"/>
                  </a:lnTo>
                  <a:lnTo>
                    <a:pt x="6" y="49"/>
                  </a:lnTo>
                  <a:lnTo>
                    <a:pt x="3" y="46"/>
                  </a:lnTo>
                  <a:lnTo>
                    <a:pt x="3" y="46"/>
                  </a:lnTo>
                  <a:lnTo>
                    <a:pt x="0" y="43"/>
                  </a:lnTo>
                  <a:lnTo>
                    <a:pt x="0" y="41"/>
                  </a:lnTo>
                  <a:lnTo>
                    <a:pt x="2" y="38"/>
                  </a:lnTo>
                  <a:lnTo>
                    <a:pt x="2" y="40"/>
                  </a:lnTo>
                  <a:lnTo>
                    <a:pt x="3" y="41"/>
                  </a:lnTo>
                  <a:lnTo>
                    <a:pt x="3" y="42"/>
                  </a:lnTo>
                  <a:lnTo>
                    <a:pt x="6" y="43"/>
                  </a:lnTo>
                  <a:lnTo>
                    <a:pt x="7" y="42"/>
                  </a:lnTo>
                  <a:lnTo>
                    <a:pt x="6" y="42"/>
                  </a:lnTo>
                  <a:lnTo>
                    <a:pt x="7" y="41"/>
                  </a:lnTo>
                  <a:lnTo>
                    <a:pt x="7" y="41"/>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289" name="Mongolia">
              <a:extLst>
                <a:ext uri="{FF2B5EF4-FFF2-40B4-BE49-F238E27FC236}">
                  <a16:creationId xmlns:a16="http://schemas.microsoft.com/office/drawing/2014/main" id="{7F020AED-28EB-084E-B4D0-B6EA2113DD9D}"/>
                </a:ext>
              </a:extLst>
            </p:cNvPr>
            <p:cNvSpPr>
              <a:spLocks/>
            </p:cNvSpPr>
            <p:nvPr/>
          </p:nvSpPr>
          <p:spPr bwMode="auto">
            <a:xfrm>
              <a:off x="8390338" y="2435274"/>
              <a:ext cx="784377" cy="309084"/>
            </a:xfrm>
            <a:custGeom>
              <a:avLst/>
              <a:gdLst>
                <a:gd name="T0" fmla="*/ 216 w 538"/>
                <a:gd name="T1" fmla="*/ 189 h 212"/>
                <a:gd name="T2" fmla="*/ 257 w 538"/>
                <a:gd name="T3" fmla="*/ 189 h 212"/>
                <a:gd name="T4" fmla="*/ 312 w 538"/>
                <a:gd name="T5" fmla="*/ 202 h 212"/>
                <a:gd name="T6" fmla="*/ 341 w 538"/>
                <a:gd name="T7" fmla="*/ 205 h 212"/>
                <a:gd name="T8" fmla="*/ 358 w 538"/>
                <a:gd name="T9" fmla="*/ 204 h 212"/>
                <a:gd name="T10" fmla="*/ 381 w 538"/>
                <a:gd name="T11" fmla="*/ 195 h 212"/>
                <a:gd name="T12" fmla="*/ 388 w 538"/>
                <a:gd name="T13" fmla="*/ 193 h 212"/>
                <a:gd name="T14" fmla="*/ 406 w 538"/>
                <a:gd name="T15" fmla="*/ 193 h 212"/>
                <a:gd name="T16" fmla="*/ 416 w 538"/>
                <a:gd name="T17" fmla="*/ 192 h 212"/>
                <a:gd name="T18" fmla="*/ 428 w 538"/>
                <a:gd name="T19" fmla="*/ 186 h 212"/>
                <a:gd name="T20" fmla="*/ 442 w 538"/>
                <a:gd name="T21" fmla="*/ 165 h 212"/>
                <a:gd name="T22" fmla="*/ 426 w 538"/>
                <a:gd name="T23" fmla="*/ 142 h 212"/>
                <a:gd name="T24" fmla="*/ 448 w 538"/>
                <a:gd name="T25" fmla="*/ 145 h 212"/>
                <a:gd name="T26" fmla="*/ 459 w 538"/>
                <a:gd name="T27" fmla="*/ 146 h 212"/>
                <a:gd name="T28" fmla="*/ 466 w 538"/>
                <a:gd name="T29" fmla="*/ 139 h 212"/>
                <a:gd name="T30" fmla="*/ 474 w 538"/>
                <a:gd name="T31" fmla="*/ 133 h 212"/>
                <a:gd name="T32" fmla="*/ 488 w 538"/>
                <a:gd name="T33" fmla="*/ 127 h 212"/>
                <a:gd name="T34" fmla="*/ 489 w 538"/>
                <a:gd name="T35" fmla="*/ 122 h 212"/>
                <a:gd name="T36" fmla="*/ 492 w 538"/>
                <a:gd name="T37" fmla="*/ 113 h 212"/>
                <a:gd name="T38" fmla="*/ 503 w 538"/>
                <a:gd name="T39" fmla="*/ 109 h 212"/>
                <a:gd name="T40" fmla="*/ 509 w 538"/>
                <a:gd name="T41" fmla="*/ 108 h 212"/>
                <a:gd name="T42" fmla="*/ 518 w 538"/>
                <a:gd name="T43" fmla="*/ 106 h 212"/>
                <a:gd name="T44" fmla="*/ 534 w 538"/>
                <a:gd name="T45" fmla="*/ 109 h 212"/>
                <a:gd name="T46" fmla="*/ 532 w 538"/>
                <a:gd name="T47" fmla="*/ 100 h 212"/>
                <a:gd name="T48" fmla="*/ 521 w 538"/>
                <a:gd name="T49" fmla="*/ 92 h 212"/>
                <a:gd name="T50" fmla="*/ 506 w 538"/>
                <a:gd name="T51" fmla="*/ 84 h 212"/>
                <a:gd name="T52" fmla="*/ 492 w 538"/>
                <a:gd name="T53" fmla="*/ 82 h 212"/>
                <a:gd name="T54" fmla="*/ 475 w 538"/>
                <a:gd name="T55" fmla="*/ 83 h 212"/>
                <a:gd name="T56" fmla="*/ 454 w 538"/>
                <a:gd name="T57" fmla="*/ 83 h 212"/>
                <a:gd name="T58" fmla="*/ 452 w 538"/>
                <a:gd name="T59" fmla="*/ 65 h 212"/>
                <a:gd name="T60" fmla="*/ 434 w 538"/>
                <a:gd name="T61" fmla="*/ 43 h 212"/>
                <a:gd name="T62" fmla="*/ 356 w 538"/>
                <a:gd name="T63" fmla="*/ 56 h 212"/>
                <a:gd name="T64" fmla="*/ 295 w 538"/>
                <a:gd name="T65" fmla="*/ 44 h 212"/>
                <a:gd name="T66" fmla="*/ 239 w 538"/>
                <a:gd name="T67" fmla="*/ 30 h 212"/>
                <a:gd name="T68" fmla="*/ 209 w 538"/>
                <a:gd name="T69" fmla="*/ 24 h 212"/>
                <a:gd name="T70" fmla="*/ 176 w 538"/>
                <a:gd name="T71" fmla="*/ 8 h 212"/>
                <a:gd name="T72" fmla="*/ 136 w 538"/>
                <a:gd name="T73" fmla="*/ 0 h 212"/>
                <a:gd name="T74" fmla="*/ 145 w 538"/>
                <a:gd name="T75" fmla="*/ 32 h 212"/>
                <a:gd name="T76" fmla="*/ 138 w 538"/>
                <a:gd name="T77" fmla="*/ 42 h 212"/>
                <a:gd name="T78" fmla="*/ 92 w 538"/>
                <a:gd name="T79" fmla="*/ 37 h 212"/>
                <a:gd name="T80" fmla="*/ 49 w 538"/>
                <a:gd name="T81" fmla="*/ 32 h 212"/>
                <a:gd name="T82" fmla="*/ 22 w 538"/>
                <a:gd name="T83" fmla="*/ 43 h 212"/>
                <a:gd name="T84" fmla="*/ 0 w 538"/>
                <a:gd name="T85" fmla="*/ 59 h 212"/>
                <a:gd name="T86" fmla="*/ 8 w 538"/>
                <a:gd name="T87" fmla="*/ 71 h 212"/>
                <a:gd name="T88" fmla="*/ 15 w 538"/>
                <a:gd name="T89" fmla="*/ 73 h 212"/>
                <a:gd name="T90" fmla="*/ 20 w 538"/>
                <a:gd name="T91" fmla="*/ 76 h 212"/>
                <a:gd name="T92" fmla="*/ 34 w 538"/>
                <a:gd name="T93" fmla="*/ 82 h 212"/>
                <a:gd name="T94" fmla="*/ 40 w 538"/>
                <a:gd name="T95" fmla="*/ 83 h 212"/>
                <a:gd name="T96" fmla="*/ 57 w 538"/>
                <a:gd name="T97" fmla="*/ 92 h 212"/>
                <a:gd name="T98" fmla="*/ 74 w 538"/>
                <a:gd name="T99" fmla="*/ 106 h 212"/>
                <a:gd name="T100" fmla="*/ 80 w 538"/>
                <a:gd name="T101" fmla="*/ 122 h 212"/>
                <a:gd name="T102" fmla="*/ 89 w 538"/>
                <a:gd name="T103" fmla="*/ 137 h 212"/>
                <a:gd name="T104" fmla="*/ 125 w 538"/>
                <a:gd name="T105" fmla="*/ 142 h 212"/>
                <a:gd name="T106" fmla="*/ 138 w 538"/>
                <a:gd name="T107" fmla="*/ 147 h 212"/>
                <a:gd name="T108" fmla="*/ 156 w 538"/>
                <a:gd name="T109" fmla="*/ 155 h 212"/>
                <a:gd name="T110" fmla="*/ 167 w 538"/>
                <a:gd name="T111" fmla="*/ 158 h 212"/>
                <a:gd name="T112" fmla="*/ 187 w 538"/>
                <a:gd name="T113" fmla="*/ 178 h 2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38" h="212">
                  <a:moveTo>
                    <a:pt x="201" y="186"/>
                  </a:moveTo>
                  <a:lnTo>
                    <a:pt x="202" y="189"/>
                  </a:lnTo>
                  <a:lnTo>
                    <a:pt x="212" y="189"/>
                  </a:lnTo>
                  <a:lnTo>
                    <a:pt x="216" y="189"/>
                  </a:lnTo>
                  <a:lnTo>
                    <a:pt x="216" y="187"/>
                  </a:lnTo>
                  <a:lnTo>
                    <a:pt x="225" y="189"/>
                  </a:lnTo>
                  <a:lnTo>
                    <a:pt x="248" y="191"/>
                  </a:lnTo>
                  <a:lnTo>
                    <a:pt x="257" y="189"/>
                  </a:lnTo>
                  <a:lnTo>
                    <a:pt x="289" y="192"/>
                  </a:lnTo>
                  <a:lnTo>
                    <a:pt x="295" y="198"/>
                  </a:lnTo>
                  <a:lnTo>
                    <a:pt x="305" y="200"/>
                  </a:lnTo>
                  <a:lnTo>
                    <a:pt x="312" y="202"/>
                  </a:lnTo>
                  <a:lnTo>
                    <a:pt x="319" y="204"/>
                  </a:lnTo>
                  <a:lnTo>
                    <a:pt x="329" y="206"/>
                  </a:lnTo>
                  <a:lnTo>
                    <a:pt x="332" y="206"/>
                  </a:lnTo>
                  <a:lnTo>
                    <a:pt x="341" y="205"/>
                  </a:lnTo>
                  <a:lnTo>
                    <a:pt x="342" y="209"/>
                  </a:lnTo>
                  <a:lnTo>
                    <a:pt x="349" y="212"/>
                  </a:lnTo>
                  <a:lnTo>
                    <a:pt x="352" y="207"/>
                  </a:lnTo>
                  <a:lnTo>
                    <a:pt x="358" y="204"/>
                  </a:lnTo>
                  <a:lnTo>
                    <a:pt x="361" y="202"/>
                  </a:lnTo>
                  <a:lnTo>
                    <a:pt x="365" y="200"/>
                  </a:lnTo>
                  <a:lnTo>
                    <a:pt x="374" y="197"/>
                  </a:lnTo>
                  <a:lnTo>
                    <a:pt x="381" y="195"/>
                  </a:lnTo>
                  <a:lnTo>
                    <a:pt x="381" y="193"/>
                  </a:lnTo>
                  <a:lnTo>
                    <a:pt x="383" y="192"/>
                  </a:lnTo>
                  <a:lnTo>
                    <a:pt x="383" y="193"/>
                  </a:lnTo>
                  <a:lnTo>
                    <a:pt x="388" y="193"/>
                  </a:lnTo>
                  <a:lnTo>
                    <a:pt x="396" y="192"/>
                  </a:lnTo>
                  <a:lnTo>
                    <a:pt x="397" y="193"/>
                  </a:lnTo>
                  <a:lnTo>
                    <a:pt x="402" y="193"/>
                  </a:lnTo>
                  <a:lnTo>
                    <a:pt x="406" y="193"/>
                  </a:lnTo>
                  <a:lnTo>
                    <a:pt x="408" y="193"/>
                  </a:lnTo>
                  <a:lnTo>
                    <a:pt x="414" y="193"/>
                  </a:lnTo>
                  <a:lnTo>
                    <a:pt x="417" y="193"/>
                  </a:lnTo>
                  <a:lnTo>
                    <a:pt x="416" y="192"/>
                  </a:lnTo>
                  <a:lnTo>
                    <a:pt x="418" y="191"/>
                  </a:lnTo>
                  <a:lnTo>
                    <a:pt x="422" y="189"/>
                  </a:lnTo>
                  <a:lnTo>
                    <a:pt x="425" y="189"/>
                  </a:lnTo>
                  <a:lnTo>
                    <a:pt x="428" y="186"/>
                  </a:lnTo>
                  <a:lnTo>
                    <a:pt x="428" y="185"/>
                  </a:lnTo>
                  <a:lnTo>
                    <a:pt x="429" y="183"/>
                  </a:lnTo>
                  <a:lnTo>
                    <a:pt x="432" y="172"/>
                  </a:lnTo>
                  <a:lnTo>
                    <a:pt x="442" y="165"/>
                  </a:lnTo>
                  <a:lnTo>
                    <a:pt x="441" y="163"/>
                  </a:lnTo>
                  <a:lnTo>
                    <a:pt x="425" y="153"/>
                  </a:lnTo>
                  <a:lnTo>
                    <a:pt x="425" y="151"/>
                  </a:lnTo>
                  <a:lnTo>
                    <a:pt x="426" y="142"/>
                  </a:lnTo>
                  <a:lnTo>
                    <a:pt x="429" y="139"/>
                  </a:lnTo>
                  <a:lnTo>
                    <a:pt x="436" y="139"/>
                  </a:lnTo>
                  <a:lnTo>
                    <a:pt x="446" y="145"/>
                  </a:lnTo>
                  <a:lnTo>
                    <a:pt x="448" y="145"/>
                  </a:lnTo>
                  <a:lnTo>
                    <a:pt x="450" y="145"/>
                  </a:lnTo>
                  <a:lnTo>
                    <a:pt x="452" y="145"/>
                  </a:lnTo>
                  <a:lnTo>
                    <a:pt x="456" y="145"/>
                  </a:lnTo>
                  <a:lnTo>
                    <a:pt x="459" y="146"/>
                  </a:lnTo>
                  <a:lnTo>
                    <a:pt x="461" y="143"/>
                  </a:lnTo>
                  <a:lnTo>
                    <a:pt x="462" y="143"/>
                  </a:lnTo>
                  <a:lnTo>
                    <a:pt x="464" y="143"/>
                  </a:lnTo>
                  <a:lnTo>
                    <a:pt x="466" y="139"/>
                  </a:lnTo>
                  <a:lnTo>
                    <a:pt x="468" y="138"/>
                  </a:lnTo>
                  <a:lnTo>
                    <a:pt x="468" y="133"/>
                  </a:lnTo>
                  <a:lnTo>
                    <a:pt x="470" y="132"/>
                  </a:lnTo>
                  <a:lnTo>
                    <a:pt x="474" y="133"/>
                  </a:lnTo>
                  <a:lnTo>
                    <a:pt x="477" y="133"/>
                  </a:lnTo>
                  <a:lnTo>
                    <a:pt x="485" y="132"/>
                  </a:lnTo>
                  <a:lnTo>
                    <a:pt x="486" y="130"/>
                  </a:lnTo>
                  <a:lnTo>
                    <a:pt x="488" y="127"/>
                  </a:lnTo>
                  <a:lnTo>
                    <a:pt x="490" y="127"/>
                  </a:lnTo>
                  <a:lnTo>
                    <a:pt x="491" y="125"/>
                  </a:lnTo>
                  <a:lnTo>
                    <a:pt x="488" y="123"/>
                  </a:lnTo>
                  <a:lnTo>
                    <a:pt x="489" y="122"/>
                  </a:lnTo>
                  <a:lnTo>
                    <a:pt x="489" y="119"/>
                  </a:lnTo>
                  <a:lnTo>
                    <a:pt x="490" y="117"/>
                  </a:lnTo>
                  <a:lnTo>
                    <a:pt x="492" y="115"/>
                  </a:lnTo>
                  <a:lnTo>
                    <a:pt x="492" y="113"/>
                  </a:lnTo>
                  <a:lnTo>
                    <a:pt x="497" y="113"/>
                  </a:lnTo>
                  <a:lnTo>
                    <a:pt x="499" y="111"/>
                  </a:lnTo>
                  <a:lnTo>
                    <a:pt x="499" y="109"/>
                  </a:lnTo>
                  <a:lnTo>
                    <a:pt x="503" y="109"/>
                  </a:lnTo>
                  <a:lnTo>
                    <a:pt x="504" y="111"/>
                  </a:lnTo>
                  <a:lnTo>
                    <a:pt x="506" y="110"/>
                  </a:lnTo>
                  <a:lnTo>
                    <a:pt x="508" y="110"/>
                  </a:lnTo>
                  <a:lnTo>
                    <a:pt x="509" y="108"/>
                  </a:lnTo>
                  <a:lnTo>
                    <a:pt x="510" y="108"/>
                  </a:lnTo>
                  <a:lnTo>
                    <a:pt x="511" y="105"/>
                  </a:lnTo>
                  <a:lnTo>
                    <a:pt x="515" y="106"/>
                  </a:lnTo>
                  <a:lnTo>
                    <a:pt x="518" y="106"/>
                  </a:lnTo>
                  <a:lnTo>
                    <a:pt x="522" y="105"/>
                  </a:lnTo>
                  <a:lnTo>
                    <a:pt x="528" y="108"/>
                  </a:lnTo>
                  <a:lnTo>
                    <a:pt x="530" y="109"/>
                  </a:lnTo>
                  <a:lnTo>
                    <a:pt x="534" y="109"/>
                  </a:lnTo>
                  <a:lnTo>
                    <a:pt x="538" y="108"/>
                  </a:lnTo>
                  <a:lnTo>
                    <a:pt x="537" y="105"/>
                  </a:lnTo>
                  <a:lnTo>
                    <a:pt x="536" y="103"/>
                  </a:lnTo>
                  <a:lnTo>
                    <a:pt x="532" y="100"/>
                  </a:lnTo>
                  <a:lnTo>
                    <a:pt x="531" y="98"/>
                  </a:lnTo>
                  <a:lnTo>
                    <a:pt x="526" y="96"/>
                  </a:lnTo>
                  <a:lnTo>
                    <a:pt x="524" y="96"/>
                  </a:lnTo>
                  <a:lnTo>
                    <a:pt x="521" y="92"/>
                  </a:lnTo>
                  <a:lnTo>
                    <a:pt x="519" y="91"/>
                  </a:lnTo>
                  <a:lnTo>
                    <a:pt x="516" y="90"/>
                  </a:lnTo>
                  <a:lnTo>
                    <a:pt x="512" y="86"/>
                  </a:lnTo>
                  <a:lnTo>
                    <a:pt x="506" y="84"/>
                  </a:lnTo>
                  <a:lnTo>
                    <a:pt x="499" y="82"/>
                  </a:lnTo>
                  <a:lnTo>
                    <a:pt x="498" y="80"/>
                  </a:lnTo>
                  <a:lnTo>
                    <a:pt x="497" y="82"/>
                  </a:lnTo>
                  <a:lnTo>
                    <a:pt x="492" y="82"/>
                  </a:lnTo>
                  <a:lnTo>
                    <a:pt x="490" y="82"/>
                  </a:lnTo>
                  <a:lnTo>
                    <a:pt x="489" y="80"/>
                  </a:lnTo>
                  <a:lnTo>
                    <a:pt x="486" y="88"/>
                  </a:lnTo>
                  <a:lnTo>
                    <a:pt x="475" y="83"/>
                  </a:lnTo>
                  <a:lnTo>
                    <a:pt x="466" y="84"/>
                  </a:lnTo>
                  <a:lnTo>
                    <a:pt x="464" y="85"/>
                  </a:lnTo>
                  <a:lnTo>
                    <a:pt x="464" y="88"/>
                  </a:lnTo>
                  <a:lnTo>
                    <a:pt x="454" y="83"/>
                  </a:lnTo>
                  <a:lnTo>
                    <a:pt x="449" y="77"/>
                  </a:lnTo>
                  <a:lnTo>
                    <a:pt x="455" y="76"/>
                  </a:lnTo>
                  <a:lnTo>
                    <a:pt x="451" y="70"/>
                  </a:lnTo>
                  <a:lnTo>
                    <a:pt x="452" y="65"/>
                  </a:lnTo>
                  <a:lnTo>
                    <a:pt x="450" y="63"/>
                  </a:lnTo>
                  <a:lnTo>
                    <a:pt x="450" y="45"/>
                  </a:lnTo>
                  <a:lnTo>
                    <a:pt x="438" y="40"/>
                  </a:lnTo>
                  <a:lnTo>
                    <a:pt x="434" y="43"/>
                  </a:lnTo>
                  <a:lnTo>
                    <a:pt x="414" y="39"/>
                  </a:lnTo>
                  <a:lnTo>
                    <a:pt x="396" y="40"/>
                  </a:lnTo>
                  <a:lnTo>
                    <a:pt x="371" y="53"/>
                  </a:lnTo>
                  <a:lnTo>
                    <a:pt x="356" y="56"/>
                  </a:lnTo>
                  <a:lnTo>
                    <a:pt x="348" y="58"/>
                  </a:lnTo>
                  <a:lnTo>
                    <a:pt x="335" y="53"/>
                  </a:lnTo>
                  <a:lnTo>
                    <a:pt x="312" y="48"/>
                  </a:lnTo>
                  <a:lnTo>
                    <a:pt x="295" y="44"/>
                  </a:lnTo>
                  <a:lnTo>
                    <a:pt x="283" y="35"/>
                  </a:lnTo>
                  <a:lnTo>
                    <a:pt x="262" y="31"/>
                  </a:lnTo>
                  <a:lnTo>
                    <a:pt x="252" y="30"/>
                  </a:lnTo>
                  <a:lnTo>
                    <a:pt x="239" y="30"/>
                  </a:lnTo>
                  <a:lnTo>
                    <a:pt x="232" y="35"/>
                  </a:lnTo>
                  <a:lnTo>
                    <a:pt x="224" y="31"/>
                  </a:lnTo>
                  <a:lnTo>
                    <a:pt x="212" y="30"/>
                  </a:lnTo>
                  <a:lnTo>
                    <a:pt x="209" y="24"/>
                  </a:lnTo>
                  <a:lnTo>
                    <a:pt x="205" y="20"/>
                  </a:lnTo>
                  <a:lnTo>
                    <a:pt x="203" y="15"/>
                  </a:lnTo>
                  <a:lnTo>
                    <a:pt x="191" y="11"/>
                  </a:lnTo>
                  <a:lnTo>
                    <a:pt x="176" y="8"/>
                  </a:lnTo>
                  <a:lnTo>
                    <a:pt x="163" y="6"/>
                  </a:lnTo>
                  <a:lnTo>
                    <a:pt x="148" y="9"/>
                  </a:lnTo>
                  <a:lnTo>
                    <a:pt x="142" y="5"/>
                  </a:lnTo>
                  <a:lnTo>
                    <a:pt x="136" y="0"/>
                  </a:lnTo>
                  <a:lnTo>
                    <a:pt x="137" y="9"/>
                  </a:lnTo>
                  <a:lnTo>
                    <a:pt x="138" y="20"/>
                  </a:lnTo>
                  <a:lnTo>
                    <a:pt x="147" y="24"/>
                  </a:lnTo>
                  <a:lnTo>
                    <a:pt x="145" y="32"/>
                  </a:lnTo>
                  <a:lnTo>
                    <a:pt x="151" y="36"/>
                  </a:lnTo>
                  <a:lnTo>
                    <a:pt x="149" y="40"/>
                  </a:lnTo>
                  <a:lnTo>
                    <a:pt x="144" y="45"/>
                  </a:lnTo>
                  <a:lnTo>
                    <a:pt x="138" y="42"/>
                  </a:lnTo>
                  <a:lnTo>
                    <a:pt x="129" y="42"/>
                  </a:lnTo>
                  <a:lnTo>
                    <a:pt x="115" y="43"/>
                  </a:lnTo>
                  <a:lnTo>
                    <a:pt x="107" y="43"/>
                  </a:lnTo>
                  <a:lnTo>
                    <a:pt x="92" y="37"/>
                  </a:lnTo>
                  <a:lnTo>
                    <a:pt x="80" y="36"/>
                  </a:lnTo>
                  <a:lnTo>
                    <a:pt x="75" y="31"/>
                  </a:lnTo>
                  <a:lnTo>
                    <a:pt x="58" y="31"/>
                  </a:lnTo>
                  <a:lnTo>
                    <a:pt x="49" y="32"/>
                  </a:lnTo>
                  <a:lnTo>
                    <a:pt x="42" y="29"/>
                  </a:lnTo>
                  <a:lnTo>
                    <a:pt x="37" y="32"/>
                  </a:lnTo>
                  <a:lnTo>
                    <a:pt x="30" y="37"/>
                  </a:lnTo>
                  <a:lnTo>
                    <a:pt x="22" y="43"/>
                  </a:lnTo>
                  <a:lnTo>
                    <a:pt x="21" y="49"/>
                  </a:lnTo>
                  <a:lnTo>
                    <a:pt x="9" y="50"/>
                  </a:lnTo>
                  <a:lnTo>
                    <a:pt x="1" y="51"/>
                  </a:lnTo>
                  <a:lnTo>
                    <a:pt x="0" y="59"/>
                  </a:lnTo>
                  <a:lnTo>
                    <a:pt x="4" y="65"/>
                  </a:lnTo>
                  <a:lnTo>
                    <a:pt x="5" y="66"/>
                  </a:lnTo>
                  <a:lnTo>
                    <a:pt x="9" y="68"/>
                  </a:lnTo>
                  <a:lnTo>
                    <a:pt x="8" y="71"/>
                  </a:lnTo>
                  <a:lnTo>
                    <a:pt x="10" y="71"/>
                  </a:lnTo>
                  <a:lnTo>
                    <a:pt x="12" y="72"/>
                  </a:lnTo>
                  <a:lnTo>
                    <a:pt x="15" y="71"/>
                  </a:lnTo>
                  <a:lnTo>
                    <a:pt x="15" y="73"/>
                  </a:lnTo>
                  <a:lnTo>
                    <a:pt x="17" y="75"/>
                  </a:lnTo>
                  <a:lnTo>
                    <a:pt x="17" y="73"/>
                  </a:lnTo>
                  <a:lnTo>
                    <a:pt x="21" y="75"/>
                  </a:lnTo>
                  <a:lnTo>
                    <a:pt x="20" y="76"/>
                  </a:lnTo>
                  <a:lnTo>
                    <a:pt x="24" y="78"/>
                  </a:lnTo>
                  <a:lnTo>
                    <a:pt x="25" y="79"/>
                  </a:lnTo>
                  <a:lnTo>
                    <a:pt x="29" y="83"/>
                  </a:lnTo>
                  <a:lnTo>
                    <a:pt x="34" y="82"/>
                  </a:lnTo>
                  <a:lnTo>
                    <a:pt x="34" y="80"/>
                  </a:lnTo>
                  <a:lnTo>
                    <a:pt x="35" y="80"/>
                  </a:lnTo>
                  <a:lnTo>
                    <a:pt x="38" y="80"/>
                  </a:lnTo>
                  <a:lnTo>
                    <a:pt x="40" y="83"/>
                  </a:lnTo>
                  <a:lnTo>
                    <a:pt x="43" y="84"/>
                  </a:lnTo>
                  <a:lnTo>
                    <a:pt x="48" y="84"/>
                  </a:lnTo>
                  <a:lnTo>
                    <a:pt x="55" y="89"/>
                  </a:lnTo>
                  <a:lnTo>
                    <a:pt x="57" y="92"/>
                  </a:lnTo>
                  <a:lnTo>
                    <a:pt x="58" y="92"/>
                  </a:lnTo>
                  <a:lnTo>
                    <a:pt x="61" y="97"/>
                  </a:lnTo>
                  <a:lnTo>
                    <a:pt x="71" y="105"/>
                  </a:lnTo>
                  <a:lnTo>
                    <a:pt x="74" y="106"/>
                  </a:lnTo>
                  <a:lnTo>
                    <a:pt x="75" y="109"/>
                  </a:lnTo>
                  <a:lnTo>
                    <a:pt x="75" y="112"/>
                  </a:lnTo>
                  <a:lnTo>
                    <a:pt x="75" y="115"/>
                  </a:lnTo>
                  <a:lnTo>
                    <a:pt x="80" y="122"/>
                  </a:lnTo>
                  <a:lnTo>
                    <a:pt x="77" y="130"/>
                  </a:lnTo>
                  <a:lnTo>
                    <a:pt x="82" y="135"/>
                  </a:lnTo>
                  <a:lnTo>
                    <a:pt x="84" y="137"/>
                  </a:lnTo>
                  <a:lnTo>
                    <a:pt x="89" y="137"/>
                  </a:lnTo>
                  <a:lnTo>
                    <a:pt x="95" y="139"/>
                  </a:lnTo>
                  <a:lnTo>
                    <a:pt x="98" y="139"/>
                  </a:lnTo>
                  <a:lnTo>
                    <a:pt x="124" y="142"/>
                  </a:lnTo>
                  <a:lnTo>
                    <a:pt x="125" y="142"/>
                  </a:lnTo>
                  <a:lnTo>
                    <a:pt x="127" y="142"/>
                  </a:lnTo>
                  <a:lnTo>
                    <a:pt x="131" y="143"/>
                  </a:lnTo>
                  <a:lnTo>
                    <a:pt x="135" y="144"/>
                  </a:lnTo>
                  <a:lnTo>
                    <a:pt x="138" y="147"/>
                  </a:lnTo>
                  <a:lnTo>
                    <a:pt x="143" y="147"/>
                  </a:lnTo>
                  <a:lnTo>
                    <a:pt x="152" y="152"/>
                  </a:lnTo>
                  <a:lnTo>
                    <a:pt x="155" y="155"/>
                  </a:lnTo>
                  <a:lnTo>
                    <a:pt x="156" y="155"/>
                  </a:lnTo>
                  <a:lnTo>
                    <a:pt x="157" y="155"/>
                  </a:lnTo>
                  <a:lnTo>
                    <a:pt x="162" y="156"/>
                  </a:lnTo>
                  <a:lnTo>
                    <a:pt x="168" y="156"/>
                  </a:lnTo>
                  <a:lnTo>
                    <a:pt x="167" y="158"/>
                  </a:lnTo>
                  <a:lnTo>
                    <a:pt x="169" y="162"/>
                  </a:lnTo>
                  <a:lnTo>
                    <a:pt x="172" y="163"/>
                  </a:lnTo>
                  <a:lnTo>
                    <a:pt x="184" y="176"/>
                  </a:lnTo>
                  <a:lnTo>
                    <a:pt x="187" y="178"/>
                  </a:lnTo>
                  <a:lnTo>
                    <a:pt x="196" y="185"/>
                  </a:lnTo>
                  <a:lnTo>
                    <a:pt x="201" y="186"/>
                  </a:lnTo>
                  <a:lnTo>
                    <a:pt x="201" y="186"/>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290" name="Monaco">
              <a:extLst>
                <a:ext uri="{FF2B5EF4-FFF2-40B4-BE49-F238E27FC236}">
                  <a16:creationId xmlns:a16="http://schemas.microsoft.com/office/drawing/2014/main" id="{A20FEF8F-F231-554C-BF19-261CE30CEA4C}"/>
                </a:ext>
              </a:extLst>
            </p:cNvPr>
            <p:cNvSpPr>
              <a:spLocks/>
            </p:cNvSpPr>
            <p:nvPr/>
          </p:nvSpPr>
          <p:spPr bwMode="auto">
            <a:xfrm>
              <a:off x="6541658" y="2677294"/>
              <a:ext cx="2915" cy="1458"/>
            </a:xfrm>
            <a:custGeom>
              <a:avLst/>
              <a:gdLst>
                <a:gd name="T0" fmla="*/ 1 w 2"/>
                <a:gd name="T1" fmla="*/ 0 h 1"/>
                <a:gd name="T2" fmla="*/ 1 w 2"/>
                <a:gd name="T3" fmla="*/ 1 h 1"/>
                <a:gd name="T4" fmla="*/ 1 w 2"/>
                <a:gd name="T5" fmla="*/ 1 h 1"/>
                <a:gd name="T6" fmla="*/ 0 w 2"/>
                <a:gd name="T7" fmla="*/ 1 h 1"/>
                <a:gd name="T8" fmla="*/ 0 w 2"/>
                <a:gd name="T9" fmla="*/ 1 h 1"/>
                <a:gd name="T10" fmla="*/ 0 w 2"/>
                <a:gd name="T11" fmla="*/ 1 h 1"/>
                <a:gd name="T12" fmla="*/ 0 w 2"/>
                <a:gd name="T13" fmla="*/ 0 h 1"/>
                <a:gd name="T14" fmla="*/ 0 w 2"/>
                <a:gd name="T15" fmla="*/ 0 h 1"/>
                <a:gd name="T16" fmla="*/ 1 w 2"/>
                <a:gd name="T17" fmla="*/ 0 h 1"/>
                <a:gd name="T18" fmla="*/ 1 w 2"/>
                <a:gd name="T19" fmla="*/ 0 h 1"/>
                <a:gd name="T20" fmla="*/ 1 w 2"/>
                <a:gd name="T21" fmla="*/ 0 h 1"/>
                <a:gd name="T22" fmla="*/ 1 w 2"/>
                <a:gd name="T23" fmla="*/ 0 h 1"/>
                <a:gd name="T24" fmla="*/ 1 w 2"/>
                <a:gd name="T25" fmla="*/ 0 h 1"/>
                <a:gd name="T26" fmla="*/ 1 w 2"/>
                <a:gd name="T27" fmla="*/ 0 h 1"/>
                <a:gd name="T28" fmla="*/ 1 w 2"/>
                <a:gd name="T29" fmla="*/ 0 h 1"/>
                <a:gd name="T30" fmla="*/ 1 w 2"/>
                <a:gd name="T31" fmla="*/ 0 h 1"/>
                <a:gd name="T32" fmla="*/ 1 w 2"/>
                <a:gd name="T33" fmla="*/ 0 h 1"/>
                <a:gd name="T34" fmla="*/ 2 w 2"/>
                <a:gd name="T35" fmla="*/ 0 h 1"/>
                <a:gd name="T36" fmla="*/ 2 w 2"/>
                <a:gd name="T37" fmla="*/ 0 h 1"/>
                <a:gd name="T38" fmla="*/ 2 w 2"/>
                <a:gd name="T39" fmla="*/ 0 h 1"/>
                <a:gd name="T40" fmla="*/ 2 w 2"/>
                <a:gd name="T41" fmla="*/ 0 h 1"/>
                <a:gd name="T42" fmla="*/ 2 w 2"/>
                <a:gd name="T43" fmla="*/ 0 h 1"/>
                <a:gd name="T44" fmla="*/ 2 w 2"/>
                <a:gd name="T45" fmla="*/ 0 h 1"/>
                <a:gd name="T46" fmla="*/ 2 w 2"/>
                <a:gd name="T47" fmla="*/ 0 h 1"/>
                <a:gd name="T48" fmla="*/ 1 w 2"/>
                <a:gd name="T49" fmla="*/ 0 h 1"/>
                <a:gd name="T50" fmla="*/ 1 w 2"/>
                <a:gd name="T51" fmla="*/ 0 h 1"/>
                <a:gd name="T52" fmla="*/ 1 w 2"/>
                <a:gd name="T53" fmla="*/ 0 h 1"/>
                <a:gd name="T54" fmla="*/ 1 w 2"/>
                <a:gd name="T55" fmla="*/ 0 h 1"/>
                <a:gd name="T56" fmla="*/ 1 w 2"/>
                <a:gd name="T57" fmla="*/ 0 h 1"/>
                <a:gd name="T58" fmla="*/ 1 w 2"/>
                <a:gd name="T59" fmla="*/ 0 h 1"/>
                <a:gd name="T60" fmla="*/ 1 w 2"/>
                <a:gd name="T61" fmla="*/ 1 h 1"/>
                <a:gd name="T62" fmla="*/ 1 w 2"/>
                <a:gd name="T63" fmla="*/ 1 h 1"/>
                <a:gd name="T64" fmla="*/ 1 w 2"/>
                <a:gd name="T65" fmla="*/ 0 h 1"/>
                <a:gd name="T66" fmla="*/ 1 w 2"/>
                <a:gd name="T67" fmla="*/ 0 h 1"/>
                <a:gd name="T68" fmla="*/ 1 w 2"/>
                <a:gd name="T69" fmla="*/ 0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 h="1">
                  <a:moveTo>
                    <a:pt x="1" y="0"/>
                  </a:moveTo>
                  <a:lnTo>
                    <a:pt x="1" y="1"/>
                  </a:lnTo>
                  <a:lnTo>
                    <a:pt x="1" y="1"/>
                  </a:lnTo>
                  <a:lnTo>
                    <a:pt x="0" y="1"/>
                  </a:lnTo>
                  <a:lnTo>
                    <a:pt x="0" y="1"/>
                  </a:lnTo>
                  <a:lnTo>
                    <a:pt x="0" y="1"/>
                  </a:lnTo>
                  <a:lnTo>
                    <a:pt x="0" y="0"/>
                  </a:lnTo>
                  <a:lnTo>
                    <a:pt x="0" y="0"/>
                  </a:lnTo>
                  <a:lnTo>
                    <a:pt x="1" y="0"/>
                  </a:lnTo>
                  <a:lnTo>
                    <a:pt x="1" y="0"/>
                  </a:lnTo>
                  <a:lnTo>
                    <a:pt x="1" y="0"/>
                  </a:lnTo>
                  <a:lnTo>
                    <a:pt x="1" y="0"/>
                  </a:lnTo>
                  <a:lnTo>
                    <a:pt x="1" y="0"/>
                  </a:lnTo>
                  <a:lnTo>
                    <a:pt x="1" y="0"/>
                  </a:lnTo>
                  <a:lnTo>
                    <a:pt x="1" y="0"/>
                  </a:lnTo>
                  <a:lnTo>
                    <a:pt x="1" y="0"/>
                  </a:lnTo>
                  <a:lnTo>
                    <a:pt x="1" y="0"/>
                  </a:lnTo>
                  <a:lnTo>
                    <a:pt x="2" y="0"/>
                  </a:lnTo>
                  <a:lnTo>
                    <a:pt x="2" y="0"/>
                  </a:lnTo>
                  <a:lnTo>
                    <a:pt x="2" y="0"/>
                  </a:lnTo>
                  <a:lnTo>
                    <a:pt x="2" y="0"/>
                  </a:lnTo>
                  <a:lnTo>
                    <a:pt x="2" y="0"/>
                  </a:lnTo>
                  <a:lnTo>
                    <a:pt x="2" y="0"/>
                  </a:lnTo>
                  <a:lnTo>
                    <a:pt x="2" y="0"/>
                  </a:lnTo>
                  <a:lnTo>
                    <a:pt x="1" y="0"/>
                  </a:lnTo>
                  <a:lnTo>
                    <a:pt x="1" y="0"/>
                  </a:lnTo>
                  <a:lnTo>
                    <a:pt x="1" y="0"/>
                  </a:lnTo>
                  <a:lnTo>
                    <a:pt x="1" y="0"/>
                  </a:lnTo>
                  <a:lnTo>
                    <a:pt x="1" y="0"/>
                  </a:lnTo>
                  <a:lnTo>
                    <a:pt x="1" y="0"/>
                  </a:lnTo>
                  <a:lnTo>
                    <a:pt x="1" y="1"/>
                  </a:lnTo>
                  <a:lnTo>
                    <a:pt x="1" y="1"/>
                  </a:lnTo>
                  <a:lnTo>
                    <a:pt x="1" y="0"/>
                  </a:lnTo>
                  <a:lnTo>
                    <a:pt x="1" y="0"/>
                  </a:lnTo>
                  <a:lnTo>
                    <a:pt x="1" y="0"/>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291" name="Republic of Mauritius">
              <a:extLst>
                <a:ext uri="{FF2B5EF4-FFF2-40B4-BE49-F238E27FC236}">
                  <a16:creationId xmlns:a16="http://schemas.microsoft.com/office/drawing/2014/main" id="{BC94552E-6D6E-974E-9368-12770D26BB2B}"/>
                </a:ext>
              </a:extLst>
            </p:cNvPr>
            <p:cNvSpPr>
              <a:spLocks/>
            </p:cNvSpPr>
            <p:nvPr/>
          </p:nvSpPr>
          <p:spPr bwMode="auto">
            <a:xfrm>
              <a:off x="7852354" y="4584290"/>
              <a:ext cx="13121" cy="16038"/>
            </a:xfrm>
            <a:custGeom>
              <a:avLst/>
              <a:gdLst>
                <a:gd name="T0" fmla="*/ 2 w 9"/>
                <a:gd name="T1" fmla="*/ 11 h 11"/>
                <a:gd name="T2" fmla="*/ 0 w 9"/>
                <a:gd name="T3" fmla="*/ 9 h 11"/>
                <a:gd name="T4" fmla="*/ 2 w 9"/>
                <a:gd name="T5" fmla="*/ 8 h 11"/>
                <a:gd name="T6" fmla="*/ 2 w 9"/>
                <a:gd name="T7" fmla="*/ 7 h 11"/>
                <a:gd name="T8" fmla="*/ 2 w 9"/>
                <a:gd name="T9" fmla="*/ 4 h 11"/>
                <a:gd name="T10" fmla="*/ 4 w 9"/>
                <a:gd name="T11" fmla="*/ 4 h 11"/>
                <a:gd name="T12" fmla="*/ 4 w 9"/>
                <a:gd name="T13" fmla="*/ 1 h 11"/>
                <a:gd name="T14" fmla="*/ 5 w 9"/>
                <a:gd name="T15" fmla="*/ 0 h 11"/>
                <a:gd name="T16" fmla="*/ 6 w 9"/>
                <a:gd name="T17" fmla="*/ 0 h 11"/>
                <a:gd name="T18" fmla="*/ 7 w 9"/>
                <a:gd name="T19" fmla="*/ 2 h 11"/>
                <a:gd name="T20" fmla="*/ 9 w 9"/>
                <a:gd name="T21" fmla="*/ 4 h 11"/>
                <a:gd name="T22" fmla="*/ 9 w 9"/>
                <a:gd name="T23" fmla="*/ 6 h 11"/>
                <a:gd name="T24" fmla="*/ 7 w 9"/>
                <a:gd name="T25" fmla="*/ 8 h 11"/>
                <a:gd name="T26" fmla="*/ 7 w 9"/>
                <a:gd name="T27" fmla="*/ 9 h 11"/>
                <a:gd name="T28" fmla="*/ 6 w 9"/>
                <a:gd name="T29" fmla="*/ 11 h 11"/>
                <a:gd name="T30" fmla="*/ 2 w 9"/>
                <a:gd name="T31" fmla="*/ 11 h 11"/>
                <a:gd name="T32" fmla="*/ 2 w 9"/>
                <a:gd name="T33"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9" h="11">
                  <a:moveTo>
                    <a:pt x="2" y="11"/>
                  </a:moveTo>
                  <a:lnTo>
                    <a:pt x="0" y="9"/>
                  </a:lnTo>
                  <a:lnTo>
                    <a:pt x="2" y="8"/>
                  </a:lnTo>
                  <a:lnTo>
                    <a:pt x="2" y="7"/>
                  </a:lnTo>
                  <a:lnTo>
                    <a:pt x="2" y="4"/>
                  </a:lnTo>
                  <a:lnTo>
                    <a:pt x="4" y="4"/>
                  </a:lnTo>
                  <a:lnTo>
                    <a:pt x="4" y="1"/>
                  </a:lnTo>
                  <a:lnTo>
                    <a:pt x="5" y="0"/>
                  </a:lnTo>
                  <a:lnTo>
                    <a:pt x="6" y="0"/>
                  </a:lnTo>
                  <a:lnTo>
                    <a:pt x="7" y="2"/>
                  </a:lnTo>
                  <a:lnTo>
                    <a:pt x="9" y="4"/>
                  </a:lnTo>
                  <a:lnTo>
                    <a:pt x="9" y="6"/>
                  </a:lnTo>
                  <a:lnTo>
                    <a:pt x="7" y="8"/>
                  </a:lnTo>
                  <a:lnTo>
                    <a:pt x="7" y="9"/>
                  </a:lnTo>
                  <a:lnTo>
                    <a:pt x="6" y="11"/>
                  </a:lnTo>
                  <a:lnTo>
                    <a:pt x="2" y="11"/>
                  </a:lnTo>
                  <a:lnTo>
                    <a:pt x="2" y="11"/>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292" name="Mauritania">
              <a:extLst>
                <a:ext uri="{FF2B5EF4-FFF2-40B4-BE49-F238E27FC236}">
                  <a16:creationId xmlns:a16="http://schemas.microsoft.com/office/drawing/2014/main" id="{2C3C55B7-4E2D-4B4E-ABAE-22C201D2BB9F}"/>
                </a:ext>
              </a:extLst>
            </p:cNvPr>
            <p:cNvSpPr>
              <a:spLocks/>
            </p:cNvSpPr>
            <p:nvPr/>
          </p:nvSpPr>
          <p:spPr bwMode="auto">
            <a:xfrm>
              <a:off x="5919114" y="3171538"/>
              <a:ext cx="320749" cy="373235"/>
            </a:xfrm>
            <a:custGeom>
              <a:avLst/>
              <a:gdLst>
                <a:gd name="T0" fmla="*/ 93 w 220"/>
                <a:gd name="T1" fmla="*/ 253 h 256"/>
                <a:gd name="T2" fmla="*/ 91 w 220"/>
                <a:gd name="T3" fmla="*/ 249 h 256"/>
                <a:gd name="T4" fmla="*/ 98 w 220"/>
                <a:gd name="T5" fmla="*/ 239 h 256"/>
                <a:gd name="T6" fmla="*/ 109 w 220"/>
                <a:gd name="T7" fmla="*/ 249 h 256"/>
                <a:gd name="T8" fmla="*/ 122 w 220"/>
                <a:gd name="T9" fmla="*/ 242 h 256"/>
                <a:gd name="T10" fmla="*/ 136 w 220"/>
                <a:gd name="T11" fmla="*/ 241 h 256"/>
                <a:gd name="T12" fmla="*/ 137 w 220"/>
                <a:gd name="T13" fmla="*/ 240 h 256"/>
                <a:gd name="T14" fmla="*/ 204 w 220"/>
                <a:gd name="T15" fmla="*/ 220 h 256"/>
                <a:gd name="T16" fmla="*/ 153 w 220"/>
                <a:gd name="T17" fmla="*/ 0 h 256"/>
                <a:gd name="T18" fmla="*/ 89 w 220"/>
                <a:gd name="T19" fmla="*/ 78 h 256"/>
                <a:gd name="T20" fmla="*/ 77 w 220"/>
                <a:gd name="T21" fmla="*/ 119 h 256"/>
                <a:gd name="T22" fmla="*/ 1 w 220"/>
                <a:gd name="T23" fmla="*/ 127 h 256"/>
                <a:gd name="T24" fmla="*/ 0 w 220"/>
                <a:gd name="T25" fmla="*/ 133 h 256"/>
                <a:gd name="T26" fmla="*/ 2 w 220"/>
                <a:gd name="T27" fmla="*/ 129 h 256"/>
                <a:gd name="T28" fmla="*/ 2 w 220"/>
                <a:gd name="T29" fmla="*/ 128 h 256"/>
                <a:gd name="T30" fmla="*/ 3 w 220"/>
                <a:gd name="T31" fmla="*/ 125 h 256"/>
                <a:gd name="T32" fmla="*/ 6 w 220"/>
                <a:gd name="T33" fmla="*/ 131 h 256"/>
                <a:gd name="T34" fmla="*/ 6 w 220"/>
                <a:gd name="T35" fmla="*/ 135 h 256"/>
                <a:gd name="T36" fmla="*/ 10 w 220"/>
                <a:gd name="T37" fmla="*/ 136 h 256"/>
                <a:gd name="T38" fmla="*/ 10 w 220"/>
                <a:gd name="T39" fmla="*/ 134 h 256"/>
                <a:gd name="T40" fmla="*/ 11 w 220"/>
                <a:gd name="T41" fmla="*/ 135 h 256"/>
                <a:gd name="T42" fmla="*/ 11 w 220"/>
                <a:gd name="T43" fmla="*/ 136 h 256"/>
                <a:gd name="T44" fmla="*/ 13 w 220"/>
                <a:gd name="T45" fmla="*/ 140 h 256"/>
                <a:gd name="T46" fmla="*/ 15 w 220"/>
                <a:gd name="T47" fmla="*/ 141 h 256"/>
                <a:gd name="T48" fmla="*/ 16 w 220"/>
                <a:gd name="T49" fmla="*/ 145 h 256"/>
                <a:gd name="T50" fmla="*/ 15 w 220"/>
                <a:gd name="T51" fmla="*/ 147 h 256"/>
                <a:gd name="T52" fmla="*/ 14 w 220"/>
                <a:gd name="T53" fmla="*/ 151 h 256"/>
                <a:gd name="T54" fmla="*/ 11 w 220"/>
                <a:gd name="T55" fmla="*/ 152 h 256"/>
                <a:gd name="T56" fmla="*/ 11 w 220"/>
                <a:gd name="T57" fmla="*/ 154 h 256"/>
                <a:gd name="T58" fmla="*/ 15 w 220"/>
                <a:gd name="T59" fmla="*/ 154 h 256"/>
                <a:gd name="T60" fmla="*/ 11 w 220"/>
                <a:gd name="T61" fmla="*/ 159 h 256"/>
                <a:gd name="T62" fmla="*/ 11 w 220"/>
                <a:gd name="T63" fmla="*/ 160 h 256"/>
                <a:gd name="T64" fmla="*/ 13 w 220"/>
                <a:gd name="T65" fmla="*/ 158 h 256"/>
                <a:gd name="T66" fmla="*/ 14 w 220"/>
                <a:gd name="T67" fmla="*/ 159 h 256"/>
                <a:gd name="T68" fmla="*/ 11 w 220"/>
                <a:gd name="T69" fmla="*/ 161 h 256"/>
                <a:gd name="T70" fmla="*/ 10 w 220"/>
                <a:gd name="T71" fmla="*/ 163 h 256"/>
                <a:gd name="T72" fmla="*/ 14 w 220"/>
                <a:gd name="T73" fmla="*/ 169 h 256"/>
                <a:gd name="T74" fmla="*/ 16 w 220"/>
                <a:gd name="T75" fmla="*/ 176 h 256"/>
                <a:gd name="T76" fmla="*/ 17 w 220"/>
                <a:gd name="T77" fmla="*/ 182 h 256"/>
                <a:gd name="T78" fmla="*/ 15 w 220"/>
                <a:gd name="T79" fmla="*/ 187 h 256"/>
                <a:gd name="T80" fmla="*/ 16 w 220"/>
                <a:gd name="T81" fmla="*/ 195 h 256"/>
                <a:gd name="T82" fmla="*/ 13 w 220"/>
                <a:gd name="T83" fmla="*/ 201 h 256"/>
                <a:gd name="T84" fmla="*/ 11 w 220"/>
                <a:gd name="T85" fmla="*/ 209 h 256"/>
                <a:gd name="T86" fmla="*/ 8 w 220"/>
                <a:gd name="T87" fmla="*/ 220 h 256"/>
                <a:gd name="T88" fmla="*/ 8 w 220"/>
                <a:gd name="T89" fmla="*/ 228 h 256"/>
                <a:gd name="T90" fmla="*/ 15 w 220"/>
                <a:gd name="T91" fmla="*/ 220 h 256"/>
                <a:gd name="T92" fmla="*/ 22 w 220"/>
                <a:gd name="T93" fmla="*/ 220 h 256"/>
                <a:gd name="T94" fmla="*/ 30 w 220"/>
                <a:gd name="T95" fmla="*/ 219 h 256"/>
                <a:gd name="T96" fmla="*/ 36 w 220"/>
                <a:gd name="T97" fmla="*/ 216 h 256"/>
                <a:gd name="T98" fmla="*/ 39 w 220"/>
                <a:gd name="T99" fmla="*/ 218 h 256"/>
                <a:gd name="T100" fmla="*/ 44 w 220"/>
                <a:gd name="T101" fmla="*/ 218 h 256"/>
                <a:gd name="T102" fmla="*/ 48 w 220"/>
                <a:gd name="T103" fmla="*/ 219 h 256"/>
                <a:gd name="T104" fmla="*/ 53 w 220"/>
                <a:gd name="T105" fmla="*/ 225 h 256"/>
                <a:gd name="T106" fmla="*/ 59 w 220"/>
                <a:gd name="T107" fmla="*/ 229 h 256"/>
                <a:gd name="T108" fmla="*/ 62 w 220"/>
                <a:gd name="T109" fmla="*/ 229 h 256"/>
                <a:gd name="T110" fmla="*/ 66 w 220"/>
                <a:gd name="T111" fmla="*/ 234 h 256"/>
                <a:gd name="T112" fmla="*/ 68 w 220"/>
                <a:gd name="T113" fmla="*/ 239 h 256"/>
                <a:gd name="T114" fmla="*/ 74 w 220"/>
                <a:gd name="T115" fmla="*/ 245 h 256"/>
                <a:gd name="T116" fmla="*/ 75 w 220"/>
                <a:gd name="T117" fmla="*/ 248 h 256"/>
                <a:gd name="T118" fmla="*/ 82 w 220"/>
                <a:gd name="T119" fmla="*/ 254 h 256"/>
                <a:gd name="T120" fmla="*/ 89 w 220"/>
                <a:gd name="T121" fmla="*/ 256 h 2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20" h="256">
                  <a:moveTo>
                    <a:pt x="89" y="255"/>
                  </a:moveTo>
                  <a:lnTo>
                    <a:pt x="90" y="255"/>
                  </a:lnTo>
                  <a:lnTo>
                    <a:pt x="93" y="253"/>
                  </a:lnTo>
                  <a:lnTo>
                    <a:pt x="93" y="250"/>
                  </a:lnTo>
                  <a:lnTo>
                    <a:pt x="91" y="250"/>
                  </a:lnTo>
                  <a:lnTo>
                    <a:pt x="91" y="249"/>
                  </a:lnTo>
                  <a:lnTo>
                    <a:pt x="95" y="240"/>
                  </a:lnTo>
                  <a:lnTo>
                    <a:pt x="96" y="240"/>
                  </a:lnTo>
                  <a:lnTo>
                    <a:pt x="98" y="239"/>
                  </a:lnTo>
                  <a:lnTo>
                    <a:pt x="98" y="238"/>
                  </a:lnTo>
                  <a:lnTo>
                    <a:pt x="100" y="238"/>
                  </a:lnTo>
                  <a:lnTo>
                    <a:pt x="109" y="249"/>
                  </a:lnTo>
                  <a:lnTo>
                    <a:pt x="113" y="242"/>
                  </a:lnTo>
                  <a:lnTo>
                    <a:pt x="117" y="241"/>
                  </a:lnTo>
                  <a:lnTo>
                    <a:pt x="122" y="242"/>
                  </a:lnTo>
                  <a:lnTo>
                    <a:pt x="123" y="243"/>
                  </a:lnTo>
                  <a:lnTo>
                    <a:pt x="129" y="243"/>
                  </a:lnTo>
                  <a:lnTo>
                    <a:pt x="136" y="241"/>
                  </a:lnTo>
                  <a:lnTo>
                    <a:pt x="135" y="239"/>
                  </a:lnTo>
                  <a:lnTo>
                    <a:pt x="137" y="236"/>
                  </a:lnTo>
                  <a:lnTo>
                    <a:pt x="137" y="240"/>
                  </a:lnTo>
                  <a:lnTo>
                    <a:pt x="207" y="240"/>
                  </a:lnTo>
                  <a:lnTo>
                    <a:pt x="209" y="223"/>
                  </a:lnTo>
                  <a:lnTo>
                    <a:pt x="204" y="220"/>
                  </a:lnTo>
                  <a:lnTo>
                    <a:pt x="188" y="46"/>
                  </a:lnTo>
                  <a:lnTo>
                    <a:pt x="220" y="46"/>
                  </a:lnTo>
                  <a:lnTo>
                    <a:pt x="153" y="0"/>
                  </a:lnTo>
                  <a:lnTo>
                    <a:pt x="153" y="25"/>
                  </a:lnTo>
                  <a:lnTo>
                    <a:pt x="94" y="25"/>
                  </a:lnTo>
                  <a:lnTo>
                    <a:pt x="89" y="78"/>
                  </a:lnTo>
                  <a:lnTo>
                    <a:pt x="82" y="81"/>
                  </a:lnTo>
                  <a:lnTo>
                    <a:pt x="73" y="89"/>
                  </a:lnTo>
                  <a:lnTo>
                    <a:pt x="77" y="119"/>
                  </a:lnTo>
                  <a:lnTo>
                    <a:pt x="3" y="120"/>
                  </a:lnTo>
                  <a:lnTo>
                    <a:pt x="2" y="125"/>
                  </a:lnTo>
                  <a:lnTo>
                    <a:pt x="1" y="127"/>
                  </a:lnTo>
                  <a:lnTo>
                    <a:pt x="1" y="128"/>
                  </a:lnTo>
                  <a:lnTo>
                    <a:pt x="1" y="129"/>
                  </a:lnTo>
                  <a:lnTo>
                    <a:pt x="0" y="133"/>
                  </a:lnTo>
                  <a:lnTo>
                    <a:pt x="2" y="131"/>
                  </a:lnTo>
                  <a:lnTo>
                    <a:pt x="1" y="129"/>
                  </a:lnTo>
                  <a:lnTo>
                    <a:pt x="2" y="129"/>
                  </a:lnTo>
                  <a:lnTo>
                    <a:pt x="2" y="128"/>
                  </a:lnTo>
                  <a:lnTo>
                    <a:pt x="2" y="128"/>
                  </a:lnTo>
                  <a:lnTo>
                    <a:pt x="2" y="128"/>
                  </a:lnTo>
                  <a:lnTo>
                    <a:pt x="2" y="127"/>
                  </a:lnTo>
                  <a:lnTo>
                    <a:pt x="3" y="127"/>
                  </a:lnTo>
                  <a:lnTo>
                    <a:pt x="3" y="125"/>
                  </a:lnTo>
                  <a:lnTo>
                    <a:pt x="3" y="125"/>
                  </a:lnTo>
                  <a:lnTo>
                    <a:pt x="6" y="129"/>
                  </a:lnTo>
                  <a:lnTo>
                    <a:pt x="6" y="131"/>
                  </a:lnTo>
                  <a:lnTo>
                    <a:pt x="4" y="133"/>
                  </a:lnTo>
                  <a:lnTo>
                    <a:pt x="6" y="134"/>
                  </a:lnTo>
                  <a:lnTo>
                    <a:pt x="6" y="135"/>
                  </a:lnTo>
                  <a:lnTo>
                    <a:pt x="7" y="135"/>
                  </a:lnTo>
                  <a:lnTo>
                    <a:pt x="8" y="135"/>
                  </a:lnTo>
                  <a:lnTo>
                    <a:pt x="10" y="136"/>
                  </a:lnTo>
                  <a:lnTo>
                    <a:pt x="10" y="136"/>
                  </a:lnTo>
                  <a:lnTo>
                    <a:pt x="10" y="133"/>
                  </a:lnTo>
                  <a:lnTo>
                    <a:pt x="10" y="134"/>
                  </a:lnTo>
                  <a:lnTo>
                    <a:pt x="11" y="135"/>
                  </a:lnTo>
                  <a:lnTo>
                    <a:pt x="11" y="135"/>
                  </a:lnTo>
                  <a:lnTo>
                    <a:pt x="11" y="135"/>
                  </a:lnTo>
                  <a:lnTo>
                    <a:pt x="11" y="135"/>
                  </a:lnTo>
                  <a:lnTo>
                    <a:pt x="11" y="135"/>
                  </a:lnTo>
                  <a:lnTo>
                    <a:pt x="11" y="136"/>
                  </a:lnTo>
                  <a:lnTo>
                    <a:pt x="13" y="136"/>
                  </a:lnTo>
                  <a:lnTo>
                    <a:pt x="14" y="140"/>
                  </a:lnTo>
                  <a:lnTo>
                    <a:pt x="13" y="140"/>
                  </a:lnTo>
                  <a:lnTo>
                    <a:pt x="14" y="141"/>
                  </a:lnTo>
                  <a:lnTo>
                    <a:pt x="15" y="141"/>
                  </a:lnTo>
                  <a:lnTo>
                    <a:pt x="15" y="141"/>
                  </a:lnTo>
                  <a:lnTo>
                    <a:pt x="15" y="142"/>
                  </a:lnTo>
                  <a:lnTo>
                    <a:pt x="15" y="142"/>
                  </a:lnTo>
                  <a:lnTo>
                    <a:pt x="16" y="145"/>
                  </a:lnTo>
                  <a:lnTo>
                    <a:pt x="15" y="146"/>
                  </a:lnTo>
                  <a:lnTo>
                    <a:pt x="15" y="146"/>
                  </a:lnTo>
                  <a:lnTo>
                    <a:pt x="15" y="147"/>
                  </a:lnTo>
                  <a:lnTo>
                    <a:pt x="15" y="148"/>
                  </a:lnTo>
                  <a:lnTo>
                    <a:pt x="14" y="149"/>
                  </a:lnTo>
                  <a:lnTo>
                    <a:pt x="14" y="151"/>
                  </a:lnTo>
                  <a:lnTo>
                    <a:pt x="13" y="151"/>
                  </a:lnTo>
                  <a:lnTo>
                    <a:pt x="13" y="151"/>
                  </a:lnTo>
                  <a:lnTo>
                    <a:pt x="11" y="152"/>
                  </a:lnTo>
                  <a:lnTo>
                    <a:pt x="10" y="153"/>
                  </a:lnTo>
                  <a:lnTo>
                    <a:pt x="10" y="154"/>
                  </a:lnTo>
                  <a:lnTo>
                    <a:pt x="11" y="154"/>
                  </a:lnTo>
                  <a:lnTo>
                    <a:pt x="11" y="155"/>
                  </a:lnTo>
                  <a:lnTo>
                    <a:pt x="13" y="156"/>
                  </a:lnTo>
                  <a:lnTo>
                    <a:pt x="15" y="154"/>
                  </a:lnTo>
                  <a:lnTo>
                    <a:pt x="14" y="156"/>
                  </a:lnTo>
                  <a:lnTo>
                    <a:pt x="11" y="158"/>
                  </a:lnTo>
                  <a:lnTo>
                    <a:pt x="11" y="159"/>
                  </a:lnTo>
                  <a:lnTo>
                    <a:pt x="11" y="160"/>
                  </a:lnTo>
                  <a:lnTo>
                    <a:pt x="11" y="161"/>
                  </a:lnTo>
                  <a:lnTo>
                    <a:pt x="11" y="160"/>
                  </a:lnTo>
                  <a:lnTo>
                    <a:pt x="11" y="160"/>
                  </a:lnTo>
                  <a:lnTo>
                    <a:pt x="13" y="158"/>
                  </a:lnTo>
                  <a:lnTo>
                    <a:pt x="13" y="158"/>
                  </a:lnTo>
                  <a:lnTo>
                    <a:pt x="13" y="160"/>
                  </a:lnTo>
                  <a:lnTo>
                    <a:pt x="14" y="158"/>
                  </a:lnTo>
                  <a:lnTo>
                    <a:pt x="14" y="159"/>
                  </a:lnTo>
                  <a:lnTo>
                    <a:pt x="14" y="160"/>
                  </a:lnTo>
                  <a:lnTo>
                    <a:pt x="13" y="161"/>
                  </a:lnTo>
                  <a:lnTo>
                    <a:pt x="11" y="161"/>
                  </a:lnTo>
                  <a:lnTo>
                    <a:pt x="9" y="161"/>
                  </a:lnTo>
                  <a:lnTo>
                    <a:pt x="9" y="161"/>
                  </a:lnTo>
                  <a:lnTo>
                    <a:pt x="10" y="163"/>
                  </a:lnTo>
                  <a:lnTo>
                    <a:pt x="13" y="165"/>
                  </a:lnTo>
                  <a:lnTo>
                    <a:pt x="14" y="166"/>
                  </a:lnTo>
                  <a:lnTo>
                    <a:pt x="14" y="169"/>
                  </a:lnTo>
                  <a:lnTo>
                    <a:pt x="15" y="171"/>
                  </a:lnTo>
                  <a:lnTo>
                    <a:pt x="15" y="173"/>
                  </a:lnTo>
                  <a:lnTo>
                    <a:pt x="16" y="176"/>
                  </a:lnTo>
                  <a:lnTo>
                    <a:pt x="16" y="180"/>
                  </a:lnTo>
                  <a:lnTo>
                    <a:pt x="15" y="181"/>
                  </a:lnTo>
                  <a:lnTo>
                    <a:pt x="17" y="182"/>
                  </a:lnTo>
                  <a:lnTo>
                    <a:pt x="16" y="183"/>
                  </a:lnTo>
                  <a:lnTo>
                    <a:pt x="16" y="185"/>
                  </a:lnTo>
                  <a:lnTo>
                    <a:pt x="15" y="187"/>
                  </a:lnTo>
                  <a:lnTo>
                    <a:pt x="15" y="190"/>
                  </a:lnTo>
                  <a:lnTo>
                    <a:pt x="15" y="194"/>
                  </a:lnTo>
                  <a:lnTo>
                    <a:pt x="16" y="195"/>
                  </a:lnTo>
                  <a:lnTo>
                    <a:pt x="15" y="199"/>
                  </a:lnTo>
                  <a:lnTo>
                    <a:pt x="14" y="200"/>
                  </a:lnTo>
                  <a:lnTo>
                    <a:pt x="13" y="201"/>
                  </a:lnTo>
                  <a:lnTo>
                    <a:pt x="13" y="206"/>
                  </a:lnTo>
                  <a:lnTo>
                    <a:pt x="11" y="207"/>
                  </a:lnTo>
                  <a:lnTo>
                    <a:pt x="11" y="209"/>
                  </a:lnTo>
                  <a:lnTo>
                    <a:pt x="9" y="212"/>
                  </a:lnTo>
                  <a:lnTo>
                    <a:pt x="8" y="214"/>
                  </a:lnTo>
                  <a:lnTo>
                    <a:pt x="8" y="220"/>
                  </a:lnTo>
                  <a:lnTo>
                    <a:pt x="7" y="223"/>
                  </a:lnTo>
                  <a:lnTo>
                    <a:pt x="6" y="226"/>
                  </a:lnTo>
                  <a:lnTo>
                    <a:pt x="8" y="228"/>
                  </a:lnTo>
                  <a:lnTo>
                    <a:pt x="9" y="226"/>
                  </a:lnTo>
                  <a:lnTo>
                    <a:pt x="13" y="222"/>
                  </a:lnTo>
                  <a:lnTo>
                    <a:pt x="15" y="220"/>
                  </a:lnTo>
                  <a:lnTo>
                    <a:pt x="16" y="219"/>
                  </a:lnTo>
                  <a:lnTo>
                    <a:pt x="19" y="221"/>
                  </a:lnTo>
                  <a:lnTo>
                    <a:pt x="22" y="220"/>
                  </a:lnTo>
                  <a:lnTo>
                    <a:pt x="27" y="220"/>
                  </a:lnTo>
                  <a:lnTo>
                    <a:pt x="28" y="219"/>
                  </a:lnTo>
                  <a:lnTo>
                    <a:pt x="30" y="219"/>
                  </a:lnTo>
                  <a:lnTo>
                    <a:pt x="33" y="216"/>
                  </a:lnTo>
                  <a:lnTo>
                    <a:pt x="35" y="219"/>
                  </a:lnTo>
                  <a:lnTo>
                    <a:pt x="36" y="216"/>
                  </a:lnTo>
                  <a:lnTo>
                    <a:pt x="37" y="218"/>
                  </a:lnTo>
                  <a:lnTo>
                    <a:pt x="39" y="218"/>
                  </a:lnTo>
                  <a:lnTo>
                    <a:pt x="39" y="218"/>
                  </a:lnTo>
                  <a:lnTo>
                    <a:pt x="41" y="218"/>
                  </a:lnTo>
                  <a:lnTo>
                    <a:pt x="42" y="218"/>
                  </a:lnTo>
                  <a:lnTo>
                    <a:pt x="44" y="218"/>
                  </a:lnTo>
                  <a:lnTo>
                    <a:pt x="46" y="218"/>
                  </a:lnTo>
                  <a:lnTo>
                    <a:pt x="46" y="216"/>
                  </a:lnTo>
                  <a:lnTo>
                    <a:pt x="48" y="219"/>
                  </a:lnTo>
                  <a:lnTo>
                    <a:pt x="49" y="219"/>
                  </a:lnTo>
                  <a:lnTo>
                    <a:pt x="53" y="222"/>
                  </a:lnTo>
                  <a:lnTo>
                    <a:pt x="53" y="225"/>
                  </a:lnTo>
                  <a:lnTo>
                    <a:pt x="56" y="226"/>
                  </a:lnTo>
                  <a:lnTo>
                    <a:pt x="59" y="227"/>
                  </a:lnTo>
                  <a:lnTo>
                    <a:pt x="59" y="229"/>
                  </a:lnTo>
                  <a:lnTo>
                    <a:pt x="62" y="228"/>
                  </a:lnTo>
                  <a:lnTo>
                    <a:pt x="61" y="229"/>
                  </a:lnTo>
                  <a:lnTo>
                    <a:pt x="62" y="229"/>
                  </a:lnTo>
                  <a:lnTo>
                    <a:pt x="66" y="229"/>
                  </a:lnTo>
                  <a:lnTo>
                    <a:pt x="67" y="232"/>
                  </a:lnTo>
                  <a:lnTo>
                    <a:pt x="66" y="234"/>
                  </a:lnTo>
                  <a:lnTo>
                    <a:pt x="67" y="235"/>
                  </a:lnTo>
                  <a:lnTo>
                    <a:pt x="67" y="238"/>
                  </a:lnTo>
                  <a:lnTo>
                    <a:pt x="68" y="239"/>
                  </a:lnTo>
                  <a:lnTo>
                    <a:pt x="70" y="241"/>
                  </a:lnTo>
                  <a:lnTo>
                    <a:pt x="73" y="242"/>
                  </a:lnTo>
                  <a:lnTo>
                    <a:pt x="74" y="245"/>
                  </a:lnTo>
                  <a:lnTo>
                    <a:pt x="74" y="246"/>
                  </a:lnTo>
                  <a:lnTo>
                    <a:pt x="73" y="247"/>
                  </a:lnTo>
                  <a:lnTo>
                    <a:pt x="75" y="248"/>
                  </a:lnTo>
                  <a:lnTo>
                    <a:pt x="77" y="248"/>
                  </a:lnTo>
                  <a:lnTo>
                    <a:pt x="81" y="252"/>
                  </a:lnTo>
                  <a:lnTo>
                    <a:pt x="82" y="254"/>
                  </a:lnTo>
                  <a:lnTo>
                    <a:pt x="83" y="255"/>
                  </a:lnTo>
                  <a:lnTo>
                    <a:pt x="87" y="256"/>
                  </a:lnTo>
                  <a:lnTo>
                    <a:pt x="89" y="256"/>
                  </a:lnTo>
                  <a:lnTo>
                    <a:pt x="89" y="255"/>
                  </a:lnTo>
                  <a:lnTo>
                    <a:pt x="89" y="255"/>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293" name="Malta">
              <a:extLst>
                <a:ext uri="{FF2B5EF4-FFF2-40B4-BE49-F238E27FC236}">
                  <a16:creationId xmlns:a16="http://schemas.microsoft.com/office/drawing/2014/main" id="{02776B28-1E97-AD45-A631-22F61CF9E68F}"/>
                </a:ext>
              </a:extLst>
            </p:cNvPr>
            <p:cNvSpPr>
              <a:spLocks noEditPoints="1"/>
            </p:cNvSpPr>
            <p:nvPr/>
          </p:nvSpPr>
          <p:spPr bwMode="auto">
            <a:xfrm>
              <a:off x="6716612" y="2909107"/>
              <a:ext cx="7290" cy="5833"/>
            </a:xfrm>
            <a:custGeom>
              <a:avLst/>
              <a:gdLst>
                <a:gd name="T0" fmla="*/ 0 w 5"/>
                <a:gd name="T1" fmla="*/ 0 h 4"/>
                <a:gd name="T2" fmla="*/ 0 w 5"/>
                <a:gd name="T3" fmla="*/ 0 h 4"/>
                <a:gd name="T4" fmla="*/ 0 w 5"/>
                <a:gd name="T5" fmla="*/ 0 h 4"/>
                <a:gd name="T6" fmla="*/ 0 w 5"/>
                <a:gd name="T7" fmla="*/ 0 h 4"/>
                <a:gd name="T8" fmla="*/ 0 w 5"/>
                <a:gd name="T9" fmla="*/ 0 h 4"/>
                <a:gd name="T10" fmla="*/ 1 w 5"/>
                <a:gd name="T11" fmla="*/ 0 h 4"/>
                <a:gd name="T12" fmla="*/ 1 w 5"/>
                <a:gd name="T13" fmla="*/ 0 h 4"/>
                <a:gd name="T14" fmla="*/ 0 w 5"/>
                <a:gd name="T15" fmla="*/ 0 h 4"/>
                <a:gd name="T16" fmla="*/ 0 w 5"/>
                <a:gd name="T17" fmla="*/ 0 h 4"/>
                <a:gd name="T18" fmla="*/ 5 w 5"/>
                <a:gd name="T19" fmla="*/ 1 h 4"/>
                <a:gd name="T20" fmla="*/ 5 w 5"/>
                <a:gd name="T21" fmla="*/ 4 h 4"/>
                <a:gd name="T22" fmla="*/ 3 w 5"/>
                <a:gd name="T23" fmla="*/ 4 h 4"/>
                <a:gd name="T24" fmla="*/ 2 w 5"/>
                <a:gd name="T25" fmla="*/ 4 h 4"/>
                <a:gd name="T26" fmla="*/ 2 w 5"/>
                <a:gd name="T27" fmla="*/ 2 h 4"/>
                <a:gd name="T28" fmla="*/ 2 w 5"/>
                <a:gd name="T29" fmla="*/ 2 h 4"/>
                <a:gd name="T30" fmla="*/ 1 w 5"/>
                <a:gd name="T31" fmla="*/ 2 h 4"/>
                <a:gd name="T32" fmla="*/ 1 w 5"/>
                <a:gd name="T33" fmla="*/ 2 h 4"/>
                <a:gd name="T34" fmla="*/ 1 w 5"/>
                <a:gd name="T35" fmla="*/ 1 h 4"/>
                <a:gd name="T36" fmla="*/ 1 w 5"/>
                <a:gd name="T37" fmla="*/ 1 h 4"/>
                <a:gd name="T38" fmla="*/ 1 w 5"/>
                <a:gd name="T39" fmla="*/ 0 h 4"/>
                <a:gd name="T40" fmla="*/ 2 w 5"/>
                <a:gd name="T41" fmla="*/ 0 h 4"/>
                <a:gd name="T42" fmla="*/ 3 w 5"/>
                <a:gd name="T43" fmla="*/ 0 h 4"/>
                <a:gd name="T44" fmla="*/ 5 w 5"/>
                <a:gd name="T45" fmla="*/ 1 h 4"/>
                <a:gd name="T46" fmla="*/ 5 w 5"/>
                <a:gd name="T47"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5" h="4">
                  <a:moveTo>
                    <a:pt x="0" y="0"/>
                  </a:moveTo>
                  <a:lnTo>
                    <a:pt x="0" y="0"/>
                  </a:lnTo>
                  <a:lnTo>
                    <a:pt x="0" y="0"/>
                  </a:lnTo>
                  <a:lnTo>
                    <a:pt x="0" y="0"/>
                  </a:lnTo>
                  <a:lnTo>
                    <a:pt x="0" y="0"/>
                  </a:lnTo>
                  <a:lnTo>
                    <a:pt x="1" y="0"/>
                  </a:lnTo>
                  <a:lnTo>
                    <a:pt x="1" y="0"/>
                  </a:lnTo>
                  <a:lnTo>
                    <a:pt x="0" y="0"/>
                  </a:lnTo>
                  <a:lnTo>
                    <a:pt x="0" y="0"/>
                  </a:lnTo>
                  <a:close/>
                  <a:moveTo>
                    <a:pt x="5" y="1"/>
                  </a:moveTo>
                  <a:lnTo>
                    <a:pt x="5" y="4"/>
                  </a:lnTo>
                  <a:lnTo>
                    <a:pt x="3" y="4"/>
                  </a:lnTo>
                  <a:lnTo>
                    <a:pt x="2" y="4"/>
                  </a:lnTo>
                  <a:lnTo>
                    <a:pt x="2" y="2"/>
                  </a:lnTo>
                  <a:lnTo>
                    <a:pt x="2" y="2"/>
                  </a:lnTo>
                  <a:lnTo>
                    <a:pt x="1" y="2"/>
                  </a:lnTo>
                  <a:lnTo>
                    <a:pt x="1" y="2"/>
                  </a:lnTo>
                  <a:lnTo>
                    <a:pt x="1" y="1"/>
                  </a:lnTo>
                  <a:lnTo>
                    <a:pt x="1" y="1"/>
                  </a:lnTo>
                  <a:lnTo>
                    <a:pt x="1" y="0"/>
                  </a:lnTo>
                  <a:lnTo>
                    <a:pt x="2" y="0"/>
                  </a:lnTo>
                  <a:lnTo>
                    <a:pt x="3" y="0"/>
                  </a:lnTo>
                  <a:lnTo>
                    <a:pt x="5" y="1"/>
                  </a:lnTo>
                  <a:lnTo>
                    <a:pt x="5" y="1"/>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294" name="Mali">
              <a:extLst>
                <a:ext uri="{FF2B5EF4-FFF2-40B4-BE49-F238E27FC236}">
                  <a16:creationId xmlns:a16="http://schemas.microsoft.com/office/drawing/2014/main" id="{C660845F-859D-9C45-A48D-C7328CEE7A7A}"/>
                </a:ext>
              </a:extLst>
            </p:cNvPr>
            <p:cNvSpPr>
              <a:spLocks/>
            </p:cNvSpPr>
            <p:nvPr/>
          </p:nvSpPr>
          <p:spPr bwMode="auto">
            <a:xfrm>
              <a:off x="6040124" y="3238604"/>
              <a:ext cx="437384" cy="446132"/>
            </a:xfrm>
            <a:custGeom>
              <a:avLst/>
              <a:gdLst>
                <a:gd name="T0" fmla="*/ 73 w 300"/>
                <a:gd name="T1" fmla="*/ 300 h 306"/>
                <a:gd name="T2" fmla="*/ 67 w 300"/>
                <a:gd name="T3" fmla="*/ 288 h 306"/>
                <a:gd name="T4" fmla="*/ 71 w 300"/>
                <a:gd name="T5" fmla="*/ 280 h 306"/>
                <a:gd name="T6" fmla="*/ 63 w 300"/>
                <a:gd name="T7" fmla="*/ 274 h 306"/>
                <a:gd name="T8" fmla="*/ 60 w 300"/>
                <a:gd name="T9" fmla="*/ 256 h 306"/>
                <a:gd name="T10" fmla="*/ 54 w 300"/>
                <a:gd name="T11" fmla="*/ 259 h 306"/>
                <a:gd name="T12" fmla="*/ 47 w 300"/>
                <a:gd name="T13" fmla="*/ 267 h 306"/>
                <a:gd name="T14" fmla="*/ 33 w 300"/>
                <a:gd name="T15" fmla="*/ 264 h 306"/>
                <a:gd name="T16" fmla="*/ 23 w 300"/>
                <a:gd name="T17" fmla="*/ 262 h 306"/>
                <a:gd name="T18" fmla="*/ 15 w 300"/>
                <a:gd name="T19" fmla="*/ 261 h 306"/>
                <a:gd name="T20" fmla="*/ 17 w 300"/>
                <a:gd name="T21" fmla="*/ 253 h 306"/>
                <a:gd name="T22" fmla="*/ 13 w 300"/>
                <a:gd name="T23" fmla="*/ 240 h 306"/>
                <a:gd name="T24" fmla="*/ 5 w 300"/>
                <a:gd name="T25" fmla="*/ 234 h 306"/>
                <a:gd name="T26" fmla="*/ 5 w 300"/>
                <a:gd name="T27" fmla="*/ 221 h 306"/>
                <a:gd name="T28" fmla="*/ 3 w 300"/>
                <a:gd name="T29" fmla="*/ 214 h 306"/>
                <a:gd name="T30" fmla="*/ 6 w 300"/>
                <a:gd name="T31" fmla="*/ 210 h 306"/>
                <a:gd name="T32" fmla="*/ 10 w 300"/>
                <a:gd name="T33" fmla="*/ 204 h 306"/>
                <a:gd name="T34" fmla="*/ 13 w 300"/>
                <a:gd name="T35" fmla="*/ 194 h 306"/>
                <a:gd name="T36" fmla="*/ 26 w 300"/>
                <a:gd name="T37" fmla="*/ 203 h 306"/>
                <a:gd name="T38" fmla="*/ 40 w 300"/>
                <a:gd name="T39" fmla="*/ 197 h 306"/>
                <a:gd name="T40" fmla="*/ 54 w 300"/>
                <a:gd name="T41" fmla="*/ 190 h 306"/>
                <a:gd name="T42" fmla="*/ 121 w 300"/>
                <a:gd name="T43" fmla="*/ 174 h 306"/>
                <a:gd name="T44" fmla="*/ 242 w 300"/>
                <a:gd name="T45" fmla="*/ 80 h 306"/>
                <a:gd name="T46" fmla="*/ 245 w 300"/>
                <a:gd name="T47" fmla="*/ 88 h 306"/>
                <a:gd name="T48" fmla="*/ 253 w 300"/>
                <a:gd name="T49" fmla="*/ 92 h 306"/>
                <a:gd name="T50" fmla="*/ 255 w 300"/>
                <a:gd name="T51" fmla="*/ 97 h 306"/>
                <a:gd name="T52" fmla="*/ 261 w 300"/>
                <a:gd name="T53" fmla="*/ 97 h 306"/>
                <a:gd name="T54" fmla="*/ 266 w 300"/>
                <a:gd name="T55" fmla="*/ 101 h 306"/>
                <a:gd name="T56" fmla="*/ 270 w 300"/>
                <a:gd name="T57" fmla="*/ 102 h 306"/>
                <a:gd name="T58" fmla="*/ 278 w 300"/>
                <a:gd name="T59" fmla="*/ 105 h 306"/>
                <a:gd name="T60" fmla="*/ 280 w 300"/>
                <a:gd name="T61" fmla="*/ 114 h 306"/>
                <a:gd name="T62" fmla="*/ 278 w 300"/>
                <a:gd name="T63" fmla="*/ 117 h 306"/>
                <a:gd name="T64" fmla="*/ 281 w 300"/>
                <a:gd name="T65" fmla="*/ 123 h 306"/>
                <a:gd name="T66" fmla="*/ 298 w 300"/>
                <a:gd name="T67" fmla="*/ 163 h 306"/>
                <a:gd name="T68" fmla="*/ 294 w 300"/>
                <a:gd name="T69" fmla="*/ 186 h 306"/>
                <a:gd name="T70" fmla="*/ 290 w 300"/>
                <a:gd name="T71" fmla="*/ 193 h 306"/>
                <a:gd name="T72" fmla="*/ 277 w 300"/>
                <a:gd name="T73" fmla="*/ 196 h 306"/>
                <a:gd name="T74" fmla="*/ 241 w 300"/>
                <a:gd name="T75" fmla="*/ 204 h 306"/>
                <a:gd name="T76" fmla="*/ 219 w 300"/>
                <a:gd name="T77" fmla="*/ 201 h 306"/>
                <a:gd name="T78" fmla="*/ 208 w 300"/>
                <a:gd name="T79" fmla="*/ 203 h 306"/>
                <a:gd name="T80" fmla="*/ 186 w 300"/>
                <a:gd name="T81" fmla="*/ 222 h 306"/>
                <a:gd name="T82" fmla="*/ 171 w 300"/>
                <a:gd name="T83" fmla="*/ 224 h 306"/>
                <a:gd name="T84" fmla="*/ 166 w 300"/>
                <a:gd name="T85" fmla="*/ 233 h 306"/>
                <a:gd name="T86" fmla="*/ 160 w 300"/>
                <a:gd name="T87" fmla="*/ 242 h 306"/>
                <a:gd name="T88" fmla="*/ 151 w 300"/>
                <a:gd name="T89" fmla="*/ 237 h 306"/>
                <a:gd name="T90" fmla="*/ 147 w 300"/>
                <a:gd name="T91" fmla="*/ 241 h 306"/>
                <a:gd name="T92" fmla="*/ 144 w 300"/>
                <a:gd name="T93" fmla="*/ 244 h 306"/>
                <a:gd name="T94" fmla="*/ 144 w 300"/>
                <a:gd name="T95" fmla="*/ 252 h 306"/>
                <a:gd name="T96" fmla="*/ 141 w 300"/>
                <a:gd name="T97" fmla="*/ 257 h 306"/>
                <a:gd name="T98" fmla="*/ 140 w 300"/>
                <a:gd name="T99" fmla="*/ 264 h 306"/>
                <a:gd name="T100" fmla="*/ 137 w 300"/>
                <a:gd name="T101" fmla="*/ 267 h 306"/>
                <a:gd name="T102" fmla="*/ 126 w 300"/>
                <a:gd name="T103" fmla="*/ 270 h 306"/>
                <a:gd name="T104" fmla="*/ 127 w 300"/>
                <a:gd name="T105" fmla="*/ 279 h 306"/>
                <a:gd name="T106" fmla="*/ 126 w 300"/>
                <a:gd name="T107" fmla="*/ 284 h 306"/>
                <a:gd name="T108" fmla="*/ 124 w 300"/>
                <a:gd name="T109" fmla="*/ 290 h 306"/>
                <a:gd name="T110" fmla="*/ 120 w 300"/>
                <a:gd name="T111" fmla="*/ 299 h 306"/>
                <a:gd name="T112" fmla="*/ 111 w 300"/>
                <a:gd name="T113" fmla="*/ 300 h 306"/>
                <a:gd name="T114" fmla="*/ 110 w 300"/>
                <a:gd name="T115" fmla="*/ 293 h 306"/>
                <a:gd name="T116" fmla="*/ 100 w 300"/>
                <a:gd name="T117" fmla="*/ 299 h 306"/>
                <a:gd name="T118" fmla="*/ 95 w 300"/>
                <a:gd name="T119" fmla="*/ 306 h 306"/>
                <a:gd name="T120" fmla="*/ 86 w 300"/>
                <a:gd name="T121" fmla="*/ 300 h 306"/>
                <a:gd name="T122" fmla="*/ 80 w 300"/>
                <a:gd name="T123" fmla="*/ 306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0" h="306">
                  <a:moveTo>
                    <a:pt x="78" y="304"/>
                  </a:moveTo>
                  <a:lnTo>
                    <a:pt x="79" y="302"/>
                  </a:lnTo>
                  <a:lnTo>
                    <a:pt x="75" y="301"/>
                  </a:lnTo>
                  <a:lnTo>
                    <a:pt x="73" y="300"/>
                  </a:lnTo>
                  <a:lnTo>
                    <a:pt x="72" y="295"/>
                  </a:lnTo>
                  <a:lnTo>
                    <a:pt x="72" y="290"/>
                  </a:lnTo>
                  <a:lnTo>
                    <a:pt x="71" y="287"/>
                  </a:lnTo>
                  <a:lnTo>
                    <a:pt x="67" y="288"/>
                  </a:lnTo>
                  <a:lnTo>
                    <a:pt x="66" y="284"/>
                  </a:lnTo>
                  <a:lnTo>
                    <a:pt x="67" y="283"/>
                  </a:lnTo>
                  <a:lnTo>
                    <a:pt x="72" y="282"/>
                  </a:lnTo>
                  <a:lnTo>
                    <a:pt x="71" y="280"/>
                  </a:lnTo>
                  <a:lnTo>
                    <a:pt x="70" y="279"/>
                  </a:lnTo>
                  <a:lnTo>
                    <a:pt x="67" y="277"/>
                  </a:lnTo>
                  <a:lnTo>
                    <a:pt x="65" y="274"/>
                  </a:lnTo>
                  <a:lnTo>
                    <a:pt x="63" y="274"/>
                  </a:lnTo>
                  <a:lnTo>
                    <a:pt x="61" y="266"/>
                  </a:lnTo>
                  <a:lnTo>
                    <a:pt x="61" y="262"/>
                  </a:lnTo>
                  <a:lnTo>
                    <a:pt x="60" y="260"/>
                  </a:lnTo>
                  <a:lnTo>
                    <a:pt x="60" y="256"/>
                  </a:lnTo>
                  <a:lnTo>
                    <a:pt x="58" y="255"/>
                  </a:lnTo>
                  <a:lnTo>
                    <a:pt x="53" y="254"/>
                  </a:lnTo>
                  <a:lnTo>
                    <a:pt x="53" y="256"/>
                  </a:lnTo>
                  <a:lnTo>
                    <a:pt x="54" y="259"/>
                  </a:lnTo>
                  <a:lnTo>
                    <a:pt x="53" y="262"/>
                  </a:lnTo>
                  <a:lnTo>
                    <a:pt x="51" y="262"/>
                  </a:lnTo>
                  <a:lnTo>
                    <a:pt x="47" y="263"/>
                  </a:lnTo>
                  <a:lnTo>
                    <a:pt x="47" y="267"/>
                  </a:lnTo>
                  <a:lnTo>
                    <a:pt x="40" y="263"/>
                  </a:lnTo>
                  <a:lnTo>
                    <a:pt x="37" y="263"/>
                  </a:lnTo>
                  <a:lnTo>
                    <a:pt x="35" y="263"/>
                  </a:lnTo>
                  <a:lnTo>
                    <a:pt x="33" y="264"/>
                  </a:lnTo>
                  <a:lnTo>
                    <a:pt x="32" y="266"/>
                  </a:lnTo>
                  <a:lnTo>
                    <a:pt x="28" y="269"/>
                  </a:lnTo>
                  <a:lnTo>
                    <a:pt x="25" y="262"/>
                  </a:lnTo>
                  <a:lnTo>
                    <a:pt x="23" y="262"/>
                  </a:lnTo>
                  <a:lnTo>
                    <a:pt x="21" y="264"/>
                  </a:lnTo>
                  <a:lnTo>
                    <a:pt x="20" y="267"/>
                  </a:lnTo>
                  <a:lnTo>
                    <a:pt x="18" y="267"/>
                  </a:lnTo>
                  <a:lnTo>
                    <a:pt x="15" y="261"/>
                  </a:lnTo>
                  <a:lnTo>
                    <a:pt x="17" y="259"/>
                  </a:lnTo>
                  <a:lnTo>
                    <a:pt x="18" y="257"/>
                  </a:lnTo>
                  <a:lnTo>
                    <a:pt x="17" y="255"/>
                  </a:lnTo>
                  <a:lnTo>
                    <a:pt x="17" y="253"/>
                  </a:lnTo>
                  <a:lnTo>
                    <a:pt x="18" y="249"/>
                  </a:lnTo>
                  <a:lnTo>
                    <a:pt x="17" y="246"/>
                  </a:lnTo>
                  <a:lnTo>
                    <a:pt x="17" y="243"/>
                  </a:lnTo>
                  <a:lnTo>
                    <a:pt x="13" y="240"/>
                  </a:lnTo>
                  <a:lnTo>
                    <a:pt x="8" y="240"/>
                  </a:lnTo>
                  <a:lnTo>
                    <a:pt x="8" y="237"/>
                  </a:lnTo>
                  <a:lnTo>
                    <a:pt x="7" y="235"/>
                  </a:lnTo>
                  <a:lnTo>
                    <a:pt x="5" y="234"/>
                  </a:lnTo>
                  <a:lnTo>
                    <a:pt x="4" y="233"/>
                  </a:lnTo>
                  <a:lnTo>
                    <a:pt x="6" y="229"/>
                  </a:lnTo>
                  <a:lnTo>
                    <a:pt x="6" y="223"/>
                  </a:lnTo>
                  <a:lnTo>
                    <a:pt x="5" y="221"/>
                  </a:lnTo>
                  <a:lnTo>
                    <a:pt x="4" y="219"/>
                  </a:lnTo>
                  <a:lnTo>
                    <a:pt x="3" y="217"/>
                  </a:lnTo>
                  <a:lnTo>
                    <a:pt x="3" y="215"/>
                  </a:lnTo>
                  <a:lnTo>
                    <a:pt x="3" y="214"/>
                  </a:lnTo>
                  <a:lnTo>
                    <a:pt x="1" y="212"/>
                  </a:lnTo>
                  <a:lnTo>
                    <a:pt x="0" y="209"/>
                  </a:lnTo>
                  <a:lnTo>
                    <a:pt x="4" y="210"/>
                  </a:lnTo>
                  <a:lnTo>
                    <a:pt x="6" y="210"/>
                  </a:lnTo>
                  <a:lnTo>
                    <a:pt x="6" y="209"/>
                  </a:lnTo>
                  <a:lnTo>
                    <a:pt x="7" y="209"/>
                  </a:lnTo>
                  <a:lnTo>
                    <a:pt x="10" y="207"/>
                  </a:lnTo>
                  <a:lnTo>
                    <a:pt x="10" y="204"/>
                  </a:lnTo>
                  <a:lnTo>
                    <a:pt x="8" y="204"/>
                  </a:lnTo>
                  <a:lnTo>
                    <a:pt x="8" y="203"/>
                  </a:lnTo>
                  <a:lnTo>
                    <a:pt x="12" y="194"/>
                  </a:lnTo>
                  <a:lnTo>
                    <a:pt x="13" y="194"/>
                  </a:lnTo>
                  <a:lnTo>
                    <a:pt x="15" y="193"/>
                  </a:lnTo>
                  <a:lnTo>
                    <a:pt x="15" y="192"/>
                  </a:lnTo>
                  <a:lnTo>
                    <a:pt x="17" y="192"/>
                  </a:lnTo>
                  <a:lnTo>
                    <a:pt x="26" y="203"/>
                  </a:lnTo>
                  <a:lnTo>
                    <a:pt x="30" y="196"/>
                  </a:lnTo>
                  <a:lnTo>
                    <a:pt x="34" y="195"/>
                  </a:lnTo>
                  <a:lnTo>
                    <a:pt x="39" y="196"/>
                  </a:lnTo>
                  <a:lnTo>
                    <a:pt x="40" y="197"/>
                  </a:lnTo>
                  <a:lnTo>
                    <a:pt x="46" y="197"/>
                  </a:lnTo>
                  <a:lnTo>
                    <a:pt x="53" y="195"/>
                  </a:lnTo>
                  <a:lnTo>
                    <a:pt x="52" y="193"/>
                  </a:lnTo>
                  <a:lnTo>
                    <a:pt x="54" y="190"/>
                  </a:lnTo>
                  <a:lnTo>
                    <a:pt x="54" y="194"/>
                  </a:lnTo>
                  <a:lnTo>
                    <a:pt x="124" y="194"/>
                  </a:lnTo>
                  <a:lnTo>
                    <a:pt x="126" y="177"/>
                  </a:lnTo>
                  <a:lnTo>
                    <a:pt x="121" y="174"/>
                  </a:lnTo>
                  <a:lnTo>
                    <a:pt x="105" y="0"/>
                  </a:lnTo>
                  <a:lnTo>
                    <a:pt x="137" y="0"/>
                  </a:lnTo>
                  <a:lnTo>
                    <a:pt x="225" y="59"/>
                  </a:lnTo>
                  <a:lnTo>
                    <a:pt x="242" y="80"/>
                  </a:lnTo>
                  <a:lnTo>
                    <a:pt x="242" y="81"/>
                  </a:lnTo>
                  <a:lnTo>
                    <a:pt x="241" y="86"/>
                  </a:lnTo>
                  <a:lnTo>
                    <a:pt x="242" y="87"/>
                  </a:lnTo>
                  <a:lnTo>
                    <a:pt x="245" y="88"/>
                  </a:lnTo>
                  <a:lnTo>
                    <a:pt x="246" y="89"/>
                  </a:lnTo>
                  <a:lnTo>
                    <a:pt x="248" y="90"/>
                  </a:lnTo>
                  <a:lnTo>
                    <a:pt x="251" y="90"/>
                  </a:lnTo>
                  <a:lnTo>
                    <a:pt x="253" y="92"/>
                  </a:lnTo>
                  <a:lnTo>
                    <a:pt x="252" y="94"/>
                  </a:lnTo>
                  <a:lnTo>
                    <a:pt x="254" y="96"/>
                  </a:lnTo>
                  <a:lnTo>
                    <a:pt x="255" y="96"/>
                  </a:lnTo>
                  <a:lnTo>
                    <a:pt x="255" y="97"/>
                  </a:lnTo>
                  <a:lnTo>
                    <a:pt x="257" y="97"/>
                  </a:lnTo>
                  <a:lnTo>
                    <a:pt x="259" y="99"/>
                  </a:lnTo>
                  <a:lnTo>
                    <a:pt x="259" y="97"/>
                  </a:lnTo>
                  <a:lnTo>
                    <a:pt x="261" y="97"/>
                  </a:lnTo>
                  <a:lnTo>
                    <a:pt x="262" y="97"/>
                  </a:lnTo>
                  <a:lnTo>
                    <a:pt x="262" y="99"/>
                  </a:lnTo>
                  <a:lnTo>
                    <a:pt x="265" y="101"/>
                  </a:lnTo>
                  <a:lnTo>
                    <a:pt x="266" y="101"/>
                  </a:lnTo>
                  <a:lnTo>
                    <a:pt x="267" y="102"/>
                  </a:lnTo>
                  <a:lnTo>
                    <a:pt x="267" y="102"/>
                  </a:lnTo>
                  <a:lnTo>
                    <a:pt x="268" y="101"/>
                  </a:lnTo>
                  <a:lnTo>
                    <a:pt x="270" y="102"/>
                  </a:lnTo>
                  <a:lnTo>
                    <a:pt x="272" y="103"/>
                  </a:lnTo>
                  <a:lnTo>
                    <a:pt x="274" y="105"/>
                  </a:lnTo>
                  <a:lnTo>
                    <a:pt x="277" y="105"/>
                  </a:lnTo>
                  <a:lnTo>
                    <a:pt x="278" y="105"/>
                  </a:lnTo>
                  <a:lnTo>
                    <a:pt x="279" y="106"/>
                  </a:lnTo>
                  <a:lnTo>
                    <a:pt x="279" y="112"/>
                  </a:lnTo>
                  <a:lnTo>
                    <a:pt x="280" y="112"/>
                  </a:lnTo>
                  <a:lnTo>
                    <a:pt x="280" y="114"/>
                  </a:lnTo>
                  <a:lnTo>
                    <a:pt x="279" y="115"/>
                  </a:lnTo>
                  <a:lnTo>
                    <a:pt x="279" y="116"/>
                  </a:lnTo>
                  <a:lnTo>
                    <a:pt x="279" y="117"/>
                  </a:lnTo>
                  <a:lnTo>
                    <a:pt x="278" y="117"/>
                  </a:lnTo>
                  <a:lnTo>
                    <a:pt x="277" y="120"/>
                  </a:lnTo>
                  <a:lnTo>
                    <a:pt x="279" y="122"/>
                  </a:lnTo>
                  <a:lnTo>
                    <a:pt x="280" y="122"/>
                  </a:lnTo>
                  <a:lnTo>
                    <a:pt x="281" y="123"/>
                  </a:lnTo>
                  <a:lnTo>
                    <a:pt x="298" y="119"/>
                  </a:lnTo>
                  <a:lnTo>
                    <a:pt x="298" y="120"/>
                  </a:lnTo>
                  <a:lnTo>
                    <a:pt x="300" y="152"/>
                  </a:lnTo>
                  <a:lnTo>
                    <a:pt x="298" y="163"/>
                  </a:lnTo>
                  <a:lnTo>
                    <a:pt x="298" y="176"/>
                  </a:lnTo>
                  <a:lnTo>
                    <a:pt x="294" y="179"/>
                  </a:lnTo>
                  <a:lnTo>
                    <a:pt x="293" y="182"/>
                  </a:lnTo>
                  <a:lnTo>
                    <a:pt x="294" y="186"/>
                  </a:lnTo>
                  <a:lnTo>
                    <a:pt x="292" y="187"/>
                  </a:lnTo>
                  <a:lnTo>
                    <a:pt x="292" y="189"/>
                  </a:lnTo>
                  <a:lnTo>
                    <a:pt x="291" y="190"/>
                  </a:lnTo>
                  <a:lnTo>
                    <a:pt x="290" y="193"/>
                  </a:lnTo>
                  <a:lnTo>
                    <a:pt x="287" y="194"/>
                  </a:lnTo>
                  <a:lnTo>
                    <a:pt x="285" y="194"/>
                  </a:lnTo>
                  <a:lnTo>
                    <a:pt x="285" y="199"/>
                  </a:lnTo>
                  <a:lnTo>
                    <a:pt x="277" y="196"/>
                  </a:lnTo>
                  <a:lnTo>
                    <a:pt x="277" y="199"/>
                  </a:lnTo>
                  <a:lnTo>
                    <a:pt x="268" y="199"/>
                  </a:lnTo>
                  <a:lnTo>
                    <a:pt x="245" y="199"/>
                  </a:lnTo>
                  <a:lnTo>
                    <a:pt x="241" y="204"/>
                  </a:lnTo>
                  <a:lnTo>
                    <a:pt x="233" y="206"/>
                  </a:lnTo>
                  <a:lnTo>
                    <a:pt x="226" y="206"/>
                  </a:lnTo>
                  <a:lnTo>
                    <a:pt x="222" y="206"/>
                  </a:lnTo>
                  <a:lnTo>
                    <a:pt x="219" y="201"/>
                  </a:lnTo>
                  <a:lnTo>
                    <a:pt x="218" y="203"/>
                  </a:lnTo>
                  <a:lnTo>
                    <a:pt x="214" y="204"/>
                  </a:lnTo>
                  <a:lnTo>
                    <a:pt x="214" y="203"/>
                  </a:lnTo>
                  <a:lnTo>
                    <a:pt x="208" y="203"/>
                  </a:lnTo>
                  <a:lnTo>
                    <a:pt x="203" y="209"/>
                  </a:lnTo>
                  <a:lnTo>
                    <a:pt x="197" y="210"/>
                  </a:lnTo>
                  <a:lnTo>
                    <a:pt x="186" y="215"/>
                  </a:lnTo>
                  <a:lnTo>
                    <a:pt x="186" y="222"/>
                  </a:lnTo>
                  <a:lnTo>
                    <a:pt x="184" y="222"/>
                  </a:lnTo>
                  <a:lnTo>
                    <a:pt x="180" y="221"/>
                  </a:lnTo>
                  <a:lnTo>
                    <a:pt x="178" y="220"/>
                  </a:lnTo>
                  <a:lnTo>
                    <a:pt x="171" y="224"/>
                  </a:lnTo>
                  <a:lnTo>
                    <a:pt x="170" y="229"/>
                  </a:lnTo>
                  <a:lnTo>
                    <a:pt x="170" y="233"/>
                  </a:lnTo>
                  <a:lnTo>
                    <a:pt x="166" y="234"/>
                  </a:lnTo>
                  <a:lnTo>
                    <a:pt x="166" y="233"/>
                  </a:lnTo>
                  <a:lnTo>
                    <a:pt x="163" y="232"/>
                  </a:lnTo>
                  <a:lnTo>
                    <a:pt x="164" y="237"/>
                  </a:lnTo>
                  <a:lnTo>
                    <a:pt x="160" y="241"/>
                  </a:lnTo>
                  <a:lnTo>
                    <a:pt x="160" y="242"/>
                  </a:lnTo>
                  <a:lnTo>
                    <a:pt x="158" y="242"/>
                  </a:lnTo>
                  <a:lnTo>
                    <a:pt x="154" y="239"/>
                  </a:lnTo>
                  <a:lnTo>
                    <a:pt x="151" y="239"/>
                  </a:lnTo>
                  <a:lnTo>
                    <a:pt x="151" y="237"/>
                  </a:lnTo>
                  <a:lnTo>
                    <a:pt x="152" y="236"/>
                  </a:lnTo>
                  <a:lnTo>
                    <a:pt x="151" y="236"/>
                  </a:lnTo>
                  <a:lnTo>
                    <a:pt x="148" y="237"/>
                  </a:lnTo>
                  <a:lnTo>
                    <a:pt x="147" y="241"/>
                  </a:lnTo>
                  <a:lnTo>
                    <a:pt x="145" y="241"/>
                  </a:lnTo>
                  <a:lnTo>
                    <a:pt x="146" y="242"/>
                  </a:lnTo>
                  <a:lnTo>
                    <a:pt x="144" y="242"/>
                  </a:lnTo>
                  <a:lnTo>
                    <a:pt x="144" y="244"/>
                  </a:lnTo>
                  <a:lnTo>
                    <a:pt x="146" y="247"/>
                  </a:lnTo>
                  <a:lnTo>
                    <a:pt x="146" y="252"/>
                  </a:lnTo>
                  <a:lnTo>
                    <a:pt x="144" y="252"/>
                  </a:lnTo>
                  <a:lnTo>
                    <a:pt x="144" y="252"/>
                  </a:lnTo>
                  <a:lnTo>
                    <a:pt x="141" y="252"/>
                  </a:lnTo>
                  <a:lnTo>
                    <a:pt x="141" y="253"/>
                  </a:lnTo>
                  <a:lnTo>
                    <a:pt x="143" y="256"/>
                  </a:lnTo>
                  <a:lnTo>
                    <a:pt x="141" y="257"/>
                  </a:lnTo>
                  <a:lnTo>
                    <a:pt x="141" y="259"/>
                  </a:lnTo>
                  <a:lnTo>
                    <a:pt x="141" y="260"/>
                  </a:lnTo>
                  <a:lnTo>
                    <a:pt x="139" y="262"/>
                  </a:lnTo>
                  <a:lnTo>
                    <a:pt x="140" y="264"/>
                  </a:lnTo>
                  <a:lnTo>
                    <a:pt x="139" y="264"/>
                  </a:lnTo>
                  <a:lnTo>
                    <a:pt x="139" y="266"/>
                  </a:lnTo>
                  <a:lnTo>
                    <a:pt x="137" y="266"/>
                  </a:lnTo>
                  <a:lnTo>
                    <a:pt x="137" y="267"/>
                  </a:lnTo>
                  <a:lnTo>
                    <a:pt x="131" y="267"/>
                  </a:lnTo>
                  <a:lnTo>
                    <a:pt x="127" y="269"/>
                  </a:lnTo>
                  <a:lnTo>
                    <a:pt x="127" y="270"/>
                  </a:lnTo>
                  <a:lnTo>
                    <a:pt x="126" y="270"/>
                  </a:lnTo>
                  <a:lnTo>
                    <a:pt x="127" y="272"/>
                  </a:lnTo>
                  <a:lnTo>
                    <a:pt x="126" y="275"/>
                  </a:lnTo>
                  <a:lnTo>
                    <a:pt x="127" y="275"/>
                  </a:lnTo>
                  <a:lnTo>
                    <a:pt x="127" y="279"/>
                  </a:lnTo>
                  <a:lnTo>
                    <a:pt x="127" y="279"/>
                  </a:lnTo>
                  <a:lnTo>
                    <a:pt x="127" y="282"/>
                  </a:lnTo>
                  <a:lnTo>
                    <a:pt x="126" y="283"/>
                  </a:lnTo>
                  <a:lnTo>
                    <a:pt x="126" y="284"/>
                  </a:lnTo>
                  <a:lnTo>
                    <a:pt x="123" y="286"/>
                  </a:lnTo>
                  <a:lnTo>
                    <a:pt x="123" y="287"/>
                  </a:lnTo>
                  <a:lnTo>
                    <a:pt x="124" y="287"/>
                  </a:lnTo>
                  <a:lnTo>
                    <a:pt x="124" y="290"/>
                  </a:lnTo>
                  <a:lnTo>
                    <a:pt x="123" y="295"/>
                  </a:lnTo>
                  <a:lnTo>
                    <a:pt x="124" y="296"/>
                  </a:lnTo>
                  <a:lnTo>
                    <a:pt x="121" y="299"/>
                  </a:lnTo>
                  <a:lnTo>
                    <a:pt x="120" y="299"/>
                  </a:lnTo>
                  <a:lnTo>
                    <a:pt x="115" y="302"/>
                  </a:lnTo>
                  <a:lnTo>
                    <a:pt x="113" y="304"/>
                  </a:lnTo>
                  <a:lnTo>
                    <a:pt x="108" y="301"/>
                  </a:lnTo>
                  <a:lnTo>
                    <a:pt x="111" y="300"/>
                  </a:lnTo>
                  <a:lnTo>
                    <a:pt x="111" y="299"/>
                  </a:lnTo>
                  <a:lnTo>
                    <a:pt x="110" y="297"/>
                  </a:lnTo>
                  <a:lnTo>
                    <a:pt x="110" y="295"/>
                  </a:lnTo>
                  <a:lnTo>
                    <a:pt x="110" y="293"/>
                  </a:lnTo>
                  <a:lnTo>
                    <a:pt x="107" y="294"/>
                  </a:lnTo>
                  <a:lnTo>
                    <a:pt x="106" y="295"/>
                  </a:lnTo>
                  <a:lnTo>
                    <a:pt x="100" y="295"/>
                  </a:lnTo>
                  <a:lnTo>
                    <a:pt x="100" y="299"/>
                  </a:lnTo>
                  <a:lnTo>
                    <a:pt x="101" y="299"/>
                  </a:lnTo>
                  <a:lnTo>
                    <a:pt x="100" y="301"/>
                  </a:lnTo>
                  <a:lnTo>
                    <a:pt x="95" y="301"/>
                  </a:lnTo>
                  <a:lnTo>
                    <a:pt x="95" y="306"/>
                  </a:lnTo>
                  <a:lnTo>
                    <a:pt x="93" y="303"/>
                  </a:lnTo>
                  <a:lnTo>
                    <a:pt x="92" y="300"/>
                  </a:lnTo>
                  <a:lnTo>
                    <a:pt x="88" y="301"/>
                  </a:lnTo>
                  <a:lnTo>
                    <a:pt x="86" y="300"/>
                  </a:lnTo>
                  <a:lnTo>
                    <a:pt x="84" y="300"/>
                  </a:lnTo>
                  <a:lnTo>
                    <a:pt x="81" y="300"/>
                  </a:lnTo>
                  <a:lnTo>
                    <a:pt x="80" y="303"/>
                  </a:lnTo>
                  <a:lnTo>
                    <a:pt x="80" y="306"/>
                  </a:lnTo>
                  <a:lnTo>
                    <a:pt x="78" y="304"/>
                  </a:lnTo>
                  <a:lnTo>
                    <a:pt x="78" y="304"/>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295" name="Maldives">
              <a:extLst>
                <a:ext uri="{FF2B5EF4-FFF2-40B4-BE49-F238E27FC236}">
                  <a16:creationId xmlns:a16="http://schemas.microsoft.com/office/drawing/2014/main" id="{89A84C76-259D-E74E-9229-02D2816DC3C4}"/>
                </a:ext>
              </a:extLst>
            </p:cNvPr>
            <p:cNvSpPr>
              <a:spLocks noEditPoints="1"/>
            </p:cNvSpPr>
            <p:nvPr/>
          </p:nvSpPr>
          <p:spPr bwMode="auto">
            <a:xfrm>
              <a:off x="8289738" y="3766381"/>
              <a:ext cx="29159" cy="126842"/>
            </a:xfrm>
            <a:custGeom>
              <a:avLst/>
              <a:gdLst>
                <a:gd name="T0" fmla="*/ 13 w 20"/>
                <a:gd name="T1" fmla="*/ 27 h 87"/>
                <a:gd name="T2" fmla="*/ 16 w 20"/>
                <a:gd name="T3" fmla="*/ 59 h 87"/>
                <a:gd name="T4" fmla="*/ 6 w 20"/>
                <a:gd name="T5" fmla="*/ 27 h 87"/>
                <a:gd name="T6" fmla="*/ 14 w 20"/>
                <a:gd name="T7" fmla="*/ 35 h 87"/>
                <a:gd name="T8" fmla="*/ 3 w 20"/>
                <a:gd name="T9" fmla="*/ 72 h 87"/>
                <a:gd name="T10" fmla="*/ 13 w 20"/>
                <a:gd name="T11" fmla="*/ 22 h 87"/>
                <a:gd name="T12" fmla="*/ 5 w 20"/>
                <a:gd name="T13" fmla="*/ 22 h 87"/>
                <a:gd name="T14" fmla="*/ 6 w 20"/>
                <a:gd name="T15" fmla="*/ 57 h 87"/>
                <a:gd name="T16" fmla="*/ 13 w 20"/>
                <a:gd name="T17" fmla="*/ 35 h 87"/>
                <a:gd name="T18" fmla="*/ 11 w 20"/>
                <a:gd name="T19" fmla="*/ 19 h 87"/>
                <a:gd name="T20" fmla="*/ 11 w 20"/>
                <a:gd name="T21" fmla="*/ 18 h 87"/>
                <a:gd name="T22" fmla="*/ 11 w 20"/>
                <a:gd name="T23" fmla="*/ 17 h 87"/>
                <a:gd name="T24" fmla="*/ 10 w 20"/>
                <a:gd name="T25" fmla="*/ 15 h 87"/>
                <a:gd name="T26" fmla="*/ 9 w 20"/>
                <a:gd name="T27" fmla="*/ 15 h 87"/>
                <a:gd name="T28" fmla="*/ 0 w 20"/>
                <a:gd name="T29" fmla="*/ 13 h 87"/>
                <a:gd name="T30" fmla="*/ 7 w 20"/>
                <a:gd name="T31" fmla="*/ 13 h 87"/>
                <a:gd name="T32" fmla="*/ 7 w 20"/>
                <a:gd name="T33" fmla="*/ 9 h 87"/>
                <a:gd name="T34" fmla="*/ 7 w 20"/>
                <a:gd name="T35" fmla="*/ 8 h 87"/>
                <a:gd name="T36" fmla="*/ 16 w 20"/>
                <a:gd name="T37" fmla="*/ 60 h 87"/>
                <a:gd name="T38" fmla="*/ 9 w 20"/>
                <a:gd name="T39" fmla="*/ 8 h 87"/>
                <a:gd name="T40" fmla="*/ 9 w 20"/>
                <a:gd name="T41" fmla="*/ 6 h 87"/>
                <a:gd name="T42" fmla="*/ 9 w 20"/>
                <a:gd name="T43" fmla="*/ 6 h 87"/>
                <a:gd name="T44" fmla="*/ 10 w 20"/>
                <a:gd name="T45" fmla="*/ 5 h 87"/>
                <a:gd name="T46" fmla="*/ 10 w 20"/>
                <a:gd name="T47" fmla="*/ 5 h 87"/>
                <a:gd name="T48" fmla="*/ 10 w 20"/>
                <a:gd name="T49" fmla="*/ 2 h 87"/>
                <a:gd name="T50" fmla="*/ 10 w 20"/>
                <a:gd name="T51" fmla="*/ 4 h 87"/>
                <a:gd name="T52" fmla="*/ 10 w 20"/>
                <a:gd name="T53" fmla="*/ 4 h 87"/>
                <a:gd name="T54" fmla="*/ 0 w 20"/>
                <a:gd name="T55" fmla="*/ 62 h 87"/>
                <a:gd name="T56" fmla="*/ 6 w 20"/>
                <a:gd name="T57" fmla="*/ 1 h 87"/>
                <a:gd name="T58" fmla="*/ 5 w 20"/>
                <a:gd name="T59" fmla="*/ 0 h 87"/>
                <a:gd name="T60" fmla="*/ 14 w 20"/>
                <a:gd name="T61" fmla="*/ 25 h 87"/>
                <a:gd name="T62" fmla="*/ 14 w 20"/>
                <a:gd name="T63" fmla="*/ 25 h 87"/>
                <a:gd name="T64" fmla="*/ 16 w 20"/>
                <a:gd name="T65" fmla="*/ 59 h 87"/>
                <a:gd name="T66" fmla="*/ 12 w 20"/>
                <a:gd name="T67" fmla="*/ 64 h 87"/>
                <a:gd name="T68" fmla="*/ 14 w 20"/>
                <a:gd name="T69" fmla="*/ 64 h 87"/>
                <a:gd name="T70" fmla="*/ 4 w 20"/>
                <a:gd name="T71" fmla="*/ 72 h 87"/>
                <a:gd name="T72" fmla="*/ 5 w 20"/>
                <a:gd name="T73" fmla="*/ 22 h 87"/>
                <a:gd name="T74" fmla="*/ 20 w 20"/>
                <a:gd name="T75" fmla="*/ 73 h 87"/>
                <a:gd name="T76" fmla="*/ 17 w 20"/>
                <a:gd name="T77" fmla="*/ 75 h 87"/>
                <a:gd name="T78" fmla="*/ 13 w 20"/>
                <a:gd name="T79" fmla="*/ 78 h 87"/>
                <a:gd name="T80" fmla="*/ 14 w 20"/>
                <a:gd name="T81" fmla="*/ 76 h 87"/>
                <a:gd name="T82" fmla="*/ 14 w 20"/>
                <a:gd name="T83" fmla="*/ 78 h 87"/>
                <a:gd name="T84" fmla="*/ 13 w 20"/>
                <a:gd name="T85" fmla="*/ 87 h 87"/>
                <a:gd name="T86" fmla="*/ 0 w 20"/>
                <a:gd name="T87" fmla="*/ 68 h 87"/>
                <a:gd name="T88" fmla="*/ 6 w 20"/>
                <a:gd name="T89" fmla="*/ 80 h 87"/>
                <a:gd name="T90" fmla="*/ 13 w 20"/>
                <a:gd name="T91" fmla="*/ 85 h 87"/>
                <a:gd name="T92" fmla="*/ 6 w 20"/>
                <a:gd name="T93" fmla="*/ 84 h 87"/>
                <a:gd name="T94" fmla="*/ 17 w 20"/>
                <a:gd name="T95" fmla="*/ 84 h 87"/>
                <a:gd name="T96" fmla="*/ 19 w 20"/>
                <a:gd name="T97" fmla="*/ 53 h 87"/>
                <a:gd name="T98" fmla="*/ 5 w 20"/>
                <a:gd name="T99" fmla="*/ 71 h 87"/>
                <a:gd name="T100" fmla="*/ 14 w 20"/>
                <a:gd name="T101" fmla="*/ 42 h 87"/>
                <a:gd name="T102" fmla="*/ 9 w 20"/>
                <a:gd name="T103" fmla="*/ 39 h 87"/>
                <a:gd name="T104" fmla="*/ 17 w 20"/>
                <a:gd name="T105" fmla="*/ 37 h 87"/>
                <a:gd name="T106" fmla="*/ 18 w 20"/>
                <a:gd name="T107" fmla="*/ 55 h 87"/>
                <a:gd name="T108" fmla="*/ 7 w 20"/>
                <a:gd name="T109" fmla="*/ 39 h 87"/>
                <a:gd name="T110" fmla="*/ 6 w 20"/>
                <a:gd name="T111" fmla="*/ 45 h 87"/>
                <a:gd name="T112" fmla="*/ 13 w 20"/>
                <a:gd name="T113" fmla="*/ 53 h 87"/>
                <a:gd name="T114" fmla="*/ 17 w 20"/>
                <a:gd name="T115" fmla="*/ 55 h 87"/>
                <a:gd name="T116" fmla="*/ 13 w 20"/>
                <a:gd name="T117" fmla="*/ 33 h 87"/>
                <a:gd name="T118" fmla="*/ 18 w 20"/>
                <a:gd name="T119" fmla="*/ 3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 h="87">
                  <a:moveTo>
                    <a:pt x="13" y="27"/>
                  </a:moveTo>
                  <a:lnTo>
                    <a:pt x="13" y="27"/>
                  </a:lnTo>
                  <a:lnTo>
                    <a:pt x="13" y="27"/>
                  </a:lnTo>
                  <a:lnTo>
                    <a:pt x="13" y="27"/>
                  </a:lnTo>
                  <a:lnTo>
                    <a:pt x="13" y="27"/>
                  </a:lnTo>
                  <a:lnTo>
                    <a:pt x="13" y="27"/>
                  </a:lnTo>
                  <a:lnTo>
                    <a:pt x="13" y="27"/>
                  </a:lnTo>
                  <a:lnTo>
                    <a:pt x="13" y="27"/>
                  </a:lnTo>
                  <a:lnTo>
                    <a:pt x="13" y="27"/>
                  </a:lnTo>
                  <a:lnTo>
                    <a:pt x="13" y="27"/>
                  </a:lnTo>
                  <a:lnTo>
                    <a:pt x="13" y="27"/>
                  </a:lnTo>
                  <a:lnTo>
                    <a:pt x="13" y="27"/>
                  </a:lnTo>
                  <a:lnTo>
                    <a:pt x="13" y="27"/>
                  </a:lnTo>
                  <a:lnTo>
                    <a:pt x="13" y="27"/>
                  </a:lnTo>
                  <a:lnTo>
                    <a:pt x="13" y="27"/>
                  </a:lnTo>
                  <a:lnTo>
                    <a:pt x="13" y="27"/>
                  </a:lnTo>
                  <a:lnTo>
                    <a:pt x="13" y="27"/>
                  </a:lnTo>
                  <a:lnTo>
                    <a:pt x="13" y="27"/>
                  </a:lnTo>
                  <a:lnTo>
                    <a:pt x="13" y="27"/>
                  </a:lnTo>
                  <a:lnTo>
                    <a:pt x="13" y="27"/>
                  </a:lnTo>
                  <a:lnTo>
                    <a:pt x="13" y="27"/>
                  </a:lnTo>
                  <a:lnTo>
                    <a:pt x="13" y="27"/>
                  </a:lnTo>
                  <a:lnTo>
                    <a:pt x="13" y="27"/>
                  </a:lnTo>
                  <a:lnTo>
                    <a:pt x="13" y="27"/>
                  </a:lnTo>
                  <a:close/>
                  <a:moveTo>
                    <a:pt x="16" y="59"/>
                  </a:moveTo>
                  <a:lnTo>
                    <a:pt x="16" y="59"/>
                  </a:lnTo>
                  <a:lnTo>
                    <a:pt x="16" y="59"/>
                  </a:lnTo>
                  <a:lnTo>
                    <a:pt x="16" y="59"/>
                  </a:lnTo>
                  <a:lnTo>
                    <a:pt x="16" y="59"/>
                  </a:lnTo>
                  <a:lnTo>
                    <a:pt x="16" y="59"/>
                  </a:lnTo>
                  <a:lnTo>
                    <a:pt x="16" y="59"/>
                  </a:lnTo>
                  <a:lnTo>
                    <a:pt x="16" y="58"/>
                  </a:lnTo>
                  <a:lnTo>
                    <a:pt x="16" y="58"/>
                  </a:lnTo>
                  <a:lnTo>
                    <a:pt x="16" y="59"/>
                  </a:lnTo>
                  <a:lnTo>
                    <a:pt x="16" y="59"/>
                  </a:lnTo>
                  <a:lnTo>
                    <a:pt x="16" y="59"/>
                  </a:lnTo>
                  <a:lnTo>
                    <a:pt x="16" y="59"/>
                  </a:lnTo>
                  <a:lnTo>
                    <a:pt x="16" y="59"/>
                  </a:lnTo>
                  <a:lnTo>
                    <a:pt x="16" y="59"/>
                  </a:lnTo>
                  <a:lnTo>
                    <a:pt x="16" y="59"/>
                  </a:lnTo>
                  <a:close/>
                  <a:moveTo>
                    <a:pt x="6" y="27"/>
                  </a:moveTo>
                  <a:lnTo>
                    <a:pt x="6" y="27"/>
                  </a:lnTo>
                  <a:lnTo>
                    <a:pt x="6" y="27"/>
                  </a:lnTo>
                  <a:lnTo>
                    <a:pt x="6" y="26"/>
                  </a:lnTo>
                  <a:lnTo>
                    <a:pt x="6" y="26"/>
                  </a:lnTo>
                  <a:lnTo>
                    <a:pt x="6" y="26"/>
                  </a:lnTo>
                  <a:lnTo>
                    <a:pt x="6" y="26"/>
                  </a:lnTo>
                  <a:lnTo>
                    <a:pt x="6" y="26"/>
                  </a:lnTo>
                  <a:lnTo>
                    <a:pt x="6" y="27"/>
                  </a:lnTo>
                  <a:lnTo>
                    <a:pt x="6" y="27"/>
                  </a:lnTo>
                  <a:lnTo>
                    <a:pt x="6" y="27"/>
                  </a:lnTo>
                  <a:lnTo>
                    <a:pt x="6" y="27"/>
                  </a:lnTo>
                  <a:lnTo>
                    <a:pt x="6" y="27"/>
                  </a:lnTo>
                  <a:close/>
                  <a:moveTo>
                    <a:pt x="13" y="49"/>
                  </a:moveTo>
                  <a:lnTo>
                    <a:pt x="13" y="49"/>
                  </a:lnTo>
                  <a:lnTo>
                    <a:pt x="13" y="49"/>
                  </a:lnTo>
                  <a:lnTo>
                    <a:pt x="13" y="49"/>
                  </a:lnTo>
                  <a:lnTo>
                    <a:pt x="13" y="49"/>
                  </a:lnTo>
                  <a:lnTo>
                    <a:pt x="13" y="49"/>
                  </a:lnTo>
                  <a:lnTo>
                    <a:pt x="13" y="49"/>
                  </a:lnTo>
                  <a:lnTo>
                    <a:pt x="13" y="49"/>
                  </a:lnTo>
                  <a:lnTo>
                    <a:pt x="13" y="49"/>
                  </a:lnTo>
                  <a:lnTo>
                    <a:pt x="13" y="49"/>
                  </a:lnTo>
                  <a:lnTo>
                    <a:pt x="13" y="49"/>
                  </a:lnTo>
                  <a:close/>
                  <a:moveTo>
                    <a:pt x="14" y="35"/>
                  </a:moveTo>
                  <a:lnTo>
                    <a:pt x="14" y="35"/>
                  </a:lnTo>
                  <a:lnTo>
                    <a:pt x="14" y="35"/>
                  </a:lnTo>
                  <a:lnTo>
                    <a:pt x="14" y="35"/>
                  </a:lnTo>
                  <a:lnTo>
                    <a:pt x="14" y="35"/>
                  </a:lnTo>
                  <a:lnTo>
                    <a:pt x="14" y="35"/>
                  </a:lnTo>
                  <a:lnTo>
                    <a:pt x="14" y="35"/>
                  </a:lnTo>
                  <a:lnTo>
                    <a:pt x="14" y="35"/>
                  </a:lnTo>
                  <a:lnTo>
                    <a:pt x="14" y="35"/>
                  </a:lnTo>
                  <a:lnTo>
                    <a:pt x="14" y="35"/>
                  </a:lnTo>
                  <a:close/>
                  <a:moveTo>
                    <a:pt x="3" y="72"/>
                  </a:moveTo>
                  <a:lnTo>
                    <a:pt x="3" y="72"/>
                  </a:lnTo>
                  <a:lnTo>
                    <a:pt x="3" y="72"/>
                  </a:lnTo>
                  <a:lnTo>
                    <a:pt x="3" y="72"/>
                  </a:lnTo>
                  <a:lnTo>
                    <a:pt x="3" y="72"/>
                  </a:lnTo>
                  <a:lnTo>
                    <a:pt x="3" y="72"/>
                  </a:lnTo>
                  <a:lnTo>
                    <a:pt x="3" y="72"/>
                  </a:lnTo>
                  <a:lnTo>
                    <a:pt x="3" y="72"/>
                  </a:lnTo>
                  <a:lnTo>
                    <a:pt x="3" y="72"/>
                  </a:lnTo>
                  <a:lnTo>
                    <a:pt x="3" y="72"/>
                  </a:lnTo>
                  <a:lnTo>
                    <a:pt x="3" y="72"/>
                  </a:lnTo>
                  <a:lnTo>
                    <a:pt x="3" y="72"/>
                  </a:lnTo>
                  <a:close/>
                  <a:moveTo>
                    <a:pt x="14" y="24"/>
                  </a:moveTo>
                  <a:lnTo>
                    <a:pt x="14" y="24"/>
                  </a:lnTo>
                  <a:lnTo>
                    <a:pt x="14" y="24"/>
                  </a:lnTo>
                  <a:lnTo>
                    <a:pt x="14" y="24"/>
                  </a:lnTo>
                  <a:lnTo>
                    <a:pt x="14" y="24"/>
                  </a:lnTo>
                  <a:lnTo>
                    <a:pt x="14" y="24"/>
                  </a:lnTo>
                  <a:lnTo>
                    <a:pt x="14" y="24"/>
                  </a:lnTo>
                  <a:lnTo>
                    <a:pt x="14" y="24"/>
                  </a:lnTo>
                  <a:lnTo>
                    <a:pt x="14" y="24"/>
                  </a:lnTo>
                  <a:lnTo>
                    <a:pt x="14" y="24"/>
                  </a:lnTo>
                  <a:lnTo>
                    <a:pt x="14" y="24"/>
                  </a:lnTo>
                  <a:lnTo>
                    <a:pt x="14" y="24"/>
                  </a:lnTo>
                  <a:close/>
                  <a:moveTo>
                    <a:pt x="13" y="22"/>
                  </a:moveTo>
                  <a:lnTo>
                    <a:pt x="13" y="22"/>
                  </a:lnTo>
                  <a:lnTo>
                    <a:pt x="13" y="22"/>
                  </a:lnTo>
                  <a:lnTo>
                    <a:pt x="13" y="22"/>
                  </a:lnTo>
                  <a:lnTo>
                    <a:pt x="13" y="22"/>
                  </a:lnTo>
                  <a:lnTo>
                    <a:pt x="13" y="22"/>
                  </a:lnTo>
                  <a:lnTo>
                    <a:pt x="13" y="22"/>
                  </a:lnTo>
                  <a:lnTo>
                    <a:pt x="13" y="22"/>
                  </a:lnTo>
                  <a:lnTo>
                    <a:pt x="13" y="22"/>
                  </a:lnTo>
                  <a:lnTo>
                    <a:pt x="13" y="22"/>
                  </a:lnTo>
                  <a:lnTo>
                    <a:pt x="13" y="22"/>
                  </a:lnTo>
                  <a:lnTo>
                    <a:pt x="13" y="22"/>
                  </a:lnTo>
                  <a:lnTo>
                    <a:pt x="13" y="22"/>
                  </a:lnTo>
                  <a:lnTo>
                    <a:pt x="13" y="22"/>
                  </a:lnTo>
                  <a:lnTo>
                    <a:pt x="13" y="22"/>
                  </a:lnTo>
                  <a:lnTo>
                    <a:pt x="13" y="22"/>
                  </a:lnTo>
                  <a:lnTo>
                    <a:pt x="13" y="22"/>
                  </a:lnTo>
                  <a:lnTo>
                    <a:pt x="13" y="22"/>
                  </a:lnTo>
                  <a:close/>
                  <a:moveTo>
                    <a:pt x="5" y="22"/>
                  </a:moveTo>
                  <a:lnTo>
                    <a:pt x="5" y="22"/>
                  </a:lnTo>
                  <a:lnTo>
                    <a:pt x="5" y="22"/>
                  </a:lnTo>
                  <a:lnTo>
                    <a:pt x="5" y="22"/>
                  </a:lnTo>
                  <a:lnTo>
                    <a:pt x="5" y="22"/>
                  </a:lnTo>
                  <a:lnTo>
                    <a:pt x="5" y="22"/>
                  </a:lnTo>
                  <a:lnTo>
                    <a:pt x="5" y="22"/>
                  </a:lnTo>
                  <a:lnTo>
                    <a:pt x="5" y="22"/>
                  </a:lnTo>
                  <a:lnTo>
                    <a:pt x="5" y="22"/>
                  </a:lnTo>
                  <a:lnTo>
                    <a:pt x="5" y="22"/>
                  </a:lnTo>
                  <a:lnTo>
                    <a:pt x="5" y="22"/>
                  </a:lnTo>
                  <a:lnTo>
                    <a:pt x="5" y="22"/>
                  </a:lnTo>
                  <a:lnTo>
                    <a:pt x="5" y="22"/>
                  </a:lnTo>
                  <a:lnTo>
                    <a:pt x="5" y="22"/>
                  </a:lnTo>
                  <a:lnTo>
                    <a:pt x="5" y="22"/>
                  </a:lnTo>
                  <a:close/>
                  <a:moveTo>
                    <a:pt x="6" y="57"/>
                  </a:moveTo>
                  <a:lnTo>
                    <a:pt x="6" y="57"/>
                  </a:lnTo>
                  <a:lnTo>
                    <a:pt x="6" y="57"/>
                  </a:lnTo>
                  <a:lnTo>
                    <a:pt x="6" y="57"/>
                  </a:lnTo>
                  <a:lnTo>
                    <a:pt x="6" y="57"/>
                  </a:lnTo>
                  <a:lnTo>
                    <a:pt x="6" y="57"/>
                  </a:lnTo>
                  <a:lnTo>
                    <a:pt x="6" y="57"/>
                  </a:lnTo>
                  <a:lnTo>
                    <a:pt x="6" y="57"/>
                  </a:lnTo>
                  <a:lnTo>
                    <a:pt x="6" y="57"/>
                  </a:lnTo>
                  <a:lnTo>
                    <a:pt x="6" y="57"/>
                  </a:lnTo>
                  <a:lnTo>
                    <a:pt x="6" y="57"/>
                  </a:lnTo>
                  <a:lnTo>
                    <a:pt x="6" y="57"/>
                  </a:lnTo>
                  <a:lnTo>
                    <a:pt x="6" y="57"/>
                  </a:lnTo>
                  <a:lnTo>
                    <a:pt x="6" y="57"/>
                  </a:lnTo>
                  <a:close/>
                  <a:moveTo>
                    <a:pt x="13" y="35"/>
                  </a:moveTo>
                  <a:lnTo>
                    <a:pt x="13" y="35"/>
                  </a:lnTo>
                  <a:lnTo>
                    <a:pt x="13" y="35"/>
                  </a:lnTo>
                  <a:lnTo>
                    <a:pt x="13" y="35"/>
                  </a:lnTo>
                  <a:lnTo>
                    <a:pt x="13" y="35"/>
                  </a:lnTo>
                  <a:lnTo>
                    <a:pt x="13" y="34"/>
                  </a:lnTo>
                  <a:lnTo>
                    <a:pt x="13" y="34"/>
                  </a:lnTo>
                  <a:lnTo>
                    <a:pt x="13" y="35"/>
                  </a:lnTo>
                  <a:lnTo>
                    <a:pt x="13" y="35"/>
                  </a:lnTo>
                  <a:lnTo>
                    <a:pt x="13" y="35"/>
                  </a:lnTo>
                  <a:lnTo>
                    <a:pt x="13" y="35"/>
                  </a:lnTo>
                  <a:lnTo>
                    <a:pt x="13" y="35"/>
                  </a:lnTo>
                  <a:close/>
                  <a:moveTo>
                    <a:pt x="9" y="37"/>
                  </a:moveTo>
                  <a:lnTo>
                    <a:pt x="9" y="37"/>
                  </a:lnTo>
                  <a:lnTo>
                    <a:pt x="9" y="37"/>
                  </a:lnTo>
                  <a:lnTo>
                    <a:pt x="9" y="37"/>
                  </a:lnTo>
                  <a:lnTo>
                    <a:pt x="9" y="37"/>
                  </a:lnTo>
                  <a:lnTo>
                    <a:pt x="9" y="37"/>
                  </a:lnTo>
                  <a:lnTo>
                    <a:pt x="9" y="37"/>
                  </a:lnTo>
                  <a:lnTo>
                    <a:pt x="9" y="37"/>
                  </a:lnTo>
                  <a:close/>
                  <a:moveTo>
                    <a:pt x="11" y="19"/>
                  </a:moveTo>
                  <a:lnTo>
                    <a:pt x="11" y="19"/>
                  </a:lnTo>
                  <a:lnTo>
                    <a:pt x="11" y="19"/>
                  </a:lnTo>
                  <a:lnTo>
                    <a:pt x="11" y="19"/>
                  </a:lnTo>
                  <a:lnTo>
                    <a:pt x="11" y="19"/>
                  </a:lnTo>
                  <a:lnTo>
                    <a:pt x="11" y="19"/>
                  </a:lnTo>
                  <a:lnTo>
                    <a:pt x="11" y="19"/>
                  </a:lnTo>
                  <a:lnTo>
                    <a:pt x="11" y="19"/>
                  </a:lnTo>
                  <a:lnTo>
                    <a:pt x="11" y="19"/>
                  </a:lnTo>
                  <a:lnTo>
                    <a:pt x="11" y="19"/>
                  </a:lnTo>
                  <a:lnTo>
                    <a:pt x="11" y="19"/>
                  </a:lnTo>
                  <a:lnTo>
                    <a:pt x="11" y="19"/>
                  </a:lnTo>
                  <a:close/>
                  <a:moveTo>
                    <a:pt x="11" y="18"/>
                  </a:moveTo>
                  <a:lnTo>
                    <a:pt x="11" y="18"/>
                  </a:lnTo>
                  <a:lnTo>
                    <a:pt x="11" y="18"/>
                  </a:lnTo>
                  <a:lnTo>
                    <a:pt x="11" y="18"/>
                  </a:lnTo>
                  <a:lnTo>
                    <a:pt x="11" y="18"/>
                  </a:lnTo>
                  <a:lnTo>
                    <a:pt x="11" y="18"/>
                  </a:lnTo>
                  <a:lnTo>
                    <a:pt x="11" y="18"/>
                  </a:lnTo>
                  <a:lnTo>
                    <a:pt x="11" y="18"/>
                  </a:lnTo>
                  <a:lnTo>
                    <a:pt x="11" y="18"/>
                  </a:lnTo>
                  <a:lnTo>
                    <a:pt x="11" y="18"/>
                  </a:lnTo>
                  <a:lnTo>
                    <a:pt x="11" y="18"/>
                  </a:lnTo>
                  <a:lnTo>
                    <a:pt x="11" y="18"/>
                  </a:lnTo>
                  <a:lnTo>
                    <a:pt x="11" y="18"/>
                  </a:lnTo>
                  <a:close/>
                  <a:moveTo>
                    <a:pt x="9" y="17"/>
                  </a:moveTo>
                  <a:lnTo>
                    <a:pt x="9" y="17"/>
                  </a:lnTo>
                  <a:lnTo>
                    <a:pt x="9" y="17"/>
                  </a:lnTo>
                  <a:lnTo>
                    <a:pt x="9" y="15"/>
                  </a:lnTo>
                  <a:lnTo>
                    <a:pt x="9" y="17"/>
                  </a:lnTo>
                  <a:lnTo>
                    <a:pt x="9" y="17"/>
                  </a:lnTo>
                  <a:lnTo>
                    <a:pt x="9" y="17"/>
                  </a:lnTo>
                  <a:lnTo>
                    <a:pt x="9" y="17"/>
                  </a:lnTo>
                  <a:lnTo>
                    <a:pt x="9" y="17"/>
                  </a:lnTo>
                  <a:lnTo>
                    <a:pt x="9" y="17"/>
                  </a:lnTo>
                  <a:close/>
                  <a:moveTo>
                    <a:pt x="11" y="18"/>
                  </a:moveTo>
                  <a:lnTo>
                    <a:pt x="11" y="18"/>
                  </a:lnTo>
                  <a:lnTo>
                    <a:pt x="11" y="17"/>
                  </a:lnTo>
                  <a:lnTo>
                    <a:pt x="11" y="17"/>
                  </a:lnTo>
                  <a:lnTo>
                    <a:pt x="11" y="17"/>
                  </a:lnTo>
                  <a:lnTo>
                    <a:pt x="11" y="17"/>
                  </a:lnTo>
                  <a:lnTo>
                    <a:pt x="11" y="17"/>
                  </a:lnTo>
                  <a:lnTo>
                    <a:pt x="11" y="17"/>
                  </a:lnTo>
                  <a:lnTo>
                    <a:pt x="11" y="17"/>
                  </a:lnTo>
                  <a:lnTo>
                    <a:pt x="11" y="17"/>
                  </a:lnTo>
                  <a:lnTo>
                    <a:pt x="11" y="17"/>
                  </a:lnTo>
                  <a:lnTo>
                    <a:pt x="11" y="18"/>
                  </a:lnTo>
                  <a:lnTo>
                    <a:pt x="11" y="18"/>
                  </a:lnTo>
                  <a:close/>
                  <a:moveTo>
                    <a:pt x="10" y="15"/>
                  </a:moveTo>
                  <a:lnTo>
                    <a:pt x="10" y="15"/>
                  </a:lnTo>
                  <a:lnTo>
                    <a:pt x="10" y="15"/>
                  </a:lnTo>
                  <a:lnTo>
                    <a:pt x="10" y="15"/>
                  </a:lnTo>
                  <a:lnTo>
                    <a:pt x="10" y="15"/>
                  </a:lnTo>
                  <a:lnTo>
                    <a:pt x="10" y="15"/>
                  </a:lnTo>
                  <a:lnTo>
                    <a:pt x="10" y="15"/>
                  </a:lnTo>
                  <a:lnTo>
                    <a:pt x="10" y="15"/>
                  </a:lnTo>
                  <a:lnTo>
                    <a:pt x="10" y="15"/>
                  </a:lnTo>
                  <a:lnTo>
                    <a:pt x="10" y="15"/>
                  </a:lnTo>
                  <a:lnTo>
                    <a:pt x="10" y="15"/>
                  </a:lnTo>
                  <a:lnTo>
                    <a:pt x="10" y="15"/>
                  </a:lnTo>
                  <a:lnTo>
                    <a:pt x="10" y="15"/>
                  </a:lnTo>
                  <a:lnTo>
                    <a:pt x="10" y="15"/>
                  </a:lnTo>
                  <a:lnTo>
                    <a:pt x="10" y="15"/>
                  </a:lnTo>
                  <a:lnTo>
                    <a:pt x="10" y="15"/>
                  </a:lnTo>
                  <a:close/>
                  <a:moveTo>
                    <a:pt x="9" y="15"/>
                  </a:moveTo>
                  <a:lnTo>
                    <a:pt x="9" y="15"/>
                  </a:lnTo>
                  <a:lnTo>
                    <a:pt x="9" y="15"/>
                  </a:lnTo>
                  <a:lnTo>
                    <a:pt x="9" y="15"/>
                  </a:lnTo>
                  <a:lnTo>
                    <a:pt x="9" y="15"/>
                  </a:lnTo>
                  <a:lnTo>
                    <a:pt x="9" y="15"/>
                  </a:lnTo>
                  <a:lnTo>
                    <a:pt x="9" y="15"/>
                  </a:lnTo>
                  <a:lnTo>
                    <a:pt x="9" y="15"/>
                  </a:lnTo>
                  <a:lnTo>
                    <a:pt x="9" y="15"/>
                  </a:lnTo>
                  <a:lnTo>
                    <a:pt x="9" y="15"/>
                  </a:lnTo>
                  <a:close/>
                  <a:moveTo>
                    <a:pt x="10" y="15"/>
                  </a:moveTo>
                  <a:lnTo>
                    <a:pt x="10" y="15"/>
                  </a:lnTo>
                  <a:lnTo>
                    <a:pt x="10" y="15"/>
                  </a:lnTo>
                  <a:lnTo>
                    <a:pt x="10" y="14"/>
                  </a:lnTo>
                  <a:lnTo>
                    <a:pt x="10" y="14"/>
                  </a:lnTo>
                  <a:lnTo>
                    <a:pt x="10" y="14"/>
                  </a:lnTo>
                  <a:lnTo>
                    <a:pt x="10" y="14"/>
                  </a:lnTo>
                  <a:lnTo>
                    <a:pt x="10" y="15"/>
                  </a:lnTo>
                  <a:lnTo>
                    <a:pt x="10" y="15"/>
                  </a:lnTo>
                  <a:lnTo>
                    <a:pt x="10" y="15"/>
                  </a:lnTo>
                  <a:lnTo>
                    <a:pt x="10" y="15"/>
                  </a:lnTo>
                  <a:close/>
                  <a:moveTo>
                    <a:pt x="0" y="14"/>
                  </a:moveTo>
                  <a:lnTo>
                    <a:pt x="0" y="14"/>
                  </a:lnTo>
                  <a:lnTo>
                    <a:pt x="0" y="13"/>
                  </a:lnTo>
                  <a:lnTo>
                    <a:pt x="0" y="13"/>
                  </a:lnTo>
                  <a:lnTo>
                    <a:pt x="0" y="13"/>
                  </a:lnTo>
                  <a:lnTo>
                    <a:pt x="0" y="13"/>
                  </a:lnTo>
                  <a:lnTo>
                    <a:pt x="0" y="13"/>
                  </a:lnTo>
                  <a:lnTo>
                    <a:pt x="0" y="13"/>
                  </a:lnTo>
                  <a:lnTo>
                    <a:pt x="0" y="13"/>
                  </a:lnTo>
                  <a:lnTo>
                    <a:pt x="0" y="14"/>
                  </a:lnTo>
                  <a:lnTo>
                    <a:pt x="0" y="14"/>
                  </a:lnTo>
                  <a:lnTo>
                    <a:pt x="0" y="14"/>
                  </a:lnTo>
                  <a:close/>
                  <a:moveTo>
                    <a:pt x="7" y="13"/>
                  </a:moveTo>
                  <a:lnTo>
                    <a:pt x="7" y="13"/>
                  </a:lnTo>
                  <a:lnTo>
                    <a:pt x="7" y="13"/>
                  </a:lnTo>
                  <a:lnTo>
                    <a:pt x="7" y="13"/>
                  </a:lnTo>
                  <a:lnTo>
                    <a:pt x="7" y="13"/>
                  </a:lnTo>
                  <a:lnTo>
                    <a:pt x="7" y="13"/>
                  </a:lnTo>
                  <a:lnTo>
                    <a:pt x="7" y="13"/>
                  </a:lnTo>
                  <a:lnTo>
                    <a:pt x="7" y="13"/>
                  </a:lnTo>
                  <a:lnTo>
                    <a:pt x="7" y="13"/>
                  </a:lnTo>
                  <a:lnTo>
                    <a:pt x="7" y="13"/>
                  </a:lnTo>
                  <a:lnTo>
                    <a:pt x="7" y="13"/>
                  </a:lnTo>
                  <a:lnTo>
                    <a:pt x="7" y="13"/>
                  </a:lnTo>
                  <a:lnTo>
                    <a:pt x="7" y="13"/>
                  </a:lnTo>
                  <a:lnTo>
                    <a:pt x="7" y="13"/>
                  </a:lnTo>
                  <a:close/>
                  <a:moveTo>
                    <a:pt x="14" y="59"/>
                  </a:moveTo>
                  <a:lnTo>
                    <a:pt x="14" y="59"/>
                  </a:lnTo>
                  <a:lnTo>
                    <a:pt x="14" y="59"/>
                  </a:lnTo>
                  <a:lnTo>
                    <a:pt x="14" y="59"/>
                  </a:lnTo>
                  <a:lnTo>
                    <a:pt x="14" y="59"/>
                  </a:lnTo>
                  <a:lnTo>
                    <a:pt x="14" y="59"/>
                  </a:lnTo>
                  <a:lnTo>
                    <a:pt x="14" y="59"/>
                  </a:lnTo>
                  <a:lnTo>
                    <a:pt x="14" y="59"/>
                  </a:lnTo>
                  <a:lnTo>
                    <a:pt x="14" y="59"/>
                  </a:lnTo>
                  <a:lnTo>
                    <a:pt x="14" y="59"/>
                  </a:lnTo>
                  <a:lnTo>
                    <a:pt x="14" y="59"/>
                  </a:lnTo>
                  <a:close/>
                  <a:moveTo>
                    <a:pt x="7" y="9"/>
                  </a:moveTo>
                  <a:lnTo>
                    <a:pt x="7" y="9"/>
                  </a:lnTo>
                  <a:lnTo>
                    <a:pt x="7" y="9"/>
                  </a:lnTo>
                  <a:lnTo>
                    <a:pt x="7" y="9"/>
                  </a:lnTo>
                  <a:lnTo>
                    <a:pt x="7" y="9"/>
                  </a:lnTo>
                  <a:lnTo>
                    <a:pt x="7" y="9"/>
                  </a:lnTo>
                  <a:lnTo>
                    <a:pt x="7" y="9"/>
                  </a:lnTo>
                  <a:lnTo>
                    <a:pt x="7" y="9"/>
                  </a:lnTo>
                  <a:lnTo>
                    <a:pt x="7" y="9"/>
                  </a:lnTo>
                  <a:lnTo>
                    <a:pt x="7" y="9"/>
                  </a:lnTo>
                  <a:lnTo>
                    <a:pt x="7" y="9"/>
                  </a:lnTo>
                  <a:lnTo>
                    <a:pt x="7" y="9"/>
                  </a:lnTo>
                  <a:close/>
                  <a:moveTo>
                    <a:pt x="7" y="8"/>
                  </a:moveTo>
                  <a:lnTo>
                    <a:pt x="7" y="8"/>
                  </a:lnTo>
                  <a:lnTo>
                    <a:pt x="7" y="8"/>
                  </a:lnTo>
                  <a:lnTo>
                    <a:pt x="7" y="8"/>
                  </a:lnTo>
                  <a:lnTo>
                    <a:pt x="7" y="8"/>
                  </a:lnTo>
                  <a:lnTo>
                    <a:pt x="7" y="8"/>
                  </a:lnTo>
                  <a:lnTo>
                    <a:pt x="7" y="8"/>
                  </a:lnTo>
                  <a:lnTo>
                    <a:pt x="7" y="8"/>
                  </a:lnTo>
                  <a:lnTo>
                    <a:pt x="7" y="8"/>
                  </a:lnTo>
                  <a:lnTo>
                    <a:pt x="7" y="8"/>
                  </a:lnTo>
                  <a:lnTo>
                    <a:pt x="7" y="8"/>
                  </a:lnTo>
                  <a:lnTo>
                    <a:pt x="7" y="8"/>
                  </a:lnTo>
                  <a:lnTo>
                    <a:pt x="7" y="8"/>
                  </a:lnTo>
                  <a:lnTo>
                    <a:pt x="7" y="8"/>
                  </a:lnTo>
                  <a:close/>
                  <a:moveTo>
                    <a:pt x="16" y="60"/>
                  </a:moveTo>
                  <a:lnTo>
                    <a:pt x="16" y="60"/>
                  </a:lnTo>
                  <a:lnTo>
                    <a:pt x="16" y="60"/>
                  </a:lnTo>
                  <a:lnTo>
                    <a:pt x="16" y="60"/>
                  </a:lnTo>
                  <a:lnTo>
                    <a:pt x="16" y="60"/>
                  </a:lnTo>
                  <a:lnTo>
                    <a:pt x="16" y="60"/>
                  </a:lnTo>
                  <a:lnTo>
                    <a:pt x="16" y="60"/>
                  </a:lnTo>
                  <a:lnTo>
                    <a:pt x="16" y="60"/>
                  </a:lnTo>
                  <a:lnTo>
                    <a:pt x="16" y="60"/>
                  </a:lnTo>
                  <a:lnTo>
                    <a:pt x="16" y="60"/>
                  </a:lnTo>
                  <a:lnTo>
                    <a:pt x="16" y="60"/>
                  </a:lnTo>
                  <a:lnTo>
                    <a:pt x="16" y="60"/>
                  </a:lnTo>
                  <a:lnTo>
                    <a:pt x="16" y="60"/>
                  </a:lnTo>
                  <a:lnTo>
                    <a:pt x="16" y="60"/>
                  </a:lnTo>
                  <a:close/>
                  <a:moveTo>
                    <a:pt x="9" y="8"/>
                  </a:moveTo>
                  <a:lnTo>
                    <a:pt x="9" y="8"/>
                  </a:lnTo>
                  <a:lnTo>
                    <a:pt x="9" y="8"/>
                  </a:lnTo>
                  <a:lnTo>
                    <a:pt x="9" y="8"/>
                  </a:lnTo>
                  <a:lnTo>
                    <a:pt x="9" y="7"/>
                  </a:lnTo>
                  <a:lnTo>
                    <a:pt x="9" y="7"/>
                  </a:lnTo>
                  <a:lnTo>
                    <a:pt x="9" y="7"/>
                  </a:lnTo>
                  <a:lnTo>
                    <a:pt x="9" y="7"/>
                  </a:lnTo>
                  <a:lnTo>
                    <a:pt x="9" y="7"/>
                  </a:lnTo>
                  <a:lnTo>
                    <a:pt x="9" y="7"/>
                  </a:lnTo>
                  <a:lnTo>
                    <a:pt x="9" y="7"/>
                  </a:lnTo>
                  <a:lnTo>
                    <a:pt x="9" y="7"/>
                  </a:lnTo>
                  <a:lnTo>
                    <a:pt x="9" y="8"/>
                  </a:lnTo>
                  <a:lnTo>
                    <a:pt x="9" y="8"/>
                  </a:lnTo>
                  <a:lnTo>
                    <a:pt x="9" y="8"/>
                  </a:lnTo>
                  <a:lnTo>
                    <a:pt x="9" y="8"/>
                  </a:lnTo>
                  <a:lnTo>
                    <a:pt x="9" y="8"/>
                  </a:lnTo>
                  <a:close/>
                  <a:moveTo>
                    <a:pt x="9" y="7"/>
                  </a:moveTo>
                  <a:lnTo>
                    <a:pt x="9" y="7"/>
                  </a:lnTo>
                  <a:lnTo>
                    <a:pt x="9" y="7"/>
                  </a:lnTo>
                  <a:lnTo>
                    <a:pt x="9" y="7"/>
                  </a:lnTo>
                  <a:lnTo>
                    <a:pt x="9" y="7"/>
                  </a:lnTo>
                  <a:lnTo>
                    <a:pt x="9" y="7"/>
                  </a:lnTo>
                  <a:lnTo>
                    <a:pt x="9" y="7"/>
                  </a:lnTo>
                  <a:lnTo>
                    <a:pt x="9" y="7"/>
                  </a:lnTo>
                  <a:lnTo>
                    <a:pt x="9" y="7"/>
                  </a:lnTo>
                  <a:lnTo>
                    <a:pt x="9" y="7"/>
                  </a:lnTo>
                  <a:lnTo>
                    <a:pt x="9" y="7"/>
                  </a:lnTo>
                  <a:lnTo>
                    <a:pt x="9" y="7"/>
                  </a:lnTo>
                  <a:lnTo>
                    <a:pt x="9" y="6"/>
                  </a:lnTo>
                  <a:lnTo>
                    <a:pt x="9" y="6"/>
                  </a:lnTo>
                  <a:lnTo>
                    <a:pt x="9" y="6"/>
                  </a:lnTo>
                  <a:lnTo>
                    <a:pt x="9" y="6"/>
                  </a:lnTo>
                  <a:lnTo>
                    <a:pt x="9" y="6"/>
                  </a:lnTo>
                  <a:lnTo>
                    <a:pt x="9" y="6"/>
                  </a:lnTo>
                  <a:lnTo>
                    <a:pt x="9" y="6"/>
                  </a:lnTo>
                  <a:lnTo>
                    <a:pt x="9" y="6"/>
                  </a:lnTo>
                  <a:lnTo>
                    <a:pt x="10" y="6"/>
                  </a:lnTo>
                  <a:lnTo>
                    <a:pt x="10" y="6"/>
                  </a:lnTo>
                  <a:lnTo>
                    <a:pt x="10" y="6"/>
                  </a:lnTo>
                  <a:lnTo>
                    <a:pt x="10" y="6"/>
                  </a:lnTo>
                  <a:lnTo>
                    <a:pt x="10" y="6"/>
                  </a:lnTo>
                  <a:lnTo>
                    <a:pt x="10" y="6"/>
                  </a:lnTo>
                  <a:lnTo>
                    <a:pt x="10" y="6"/>
                  </a:lnTo>
                  <a:lnTo>
                    <a:pt x="10" y="6"/>
                  </a:lnTo>
                  <a:lnTo>
                    <a:pt x="10" y="6"/>
                  </a:lnTo>
                  <a:lnTo>
                    <a:pt x="9" y="6"/>
                  </a:lnTo>
                  <a:lnTo>
                    <a:pt x="9" y="6"/>
                  </a:lnTo>
                  <a:lnTo>
                    <a:pt x="9" y="7"/>
                  </a:lnTo>
                  <a:lnTo>
                    <a:pt x="9" y="7"/>
                  </a:lnTo>
                  <a:lnTo>
                    <a:pt x="9" y="7"/>
                  </a:lnTo>
                  <a:lnTo>
                    <a:pt x="9" y="7"/>
                  </a:lnTo>
                  <a:lnTo>
                    <a:pt x="9" y="7"/>
                  </a:lnTo>
                  <a:lnTo>
                    <a:pt x="9" y="7"/>
                  </a:lnTo>
                  <a:lnTo>
                    <a:pt x="9" y="7"/>
                  </a:lnTo>
                  <a:lnTo>
                    <a:pt x="9" y="7"/>
                  </a:lnTo>
                  <a:lnTo>
                    <a:pt x="9" y="7"/>
                  </a:lnTo>
                  <a:lnTo>
                    <a:pt x="9" y="7"/>
                  </a:lnTo>
                  <a:lnTo>
                    <a:pt x="9" y="7"/>
                  </a:lnTo>
                  <a:lnTo>
                    <a:pt x="9" y="7"/>
                  </a:lnTo>
                  <a:close/>
                  <a:moveTo>
                    <a:pt x="10" y="5"/>
                  </a:moveTo>
                  <a:lnTo>
                    <a:pt x="10" y="5"/>
                  </a:lnTo>
                  <a:lnTo>
                    <a:pt x="10" y="5"/>
                  </a:lnTo>
                  <a:lnTo>
                    <a:pt x="10" y="5"/>
                  </a:lnTo>
                  <a:lnTo>
                    <a:pt x="10" y="5"/>
                  </a:lnTo>
                  <a:lnTo>
                    <a:pt x="10" y="5"/>
                  </a:lnTo>
                  <a:lnTo>
                    <a:pt x="10" y="5"/>
                  </a:lnTo>
                  <a:lnTo>
                    <a:pt x="10" y="5"/>
                  </a:lnTo>
                  <a:lnTo>
                    <a:pt x="10" y="5"/>
                  </a:lnTo>
                  <a:lnTo>
                    <a:pt x="10" y="5"/>
                  </a:lnTo>
                  <a:lnTo>
                    <a:pt x="10" y="5"/>
                  </a:lnTo>
                  <a:lnTo>
                    <a:pt x="10" y="5"/>
                  </a:lnTo>
                  <a:lnTo>
                    <a:pt x="10" y="5"/>
                  </a:lnTo>
                  <a:lnTo>
                    <a:pt x="10" y="5"/>
                  </a:lnTo>
                  <a:lnTo>
                    <a:pt x="10" y="5"/>
                  </a:lnTo>
                  <a:lnTo>
                    <a:pt x="10" y="5"/>
                  </a:lnTo>
                  <a:lnTo>
                    <a:pt x="10" y="5"/>
                  </a:lnTo>
                  <a:lnTo>
                    <a:pt x="10" y="5"/>
                  </a:lnTo>
                  <a:lnTo>
                    <a:pt x="10" y="5"/>
                  </a:lnTo>
                  <a:lnTo>
                    <a:pt x="10" y="5"/>
                  </a:lnTo>
                  <a:lnTo>
                    <a:pt x="10" y="5"/>
                  </a:lnTo>
                  <a:lnTo>
                    <a:pt x="10" y="5"/>
                  </a:lnTo>
                  <a:close/>
                  <a:moveTo>
                    <a:pt x="5" y="2"/>
                  </a:moveTo>
                  <a:lnTo>
                    <a:pt x="5" y="2"/>
                  </a:lnTo>
                  <a:lnTo>
                    <a:pt x="5" y="2"/>
                  </a:lnTo>
                  <a:lnTo>
                    <a:pt x="5" y="2"/>
                  </a:lnTo>
                  <a:lnTo>
                    <a:pt x="5" y="2"/>
                  </a:lnTo>
                  <a:lnTo>
                    <a:pt x="5" y="2"/>
                  </a:lnTo>
                  <a:lnTo>
                    <a:pt x="5" y="2"/>
                  </a:lnTo>
                  <a:lnTo>
                    <a:pt x="5" y="2"/>
                  </a:lnTo>
                  <a:lnTo>
                    <a:pt x="5" y="2"/>
                  </a:lnTo>
                  <a:lnTo>
                    <a:pt x="5" y="2"/>
                  </a:lnTo>
                  <a:close/>
                  <a:moveTo>
                    <a:pt x="10" y="2"/>
                  </a:moveTo>
                  <a:lnTo>
                    <a:pt x="10" y="2"/>
                  </a:lnTo>
                  <a:lnTo>
                    <a:pt x="10" y="2"/>
                  </a:lnTo>
                  <a:lnTo>
                    <a:pt x="10" y="2"/>
                  </a:lnTo>
                  <a:lnTo>
                    <a:pt x="10" y="2"/>
                  </a:lnTo>
                  <a:lnTo>
                    <a:pt x="10" y="2"/>
                  </a:lnTo>
                  <a:lnTo>
                    <a:pt x="10" y="2"/>
                  </a:lnTo>
                  <a:lnTo>
                    <a:pt x="10" y="2"/>
                  </a:lnTo>
                  <a:lnTo>
                    <a:pt x="10" y="2"/>
                  </a:lnTo>
                  <a:lnTo>
                    <a:pt x="10" y="2"/>
                  </a:lnTo>
                  <a:lnTo>
                    <a:pt x="10" y="2"/>
                  </a:lnTo>
                  <a:lnTo>
                    <a:pt x="10" y="2"/>
                  </a:lnTo>
                  <a:lnTo>
                    <a:pt x="10" y="2"/>
                  </a:lnTo>
                  <a:lnTo>
                    <a:pt x="10" y="2"/>
                  </a:lnTo>
                  <a:lnTo>
                    <a:pt x="10" y="2"/>
                  </a:lnTo>
                  <a:lnTo>
                    <a:pt x="10" y="2"/>
                  </a:lnTo>
                  <a:lnTo>
                    <a:pt x="10" y="2"/>
                  </a:lnTo>
                  <a:lnTo>
                    <a:pt x="10" y="2"/>
                  </a:lnTo>
                  <a:lnTo>
                    <a:pt x="10" y="2"/>
                  </a:lnTo>
                  <a:lnTo>
                    <a:pt x="10" y="2"/>
                  </a:lnTo>
                  <a:lnTo>
                    <a:pt x="10" y="2"/>
                  </a:lnTo>
                  <a:close/>
                  <a:moveTo>
                    <a:pt x="10" y="4"/>
                  </a:moveTo>
                  <a:lnTo>
                    <a:pt x="10" y="4"/>
                  </a:lnTo>
                  <a:lnTo>
                    <a:pt x="10" y="4"/>
                  </a:lnTo>
                  <a:lnTo>
                    <a:pt x="10" y="4"/>
                  </a:lnTo>
                  <a:lnTo>
                    <a:pt x="10" y="4"/>
                  </a:lnTo>
                  <a:lnTo>
                    <a:pt x="10" y="4"/>
                  </a:lnTo>
                  <a:lnTo>
                    <a:pt x="10" y="4"/>
                  </a:lnTo>
                  <a:lnTo>
                    <a:pt x="10" y="4"/>
                  </a:lnTo>
                  <a:lnTo>
                    <a:pt x="10" y="4"/>
                  </a:lnTo>
                  <a:lnTo>
                    <a:pt x="10" y="4"/>
                  </a:lnTo>
                  <a:lnTo>
                    <a:pt x="10" y="4"/>
                  </a:lnTo>
                  <a:lnTo>
                    <a:pt x="10" y="4"/>
                  </a:lnTo>
                  <a:lnTo>
                    <a:pt x="10" y="4"/>
                  </a:lnTo>
                  <a:lnTo>
                    <a:pt x="10" y="4"/>
                  </a:lnTo>
                  <a:lnTo>
                    <a:pt x="10" y="4"/>
                  </a:lnTo>
                  <a:lnTo>
                    <a:pt x="10" y="4"/>
                  </a:lnTo>
                  <a:lnTo>
                    <a:pt x="10" y="4"/>
                  </a:lnTo>
                  <a:lnTo>
                    <a:pt x="10" y="4"/>
                  </a:lnTo>
                  <a:lnTo>
                    <a:pt x="10" y="4"/>
                  </a:lnTo>
                  <a:lnTo>
                    <a:pt x="10" y="4"/>
                  </a:lnTo>
                  <a:lnTo>
                    <a:pt x="10" y="4"/>
                  </a:lnTo>
                  <a:lnTo>
                    <a:pt x="10" y="4"/>
                  </a:lnTo>
                  <a:lnTo>
                    <a:pt x="10" y="4"/>
                  </a:lnTo>
                  <a:lnTo>
                    <a:pt x="10" y="4"/>
                  </a:lnTo>
                  <a:lnTo>
                    <a:pt x="10" y="4"/>
                  </a:lnTo>
                  <a:lnTo>
                    <a:pt x="10" y="4"/>
                  </a:lnTo>
                  <a:lnTo>
                    <a:pt x="10" y="4"/>
                  </a:lnTo>
                  <a:lnTo>
                    <a:pt x="10" y="4"/>
                  </a:lnTo>
                  <a:lnTo>
                    <a:pt x="10" y="4"/>
                  </a:lnTo>
                  <a:lnTo>
                    <a:pt x="10" y="4"/>
                  </a:lnTo>
                  <a:lnTo>
                    <a:pt x="10" y="4"/>
                  </a:lnTo>
                  <a:lnTo>
                    <a:pt x="10" y="4"/>
                  </a:lnTo>
                  <a:close/>
                  <a:moveTo>
                    <a:pt x="2" y="62"/>
                  </a:moveTo>
                  <a:lnTo>
                    <a:pt x="2" y="62"/>
                  </a:lnTo>
                  <a:lnTo>
                    <a:pt x="2" y="62"/>
                  </a:lnTo>
                  <a:lnTo>
                    <a:pt x="0" y="62"/>
                  </a:lnTo>
                  <a:lnTo>
                    <a:pt x="2" y="62"/>
                  </a:lnTo>
                  <a:lnTo>
                    <a:pt x="2" y="62"/>
                  </a:lnTo>
                  <a:lnTo>
                    <a:pt x="2" y="62"/>
                  </a:lnTo>
                  <a:lnTo>
                    <a:pt x="2" y="62"/>
                  </a:lnTo>
                  <a:lnTo>
                    <a:pt x="2" y="62"/>
                  </a:lnTo>
                  <a:lnTo>
                    <a:pt x="2" y="62"/>
                  </a:lnTo>
                  <a:lnTo>
                    <a:pt x="2" y="62"/>
                  </a:lnTo>
                  <a:lnTo>
                    <a:pt x="2" y="62"/>
                  </a:lnTo>
                  <a:close/>
                  <a:moveTo>
                    <a:pt x="6" y="1"/>
                  </a:moveTo>
                  <a:lnTo>
                    <a:pt x="6" y="1"/>
                  </a:lnTo>
                  <a:lnTo>
                    <a:pt x="6" y="1"/>
                  </a:lnTo>
                  <a:lnTo>
                    <a:pt x="6" y="1"/>
                  </a:lnTo>
                  <a:lnTo>
                    <a:pt x="6" y="1"/>
                  </a:lnTo>
                  <a:lnTo>
                    <a:pt x="6" y="1"/>
                  </a:lnTo>
                  <a:lnTo>
                    <a:pt x="6" y="1"/>
                  </a:lnTo>
                  <a:lnTo>
                    <a:pt x="6" y="1"/>
                  </a:lnTo>
                  <a:lnTo>
                    <a:pt x="6" y="1"/>
                  </a:lnTo>
                  <a:lnTo>
                    <a:pt x="6" y="1"/>
                  </a:lnTo>
                  <a:lnTo>
                    <a:pt x="6" y="1"/>
                  </a:lnTo>
                  <a:lnTo>
                    <a:pt x="6" y="1"/>
                  </a:lnTo>
                  <a:lnTo>
                    <a:pt x="6" y="1"/>
                  </a:lnTo>
                  <a:lnTo>
                    <a:pt x="6" y="1"/>
                  </a:lnTo>
                  <a:lnTo>
                    <a:pt x="6" y="1"/>
                  </a:lnTo>
                  <a:lnTo>
                    <a:pt x="6" y="1"/>
                  </a:lnTo>
                  <a:close/>
                  <a:moveTo>
                    <a:pt x="5" y="0"/>
                  </a:moveTo>
                  <a:lnTo>
                    <a:pt x="5" y="0"/>
                  </a:lnTo>
                  <a:lnTo>
                    <a:pt x="5" y="0"/>
                  </a:lnTo>
                  <a:lnTo>
                    <a:pt x="5" y="0"/>
                  </a:lnTo>
                  <a:lnTo>
                    <a:pt x="5" y="0"/>
                  </a:lnTo>
                  <a:lnTo>
                    <a:pt x="5" y="0"/>
                  </a:lnTo>
                  <a:lnTo>
                    <a:pt x="5" y="0"/>
                  </a:lnTo>
                  <a:lnTo>
                    <a:pt x="5" y="0"/>
                  </a:lnTo>
                  <a:lnTo>
                    <a:pt x="5" y="0"/>
                  </a:lnTo>
                  <a:lnTo>
                    <a:pt x="5" y="0"/>
                  </a:lnTo>
                  <a:lnTo>
                    <a:pt x="5" y="0"/>
                  </a:lnTo>
                  <a:lnTo>
                    <a:pt x="5" y="0"/>
                  </a:lnTo>
                  <a:lnTo>
                    <a:pt x="5" y="0"/>
                  </a:lnTo>
                  <a:lnTo>
                    <a:pt x="5" y="0"/>
                  </a:lnTo>
                  <a:lnTo>
                    <a:pt x="5" y="0"/>
                  </a:lnTo>
                  <a:close/>
                  <a:moveTo>
                    <a:pt x="6" y="26"/>
                  </a:moveTo>
                  <a:lnTo>
                    <a:pt x="6" y="26"/>
                  </a:lnTo>
                  <a:lnTo>
                    <a:pt x="6" y="26"/>
                  </a:lnTo>
                  <a:lnTo>
                    <a:pt x="6" y="26"/>
                  </a:lnTo>
                  <a:lnTo>
                    <a:pt x="6" y="26"/>
                  </a:lnTo>
                  <a:lnTo>
                    <a:pt x="6" y="26"/>
                  </a:lnTo>
                  <a:lnTo>
                    <a:pt x="6" y="26"/>
                  </a:lnTo>
                  <a:lnTo>
                    <a:pt x="6" y="26"/>
                  </a:lnTo>
                  <a:lnTo>
                    <a:pt x="6" y="26"/>
                  </a:lnTo>
                  <a:lnTo>
                    <a:pt x="6" y="26"/>
                  </a:lnTo>
                  <a:lnTo>
                    <a:pt x="6" y="26"/>
                  </a:lnTo>
                  <a:close/>
                  <a:moveTo>
                    <a:pt x="14" y="25"/>
                  </a:moveTo>
                  <a:lnTo>
                    <a:pt x="14" y="25"/>
                  </a:lnTo>
                  <a:lnTo>
                    <a:pt x="14" y="25"/>
                  </a:lnTo>
                  <a:lnTo>
                    <a:pt x="14" y="25"/>
                  </a:lnTo>
                  <a:lnTo>
                    <a:pt x="14" y="25"/>
                  </a:lnTo>
                  <a:lnTo>
                    <a:pt x="14" y="25"/>
                  </a:lnTo>
                  <a:lnTo>
                    <a:pt x="14" y="25"/>
                  </a:lnTo>
                  <a:lnTo>
                    <a:pt x="14" y="25"/>
                  </a:lnTo>
                  <a:lnTo>
                    <a:pt x="14" y="25"/>
                  </a:lnTo>
                  <a:lnTo>
                    <a:pt x="14" y="25"/>
                  </a:lnTo>
                  <a:lnTo>
                    <a:pt x="14" y="25"/>
                  </a:lnTo>
                  <a:lnTo>
                    <a:pt x="14" y="25"/>
                  </a:lnTo>
                  <a:lnTo>
                    <a:pt x="14" y="25"/>
                  </a:lnTo>
                  <a:lnTo>
                    <a:pt x="14" y="25"/>
                  </a:lnTo>
                  <a:lnTo>
                    <a:pt x="14" y="25"/>
                  </a:lnTo>
                  <a:lnTo>
                    <a:pt x="14" y="25"/>
                  </a:lnTo>
                  <a:lnTo>
                    <a:pt x="14" y="25"/>
                  </a:lnTo>
                  <a:lnTo>
                    <a:pt x="14" y="25"/>
                  </a:lnTo>
                  <a:lnTo>
                    <a:pt x="14" y="25"/>
                  </a:lnTo>
                  <a:lnTo>
                    <a:pt x="14" y="25"/>
                  </a:lnTo>
                  <a:lnTo>
                    <a:pt x="14" y="25"/>
                  </a:lnTo>
                  <a:lnTo>
                    <a:pt x="14" y="25"/>
                  </a:lnTo>
                  <a:close/>
                  <a:moveTo>
                    <a:pt x="16" y="64"/>
                  </a:moveTo>
                  <a:lnTo>
                    <a:pt x="16" y="64"/>
                  </a:lnTo>
                  <a:lnTo>
                    <a:pt x="16" y="64"/>
                  </a:lnTo>
                  <a:lnTo>
                    <a:pt x="16" y="62"/>
                  </a:lnTo>
                  <a:lnTo>
                    <a:pt x="16" y="62"/>
                  </a:lnTo>
                  <a:lnTo>
                    <a:pt x="16" y="62"/>
                  </a:lnTo>
                  <a:lnTo>
                    <a:pt x="16" y="62"/>
                  </a:lnTo>
                  <a:lnTo>
                    <a:pt x="16" y="64"/>
                  </a:lnTo>
                  <a:lnTo>
                    <a:pt x="16" y="64"/>
                  </a:lnTo>
                  <a:lnTo>
                    <a:pt x="16" y="64"/>
                  </a:lnTo>
                  <a:close/>
                  <a:moveTo>
                    <a:pt x="16" y="59"/>
                  </a:moveTo>
                  <a:lnTo>
                    <a:pt x="16" y="59"/>
                  </a:lnTo>
                  <a:lnTo>
                    <a:pt x="16" y="59"/>
                  </a:lnTo>
                  <a:lnTo>
                    <a:pt x="16" y="59"/>
                  </a:lnTo>
                  <a:lnTo>
                    <a:pt x="16" y="59"/>
                  </a:lnTo>
                  <a:lnTo>
                    <a:pt x="16" y="59"/>
                  </a:lnTo>
                  <a:lnTo>
                    <a:pt x="16" y="59"/>
                  </a:lnTo>
                  <a:lnTo>
                    <a:pt x="16" y="59"/>
                  </a:lnTo>
                  <a:lnTo>
                    <a:pt x="16" y="59"/>
                  </a:lnTo>
                  <a:lnTo>
                    <a:pt x="16" y="59"/>
                  </a:lnTo>
                  <a:lnTo>
                    <a:pt x="16" y="59"/>
                  </a:lnTo>
                  <a:lnTo>
                    <a:pt x="16" y="59"/>
                  </a:lnTo>
                  <a:lnTo>
                    <a:pt x="16" y="59"/>
                  </a:lnTo>
                  <a:lnTo>
                    <a:pt x="16" y="59"/>
                  </a:lnTo>
                  <a:lnTo>
                    <a:pt x="16" y="59"/>
                  </a:lnTo>
                  <a:lnTo>
                    <a:pt x="16" y="59"/>
                  </a:lnTo>
                  <a:close/>
                  <a:moveTo>
                    <a:pt x="12" y="64"/>
                  </a:moveTo>
                  <a:lnTo>
                    <a:pt x="12" y="64"/>
                  </a:lnTo>
                  <a:lnTo>
                    <a:pt x="12" y="64"/>
                  </a:lnTo>
                  <a:lnTo>
                    <a:pt x="12" y="64"/>
                  </a:lnTo>
                  <a:lnTo>
                    <a:pt x="12" y="64"/>
                  </a:lnTo>
                  <a:lnTo>
                    <a:pt x="12" y="64"/>
                  </a:lnTo>
                  <a:lnTo>
                    <a:pt x="12" y="64"/>
                  </a:lnTo>
                  <a:lnTo>
                    <a:pt x="12" y="64"/>
                  </a:lnTo>
                  <a:close/>
                  <a:moveTo>
                    <a:pt x="14" y="64"/>
                  </a:moveTo>
                  <a:lnTo>
                    <a:pt x="14" y="64"/>
                  </a:lnTo>
                  <a:lnTo>
                    <a:pt x="14" y="64"/>
                  </a:lnTo>
                  <a:lnTo>
                    <a:pt x="14" y="64"/>
                  </a:lnTo>
                  <a:lnTo>
                    <a:pt x="14" y="64"/>
                  </a:lnTo>
                  <a:lnTo>
                    <a:pt x="14" y="64"/>
                  </a:lnTo>
                  <a:lnTo>
                    <a:pt x="14" y="64"/>
                  </a:lnTo>
                  <a:lnTo>
                    <a:pt x="14" y="64"/>
                  </a:lnTo>
                  <a:lnTo>
                    <a:pt x="14" y="64"/>
                  </a:lnTo>
                  <a:lnTo>
                    <a:pt x="14" y="64"/>
                  </a:lnTo>
                  <a:lnTo>
                    <a:pt x="14" y="64"/>
                  </a:lnTo>
                  <a:lnTo>
                    <a:pt x="14" y="64"/>
                  </a:lnTo>
                  <a:lnTo>
                    <a:pt x="14" y="64"/>
                  </a:lnTo>
                  <a:lnTo>
                    <a:pt x="14" y="64"/>
                  </a:lnTo>
                  <a:close/>
                  <a:moveTo>
                    <a:pt x="14" y="66"/>
                  </a:moveTo>
                  <a:lnTo>
                    <a:pt x="14" y="66"/>
                  </a:lnTo>
                  <a:lnTo>
                    <a:pt x="14" y="66"/>
                  </a:lnTo>
                  <a:lnTo>
                    <a:pt x="14" y="66"/>
                  </a:lnTo>
                  <a:lnTo>
                    <a:pt x="14" y="66"/>
                  </a:lnTo>
                  <a:lnTo>
                    <a:pt x="14" y="65"/>
                  </a:lnTo>
                  <a:lnTo>
                    <a:pt x="14" y="66"/>
                  </a:lnTo>
                  <a:lnTo>
                    <a:pt x="14" y="66"/>
                  </a:lnTo>
                  <a:lnTo>
                    <a:pt x="14" y="66"/>
                  </a:lnTo>
                  <a:lnTo>
                    <a:pt x="14" y="66"/>
                  </a:lnTo>
                  <a:lnTo>
                    <a:pt x="14" y="66"/>
                  </a:lnTo>
                  <a:lnTo>
                    <a:pt x="14" y="66"/>
                  </a:lnTo>
                  <a:close/>
                  <a:moveTo>
                    <a:pt x="4" y="72"/>
                  </a:moveTo>
                  <a:lnTo>
                    <a:pt x="4" y="72"/>
                  </a:lnTo>
                  <a:lnTo>
                    <a:pt x="4" y="72"/>
                  </a:lnTo>
                  <a:lnTo>
                    <a:pt x="4" y="72"/>
                  </a:lnTo>
                  <a:lnTo>
                    <a:pt x="4" y="72"/>
                  </a:lnTo>
                  <a:lnTo>
                    <a:pt x="4" y="72"/>
                  </a:lnTo>
                  <a:lnTo>
                    <a:pt x="4" y="72"/>
                  </a:lnTo>
                  <a:lnTo>
                    <a:pt x="4" y="72"/>
                  </a:lnTo>
                  <a:lnTo>
                    <a:pt x="4" y="72"/>
                  </a:lnTo>
                  <a:lnTo>
                    <a:pt x="4" y="72"/>
                  </a:lnTo>
                  <a:lnTo>
                    <a:pt x="4" y="72"/>
                  </a:lnTo>
                  <a:close/>
                  <a:moveTo>
                    <a:pt x="5" y="22"/>
                  </a:moveTo>
                  <a:lnTo>
                    <a:pt x="5" y="22"/>
                  </a:lnTo>
                  <a:lnTo>
                    <a:pt x="5" y="22"/>
                  </a:lnTo>
                  <a:lnTo>
                    <a:pt x="5" y="22"/>
                  </a:lnTo>
                  <a:lnTo>
                    <a:pt x="5" y="22"/>
                  </a:lnTo>
                  <a:lnTo>
                    <a:pt x="5" y="22"/>
                  </a:lnTo>
                  <a:lnTo>
                    <a:pt x="5" y="22"/>
                  </a:lnTo>
                  <a:lnTo>
                    <a:pt x="5" y="22"/>
                  </a:lnTo>
                  <a:lnTo>
                    <a:pt x="5" y="22"/>
                  </a:lnTo>
                  <a:lnTo>
                    <a:pt x="5" y="22"/>
                  </a:lnTo>
                  <a:lnTo>
                    <a:pt x="5" y="22"/>
                  </a:lnTo>
                  <a:close/>
                  <a:moveTo>
                    <a:pt x="6" y="25"/>
                  </a:moveTo>
                  <a:lnTo>
                    <a:pt x="6" y="25"/>
                  </a:lnTo>
                  <a:lnTo>
                    <a:pt x="6" y="25"/>
                  </a:lnTo>
                  <a:lnTo>
                    <a:pt x="6" y="25"/>
                  </a:lnTo>
                  <a:lnTo>
                    <a:pt x="6" y="25"/>
                  </a:lnTo>
                  <a:lnTo>
                    <a:pt x="6" y="25"/>
                  </a:lnTo>
                  <a:lnTo>
                    <a:pt x="6" y="25"/>
                  </a:lnTo>
                  <a:lnTo>
                    <a:pt x="6" y="25"/>
                  </a:lnTo>
                  <a:lnTo>
                    <a:pt x="6" y="25"/>
                  </a:lnTo>
                  <a:lnTo>
                    <a:pt x="6" y="25"/>
                  </a:lnTo>
                  <a:lnTo>
                    <a:pt x="6" y="25"/>
                  </a:lnTo>
                  <a:lnTo>
                    <a:pt x="6" y="25"/>
                  </a:lnTo>
                  <a:lnTo>
                    <a:pt x="6" y="25"/>
                  </a:lnTo>
                  <a:lnTo>
                    <a:pt x="6" y="25"/>
                  </a:lnTo>
                  <a:lnTo>
                    <a:pt x="6" y="25"/>
                  </a:lnTo>
                  <a:close/>
                  <a:moveTo>
                    <a:pt x="20" y="73"/>
                  </a:moveTo>
                  <a:lnTo>
                    <a:pt x="19" y="73"/>
                  </a:lnTo>
                  <a:lnTo>
                    <a:pt x="19" y="73"/>
                  </a:lnTo>
                  <a:lnTo>
                    <a:pt x="19" y="73"/>
                  </a:lnTo>
                  <a:lnTo>
                    <a:pt x="19" y="73"/>
                  </a:lnTo>
                  <a:lnTo>
                    <a:pt x="20" y="73"/>
                  </a:lnTo>
                  <a:lnTo>
                    <a:pt x="20" y="73"/>
                  </a:lnTo>
                  <a:lnTo>
                    <a:pt x="20" y="73"/>
                  </a:lnTo>
                  <a:close/>
                  <a:moveTo>
                    <a:pt x="17" y="75"/>
                  </a:moveTo>
                  <a:lnTo>
                    <a:pt x="17" y="75"/>
                  </a:lnTo>
                  <a:lnTo>
                    <a:pt x="17" y="75"/>
                  </a:lnTo>
                  <a:lnTo>
                    <a:pt x="17" y="75"/>
                  </a:lnTo>
                  <a:lnTo>
                    <a:pt x="17" y="75"/>
                  </a:lnTo>
                  <a:lnTo>
                    <a:pt x="17" y="75"/>
                  </a:lnTo>
                  <a:lnTo>
                    <a:pt x="17" y="75"/>
                  </a:lnTo>
                  <a:lnTo>
                    <a:pt x="17" y="75"/>
                  </a:lnTo>
                  <a:lnTo>
                    <a:pt x="17" y="75"/>
                  </a:lnTo>
                  <a:lnTo>
                    <a:pt x="17" y="75"/>
                  </a:lnTo>
                  <a:lnTo>
                    <a:pt x="17" y="75"/>
                  </a:lnTo>
                  <a:close/>
                  <a:moveTo>
                    <a:pt x="13" y="78"/>
                  </a:moveTo>
                  <a:lnTo>
                    <a:pt x="13" y="78"/>
                  </a:lnTo>
                  <a:lnTo>
                    <a:pt x="13" y="78"/>
                  </a:lnTo>
                  <a:lnTo>
                    <a:pt x="13" y="78"/>
                  </a:lnTo>
                  <a:lnTo>
                    <a:pt x="13" y="78"/>
                  </a:lnTo>
                  <a:lnTo>
                    <a:pt x="13" y="78"/>
                  </a:lnTo>
                  <a:lnTo>
                    <a:pt x="13" y="78"/>
                  </a:lnTo>
                  <a:lnTo>
                    <a:pt x="13" y="78"/>
                  </a:lnTo>
                  <a:lnTo>
                    <a:pt x="13" y="78"/>
                  </a:lnTo>
                  <a:lnTo>
                    <a:pt x="13" y="78"/>
                  </a:lnTo>
                  <a:lnTo>
                    <a:pt x="13" y="78"/>
                  </a:lnTo>
                  <a:lnTo>
                    <a:pt x="13" y="78"/>
                  </a:lnTo>
                  <a:lnTo>
                    <a:pt x="13" y="78"/>
                  </a:lnTo>
                  <a:lnTo>
                    <a:pt x="13" y="78"/>
                  </a:lnTo>
                  <a:lnTo>
                    <a:pt x="13" y="78"/>
                  </a:lnTo>
                  <a:lnTo>
                    <a:pt x="13" y="78"/>
                  </a:lnTo>
                  <a:lnTo>
                    <a:pt x="13" y="76"/>
                  </a:lnTo>
                  <a:lnTo>
                    <a:pt x="13" y="76"/>
                  </a:lnTo>
                  <a:lnTo>
                    <a:pt x="13" y="76"/>
                  </a:lnTo>
                  <a:lnTo>
                    <a:pt x="13" y="76"/>
                  </a:lnTo>
                  <a:lnTo>
                    <a:pt x="13" y="76"/>
                  </a:lnTo>
                  <a:lnTo>
                    <a:pt x="13" y="76"/>
                  </a:lnTo>
                  <a:lnTo>
                    <a:pt x="13" y="76"/>
                  </a:lnTo>
                  <a:lnTo>
                    <a:pt x="13" y="76"/>
                  </a:lnTo>
                  <a:lnTo>
                    <a:pt x="13" y="76"/>
                  </a:lnTo>
                  <a:lnTo>
                    <a:pt x="13" y="76"/>
                  </a:lnTo>
                  <a:lnTo>
                    <a:pt x="13" y="76"/>
                  </a:lnTo>
                  <a:lnTo>
                    <a:pt x="13" y="76"/>
                  </a:lnTo>
                  <a:lnTo>
                    <a:pt x="14" y="76"/>
                  </a:lnTo>
                  <a:lnTo>
                    <a:pt x="14" y="76"/>
                  </a:lnTo>
                  <a:lnTo>
                    <a:pt x="14" y="76"/>
                  </a:lnTo>
                  <a:lnTo>
                    <a:pt x="14" y="76"/>
                  </a:lnTo>
                  <a:lnTo>
                    <a:pt x="14" y="76"/>
                  </a:lnTo>
                  <a:lnTo>
                    <a:pt x="14" y="76"/>
                  </a:lnTo>
                  <a:lnTo>
                    <a:pt x="14" y="76"/>
                  </a:lnTo>
                  <a:lnTo>
                    <a:pt x="14" y="76"/>
                  </a:lnTo>
                  <a:lnTo>
                    <a:pt x="14" y="76"/>
                  </a:lnTo>
                  <a:lnTo>
                    <a:pt x="14" y="76"/>
                  </a:lnTo>
                  <a:lnTo>
                    <a:pt x="14" y="76"/>
                  </a:lnTo>
                  <a:lnTo>
                    <a:pt x="14" y="76"/>
                  </a:lnTo>
                  <a:lnTo>
                    <a:pt x="14" y="78"/>
                  </a:lnTo>
                  <a:lnTo>
                    <a:pt x="14" y="78"/>
                  </a:lnTo>
                  <a:lnTo>
                    <a:pt x="14" y="78"/>
                  </a:lnTo>
                  <a:lnTo>
                    <a:pt x="14" y="78"/>
                  </a:lnTo>
                  <a:lnTo>
                    <a:pt x="14" y="78"/>
                  </a:lnTo>
                  <a:lnTo>
                    <a:pt x="14" y="78"/>
                  </a:lnTo>
                  <a:lnTo>
                    <a:pt x="14" y="78"/>
                  </a:lnTo>
                  <a:lnTo>
                    <a:pt x="14" y="78"/>
                  </a:lnTo>
                  <a:lnTo>
                    <a:pt x="14" y="78"/>
                  </a:lnTo>
                  <a:lnTo>
                    <a:pt x="14" y="78"/>
                  </a:lnTo>
                  <a:lnTo>
                    <a:pt x="14" y="78"/>
                  </a:lnTo>
                  <a:lnTo>
                    <a:pt x="14" y="78"/>
                  </a:lnTo>
                  <a:lnTo>
                    <a:pt x="14" y="78"/>
                  </a:lnTo>
                  <a:lnTo>
                    <a:pt x="14" y="78"/>
                  </a:lnTo>
                  <a:lnTo>
                    <a:pt x="14" y="78"/>
                  </a:lnTo>
                  <a:lnTo>
                    <a:pt x="14" y="78"/>
                  </a:lnTo>
                  <a:lnTo>
                    <a:pt x="14" y="78"/>
                  </a:lnTo>
                  <a:lnTo>
                    <a:pt x="13" y="78"/>
                  </a:lnTo>
                  <a:lnTo>
                    <a:pt x="13" y="78"/>
                  </a:lnTo>
                  <a:lnTo>
                    <a:pt x="13" y="78"/>
                  </a:lnTo>
                  <a:lnTo>
                    <a:pt x="13" y="78"/>
                  </a:lnTo>
                  <a:lnTo>
                    <a:pt x="13" y="78"/>
                  </a:lnTo>
                  <a:lnTo>
                    <a:pt x="13" y="78"/>
                  </a:lnTo>
                  <a:close/>
                  <a:moveTo>
                    <a:pt x="13" y="87"/>
                  </a:moveTo>
                  <a:lnTo>
                    <a:pt x="13" y="87"/>
                  </a:lnTo>
                  <a:lnTo>
                    <a:pt x="13" y="87"/>
                  </a:lnTo>
                  <a:lnTo>
                    <a:pt x="13" y="87"/>
                  </a:lnTo>
                  <a:lnTo>
                    <a:pt x="13" y="87"/>
                  </a:lnTo>
                  <a:lnTo>
                    <a:pt x="13" y="87"/>
                  </a:lnTo>
                  <a:lnTo>
                    <a:pt x="13" y="87"/>
                  </a:lnTo>
                  <a:lnTo>
                    <a:pt x="13" y="87"/>
                  </a:lnTo>
                  <a:lnTo>
                    <a:pt x="13" y="87"/>
                  </a:lnTo>
                  <a:lnTo>
                    <a:pt x="13" y="87"/>
                  </a:lnTo>
                  <a:lnTo>
                    <a:pt x="13" y="87"/>
                  </a:lnTo>
                  <a:lnTo>
                    <a:pt x="13" y="87"/>
                  </a:lnTo>
                  <a:close/>
                  <a:moveTo>
                    <a:pt x="17" y="85"/>
                  </a:moveTo>
                  <a:lnTo>
                    <a:pt x="17" y="85"/>
                  </a:lnTo>
                  <a:lnTo>
                    <a:pt x="17" y="85"/>
                  </a:lnTo>
                  <a:lnTo>
                    <a:pt x="17" y="85"/>
                  </a:lnTo>
                  <a:lnTo>
                    <a:pt x="17" y="85"/>
                  </a:lnTo>
                  <a:lnTo>
                    <a:pt x="17" y="85"/>
                  </a:lnTo>
                  <a:lnTo>
                    <a:pt x="17" y="85"/>
                  </a:lnTo>
                  <a:lnTo>
                    <a:pt x="17" y="85"/>
                  </a:lnTo>
                  <a:close/>
                  <a:moveTo>
                    <a:pt x="0" y="68"/>
                  </a:moveTo>
                  <a:lnTo>
                    <a:pt x="0" y="68"/>
                  </a:lnTo>
                  <a:lnTo>
                    <a:pt x="0" y="68"/>
                  </a:lnTo>
                  <a:lnTo>
                    <a:pt x="0" y="68"/>
                  </a:lnTo>
                  <a:lnTo>
                    <a:pt x="0" y="68"/>
                  </a:lnTo>
                  <a:lnTo>
                    <a:pt x="0" y="68"/>
                  </a:lnTo>
                  <a:lnTo>
                    <a:pt x="0" y="68"/>
                  </a:lnTo>
                  <a:lnTo>
                    <a:pt x="2" y="68"/>
                  </a:lnTo>
                  <a:lnTo>
                    <a:pt x="2" y="68"/>
                  </a:lnTo>
                  <a:lnTo>
                    <a:pt x="2" y="68"/>
                  </a:lnTo>
                  <a:lnTo>
                    <a:pt x="0" y="68"/>
                  </a:lnTo>
                  <a:lnTo>
                    <a:pt x="0" y="68"/>
                  </a:lnTo>
                  <a:lnTo>
                    <a:pt x="0" y="68"/>
                  </a:lnTo>
                  <a:close/>
                  <a:moveTo>
                    <a:pt x="6" y="80"/>
                  </a:moveTo>
                  <a:lnTo>
                    <a:pt x="6" y="80"/>
                  </a:lnTo>
                  <a:lnTo>
                    <a:pt x="6" y="80"/>
                  </a:lnTo>
                  <a:lnTo>
                    <a:pt x="6" y="80"/>
                  </a:lnTo>
                  <a:lnTo>
                    <a:pt x="6" y="80"/>
                  </a:lnTo>
                  <a:lnTo>
                    <a:pt x="6" y="80"/>
                  </a:lnTo>
                  <a:lnTo>
                    <a:pt x="6" y="80"/>
                  </a:lnTo>
                  <a:lnTo>
                    <a:pt x="6" y="80"/>
                  </a:lnTo>
                  <a:lnTo>
                    <a:pt x="6" y="80"/>
                  </a:lnTo>
                  <a:lnTo>
                    <a:pt x="6" y="80"/>
                  </a:lnTo>
                  <a:lnTo>
                    <a:pt x="6" y="80"/>
                  </a:lnTo>
                  <a:close/>
                  <a:moveTo>
                    <a:pt x="13" y="85"/>
                  </a:moveTo>
                  <a:lnTo>
                    <a:pt x="13" y="85"/>
                  </a:lnTo>
                  <a:lnTo>
                    <a:pt x="13" y="85"/>
                  </a:lnTo>
                  <a:lnTo>
                    <a:pt x="13" y="85"/>
                  </a:lnTo>
                  <a:lnTo>
                    <a:pt x="13" y="85"/>
                  </a:lnTo>
                  <a:lnTo>
                    <a:pt x="13" y="85"/>
                  </a:lnTo>
                  <a:lnTo>
                    <a:pt x="13" y="85"/>
                  </a:lnTo>
                  <a:lnTo>
                    <a:pt x="13" y="85"/>
                  </a:lnTo>
                  <a:lnTo>
                    <a:pt x="13" y="85"/>
                  </a:lnTo>
                  <a:lnTo>
                    <a:pt x="13" y="85"/>
                  </a:lnTo>
                  <a:lnTo>
                    <a:pt x="13" y="85"/>
                  </a:lnTo>
                  <a:close/>
                  <a:moveTo>
                    <a:pt x="17" y="84"/>
                  </a:moveTo>
                  <a:lnTo>
                    <a:pt x="17" y="84"/>
                  </a:lnTo>
                  <a:lnTo>
                    <a:pt x="17" y="84"/>
                  </a:lnTo>
                  <a:lnTo>
                    <a:pt x="17" y="84"/>
                  </a:lnTo>
                  <a:lnTo>
                    <a:pt x="17" y="84"/>
                  </a:lnTo>
                  <a:lnTo>
                    <a:pt x="17" y="84"/>
                  </a:lnTo>
                  <a:lnTo>
                    <a:pt x="17" y="84"/>
                  </a:lnTo>
                  <a:lnTo>
                    <a:pt x="17" y="84"/>
                  </a:lnTo>
                  <a:lnTo>
                    <a:pt x="17" y="84"/>
                  </a:lnTo>
                  <a:lnTo>
                    <a:pt x="17" y="84"/>
                  </a:lnTo>
                  <a:lnTo>
                    <a:pt x="17" y="84"/>
                  </a:lnTo>
                  <a:lnTo>
                    <a:pt x="17" y="84"/>
                  </a:lnTo>
                  <a:lnTo>
                    <a:pt x="17" y="84"/>
                  </a:lnTo>
                  <a:lnTo>
                    <a:pt x="17" y="84"/>
                  </a:lnTo>
                  <a:lnTo>
                    <a:pt x="17" y="84"/>
                  </a:lnTo>
                  <a:lnTo>
                    <a:pt x="17" y="84"/>
                  </a:lnTo>
                  <a:close/>
                  <a:moveTo>
                    <a:pt x="6" y="84"/>
                  </a:moveTo>
                  <a:lnTo>
                    <a:pt x="6" y="84"/>
                  </a:lnTo>
                  <a:lnTo>
                    <a:pt x="6" y="84"/>
                  </a:lnTo>
                  <a:lnTo>
                    <a:pt x="6" y="84"/>
                  </a:lnTo>
                  <a:lnTo>
                    <a:pt x="6" y="84"/>
                  </a:lnTo>
                  <a:lnTo>
                    <a:pt x="6" y="84"/>
                  </a:lnTo>
                  <a:lnTo>
                    <a:pt x="6" y="84"/>
                  </a:lnTo>
                  <a:lnTo>
                    <a:pt x="6" y="84"/>
                  </a:lnTo>
                  <a:lnTo>
                    <a:pt x="6" y="84"/>
                  </a:lnTo>
                  <a:lnTo>
                    <a:pt x="6" y="84"/>
                  </a:lnTo>
                  <a:lnTo>
                    <a:pt x="6" y="84"/>
                  </a:lnTo>
                  <a:lnTo>
                    <a:pt x="6" y="84"/>
                  </a:lnTo>
                  <a:close/>
                  <a:moveTo>
                    <a:pt x="17" y="84"/>
                  </a:moveTo>
                  <a:lnTo>
                    <a:pt x="17" y="84"/>
                  </a:lnTo>
                  <a:lnTo>
                    <a:pt x="17" y="84"/>
                  </a:lnTo>
                  <a:lnTo>
                    <a:pt x="17" y="84"/>
                  </a:lnTo>
                  <a:lnTo>
                    <a:pt x="17" y="84"/>
                  </a:lnTo>
                  <a:lnTo>
                    <a:pt x="17" y="84"/>
                  </a:lnTo>
                  <a:lnTo>
                    <a:pt x="17" y="84"/>
                  </a:lnTo>
                  <a:lnTo>
                    <a:pt x="17" y="84"/>
                  </a:lnTo>
                  <a:lnTo>
                    <a:pt x="17" y="84"/>
                  </a:lnTo>
                  <a:lnTo>
                    <a:pt x="17" y="84"/>
                  </a:lnTo>
                  <a:close/>
                  <a:moveTo>
                    <a:pt x="17" y="85"/>
                  </a:moveTo>
                  <a:lnTo>
                    <a:pt x="16" y="85"/>
                  </a:lnTo>
                  <a:lnTo>
                    <a:pt x="16" y="85"/>
                  </a:lnTo>
                  <a:lnTo>
                    <a:pt x="16" y="85"/>
                  </a:lnTo>
                  <a:lnTo>
                    <a:pt x="16" y="85"/>
                  </a:lnTo>
                  <a:lnTo>
                    <a:pt x="17" y="85"/>
                  </a:lnTo>
                  <a:lnTo>
                    <a:pt x="17" y="85"/>
                  </a:lnTo>
                  <a:lnTo>
                    <a:pt x="17" y="85"/>
                  </a:lnTo>
                  <a:close/>
                  <a:moveTo>
                    <a:pt x="19" y="53"/>
                  </a:moveTo>
                  <a:lnTo>
                    <a:pt x="19" y="53"/>
                  </a:lnTo>
                  <a:lnTo>
                    <a:pt x="19" y="53"/>
                  </a:lnTo>
                  <a:lnTo>
                    <a:pt x="19" y="53"/>
                  </a:lnTo>
                  <a:lnTo>
                    <a:pt x="19" y="53"/>
                  </a:lnTo>
                  <a:lnTo>
                    <a:pt x="19" y="53"/>
                  </a:lnTo>
                  <a:lnTo>
                    <a:pt x="19" y="53"/>
                  </a:lnTo>
                  <a:lnTo>
                    <a:pt x="19" y="53"/>
                  </a:lnTo>
                  <a:lnTo>
                    <a:pt x="19" y="53"/>
                  </a:lnTo>
                  <a:close/>
                  <a:moveTo>
                    <a:pt x="5" y="72"/>
                  </a:moveTo>
                  <a:lnTo>
                    <a:pt x="5" y="72"/>
                  </a:lnTo>
                  <a:lnTo>
                    <a:pt x="5" y="72"/>
                  </a:lnTo>
                  <a:lnTo>
                    <a:pt x="5" y="72"/>
                  </a:lnTo>
                  <a:lnTo>
                    <a:pt x="5" y="72"/>
                  </a:lnTo>
                  <a:lnTo>
                    <a:pt x="5" y="72"/>
                  </a:lnTo>
                  <a:lnTo>
                    <a:pt x="5" y="72"/>
                  </a:lnTo>
                  <a:lnTo>
                    <a:pt x="5" y="71"/>
                  </a:lnTo>
                  <a:lnTo>
                    <a:pt x="5" y="71"/>
                  </a:lnTo>
                  <a:lnTo>
                    <a:pt x="5" y="71"/>
                  </a:lnTo>
                  <a:lnTo>
                    <a:pt x="5" y="71"/>
                  </a:lnTo>
                  <a:lnTo>
                    <a:pt x="5" y="71"/>
                  </a:lnTo>
                  <a:lnTo>
                    <a:pt x="5" y="71"/>
                  </a:lnTo>
                  <a:lnTo>
                    <a:pt x="5" y="72"/>
                  </a:lnTo>
                  <a:lnTo>
                    <a:pt x="5" y="72"/>
                  </a:lnTo>
                  <a:lnTo>
                    <a:pt x="5" y="72"/>
                  </a:lnTo>
                  <a:lnTo>
                    <a:pt x="5" y="72"/>
                  </a:lnTo>
                  <a:lnTo>
                    <a:pt x="5" y="72"/>
                  </a:lnTo>
                  <a:lnTo>
                    <a:pt x="5" y="72"/>
                  </a:lnTo>
                  <a:lnTo>
                    <a:pt x="5" y="72"/>
                  </a:lnTo>
                  <a:lnTo>
                    <a:pt x="5" y="72"/>
                  </a:lnTo>
                  <a:lnTo>
                    <a:pt x="5" y="72"/>
                  </a:lnTo>
                  <a:close/>
                  <a:moveTo>
                    <a:pt x="14" y="42"/>
                  </a:moveTo>
                  <a:lnTo>
                    <a:pt x="14" y="42"/>
                  </a:lnTo>
                  <a:lnTo>
                    <a:pt x="14" y="42"/>
                  </a:lnTo>
                  <a:lnTo>
                    <a:pt x="14" y="42"/>
                  </a:lnTo>
                  <a:lnTo>
                    <a:pt x="14" y="42"/>
                  </a:lnTo>
                  <a:lnTo>
                    <a:pt x="14" y="42"/>
                  </a:lnTo>
                  <a:lnTo>
                    <a:pt x="14" y="42"/>
                  </a:lnTo>
                  <a:lnTo>
                    <a:pt x="14" y="42"/>
                  </a:lnTo>
                  <a:lnTo>
                    <a:pt x="14" y="42"/>
                  </a:lnTo>
                  <a:lnTo>
                    <a:pt x="14" y="42"/>
                  </a:lnTo>
                  <a:lnTo>
                    <a:pt x="14" y="42"/>
                  </a:lnTo>
                  <a:lnTo>
                    <a:pt x="14" y="42"/>
                  </a:lnTo>
                  <a:lnTo>
                    <a:pt x="14" y="42"/>
                  </a:lnTo>
                  <a:lnTo>
                    <a:pt x="14" y="42"/>
                  </a:lnTo>
                  <a:lnTo>
                    <a:pt x="14" y="42"/>
                  </a:lnTo>
                  <a:close/>
                  <a:moveTo>
                    <a:pt x="9" y="39"/>
                  </a:moveTo>
                  <a:lnTo>
                    <a:pt x="9" y="39"/>
                  </a:lnTo>
                  <a:lnTo>
                    <a:pt x="9" y="39"/>
                  </a:lnTo>
                  <a:lnTo>
                    <a:pt x="9" y="39"/>
                  </a:lnTo>
                  <a:lnTo>
                    <a:pt x="9" y="39"/>
                  </a:lnTo>
                  <a:lnTo>
                    <a:pt x="9" y="39"/>
                  </a:lnTo>
                  <a:lnTo>
                    <a:pt x="9" y="39"/>
                  </a:lnTo>
                  <a:lnTo>
                    <a:pt x="9" y="39"/>
                  </a:lnTo>
                  <a:lnTo>
                    <a:pt x="9" y="39"/>
                  </a:lnTo>
                  <a:lnTo>
                    <a:pt x="9" y="39"/>
                  </a:lnTo>
                  <a:lnTo>
                    <a:pt x="9" y="39"/>
                  </a:lnTo>
                  <a:close/>
                  <a:moveTo>
                    <a:pt x="19" y="54"/>
                  </a:moveTo>
                  <a:lnTo>
                    <a:pt x="19" y="54"/>
                  </a:lnTo>
                  <a:lnTo>
                    <a:pt x="19" y="53"/>
                  </a:lnTo>
                  <a:lnTo>
                    <a:pt x="19" y="53"/>
                  </a:lnTo>
                  <a:lnTo>
                    <a:pt x="19" y="53"/>
                  </a:lnTo>
                  <a:lnTo>
                    <a:pt x="19" y="53"/>
                  </a:lnTo>
                  <a:lnTo>
                    <a:pt x="19" y="54"/>
                  </a:lnTo>
                  <a:lnTo>
                    <a:pt x="19" y="54"/>
                  </a:lnTo>
                  <a:lnTo>
                    <a:pt x="19" y="54"/>
                  </a:lnTo>
                  <a:lnTo>
                    <a:pt x="19" y="54"/>
                  </a:lnTo>
                  <a:close/>
                  <a:moveTo>
                    <a:pt x="17" y="37"/>
                  </a:moveTo>
                  <a:lnTo>
                    <a:pt x="17" y="37"/>
                  </a:lnTo>
                  <a:lnTo>
                    <a:pt x="17" y="37"/>
                  </a:lnTo>
                  <a:lnTo>
                    <a:pt x="17" y="37"/>
                  </a:lnTo>
                  <a:lnTo>
                    <a:pt x="17" y="37"/>
                  </a:lnTo>
                  <a:lnTo>
                    <a:pt x="17" y="37"/>
                  </a:lnTo>
                  <a:lnTo>
                    <a:pt x="17" y="37"/>
                  </a:lnTo>
                  <a:lnTo>
                    <a:pt x="17" y="37"/>
                  </a:lnTo>
                  <a:lnTo>
                    <a:pt x="17" y="37"/>
                  </a:lnTo>
                  <a:lnTo>
                    <a:pt x="17" y="37"/>
                  </a:lnTo>
                  <a:lnTo>
                    <a:pt x="17" y="37"/>
                  </a:lnTo>
                  <a:lnTo>
                    <a:pt x="17" y="37"/>
                  </a:lnTo>
                  <a:lnTo>
                    <a:pt x="17" y="37"/>
                  </a:lnTo>
                  <a:lnTo>
                    <a:pt x="17" y="37"/>
                  </a:lnTo>
                  <a:lnTo>
                    <a:pt x="17" y="37"/>
                  </a:lnTo>
                  <a:lnTo>
                    <a:pt x="17" y="37"/>
                  </a:lnTo>
                  <a:lnTo>
                    <a:pt x="17" y="37"/>
                  </a:lnTo>
                  <a:lnTo>
                    <a:pt x="17" y="37"/>
                  </a:lnTo>
                  <a:lnTo>
                    <a:pt x="17" y="37"/>
                  </a:lnTo>
                  <a:lnTo>
                    <a:pt x="17" y="37"/>
                  </a:lnTo>
                  <a:lnTo>
                    <a:pt x="17" y="37"/>
                  </a:lnTo>
                  <a:close/>
                  <a:moveTo>
                    <a:pt x="18" y="55"/>
                  </a:moveTo>
                  <a:lnTo>
                    <a:pt x="18" y="55"/>
                  </a:lnTo>
                  <a:lnTo>
                    <a:pt x="18" y="55"/>
                  </a:lnTo>
                  <a:lnTo>
                    <a:pt x="18" y="55"/>
                  </a:lnTo>
                  <a:lnTo>
                    <a:pt x="18" y="55"/>
                  </a:lnTo>
                  <a:lnTo>
                    <a:pt x="18" y="55"/>
                  </a:lnTo>
                  <a:lnTo>
                    <a:pt x="18" y="55"/>
                  </a:lnTo>
                  <a:lnTo>
                    <a:pt x="18" y="55"/>
                  </a:lnTo>
                  <a:lnTo>
                    <a:pt x="18" y="55"/>
                  </a:lnTo>
                  <a:lnTo>
                    <a:pt x="18" y="55"/>
                  </a:lnTo>
                  <a:lnTo>
                    <a:pt x="18" y="55"/>
                  </a:lnTo>
                  <a:lnTo>
                    <a:pt x="18" y="55"/>
                  </a:lnTo>
                  <a:close/>
                  <a:moveTo>
                    <a:pt x="7" y="39"/>
                  </a:moveTo>
                  <a:lnTo>
                    <a:pt x="7" y="39"/>
                  </a:lnTo>
                  <a:lnTo>
                    <a:pt x="7" y="39"/>
                  </a:lnTo>
                  <a:lnTo>
                    <a:pt x="7" y="39"/>
                  </a:lnTo>
                  <a:lnTo>
                    <a:pt x="7" y="39"/>
                  </a:lnTo>
                  <a:lnTo>
                    <a:pt x="7" y="39"/>
                  </a:lnTo>
                  <a:lnTo>
                    <a:pt x="7" y="39"/>
                  </a:lnTo>
                  <a:lnTo>
                    <a:pt x="7" y="39"/>
                  </a:lnTo>
                  <a:lnTo>
                    <a:pt x="7" y="39"/>
                  </a:lnTo>
                  <a:lnTo>
                    <a:pt x="7" y="39"/>
                  </a:lnTo>
                  <a:lnTo>
                    <a:pt x="7" y="39"/>
                  </a:lnTo>
                  <a:close/>
                  <a:moveTo>
                    <a:pt x="6" y="45"/>
                  </a:moveTo>
                  <a:lnTo>
                    <a:pt x="6" y="45"/>
                  </a:lnTo>
                  <a:lnTo>
                    <a:pt x="6" y="45"/>
                  </a:lnTo>
                  <a:lnTo>
                    <a:pt x="6" y="45"/>
                  </a:lnTo>
                  <a:lnTo>
                    <a:pt x="6" y="45"/>
                  </a:lnTo>
                  <a:lnTo>
                    <a:pt x="6" y="45"/>
                  </a:lnTo>
                  <a:lnTo>
                    <a:pt x="6" y="44"/>
                  </a:lnTo>
                  <a:lnTo>
                    <a:pt x="6" y="44"/>
                  </a:lnTo>
                  <a:lnTo>
                    <a:pt x="6" y="44"/>
                  </a:lnTo>
                  <a:lnTo>
                    <a:pt x="6" y="44"/>
                  </a:lnTo>
                  <a:lnTo>
                    <a:pt x="6" y="44"/>
                  </a:lnTo>
                  <a:lnTo>
                    <a:pt x="6" y="45"/>
                  </a:lnTo>
                  <a:lnTo>
                    <a:pt x="6" y="45"/>
                  </a:lnTo>
                  <a:lnTo>
                    <a:pt x="6" y="45"/>
                  </a:lnTo>
                  <a:lnTo>
                    <a:pt x="6" y="45"/>
                  </a:lnTo>
                  <a:lnTo>
                    <a:pt x="6" y="45"/>
                  </a:lnTo>
                  <a:lnTo>
                    <a:pt x="6" y="45"/>
                  </a:lnTo>
                  <a:lnTo>
                    <a:pt x="6" y="45"/>
                  </a:lnTo>
                  <a:lnTo>
                    <a:pt x="6" y="45"/>
                  </a:lnTo>
                  <a:lnTo>
                    <a:pt x="6" y="45"/>
                  </a:lnTo>
                  <a:close/>
                  <a:moveTo>
                    <a:pt x="13" y="53"/>
                  </a:moveTo>
                  <a:lnTo>
                    <a:pt x="13" y="53"/>
                  </a:lnTo>
                  <a:lnTo>
                    <a:pt x="13" y="53"/>
                  </a:lnTo>
                  <a:lnTo>
                    <a:pt x="13" y="53"/>
                  </a:lnTo>
                  <a:lnTo>
                    <a:pt x="13" y="53"/>
                  </a:lnTo>
                  <a:lnTo>
                    <a:pt x="13" y="53"/>
                  </a:lnTo>
                  <a:lnTo>
                    <a:pt x="13" y="53"/>
                  </a:lnTo>
                  <a:lnTo>
                    <a:pt x="13" y="53"/>
                  </a:lnTo>
                  <a:lnTo>
                    <a:pt x="13" y="53"/>
                  </a:lnTo>
                  <a:lnTo>
                    <a:pt x="13" y="53"/>
                  </a:lnTo>
                  <a:lnTo>
                    <a:pt x="13" y="53"/>
                  </a:lnTo>
                  <a:lnTo>
                    <a:pt x="13" y="53"/>
                  </a:lnTo>
                  <a:close/>
                  <a:moveTo>
                    <a:pt x="12" y="34"/>
                  </a:moveTo>
                  <a:lnTo>
                    <a:pt x="12" y="34"/>
                  </a:lnTo>
                  <a:lnTo>
                    <a:pt x="12" y="34"/>
                  </a:lnTo>
                  <a:lnTo>
                    <a:pt x="12" y="34"/>
                  </a:lnTo>
                  <a:lnTo>
                    <a:pt x="12" y="34"/>
                  </a:lnTo>
                  <a:lnTo>
                    <a:pt x="12" y="34"/>
                  </a:lnTo>
                  <a:lnTo>
                    <a:pt x="12" y="34"/>
                  </a:lnTo>
                  <a:lnTo>
                    <a:pt x="12" y="34"/>
                  </a:lnTo>
                  <a:lnTo>
                    <a:pt x="12" y="34"/>
                  </a:lnTo>
                  <a:lnTo>
                    <a:pt x="12" y="34"/>
                  </a:lnTo>
                  <a:lnTo>
                    <a:pt x="12" y="34"/>
                  </a:lnTo>
                  <a:lnTo>
                    <a:pt x="12" y="34"/>
                  </a:lnTo>
                  <a:lnTo>
                    <a:pt x="12" y="34"/>
                  </a:lnTo>
                  <a:close/>
                  <a:moveTo>
                    <a:pt x="17" y="55"/>
                  </a:moveTo>
                  <a:lnTo>
                    <a:pt x="17" y="55"/>
                  </a:lnTo>
                  <a:lnTo>
                    <a:pt x="17" y="55"/>
                  </a:lnTo>
                  <a:lnTo>
                    <a:pt x="17" y="55"/>
                  </a:lnTo>
                  <a:lnTo>
                    <a:pt x="17" y="55"/>
                  </a:lnTo>
                  <a:lnTo>
                    <a:pt x="17" y="55"/>
                  </a:lnTo>
                  <a:lnTo>
                    <a:pt x="17" y="55"/>
                  </a:lnTo>
                  <a:lnTo>
                    <a:pt x="17" y="55"/>
                  </a:lnTo>
                  <a:lnTo>
                    <a:pt x="17" y="55"/>
                  </a:lnTo>
                  <a:lnTo>
                    <a:pt x="17" y="55"/>
                  </a:lnTo>
                  <a:close/>
                  <a:moveTo>
                    <a:pt x="13" y="33"/>
                  </a:moveTo>
                  <a:lnTo>
                    <a:pt x="13" y="33"/>
                  </a:lnTo>
                  <a:lnTo>
                    <a:pt x="13" y="33"/>
                  </a:lnTo>
                  <a:lnTo>
                    <a:pt x="13" y="33"/>
                  </a:lnTo>
                  <a:lnTo>
                    <a:pt x="13" y="33"/>
                  </a:lnTo>
                  <a:lnTo>
                    <a:pt x="13" y="33"/>
                  </a:lnTo>
                  <a:lnTo>
                    <a:pt x="13" y="33"/>
                  </a:lnTo>
                  <a:lnTo>
                    <a:pt x="13" y="33"/>
                  </a:lnTo>
                  <a:lnTo>
                    <a:pt x="13" y="33"/>
                  </a:lnTo>
                  <a:lnTo>
                    <a:pt x="13" y="33"/>
                  </a:lnTo>
                  <a:lnTo>
                    <a:pt x="13" y="33"/>
                  </a:lnTo>
                  <a:close/>
                  <a:moveTo>
                    <a:pt x="18" y="34"/>
                  </a:move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3"/>
                  </a:lnTo>
                  <a:lnTo>
                    <a:pt x="18" y="33"/>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lnTo>
                    <a:pt x="18" y="34"/>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296" name="Malawi">
              <a:extLst>
                <a:ext uri="{FF2B5EF4-FFF2-40B4-BE49-F238E27FC236}">
                  <a16:creationId xmlns:a16="http://schemas.microsoft.com/office/drawing/2014/main" id="{F1082A01-7523-E94F-97F9-61FCD4FAFF50}"/>
                </a:ext>
              </a:extLst>
            </p:cNvPr>
            <p:cNvSpPr>
              <a:spLocks/>
            </p:cNvSpPr>
            <p:nvPr/>
          </p:nvSpPr>
          <p:spPr bwMode="auto">
            <a:xfrm>
              <a:off x="7219604" y="4266458"/>
              <a:ext cx="84561" cy="233272"/>
            </a:xfrm>
            <a:custGeom>
              <a:avLst/>
              <a:gdLst>
                <a:gd name="T0" fmla="*/ 12 w 58"/>
                <a:gd name="T1" fmla="*/ 98 h 160"/>
                <a:gd name="T2" fmla="*/ 16 w 58"/>
                <a:gd name="T3" fmla="*/ 104 h 160"/>
                <a:gd name="T4" fmla="*/ 20 w 58"/>
                <a:gd name="T5" fmla="*/ 106 h 160"/>
                <a:gd name="T6" fmla="*/ 35 w 58"/>
                <a:gd name="T7" fmla="*/ 116 h 160"/>
                <a:gd name="T8" fmla="*/ 32 w 58"/>
                <a:gd name="T9" fmla="*/ 125 h 160"/>
                <a:gd name="T10" fmla="*/ 27 w 58"/>
                <a:gd name="T11" fmla="*/ 133 h 160"/>
                <a:gd name="T12" fmla="*/ 30 w 58"/>
                <a:gd name="T13" fmla="*/ 140 h 160"/>
                <a:gd name="T14" fmla="*/ 35 w 58"/>
                <a:gd name="T15" fmla="*/ 146 h 160"/>
                <a:gd name="T16" fmla="*/ 39 w 58"/>
                <a:gd name="T17" fmla="*/ 151 h 160"/>
                <a:gd name="T18" fmla="*/ 39 w 58"/>
                <a:gd name="T19" fmla="*/ 153 h 160"/>
                <a:gd name="T20" fmla="*/ 40 w 58"/>
                <a:gd name="T21" fmla="*/ 158 h 160"/>
                <a:gd name="T22" fmla="*/ 45 w 58"/>
                <a:gd name="T23" fmla="*/ 158 h 160"/>
                <a:gd name="T24" fmla="*/ 45 w 58"/>
                <a:gd name="T25" fmla="*/ 153 h 160"/>
                <a:gd name="T26" fmla="*/ 45 w 58"/>
                <a:gd name="T27" fmla="*/ 146 h 160"/>
                <a:gd name="T28" fmla="*/ 50 w 58"/>
                <a:gd name="T29" fmla="*/ 140 h 160"/>
                <a:gd name="T30" fmla="*/ 56 w 58"/>
                <a:gd name="T31" fmla="*/ 137 h 160"/>
                <a:gd name="T32" fmla="*/ 58 w 58"/>
                <a:gd name="T33" fmla="*/ 113 h 160"/>
                <a:gd name="T34" fmla="*/ 44 w 58"/>
                <a:gd name="T35" fmla="*/ 89 h 160"/>
                <a:gd name="T36" fmla="*/ 35 w 58"/>
                <a:gd name="T37" fmla="*/ 82 h 160"/>
                <a:gd name="T38" fmla="*/ 35 w 58"/>
                <a:gd name="T39" fmla="*/ 53 h 160"/>
                <a:gd name="T40" fmla="*/ 43 w 58"/>
                <a:gd name="T41" fmla="*/ 45 h 160"/>
                <a:gd name="T42" fmla="*/ 40 w 58"/>
                <a:gd name="T43" fmla="*/ 42 h 160"/>
                <a:gd name="T44" fmla="*/ 37 w 58"/>
                <a:gd name="T45" fmla="*/ 37 h 160"/>
                <a:gd name="T46" fmla="*/ 37 w 58"/>
                <a:gd name="T47" fmla="*/ 19 h 160"/>
                <a:gd name="T48" fmla="*/ 32 w 58"/>
                <a:gd name="T49" fmla="*/ 8 h 160"/>
                <a:gd name="T50" fmla="*/ 25 w 58"/>
                <a:gd name="T51" fmla="*/ 8 h 160"/>
                <a:gd name="T52" fmla="*/ 19 w 58"/>
                <a:gd name="T53" fmla="*/ 5 h 160"/>
                <a:gd name="T54" fmla="*/ 12 w 58"/>
                <a:gd name="T55" fmla="*/ 3 h 160"/>
                <a:gd name="T56" fmla="*/ 10 w 58"/>
                <a:gd name="T57" fmla="*/ 3 h 160"/>
                <a:gd name="T58" fmla="*/ 12 w 58"/>
                <a:gd name="T59" fmla="*/ 8 h 160"/>
                <a:gd name="T60" fmla="*/ 15 w 58"/>
                <a:gd name="T61" fmla="*/ 9 h 160"/>
                <a:gd name="T62" fmla="*/ 15 w 58"/>
                <a:gd name="T63" fmla="*/ 15 h 160"/>
                <a:gd name="T64" fmla="*/ 22 w 58"/>
                <a:gd name="T65" fmla="*/ 25 h 160"/>
                <a:gd name="T66" fmla="*/ 15 w 58"/>
                <a:gd name="T67" fmla="*/ 30 h 160"/>
                <a:gd name="T68" fmla="*/ 13 w 58"/>
                <a:gd name="T69" fmla="*/ 31 h 160"/>
                <a:gd name="T70" fmla="*/ 12 w 58"/>
                <a:gd name="T71" fmla="*/ 43 h 160"/>
                <a:gd name="T72" fmla="*/ 13 w 58"/>
                <a:gd name="T73" fmla="*/ 46 h 160"/>
                <a:gd name="T74" fmla="*/ 15 w 58"/>
                <a:gd name="T75" fmla="*/ 62 h 160"/>
                <a:gd name="T76" fmla="*/ 16 w 58"/>
                <a:gd name="T77" fmla="*/ 64 h 160"/>
                <a:gd name="T78" fmla="*/ 6 w 58"/>
                <a:gd name="T79" fmla="*/ 70 h 160"/>
                <a:gd name="T80" fmla="*/ 6 w 58"/>
                <a:gd name="T81" fmla="*/ 77 h 160"/>
                <a:gd name="T82" fmla="*/ 4 w 58"/>
                <a:gd name="T83" fmla="*/ 85 h 160"/>
                <a:gd name="T84" fmla="*/ 4 w 58"/>
                <a:gd name="T85" fmla="*/ 90 h 160"/>
                <a:gd name="T86" fmla="*/ 7 w 58"/>
                <a:gd name="T87" fmla="*/ 97 h 160"/>
                <a:gd name="T88" fmla="*/ 9 w 58"/>
                <a:gd name="T89" fmla="*/ 9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58" h="160">
                  <a:moveTo>
                    <a:pt x="11" y="96"/>
                  </a:moveTo>
                  <a:lnTo>
                    <a:pt x="12" y="97"/>
                  </a:lnTo>
                  <a:lnTo>
                    <a:pt x="12" y="98"/>
                  </a:lnTo>
                  <a:lnTo>
                    <a:pt x="13" y="100"/>
                  </a:lnTo>
                  <a:lnTo>
                    <a:pt x="15" y="104"/>
                  </a:lnTo>
                  <a:lnTo>
                    <a:pt x="16" y="104"/>
                  </a:lnTo>
                  <a:lnTo>
                    <a:pt x="18" y="107"/>
                  </a:lnTo>
                  <a:lnTo>
                    <a:pt x="19" y="105"/>
                  </a:lnTo>
                  <a:lnTo>
                    <a:pt x="20" y="106"/>
                  </a:lnTo>
                  <a:lnTo>
                    <a:pt x="31" y="104"/>
                  </a:lnTo>
                  <a:lnTo>
                    <a:pt x="33" y="107"/>
                  </a:lnTo>
                  <a:lnTo>
                    <a:pt x="35" y="116"/>
                  </a:lnTo>
                  <a:lnTo>
                    <a:pt x="35" y="122"/>
                  </a:lnTo>
                  <a:lnTo>
                    <a:pt x="32" y="123"/>
                  </a:lnTo>
                  <a:lnTo>
                    <a:pt x="32" y="125"/>
                  </a:lnTo>
                  <a:lnTo>
                    <a:pt x="32" y="125"/>
                  </a:lnTo>
                  <a:lnTo>
                    <a:pt x="31" y="130"/>
                  </a:lnTo>
                  <a:lnTo>
                    <a:pt x="27" y="133"/>
                  </a:lnTo>
                  <a:lnTo>
                    <a:pt x="27" y="135"/>
                  </a:lnTo>
                  <a:lnTo>
                    <a:pt x="30" y="138"/>
                  </a:lnTo>
                  <a:lnTo>
                    <a:pt x="30" y="140"/>
                  </a:lnTo>
                  <a:lnTo>
                    <a:pt x="31" y="143"/>
                  </a:lnTo>
                  <a:lnTo>
                    <a:pt x="32" y="143"/>
                  </a:lnTo>
                  <a:lnTo>
                    <a:pt x="35" y="146"/>
                  </a:lnTo>
                  <a:lnTo>
                    <a:pt x="36" y="147"/>
                  </a:lnTo>
                  <a:lnTo>
                    <a:pt x="38" y="151"/>
                  </a:lnTo>
                  <a:lnTo>
                    <a:pt x="39" y="151"/>
                  </a:lnTo>
                  <a:lnTo>
                    <a:pt x="38" y="152"/>
                  </a:lnTo>
                  <a:lnTo>
                    <a:pt x="39" y="152"/>
                  </a:lnTo>
                  <a:lnTo>
                    <a:pt x="39" y="153"/>
                  </a:lnTo>
                  <a:lnTo>
                    <a:pt x="43" y="153"/>
                  </a:lnTo>
                  <a:lnTo>
                    <a:pt x="42" y="156"/>
                  </a:lnTo>
                  <a:lnTo>
                    <a:pt x="40" y="158"/>
                  </a:lnTo>
                  <a:lnTo>
                    <a:pt x="40" y="160"/>
                  </a:lnTo>
                  <a:lnTo>
                    <a:pt x="45" y="160"/>
                  </a:lnTo>
                  <a:lnTo>
                    <a:pt x="45" y="158"/>
                  </a:lnTo>
                  <a:lnTo>
                    <a:pt x="45" y="157"/>
                  </a:lnTo>
                  <a:lnTo>
                    <a:pt x="44" y="157"/>
                  </a:lnTo>
                  <a:lnTo>
                    <a:pt x="45" y="153"/>
                  </a:lnTo>
                  <a:lnTo>
                    <a:pt x="45" y="151"/>
                  </a:lnTo>
                  <a:lnTo>
                    <a:pt x="43" y="147"/>
                  </a:lnTo>
                  <a:lnTo>
                    <a:pt x="45" y="146"/>
                  </a:lnTo>
                  <a:lnTo>
                    <a:pt x="45" y="142"/>
                  </a:lnTo>
                  <a:lnTo>
                    <a:pt x="47" y="139"/>
                  </a:lnTo>
                  <a:lnTo>
                    <a:pt x="50" y="140"/>
                  </a:lnTo>
                  <a:lnTo>
                    <a:pt x="51" y="139"/>
                  </a:lnTo>
                  <a:lnTo>
                    <a:pt x="53" y="139"/>
                  </a:lnTo>
                  <a:lnTo>
                    <a:pt x="56" y="137"/>
                  </a:lnTo>
                  <a:lnTo>
                    <a:pt x="57" y="125"/>
                  </a:lnTo>
                  <a:lnTo>
                    <a:pt x="56" y="119"/>
                  </a:lnTo>
                  <a:lnTo>
                    <a:pt x="58" y="113"/>
                  </a:lnTo>
                  <a:lnTo>
                    <a:pt x="58" y="109"/>
                  </a:lnTo>
                  <a:lnTo>
                    <a:pt x="51" y="98"/>
                  </a:lnTo>
                  <a:lnTo>
                    <a:pt x="44" y="89"/>
                  </a:lnTo>
                  <a:lnTo>
                    <a:pt x="40" y="85"/>
                  </a:lnTo>
                  <a:lnTo>
                    <a:pt x="37" y="85"/>
                  </a:lnTo>
                  <a:lnTo>
                    <a:pt x="35" y="82"/>
                  </a:lnTo>
                  <a:lnTo>
                    <a:pt x="36" y="75"/>
                  </a:lnTo>
                  <a:lnTo>
                    <a:pt x="32" y="59"/>
                  </a:lnTo>
                  <a:lnTo>
                    <a:pt x="35" y="53"/>
                  </a:lnTo>
                  <a:lnTo>
                    <a:pt x="37" y="50"/>
                  </a:lnTo>
                  <a:lnTo>
                    <a:pt x="37" y="46"/>
                  </a:lnTo>
                  <a:lnTo>
                    <a:pt x="43" y="45"/>
                  </a:lnTo>
                  <a:lnTo>
                    <a:pt x="43" y="42"/>
                  </a:lnTo>
                  <a:lnTo>
                    <a:pt x="40" y="40"/>
                  </a:lnTo>
                  <a:lnTo>
                    <a:pt x="40" y="42"/>
                  </a:lnTo>
                  <a:lnTo>
                    <a:pt x="39" y="40"/>
                  </a:lnTo>
                  <a:lnTo>
                    <a:pt x="39" y="38"/>
                  </a:lnTo>
                  <a:lnTo>
                    <a:pt x="37" y="37"/>
                  </a:lnTo>
                  <a:lnTo>
                    <a:pt x="39" y="29"/>
                  </a:lnTo>
                  <a:lnTo>
                    <a:pt x="37" y="25"/>
                  </a:lnTo>
                  <a:lnTo>
                    <a:pt x="37" y="19"/>
                  </a:lnTo>
                  <a:lnTo>
                    <a:pt x="36" y="13"/>
                  </a:lnTo>
                  <a:lnTo>
                    <a:pt x="32" y="9"/>
                  </a:lnTo>
                  <a:lnTo>
                    <a:pt x="32" y="8"/>
                  </a:lnTo>
                  <a:lnTo>
                    <a:pt x="27" y="3"/>
                  </a:lnTo>
                  <a:lnTo>
                    <a:pt x="26" y="4"/>
                  </a:lnTo>
                  <a:lnTo>
                    <a:pt x="25" y="8"/>
                  </a:lnTo>
                  <a:lnTo>
                    <a:pt x="23" y="5"/>
                  </a:lnTo>
                  <a:lnTo>
                    <a:pt x="22" y="5"/>
                  </a:lnTo>
                  <a:lnTo>
                    <a:pt x="19" y="5"/>
                  </a:lnTo>
                  <a:lnTo>
                    <a:pt x="17" y="5"/>
                  </a:lnTo>
                  <a:lnTo>
                    <a:pt x="15" y="3"/>
                  </a:lnTo>
                  <a:lnTo>
                    <a:pt x="12" y="3"/>
                  </a:lnTo>
                  <a:lnTo>
                    <a:pt x="10" y="0"/>
                  </a:lnTo>
                  <a:lnTo>
                    <a:pt x="7" y="0"/>
                  </a:lnTo>
                  <a:lnTo>
                    <a:pt x="10" y="3"/>
                  </a:lnTo>
                  <a:lnTo>
                    <a:pt x="10" y="6"/>
                  </a:lnTo>
                  <a:lnTo>
                    <a:pt x="11" y="6"/>
                  </a:lnTo>
                  <a:lnTo>
                    <a:pt x="12" y="8"/>
                  </a:lnTo>
                  <a:lnTo>
                    <a:pt x="11" y="5"/>
                  </a:lnTo>
                  <a:lnTo>
                    <a:pt x="12" y="5"/>
                  </a:lnTo>
                  <a:lnTo>
                    <a:pt x="15" y="9"/>
                  </a:lnTo>
                  <a:lnTo>
                    <a:pt x="16" y="10"/>
                  </a:lnTo>
                  <a:lnTo>
                    <a:pt x="16" y="11"/>
                  </a:lnTo>
                  <a:lnTo>
                    <a:pt x="15" y="15"/>
                  </a:lnTo>
                  <a:lnTo>
                    <a:pt x="18" y="18"/>
                  </a:lnTo>
                  <a:lnTo>
                    <a:pt x="18" y="22"/>
                  </a:lnTo>
                  <a:lnTo>
                    <a:pt x="22" y="25"/>
                  </a:lnTo>
                  <a:lnTo>
                    <a:pt x="18" y="27"/>
                  </a:lnTo>
                  <a:lnTo>
                    <a:pt x="17" y="30"/>
                  </a:lnTo>
                  <a:lnTo>
                    <a:pt x="15" y="30"/>
                  </a:lnTo>
                  <a:lnTo>
                    <a:pt x="15" y="31"/>
                  </a:lnTo>
                  <a:lnTo>
                    <a:pt x="13" y="31"/>
                  </a:lnTo>
                  <a:lnTo>
                    <a:pt x="13" y="31"/>
                  </a:lnTo>
                  <a:lnTo>
                    <a:pt x="16" y="37"/>
                  </a:lnTo>
                  <a:lnTo>
                    <a:pt x="13" y="42"/>
                  </a:lnTo>
                  <a:lnTo>
                    <a:pt x="12" y="43"/>
                  </a:lnTo>
                  <a:lnTo>
                    <a:pt x="13" y="45"/>
                  </a:lnTo>
                  <a:lnTo>
                    <a:pt x="12" y="45"/>
                  </a:lnTo>
                  <a:lnTo>
                    <a:pt x="13" y="46"/>
                  </a:lnTo>
                  <a:lnTo>
                    <a:pt x="15" y="53"/>
                  </a:lnTo>
                  <a:lnTo>
                    <a:pt x="12" y="57"/>
                  </a:lnTo>
                  <a:lnTo>
                    <a:pt x="15" y="62"/>
                  </a:lnTo>
                  <a:lnTo>
                    <a:pt x="16" y="62"/>
                  </a:lnTo>
                  <a:lnTo>
                    <a:pt x="17" y="63"/>
                  </a:lnTo>
                  <a:lnTo>
                    <a:pt x="16" y="64"/>
                  </a:lnTo>
                  <a:lnTo>
                    <a:pt x="11" y="67"/>
                  </a:lnTo>
                  <a:lnTo>
                    <a:pt x="9" y="66"/>
                  </a:lnTo>
                  <a:lnTo>
                    <a:pt x="6" y="70"/>
                  </a:lnTo>
                  <a:lnTo>
                    <a:pt x="6" y="72"/>
                  </a:lnTo>
                  <a:lnTo>
                    <a:pt x="7" y="72"/>
                  </a:lnTo>
                  <a:lnTo>
                    <a:pt x="6" y="77"/>
                  </a:lnTo>
                  <a:lnTo>
                    <a:pt x="7" y="79"/>
                  </a:lnTo>
                  <a:lnTo>
                    <a:pt x="6" y="80"/>
                  </a:lnTo>
                  <a:lnTo>
                    <a:pt x="4" y="85"/>
                  </a:lnTo>
                  <a:lnTo>
                    <a:pt x="2" y="86"/>
                  </a:lnTo>
                  <a:lnTo>
                    <a:pt x="0" y="87"/>
                  </a:lnTo>
                  <a:lnTo>
                    <a:pt x="4" y="90"/>
                  </a:lnTo>
                  <a:lnTo>
                    <a:pt x="2" y="91"/>
                  </a:lnTo>
                  <a:lnTo>
                    <a:pt x="5" y="92"/>
                  </a:lnTo>
                  <a:lnTo>
                    <a:pt x="7" y="97"/>
                  </a:lnTo>
                  <a:lnTo>
                    <a:pt x="7" y="96"/>
                  </a:lnTo>
                  <a:lnTo>
                    <a:pt x="9" y="95"/>
                  </a:lnTo>
                  <a:lnTo>
                    <a:pt x="9" y="93"/>
                  </a:lnTo>
                  <a:lnTo>
                    <a:pt x="11" y="96"/>
                  </a:lnTo>
                  <a:lnTo>
                    <a:pt x="11" y="96"/>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297" name="Madagascar">
              <a:extLst>
                <a:ext uri="{FF2B5EF4-FFF2-40B4-BE49-F238E27FC236}">
                  <a16:creationId xmlns:a16="http://schemas.microsoft.com/office/drawing/2014/main" id="{9DC7FADD-6BCB-E34D-9F80-CF3F7442EA21}"/>
                </a:ext>
              </a:extLst>
            </p:cNvPr>
            <p:cNvSpPr>
              <a:spLocks/>
            </p:cNvSpPr>
            <p:nvPr/>
          </p:nvSpPr>
          <p:spPr bwMode="auto">
            <a:xfrm>
              <a:off x="7482035" y="4346644"/>
              <a:ext cx="202655" cy="405310"/>
            </a:xfrm>
            <a:custGeom>
              <a:avLst/>
              <a:gdLst>
                <a:gd name="T0" fmla="*/ 6 w 139"/>
                <a:gd name="T1" fmla="*/ 192 h 278"/>
                <a:gd name="T2" fmla="*/ 16 w 139"/>
                <a:gd name="T3" fmla="*/ 181 h 278"/>
                <a:gd name="T4" fmla="*/ 24 w 139"/>
                <a:gd name="T5" fmla="*/ 167 h 278"/>
                <a:gd name="T6" fmla="*/ 26 w 139"/>
                <a:gd name="T7" fmla="*/ 151 h 278"/>
                <a:gd name="T8" fmla="*/ 23 w 139"/>
                <a:gd name="T9" fmla="*/ 136 h 278"/>
                <a:gd name="T10" fmla="*/ 20 w 139"/>
                <a:gd name="T11" fmla="*/ 119 h 278"/>
                <a:gd name="T12" fmla="*/ 23 w 139"/>
                <a:gd name="T13" fmla="*/ 105 h 278"/>
                <a:gd name="T14" fmla="*/ 30 w 139"/>
                <a:gd name="T15" fmla="*/ 94 h 278"/>
                <a:gd name="T16" fmla="*/ 37 w 139"/>
                <a:gd name="T17" fmla="*/ 85 h 278"/>
                <a:gd name="T18" fmla="*/ 47 w 139"/>
                <a:gd name="T19" fmla="*/ 82 h 278"/>
                <a:gd name="T20" fmla="*/ 57 w 139"/>
                <a:gd name="T21" fmla="*/ 78 h 278"/>
                <a:gd name="T22" fmla="*/ 65 w 139"/>
                <a:gd name="T23" fmla="*/ 80 h 278"/>
                <a:gd name="T24" fmla="*/ 70 w 139"/>
                <a:gd name="T25" fmla="*/ 71 h 278"/>
                <a:gd name="T26" fmla="*/ 77 w 139"/>
                <a:gd name="T27" fmla="*/ 71 h 278"/>
                <a:gd name="T28" fmla="*/ 82 w 139"/>
                <a:gd name="T29" fmla="*/ 61 h 278"/>
                <a:gd name="T30" fmla="*/ 85 w 139"/>
                <a:gd name="T31" fmla="*/ 60 h 278"/>
                <a:gd name="T32" fmla="*/ 92 w 139"/>
                <a:gd name="T33" fmla="*/ 54 h 278"/>
                <a:gd name="T34" fmla="*/ 91 w 139"/>
                <a:gd name="T35" fmla="*/ 51 h 278"/>
                <a:gd name="T36" fmla="*/ 97 w 139"/>
                <a:gd name="T37" fmla="*/ 45 h 278"/>
                <a:gd name="T38" fmla="*/ 96 w 139"/>
                <a:gd name="T39" fmla="*/ 34 h 278"/>
                <a:gd name="T40" fmla="*/ 104 w 139"/>
                <a:gd name="T41" fmla="*/ 32 h 278"/>
                <a:gd name="T42" fmla="*/ 112 w 139"/>
                <a:gd name="T43" fmla="*/ 23 h 278"/>
                <a:gd name="T44" fmla="*/ 113 w 139"/>
                <a:gd name="T45" fmla="*/ 9 h 278"/>
                <a:gd name="T46" fmla="*/ 120 w 139"/>
                <a:gd name="T47" fmla="*/ 1 h 278"/>
                <a:gd name="T48" fmla="*/ 123 w 139"/>
                <a:gd name="T49" fmla="*/ 5 h 278"/>
                <a:gd name="T50" fmla="*/ 127 w 139"/>
                <a:gd name="T51" fmla="*/ 14 h 278"/>
                <a:gd name="T52" fmla="*/ 133 w 139"/>
                <a:gd name="T53" fmla="*/ 27 h 278"/>
                <a:gd name="T54" fmla="*/ 136 w 139"/>
                <a:gd name="T55" fmla="*/ 42 h 278"/>
                <a:gd name="T56" fmla="*/ 136 w 139"/>
                <a:gd name="T57" fmla="*/ 58 h 278"/>
                <a:gd name="T58" fmla="*/ 138 w 139"/>
                <a:gd name="T59" fmla="*/ 74 h 278"/>
                <a:gd name="T60" fmla="*/ 130 w 139"/>
                <a:gd name="T61" fmla="*/ 75 h 278"/>
                <a:gd name="T62" fmla="*/ 125 w 139"/>
                <a:gd name="T63" fmla="*/ 78 h 278"/>
                <a:gd name="T64" fmla="*/ 126 w 139"/>
                <a:gd name="T65" fmla="*/ 94 h 278"/>
                <a:gd name="T66" fmla="*/ 118 w 139"/>
                <a:gd name="T67" fmla="*/ 105 h 278"/>
                <a:gd name="T68" fmla="*/ 118 w 139"/>
                <a:gd name="T69" fmla="*/ 121 h 278"/>
                <a:gd name="T70" fmla="*/ 113 w 139"/>
                <a:gd name="T71" fmla="*/ 137 h 278"/>
                <a:gd name="T72" fmla="*/ 106 w 139"/>
                <a:gd name="T73" fmla="*/ 152 h 278"/>
                <a:gd name="T74" fmla="*/ 103 w 139"/>
                <a:gd name="T75" fmla="*/ 167 h 278"/>
                <a:gd name="T76" fmla="*/ 94 w 139"/>
                <a:gd name="T77" fmla="*/ 181 h 278"/>
                <a:gd name="T78" fmla="*/ 90 w 139"/>
                <a:gd name="T79" fmla="*/ 195 h 278"/>
                <a:gd name="T80" fmla="*/ 85 w 139"/>
                <a:gd name="T81" fmla="*/ 211 h 278"/>
                <a:gd name="T82" fmla="*/ 80 w 139"/>
                <a:gd name="T83" fmla="*/ 227 h 278"/>
                <a:gd name="T84" fmla="*/ 76 w 139"/>
                <a:gd name="T85" fmla="*/ 243 h 278"/>
                <a:gd name="T86" fmla="*/ 69 w 139"/>
                <a:gd name="T87" fmla="*/ 256 h 278"/>
                <a:gd name="T88" fmla="*/ 60 w 139"/>
                <a:gd name="T89" fmla="*/ 269 h 278"/>
                <a:gd name="T90" fmla="*/ 45 w 139"/>
                <a:gd name="T91" fmla="*/ 274 h 278"/>
                <a:gd name="T92" fmla="*/ 30 w 139"/>
                <a:gd name="T93" fmla="*/ 278 h 278"/>
                <a:gd name="T94" fmla="*/ 17 w 139"/>
                <a:gd name="T95" fmla="*/ 271 h 278"/>
                <a:gd name="T96" fmla="*/ 10 w 139"/>
                <a:gd name="T97" fmla="*/ 259 h 278"/>
                <a:gd name="T98" fmla="*/ 5 w 139"/>
                <a:gd name="T99" fmla="*/ 244 h 278"/>
                <a:gd name="T100" fmla="*/ 6 w 139"/>
                <a:gd name="T101" fmla="*/ 231 h 278"/>
                <a:gd name="T102" fmla="*/ 0 w 139"/>
                <a:gd name="T103" fmla="*/ 215 h 278"/>
                <a:gd name="T104" fmla="*/ 2 w 139"/>
                <a:gd name="T105" fmla="*/ 203 h 2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39" h="278">
                  <a:moveTo>
                    <a:pt x="2" y="203"/>
                  </a:moveTo>
                  <a:lnTo>
                    <a:pt x="4" y="201"/>
                  </a:lnTo>
                  <a:lnTo>
                    <a:pt x="5" y="198"/>
                  </a:lnTo>
                  <a:lnTo>
                    <a:pt x="6" y="195"/>
                  </a:lnTo>
                  <a:lnTo>
                    <a:pt x="6" y="192"/>
                  </a:lnTo>
                  <a:lnTo>
                    <a:pt x="9" y="190"/>
                  </a:lnTo>
                  <a:lnTo>
                    <a:pt x="11" y="189"/>
                  </a:lnTo>
                  <a:lnTo>
                    <a:pt x="13" y="185"/>
                  </a:lnTo>
                  <a:lnTo>
                    <a:pt x="14" y="183"/>
                  </a:lnTo>
                  <a:lnTo>
                    <a:pt x="16" y="181"/>
                  </a:lnTo>
                  <a:lnTo>
                    <a:pt x="18" y="177"/>
                  </a:lnTo>
                  <a:lnTo>
                    <a:pt x="19" y="175"/>
                  </a:lnTo>
                  <a:lnTo>
                    <a:pt x="20" y="172"/>
                  </a:lnTo>
                  <a:lnTo>
                    <a:pt x="22" y="170"/>
                  </a:lnTo>
                  <a:lnTo>
                    <a:pt x="24" y="167"/>
                  </a:lnTo>
                  <a:lnTo>
                    <a:pt x="25" y="164"/>
                  </a:lnTo>
                  <a:lnTo>
                    <a:pt x="25" y="161"/>
                  </a:lnTo>
                  <a:lnTo>
                    <a:pt x="25" y="158"/>
                  </a:lnTo>
                  <a:lnTo>
                    <a:pt x="26" y="155"/>
                  </a:lnTo>
                  <a:lnTo>
                    <a:pt x="26" y="151"/>
                  </a:lnTo>
                  <a:lnTo>
                    <a:pt x="25" y="149"/>
                  </a:lnTo>
                  <a:lnTo>
                    <a:pt x="24" y="145"/>
                  </a:lnTo>
                  <a:lnTo>
                    <a:pt x="23" y="143"/>
                  </a:lnTo>
                  <a:lnTo>
                    <a:pt x="23" y="139"/>
                  </a:lnTo>
                  <a:lnTo>
                    <a:pt x="23" y="136"/>
                  </a:lnTo>
                  <a:lnTo>
                    <a:pt x="22" y="132"/>
                  </a:lnTo>
                  <a:lnTo>
                    <a:pt x="20" y="130"/>
                  </a:lnTo>
                  <a:lnTo>
                    <a:pt x="20" y="127"/>
                  </a:lnTo>
                  <a:lnTo>
                    <a:pt x="20" y="123"/>
                  </a:lnTo>
                  <a:lnTo>
                    <a:pt x="20" y="119"/>
                  </a:lnTo>
                  <a:lnTo>
                    <a:pt x="20" y="116"/>
                  </a:lnTo>
                  <a:lnTo>
                    <a:pt x="19" y="114"/>
                  </a:lnTo>
                  <a:lnTo>
                    <a:pt x="19" y="110"/>
                  </a:lnTo>
                  <a:lnTo>
                    <a:pt x="20" y="107"/>
                  </a:lnTo>
                  <a:lnTo>
                    <a:pt x="23" y="105"/>
                  </a:lnTo>
                  <a:lnTo>
                    <a:pt x="26" y="104"/>
                  </a:lnTo>
                  <a:lnTo>
                    <a:pt x="29" y="102"/>
                  </a:lnTo>
                  <a:lnTo>
                    <a:pt x="30" y="98"/>
                  </a:lnTo>
                  <a:lnTo>
                    <a:pt x="30" y="96"/>
                  </a:lnTo>
                  <a:lnTo>
                    <a:pt x="30" y="94"/>
                  </a:lnTo>
                  <a:lnTo>
                    <a:pt x="30" y="91"/>
                  </a:lnTo>
                  <a:lnTo>
                    <a:pt x="30" y="89"/>
                  </a:lnTo>
                  <a:lnTo>
                    <a:pt x="31" y="87"/>
                  </a:lnTo>
                  <a:lnTo>
                    <a:pt x="33" y="85"/>
                  </a:lnTo>
                  <a:lnTo>
                    <a:pt x="37" y="85"/>
                  </a:lnTo>
                  <a:lnTo>
                    <a:pt x="39" y="84"/>
                  </a:lnTo>
                  <a:lnTo>
                    <a:pt x="43" y="82"/>
                  </a:lnTo>
                  <a:lnTo>
                    <a:pt x="44" y="82"/>
                  </a:lnTo>
                  <a:lnTo>
                    <a:pt x="46" y="82"/>
                  </a:lnTo>
                  <a:lnTo>
                    <a:pt x="47" y="82"/>
                  </a:lnTo>
                  <a:lnTo>
                    <a:pt x="50" y="82"/>
                  </a:lnTo>
                  <a:lnTo>
                    <a:pt x="51" y="81"/>
                  </a:lnTo>
                  <a:lnTo>
                    <a:pt x="52" y="78"/>
                  </a:lnTo>
                  <a:lnTo>
                    <a:pt x="54" y="77"/>
                  </a:lnTo>
                  <a:lnTo>
                    <a:pt x="57" y="78"/>
                  </a:lnTo>
                  <a:lnTo>
                    <a:pt x="59" y="78"/>
                  </a:lnTo>
                  <a:lnTo>
                    <a:pt x="60" y="77"/>
                  </a:lnTo>
                  <a:lnTo>
                    <a:pt x="62" y="77"/>
                  </a:lnTo>
                  <a:lnTo>
                    <a:pt x="64" y="78"/>
                  </a:lnTo>
                  <a:lnTo>
                    <a:pt x="65" y="80"/>
                  </a:lnTo>
                  <a:lnTo>
                    <a:pt x="65" y="78"/>
                  </a:lnTo>
                  <a:lnTo>
                    <a:pt x="65" y="76"/>
                  </a:lnTo>
                  <a:lnTo>
                    <a:pt x="65" y="74"/>
                  </a:lnTo>
                  <a:lnTo>
                    <a:pt x="67" y="72"/>
                  </a:lnTo>
                  <a:lnTo>
                    <a:pt x="70" y="71"/>
                  </a:lnTo>
                  <a:lnTo>
                    <a:pt x="71" y="69"/>
                  </a:lnTo>
                  <a:lnTo>
                    <a:pt x="73" y="67"/>
                  </a:lnTo>
                  <a:lnTo>
                    <a:pt x="76" y="67"/>
                  </a:lnTo>
                  <a:lnTo>
                    <a:pt x="77" y="69"/>
                  </a:lnTo>
                  <a:lnTo>
                    <a:pt x="77" y="71"/>
                  </a:lnTo>
                  <a:lnTo>
                    <a:pt x="79" y="70"/>
                  </a:lnTo>
                  <a:lnTo>
                    <a:pt x="79" y="68"/>
                  </a:lnTo>
                  <a:lnTo>
                    <a:pt x="79" y="65"/>
                  </a:lnTo>
                  <a:lnTo>
                    <a:pt x="80" y="63"/>
                  </a:lnTo>
                  <a:lnTo>
                    <a:pt x="82" y="61"/>
                  </a:lnTo>
                  <a:lnTo>
                    <a:pt x="83" y="58"/>
                  </a:lnTo>
                  <a:lnTo>
                    <a:pt x="84" y="57"/>
                  </a:lnTo>
                  <a:lnTo>
                    <a:pt x="85" y="56"/>
                  </a:lnTo>
                  <a:lnTo>
                    <a:pt x="86" y="57"/>
                  </a:lnTo>
                  <a:lnTo>
                    <a:pt x="85" y="60"/>
                  </a:lnTo>
                  <a:lnTo>
                    <a:pt x="85" y="62"/>
                  </a:lnTo>
                  <a:lnTo>
                    <a:pt x="86" y="62"/>
                  </a:lnTo>
                  <a:lnTo>
                    <a:pt x="89" y="58"/>
                  </a:lnTo>
                  <a:lnTo>
                    <a:pt x="90" y="56"/>
                  </a:lnTo>
                  <a:lnTo>
                    <a:pt x="92" y="54"/>
                  </a:lnTo>
                  <a:lnTo>
                    <a:pt x="94" y="55"/>
                  </a:lnTo>
                  <a:lnTo>
                    <a:pt x="96" y="55"/>
                  </a:lnTo>
                  <a:lnTo>
                    <a:pt x="96" y="54"/>
                  </a:lnTo>
                  <a:lnTo>
                    <a:pt x="93" y="52"/>
                  </a:lnTo>
                  <a:lnTo>
                    <a:pt x="91" y="51"/>
                  </a:lnTo>
                  <a:lnTo>
                    <a:pt x="91" y="49"/>
                  </a:lnTo>
                  <a:lnTo>
                    <a:pt x="92" y="47"/>
                  </a:lnTo>
                  <a:lnTo>
                    <a:pt x="94" y="44"/>
                  </a:lnTo>
                  <a:lnTo>
                    <a:pt x="96" y="44"/>
                  </a:lnTo>
                  <a:lnTo>
                    <a:pt x="97" y="45"/>
                  </a:lnTo>
                  <a:lnTo>
                    <a:pt x="97" y="44"/>
                  </a:lnTo>
                  <a:lnTo>
                    <a:pt x="97" y="41"/>
                  </a:lnTo>
                  <a:lnTo>
                    <a:pt x="96" y="38"/>
                  </a:lnTo>
                  <a:lnTo>
                    <a:pt x="94" y="36"/>
                  </a:lnTo>
                  <a:lnTo>
                    <a:pt x="96" y="34"/>
                  </a:lnTo>
                  <a:lnTo>
                    <a:pt x="98" y="32"/>
                  </a:lnTo>
                  <a:lnTo>
                    <a:pt x="99" y="34"/>
                  </a:lnTo>
                  <a:lnTo>
                    <a:pt x="102" y="35"/>
                  </a:lnTo>
                  <a:lnTo>
                    <a:pt x="103" y="35"/>
                  </a:lnTo>
                  <a:lnTo>
                    <a:pt x="104" y="32"/>
                  </a:lnTo>
                  <a:lnTo>
                    <a:pt x="105" y="30"/>
                  </a:lnTo>
                  <a:lnTo>
                    <a:pt x="107" y="29"/>
                  </a:lnTo>
                  <a:lnTo>
                    <a:pt x="110" y="28"/>
                  </a:lnTo>
                  <a:lnTo>
                    <a:pt x="112" y="25"/>
                  </a:lnTo>
                  <a:lnTo>
                    <a:pt x="112" y="23"/>
                  </a:lnTo>
                  <a:lnTo>
                    <a:pt x="113" y="20"/>
                  </a:lnTo>
                  <a:lnTo>
                    <a:pt x="114" y="17"/>
                  </a:lnTo>
                  <a:lnTo>
                    <a:pt x="114" y="14"/>
                  </a:lnTo>
                  <a:lnTo>
                    <a:pt x="113" y="10"/>
                  </a:lnTo>
                  <a:lnTo>
                    <a:pt x="113" y="9"/>
                  </a:lnTo>
                  <a:lnTo>
                    <a:pt x="114" y="8"/>
                  </a:lnTo>
                  <a:lnTo>
                    <a:pt x="116" y="7"/>
                  </a:lnTo>
                  <a:lnTo>
                    <a:pt x="118" y="5"/>
                  </a:lnTo>
                  <a:lnTo>
                    <a:pt x="119" y="3"/>
                  </a:lnTo>
                  <a:lnTo>
                    <a:pt x="120" y="1"/>
                  </a:lnTo>
                  <a:lnTo>
                    <a:pt x="121" y="0"/>
                  </a:lnTo>
                  <a:lnTo>
                    <a:pt x="123" y="1"/>
                  </a:lnTo>
                  <a:lnTo>
                    <a:pt x="123" y="3"/>
                  </a:lnTo>
                  <a:lnTo>
                    <a:pt x="123" y="4"/>
                  </a:lnTo>
                  <a:lnTo>
                    <a:pt x="123" y="5"/>
                  </a:lnTo>
                  <a:lnTo>
                    <a:pt x="124" y="7"/>
                  </a:lnTo>
                  <a:lnTo>
                    <a:pt x="125" y="8"/>
                  </a:lnTo>
                  <a:lnTo>
                    <a:pt x="126" y="9"/>
                  </a:lnTo>
                  <a:lnTo>
                    <a:pt x="126" y="11"/>
                  </a:lnTo>
                  <a:lnTo>
                    <a:pt x="127" y="14"/>
                  </a:lnTo>
                  <a:lnTo>
                    <a:pt x="129" y="16"/>
                  </a:lnTo>
                  <a:lnTo>
                    <a:pt x="130" y="17"/>
                  </a:lnTo>
                  <a:lnTo>
                    <a:pt x="132" y="21"/>
                  </a:lnTo>
                  <a:lnTo>
                    <a:pt x="132" y="23"/>
                  </a:lnTo>
                  <a:lnTo>
                    <a:pt x="133" y="27"/>
                  </a:lnTo>
                  <a:lnTo>
                    <a:pt x="133" y="29"/>
                  </a:lnTo>
                  <a:lnTo>
                    <a:pt x="133" y="32"/>
                  </a:lnTo>
                  <a:lnTo>
                    <a:pt x="134" y="36"/>
                  </a:lnTo>
                  <a:lnTo>
                    <a:pt x="136" y="38"/>
                  </a:lnTo>
                  <a:lnTo>
                    <a:pt x="136" y="42"/>
                  </a:lnTo>
                  <a:lnTo>
                    <a:pt x="136" y="45"/>
                  </a:lnTo>
                  <a:lnTo>
                    <a:pt x="136" y="49"/>
                  </a:lnTo>
                  <a:lnTo>
                    <a:pt x="136" y="51"/>
                  </a:lnTo>
                  <a:lnTo>
                    <a:pt x="136" y="55"/>
                  </a:lnTo>
                  <a:lnTo>
                    <a:pt x="136" y="58"/>
                  </a:lnTo>
                  <a:lnTo>
                    <a:pt x="138" y="62"/>
                  </a:lnTo>
                  <a:lnTo>
                    <a:pt x="139" y="64"/>
                  </a:lnTo>
                  <a:lnTo>
                    <a:pt x="139" y="68"/>
                  </a:lnTo>
                  <a:lnTo>
                    <a:pt x="139" y="71"/>
                  </a:lnTo>
                  <a:lnTo>
                    <a:pt x="138" y="74"/>
                  </a:lnTo>
                  <a:lnTo>
                    <a:pt x="137" y="77"/>
                  </a:lnTo>
                  <a:lnTo>
                    <a:pt x="134" y="80"/>
                  </a:lnTo>
                  <a:lnTo>
                    <a:pt x="132" y="80"/>
                  </a:lnTo>
                  <a:lnTo>
                    <a:pt x="131" y="77"/>
                  </a:lnTo>
                  <a:lnTo>
                    <a:pt x="130" y="75"/>
                  </a:lnTo>
                  <a:lnTo>
                    <a:pt x="129" y="71"/>
                  </a:lnTo>
                  <a:lnTo>
                    <a:pt x="126" y="70"/>
                  </a:lnTo>
                  <a:lnTo>
                    <a:pt x="125" y="72"/>
                  </a:lnTo>
                  <a:lnTo>
                    <a:pt x="125" y="75"/>
                  </a:lnTo>
                  <a:lnTo>
                    <a:pt x="125" y="78"/>
                  </a:lnTo>
                  <a:lnTo>
                    <a:pt x="125" y="82"/>
                  </a:lnTo>
                  <a:lnTo>
                    <a:pt x="126" y="84"/>
                  </a:lnTo>
                  <a:lnTo>
                    <a:pt x="126" y="88"/>
                  </a:lnTo>
                  <a:lnTo>
                    <a:pt x="126" y="91"/>
                  </a:lnTo>
                  <a:lnTo>
                    <a:pt x="126" y="94"/>
                  </a:lnTo>
                  <a:lnTo>
                    <a:pt x="125" y="96"/>
                  </a:lnTo>
                  <a:lnTo>
                    <a:pt x="125" y="98"/>
                  </a:lnTo>
                  <a:lnTo>
                    <a:pt x="123" y="101"/>
                  </a:lnTo>
                  <a:lnTo>
                    <a:pt x="120" y="103"/>
                  </a:lnTo>
                  <a:lnTo>
                    <a:pt x="118" y="105"/>
                  </a:lnTo>
                  <a:lnTo>
                    <a:pt x="118" y="108"/>
                  </a:lnTo>
                  <a:lnTo>
                    <a:pt x="118" y="111"/>
                  </a:lnTo>
                  <a:lnTo>
                    <a:pt x="119" y="115"/>
                  </a:lnTo>
                  <a:lnTo>
                    <a:pt x="119" y="118"/>
                  </a:lnTo>
                  <a:lnTo>
                    <a:pt x="118" y="121"/>
                  </a:lnTo>
                  <a:lnTo>
                    <a:pt x="117" y="124"/>
                  </a:lnTo>
                  <a:lnTo>
                    <a:pt x="116" y="128"/>
                  </a:lnTo>
                  <a:lnTo>
                    <a:pt x="116" y="130"/>
                  </a:lnTo>
                  <a:lnTo>
                    <a:pt x="114" y="134"/>
                  </a:lnTo>
                  <a:lnTo>
                    <a:pt x="113" y="137"/>
                  </a:lnTo>
                  <a:lnTo>
                    <a:pt x="112" y="139"/>
                  </a:lnTo>
                  <a:lnTo>
                    <a:pt x="111" y="143"/>
                  </a:lnTo>
                  <a:lnTo>
                    <a:pt x="109" y="147"/>
                  </a:lnTo>
                  <a:lnTo>
                    <a:pt x="107" y="149"/>
                  </a:lnTo>
                  <a:lnTo>
                    <a:pt x="106" y="152"/>
                  </a:lnTo>
                  <a:lnTo>
                    <a:pt x="105" y="156"/>
                  </a:lnTo>
                  <a:lnTo>
                    <a:pt x="104" y="159"/>
                  </a:lnTo>
                  <a:lnTo>
                    <a:pt x="104" y="162"/>
                  </a:lnTo>
                  <a:lnTo>
                    <a:pt x="103" y="164"/>
                  </a:lnTo>
                  <a:lnTo>
                    <a:pt x="103" y="167"/>
                  </a:lnTo>
                  <a:lnTo>
                    <a:pt x="103" y="170"/>
                  </a:lnTo>
                  <a:lnTo>
                    <a:pt x="102" y="172"/>
                  </a:lnTo>
                  <a:lnTo>
                    <a:pt x="99" y="176"/>
                  </a:lnTo>
                  <a:lnTo>
                    <a:pt x="97" y="178"/>
                  </a:lnTo>
                  <a:lnTo>
                    <a:pt x="94" y="181"/>
                  </a:lnTo>
                  <a:lnTo>
                    <a:pt x="93" y="183"/>
                  </a:lnTo>
                  <a:lnTo>
                    <a:pt x="93" y="185"/>
                  </a:lnTo>
                  <a:lnTo>
                    <a:pt x="92" y="189"/>
                  </a:lnTo>
                  <a:lnTo>
                    <a:pt x="91" y="191"/>
                  </a:lnTo>
                  <a:lnTo>
                    <a:pt x="90" y="195"/>
                  </a:lnTo>
                  <a:lnTo>
                    <a:pt x="90" y="198"/>
                  </a:lnTo>
                  <a:lnTo>
                    <a:pt x="89" y="202"/>
                  </a:lnTo>
                  <a:lnTo>
                    <a:pt x="87" y="204"/>
                  </a:lnTo>
                  <a:lnTo>
                    <a:pt x="86" y="208"/>
                  </a:lnTo>
                  <a:lnTo>
                    <a:pt x="85" y="211"/>
                  </a:lnTo>
                  <a:lnTo>
                    <a:pt x="84" y="214"/>
                  </a:lnTo>
                  <a:lnTo>
                    <a:pt x="83" y="217"/>
                  </a:lnTo>
                  <a:lnTo>
                    <a:pt x="82" y="221"/>
                  </a:lnTo>
                  <a:lnTo>
                    <a:pt x="82" y="224"/>
                  </a:lnTo>
                  <a:lnTo>
                    <a:pt x="80" y="227"/>
                  </a:lnTo>
                  <a:lnTo>
                    <a:pt x="79" y="230"/>
                  </a:lnTo>
                  <a:lnTo>
                    <a:pt x="78" y="234"/>
                  </a:lnTo>
                  <a:lnTo>
                    <a:pt x="77" y="236"/>
                  </a:lnTo>
                  <a:lnTo>
                    <a:pt x="76" y="239"/>
                  </a:lnTo>
                  <a:lnTo>
                    <a:pt x="76" y="243"/>
                  </a:lnTo>
                  <a:lnTo>
                    <a:pt x="74" y="246"/>
                  </a:lnTo>
                  <a:lnTo>
                    <a:pt x="73" y="249"/>
                  </a:lnTo>
                  <a:lnTo>
                    <a:pt x="72" y="251"/>
                  </a:lnTo>
                  <a:lnTo>
                    <a:pt x="70" y="254"/>
                  </a:lnTo>
                  <a:lnTo>
                    <a:pt x="69" y="256"/>
                  </a:lnTo>
                  <a:lnTo>
                    <a:pt x="67" y="259"/>
                  </a:lnTo>
                  <a:lnTo>
                    <a:pt x="66" y="262"/>
                  </a:lnTo>
                  <a:lnTo>
                    <a:pt x="64" y="265"/>
                  </a:lnTo>
                  <a:lnTo>
                    <a:pt x="63" y="266"/>
                  </a:lnTo>
                  <a:lnTo>
                    <a:pt x="60" y="269"/>
                  </a:lnTo>
                  <a:lnTo>
                    <a:pt x="57" y="270"/>
                  </a:lnTo>
                  <a:lnTo>
                    <a:pt x="54" y="270"/>
                  </a:lnTo>
                  <a:lnTo>
                    <a:pt x="51" y="270"/>
                  </a:lnTo>
                  <a:lnTo>
                    <a:pt x="47" y="271"/>
                  </a:lnTo>
                  <a:lnTo>
                    <a:pt x="45" y="274"/>
                  </a:lnTo>
                  <a:lnTo>
                    <a:pt x="42" y="275"/>
                  </a:lnTo>
                  <a:lnTo>
                    <a:pt x="39" y="277"/>
                  </a:lnTo>
                  <a:lnTo>
                    <a:pt x="36" y="278"/>
                  </a:lnTo>
                  <a:lnTo>
                    <a:pt x="32" y="278"/>
                  </a:lnTo>
                  <a:lnTo>
                    <a:pt x="30" y="278"/>
                  </a:lnTo>
                  <a:lnTo>
                    <a:pt x="27" y="276"/>
                  </a:lnTo>
                  <a:lnTo>
                    <a:pt x="24" y="275"/>
                  </a:lnTo>
                  <a:lnTo>
                    <a:pt x="22" y="274"/>
                  </a:lnTo>
                  <a:lnTo>
                    <a:pt x="18" y="272"/>
                  </a:lnTo>
                  <a:lnTo>
                    <a:pt x="17" y="271"/>
                  </a:lnTo>
                  <a:lnTo>
                    <a:pt x="16" y="270"/>
                  </a:lnTo>
                  <a:lnTo>
                    <a:pt x="13" y="268"/>
                  </a:lnTo>
                  <a:lnTo>
                    <a:pt x="11" y="265"/>
                  </a:lnTo>
                  <a:lnTo>
                    <a:pt x="10" y="263"/>
                  </a:lnTo>
                  <a:lnTo>
                    <a:pt x="10" y="259"/>
                  </a:lnTo>
                  <a:lnTo>
                    <a:pt x="9" y="256"/>
                  </a:lnTo>
                  <a:lnTo>
                    <a:pt x="6" y="254"/>
                  </a:lnTo>
                  <a:lnTo>
                    <a:pt x="5" y="251"/>
                  </a:lnTo>
                  <a:lnTo>
                    <a:pt x="5" y="248"/>
                  </a:lnTo>
                  <a:lnTo>
                    <a:pt x="5" y="244"/>
                  </a:lnTo>
                  <a:lnTo>
                    <a:pt x="6" y="241"/>
                  </a:lnTo>
                  <a:lnTo>
                    <a:pt x="7" y="238"/>
                  </a:lnTo>
                  <a:lnTo>
                    <a:pt x="7" y="236"/>
                  </a:lnTo>
                  <a:lnTo>
                    <a:pt x="6" y="234"/>
                  </a:lnTo>
                  <a:lnTo>
                    <a:pt x="6" y="231"/>
                  </a:lnTo>
                  <a:lnTo>
                    <a:pt x="5" y="228"/>
                  </a:lnTo>
                  <a:lnTo>
                    <a:pt x="4" y="225"/>
                  </a:lnTo>
                  <a:lnTo>
                    <a:pt x="2" y="222"/>
                  </a:lnTo>
                  <a:lnTo>
                    <a:pt x="2" y="218"/>
                  </a:lnTo>
                  <a:lnTo>
                    <a:pt x="0" y="215"/>
                  </a:lnTo>
                  <a:lnTo>
                    <a:pt x="0" y="212"/>
                  </a:lnTo>
                  <a:lnTo>
                    <a:pt x="0" y="209"/>
                  </a:lnTo>
                  <a:lnTo>
                    <a:pt x="0" y="205"/>
                  </a:lnTo>
                  <a:lnTo>
                    <a:pt x="2" y="203"/>
                  </a:lnTo>
                  <a:lnTo>
                    <a:pt x="2" y="203"/>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298" name="Macedonia">
              <a:extLst>
                <a:ext uri="{FF2B5EF4-FFF2-40B4-BE49-F238E27FC236}">
                  <a16:creationId xmlns:a16="http://schemas.microsoft.com/office/drawing/2014/main" id="{95B43897-4E72-6045-A279-2C200726D58E}"/>
                </a:ext>
              </a:extLst>
            </p:cNvPr>
            <p:cNvSpPr>
              <a:spLocks/>
            </p:cNvSpPr>
            <p:nvPr/>
          </p:nvSpPr>
          <p:spPr bwMode="auto">
            <a:xfrm>
              <a:off x="6858032" y="2716658"/>
              <a:ext cx="59776" cy="46655"/>
            </a:xfrm>
            <a:custGeom>
              <a:avLst/>
              <a:gdLst>
                <a:gd name="T0" fmla="*/ 3 w 41"/>
                <a:gd name="T1" fmla="*/ 10 h 32"/>
                <a:gd name="T2" fmla="*/ 4 w 41"/>
                <a:gd name="T3" fmla="*/ 9 h 32"/>
                <a:gd name="T4" fmla="*/ 4 w 41"/>
                <a:gd name="T5" fmla="*/ 7 h 32"/>
                <a:gd name="T6" fmla="*/ 5 w 41"/>
                <a:gd name="T7" fmla="*/ 6 h 32"/>
                <a:gd name="T8" fmla="*/ 5 w 41"/>
                <a:gd name="T9" fmla="*/ 6 h 32"/>
                <a:gd name="T10" fmla="*/ 8 w 41"/>
                <a:gd name="T11" fmla="*/ 5 h 32"/>
                <a:gd name="T12" fmla="*/ 8 w 41"/>
                <a:gd name="T13" fmla="*/ 6 h 32"/>
                <a:gd name="T14" fmla="*/ 10 w 41"/>
                <a:gd name="T15" fmla="*/ 6 h 32"/>
                <a:gd name="T16" fmla="*/ 10 w 41"/>
                <a:gd name="T17" fmla="*/ 7 h 32"/>
                <a:gd name="T18" fmla="*/ 11 w 41"/>
                <a:gd name="T19" fmla="*/ 7 h 32"/>
                <a:gd name="T20" fmla="*/ 11 w 41"/>
                <a:gd name="T21" fmla="*/ 6 h 32"/>
                <a:gd name="T22" fmla="*/ 12 w 41"/>
                <a:gd name="T23" fmla="*/ 6 h 32"/>
                <a:gd name="T24" fmla="*/ 12 w 41"/>
                <a:gd name="T25" fmla="*/ 5 h 32"/>
                <a:gd name="T26" fmla="*/ 13 w 41"/>
                <a:gd name="T27" fmla="*/ 5 h 32"/>
                <a:gd name="T28" fmla="*/ 13 w 41"/>
                <a:gd name="T29" fmla="*/ 4 h 32"/>
                <a:gd name="T30" fmla="*/ 14 w 41"/>
                <a:gd name="T31" fmla="*/ 4 h 32"/>
                <a:gd name="T32" fmla="*/ 16 w 41"/>
                <a:gd name="T33" fmla="*/ 4 h 32"/>
                <a:gd name="T34" fmla="*/ 14 w 41"/>
                <a:gd name="T35" fmla="*/ 3 h 32"/>
                <a:gd name="T36" fmla="*/ 16 w 41"/>
                <a:gd name="T37" fmla="*/ 3 h 32"/>
                <a:gd name="T38" fmla="*/ 16 w 41"/>
                <a:gd name="T39" fmla="*/ 3 h 32"/>
                <a:gd name="T40" fmla="*/ 18 w 41"/>
                <a:gd name="T41" fmla="*/ 4 h 32"/>
                <a:gd name="T42" fmla="*/ 19 w 41"/>
                <a:gd name="T43" fmla="*/ 2 h 32"/>
                <a:gd name="T44" fmla="*/ 24 w 41"/>
                <a:gd name="T45" fmla="*/ 0 h 32"/>
                <a:gd name="T46" fmla="*/ 31 w 41"/>
                <a:gd name="T47" fmla="*/ 0 h 32"/>
                <a:gd name="T48" fmla="*/ 31 w 41"/>
                <a:gd name="T49" fmla="*/ 4 h 32"/>
                <a:gd name="T50" fmla="*/ 32 w 41"/>
                <a:gd name="T51" fmla="*/ 5 h 32"/>
                <a:gd name="T52" fmla="*/ 34 w 41"/>
                <a:gd name="T53" fmla="*/ 7 h 32"/>
                <a:gd name="T54" fmla="*/ 37 w 41"/>
                <a:gd name="T55" fmla="*/ 7 h 32"/>
                <a:gd name="T56" fmla="*/ 38 w 41"/>
                <a:gd name="T57" fmla="*/ 7 h 32"/>
                <a:gd name="T58" fmla="*/ 40 w 41"/>
                <a:gd name="T59" fmla="*/ 12 h 32"/>
                <a:gd name="T60" fmla="*/ 41 w 41"/>
                <a:gd name="T61" fmla="*/ 13 h 32"/>
                <a:gd name="T62" fmla="*/ 40 w 41"/>
                <a:gd name="T63" fmla="*/ 16 h 32"/>
                <a:gd name="T64" fmla="*/ 41 w 41"/>
                <a:gd name="T65" fmla="*/ 18 h 32"/>
                <a:gd name="T66" fmla="*/ 41 w 41"/>
                <a:gd name="T67" fmla="*/ 20 h 32"/>
                <a:gd name="T68" fmla="*/ 41 w 41"/>
                <a:gd name="T69" fmla="*/ 23 h 32"/>
                <a:gd name="T70" fmla="*/ 38 w 41"/>
                <a:gd name="T71" fmla="*/ 24 h 32"/>
                <a:gd name="T72" fmla="*/ 38 w 41"/>
                <a:gd name="T73" fmla="*/ 26 h 32"/>
                <a:gd name="T74" fmla="*/ 36 w 41"/>
                <a:gd name="T75" fmla="*/ 26 h 32"/>
                <a:gd name="T76" fmla="*/ 36 w 41"/>
                <a:gd name="T77" fmla="*/ 27 h 32"/>
                <a:gd name="T78" fmla="*/ 32 w 41"/>
                <a:gd name="T79" fmla="*/ 27 h 32"/>
                <a:gd name="T80" fmla="*/ 32 w 41"/>
                <a:gd name="T81" fmla="*/ 26 h 32"/>
                <a:gd name="T82" fmla="*/ 28 w 41"/>
                <a:gd name="T83" fmla="*/ 26 h 32"/>
                <a:gd name="T84" fmla="*/ 26 w 41"/>
                <a:gd name="T85" fmla="*/ 26 h 32"/>
                <a:gd name="T86" fmla="*/ 24 w 41"/>
                <a:gd name="T87" fmla="*/ 27 h 32"/>
                <a:gd name="T88" fmla="*/ 23 w 41"/>
                <a:gd name="T89" fmla="*/ 30 h 32"/>
                <a:gd name="T90" fmla="*/ 20 w 41"/>
                <a:gd name="T91" fmla="*/ 31 h 32"/>
                <a:gd name="T92" fmla="*/ 18 w 41"/>
                <a:gd name="T93" fmla="*/ 32 h 32"/>
                <a:gd name="T94" fmla="*/ 17 w 41"/>
                <a:gd name="T95" fmla="*/ 31 h 32"/>
                <a:gd name="T96" fmla="*/ 8 w 41"/>
                <a:gd name="T97" fmla="*/ 32 h 32"/>
                <a:gd name="T98" fmla="*/ 8 w 41"/>
                <a:gd name="T99" fmla="*/ 30 h 32"/>
                <a:gd name="T100" fmla="*/ 6 w 41"/>
                <a:gd name="T101" fmla="*/ 30 h 32"/>
                <a:gd name="T102" fmla="*/ 5 w 41"/>
                <a:gd name="T103" fmla="*/ 31 h 32"/>
                <a:gd name="T104" fmla="*/ 3 w 41"/>
                <a:gd name="T105" fmla="*/ 27 h 32"/>
                <a:gd name="T106" fmla="*/ 3 w 41"/>
                <a:gd name="T107" fmla="*/ 26 h 32"/>
                <a:gd name="T108" fmla="*/ 1 w 41"/>
                <a:gd name="T109" fmla="*/ 23 h 32"/>
                <a:gd name="T110" fmla="*/ 1 w 41"/>
                <a:gd name="T111" fmla="*/ 22 h 32"/>
                <a:gd name="T112" fmla="*/ 1 w 41"/>
                <a:gd name="T113" fmla="*/ 20 h 32"/>
                <a:gd name="T114" fmla="*/ 0 w 41"/>
                <a:gd name="T115" fmla="*/ 19 h 32"/>
                <a:gd name="T116" fmla="*/ 0 w 41"/>
                <a:gd name="T117" fmla="*/ 16 h 32"/>
                <a:gd name="T118" fmla="*/ 0 w 41"/>
                <a:gd name="T119" fmla="*/ 14 h 32"/>
                <a:gd name="T120" fmla="*/ 0 w 41"/>
                <a:gd name="T121" fmla="*/ 12 h 32"/>
                <a:gd name="T122" fmla="*/ 1 w 41"/>
                <a:gd name="T123" fmla="*/ 10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1" h="32">
                  <a:moveTo>
                    <a:pt x="1" y="10"/>
                  </a:moveTo>
                  <a:lnTo>
                    <a:pt x="3" y="10"/>
                  </a:lnTo>
                  <a:lnTo>
                    <a:pt x="3" y="10"/>
                  </a:lnTo>
                  <a:lnTo>
                    <a:pt x="4" y="9"/>
                  </a:lnTo>
                  <a:lnTo>
                    <a:pt x="4" y="9"/>
                  </a:lnTo>
                  <a:lnTo>
                    <a:pt x="4" y="7"/>
                  </a:lnTo>
                  <a:lnTo>
                    <a:pt x="4" y="7"/>
                  </a:lnTo>
                  <a:lnTo>
                    <a:pt x="5" y="6"/>
                  </a:lnTo>
                  <a:lnTo>
                    <a:pt x="5" y="6"/>
                  </a:lnTo>
                  <a:lnTo>
                    <a:pt x="5" y="6"/>
                  </a:lnTo>
                  <a:lnTo>
                    <a:pt x="6" y="6"/>
                  </a:lnTo>
                  <a:lnTo>
                    <a:pt x="8" y="5"/>
                  </a:lnTo>
                  <a:lnTo>
                    <a:pt x="8" y="5"/>
                  </a:lnTo>
                  <a:lnTo>
                    <a:pt x="8" y="6"/>
                  </a:lnTo>
                  <a:lnTo>
                    <a:pt x="10" y="6"/>
                  </a:lnTo>
                  <a:lnTo>
                    <a:pt x="10" y="6"/>
                  </a:lnTo>
                  <a:lnTo>
                    <a:pt x="10" y="7"/>
                  </a:lnTo>
                  <a:lnTo>
                    <a:pt x="10" y="7"/>
                  </a:lnTo>
                  <a:lnTo>
                    <a:pt x="11" y="9"/>
                  </a:lnTo>
                  <a:lnTo>
                    <a:pt x="11" y="7"/>
                  </a:lnTo>
                  <a:lnTo>
                    <a:pt x="11" y="7"/>
                  </a:lnTo>
                  <a:lnTo>
                    <a:pt x="11" y="6"/>
                  </a:lnTo>
                  <a:lnTo>
                    <a:pt x="11" y="6"/>
                  </a:lnTo>
                  <a:lnTo>
                    <a:pt x="12" y="6"/>
                  </a:lnTo>
                  <a:lnTo>
                    <a:pt x="12" y="6"/>
                  </a:lnTo>
                  <a:lnTo>
                    <a:pt x="12" y="5"/>
                  </a:lnTo>
                  <a:lnTo>
                    <a:pt x="12" y="5"/>
                  </a:lnTo>
                  <a:lnTo>
                    <a:pt x="13" y="5"/>
                  </a:lnTo>
                  <a:lnTo>
                    <a:pt x="13" y="4"/>
                  </a:lnTo>
                  <a:lnTo>
                    <a:pt x="13" y="4"/>
                  </a:lnTo>
                  <a:lnTo>
                    <a:pt x="14" y="4"/>
                  </a:lnTo>
                  <a:lnTo>
                    <a:pt x="14" y="4"/>
                  </a:lnTo>
                  <a:lnTo>
                    <a:pt x="14" y="5"/>
                  </a:lnTo>
                  <a:lnTo>
                    <a:pt x="16" y="4"/>
                  </a:lnTo>
                  <a:lnTo>
                    <a:pt x="16" y="4"/>
                  </a:lnTo>
                  <a:lnTo>
                    <a:pt x="14" y="3"/>
                  </a:lnTo>
                  <a:lnTo>
                    <a:pt x="14" y="3"/>
                  </a:lnTo>
                  <a:lnTo>
                    <a:pt x="16" y="3"/>
                  </a:lnTo>
                  <a:lnTo>
                    <a:pt x="16" y="3"/>
                  </a:lnTo>
                  <a:lnTo>
                    <a:pt x="16" y="3"/>
                  </a:lnTo>
                  <a:lnTo>
                    <a:pt x="17" y="3"/>
                  </a:lnTo>
                  <a:lnTo>
                    <a:pt x="18" y="4"/>
                  </a:lnTo>
                  <a:lnTo>
                    <a:pt x="19" y="3"/>
                  </a:lnTo>
                  <a:lnTo>
                    <a:pt x="19" y="2"/>
                  </a:lnTo>
                  <a:lnTo>
                    <a:pt x="23" y="0"/>
                  </a:lnTo>
                  <a:lnTo>
                    <a:pt x="24" y="0"/>
                  </a:lnTo>
                  <a:lnTo>
                    <a:pt x="30" y="0"/>
                  </a:lnTo>
                  <a:lnTo>
                    <a:pt x="31" y="0"/>
                  </a:lnTo>
                  <a:lnTo>
                    <a:pt x="31" y="3"/>
                  </a:lnTo>
                  <a:lnTo>
                    <a:pt x="31" y="4"/>
                  </a:lnTo>
                  <a:lnTo>
                    <a:pt x="31" y="5"/>
                  </a:lnTo>
                  <a:lnTo>
                    <a:pt x="32" y="5"/>
                  </a:lnTo>
                  <a:lnTo>
                    <a:pt x="33" y="6"/>
                  </a:lnTo>
                  <a:lnTo>
                    <a:pt x="34" y="7"/>
                  </a:lnTo>
                  <a:lnTo>
                    <a:pt x="36" y="7"/>
                  </a:lnTo>
                  <a:lnTo>
                    <a:pt x="37" y="7"/>
                  </a:lnTo>
                  <a:lnTo>
                    <a:pt x="38" y="7"/>
                  </a:lnTo>
                  <a:lnTo>
                    <a:pt x="38" y="7"/>
                  </a:lnTo>
                  <a:lnTo>
                    <a:pt x="39" y="11"/>
                  </a:lnTo>
                  <a:lnTo>
                    <a:pt x="40" y="12"/>
                  </a:lnTo>
                  <a:lnTo>
                    <a:pt x="40" y="13"/>
                  </a:lnTo>
                  <a:lnTo>
                    <a:pt x="41" y="13"/>
                  </a:lnTo>
                  <a:lnTo>
                    <a:pt x="41" y="14"/>
                  </a:lnTo>
                  <a:lnTo>
                    <a:pt x="40" y="16"/>
                  </a:lnTo>
                  <a:lnTo>
                    <a:pt x="40" y="17"/>
                  </a:lnTo>
                  <a:lnTo>
                    <a:pt x="41" y="18"/>
                  </a:lnTo>
                  <a:lnTo>
                    <a:pt x="41" y="20"/>
                  </a:lnTo>
                  <a:lnTo>
                    <a:pt x="41" y="20"/>
                  </a:lnTo>
                  <a:lnTo>
                    <a:pt x="41" y="22"/>
                  </a:lnTo>
                  <a:lnTo>
                    <a:pt x="41" y="23"/>
                  </a:lnTo>
                  <a:lnTo>
                    <a:pt x="39" y="23"/>
                  </a:lnTo>
                  <a:lnTo>
                    <a:pt x="38" y="24"/>
                  </a:lnTo>
                  <a:lnTo>
                    <a:pt x="38" y="26"/>
                  </a:lnTo>
                  <a:lnTo>
                    <a:pt x="38" y="26"/>
                  </a:lnTo>
                  <a:lnTo>
                    <a:pt x="37" y="25"/>
                  </a:lnTo>
                  <a:lnTo>
                    <a:pt x="36" y="26"/>
                  </a:lnTo>
                  <a:lnTo>
                    <a:pt x="36" y="26"/>
                  </a:lnTo>
                  <a:lnTo>
                    <a:pt x="36" y="27"/>
                  </a:lnTo>
                  <a:lnTo>
                    <a:pt x="34" y="26"/>
                  </a:lnTo>
                  <a:lnTo>
                    <a:pt x="32" y="27"/>
                  </a:lnTo>
                  <a:lnTo>
                    <a:pt x="32" y="26"/>
                  </a:lnTo>
                  <a:lnTo>
                    <a:pt x="32" y="26"/>
                  </a:lnTo>
                  <a:lnTo>
                    <a:pt x="31" y="26"/>
                  </a:lnTo>
                  <a:lnTo>
                    <a:pt x="28" y="26"/>
                  </a:lnTo>
                  <a:lnTo>
                    <a:pt x="27" y="27"/>
                  </a:lnTo>
                  <a:lnTo>
                    <a:pt x="26" y="26"/>
                  </a:lnTo>
                  <a:lnTo>
                    <a:pt x="25" y="27"/>
                  </a:lnTo>
                  <a:lnTo>
                    <a:pt x="24" y="27"/>
                  </a:lnTo>
                  <a:lnTo>
                    <a:pt x="23" y="30"/>
                  </a:lnTo>
                  <a:lnTo>
                    <a:pt x="23" y="30"/>
                  </a:lnTo>
                  <a:lnTo>
                    <a:pt x="21" y="31"/>
                  </a:lnTo>
                  <a:lnTo>
                    <a:pt x="20" y="31"/>
                  </a:lnTo>
                  <a:lnTo>
                    <a:pt x="19" y="32"/>
                  </a:lnTo>
                  <a:lnTo>
                    <a:pt x="18" y="32"/>
                  </a:lnTo>
                  <a:lnTo>
                    <a:pt x="18" y="31"/>
                  </a:lnTo>
                  <a:lnTo>
                    <a:pt x="17" y="31"/>
                  </a:lnTo>
                  <a:lnTo>
                    <a:pt x="16" y="32"/>
                  </a:lnTo>
                  <a:lnTo>
                    <a:pt x="8" y="32"/>
                  </a:lnTo>
                  <a:lnTo>
                    <a:pt x="8" y="31"/>
                  </a:lnTo>
                  <a:lnTo>
                    <a:pt x="8" y="30"/>
                  </a:lnTo>
                  <a:lnTo>
                    <a:pt x="7" y="31"/>
                  </a:lnTo>
                  <a:lnTo>
                    <a:pt x="6" y="30"/>
                  </a:lnTo>
                  <a:lnTo>
                    <a:pt x="6" y="31"/>
                  </a:lnTo>
                  <a:lnTo>
                    <a:pt x="5" y="31"/>
                  </a:lnTo>
                  <a:lnTo>
                    <a:pt x="4" y="27"/>
                  </a:lnTo>
                  <a:lnTo>
                    <a:pt x="3" y="27"/>
                  </a:lnTo>
                  <a:lnTo>
                    <a:pt x="3" y="27"/>
                  </a:lnTo>
                  <a:lnTo>
                    <a:pt x="3" y="26"/>
                  </a:lnTo>
                  <a:lnTo>
                    <a:pt x="1" y="25"/>
                  </a:lnTo>
                  <a:lnTo>
                    <a:pt x="1" y="23"/>
                  </a:lnTo>
                  <a:lnTo>
                    <a:pt x="1" y="23"/>
                  </a:lnTo>
                  <a:lnTo>
                    <a:pt x="1" y="22"/>
                  </a:lnTo>
                  <a:lnTo>
                    <a:pt x="1" y="22"/>
                  </a:lnTo>
                  <a:lnTo>
                    <a:pt x="1" y="20"/>
                  </a:lnTo>
                  <a:lnTo>
                    <a:pt x="1" y="20"/>
                  </a:lnTo>
                  <a:lnTo>
                    <a:pt x="0" y="19"/>
                  </a:lnTo>
                  <a:lnTo>
                    <a:pt x="1" y="17"/>
                  </a:lnTo>
                  <a:lnTo>
                    <a:pt x="0" y="16"/>
                  </a:lnTo>
                  <a:lnTo>
                    <a:pt x="0" y="14"/>
                  </a:lnTo>
                  <a:lnTo>
                    <a:pt x="0" y="14"/>
                  </a:lnTo>
                  <a:lnTo>
                    <a:pt x="0" y="13"/>
                  </a:lnTo>
                  <a:lnTo>
                    <a:pt x="0" y="12"/>
                  </a:lnTo>
                  <a:lnTo>
                    <a:pt x="1" y="11"/>
                  </a:lnTo>
                  <a:lnTo>
                    <a:pt x="1" y="10"/>
                  </a:lnTo>
                  <a:lnTo>
                    <a:pt x="1" y="10"/>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299" name="Macau">
              <a:extLst>
                <a:ext uri="{FF2B5EF4-FFF2-40B4-BE49-F238E27FC236}">
                  <a16:creationId xmlns:a16="http://schemas.microsoft.com/office/drawing/2014/main" id="{C7F4429D-1B78-CD48-BB42-BE20E09A2511}"/>
                </a:ext>
              </a:extLst>
            </p:cNvPr>
            <p:cNvSpPr>
              <a:spLocks/>
            </p:cNvSpPr>
            <p:nvPr/>
          </p:nvSpPr>
          <p:spPr bwMode="auto">
            <a:xfrm>
              <a:off x="9301555" y="3321707"/>
              <a:ext cx="4374" cy="4374"/>
            </a:xfrm>
            <a:custGeom>
              <a:avLst/>
              <a:gdLst>
                <a:gd name="T0" fmla="*/ 0 w 3"/>
                <a:gd name="T1" fmla="*/ 0 h 3"/>
                <a:gd name="T2" fmla="*/ 0 w 3"/>
                <a:gd name="T3" fmla="*/ 0 h 3"/>
                <a:gd name="T4" fmla="*/ 0 w 3"/>
                <a:gd name="T5" fmla="*/ 0 h 3"/>
                <a:gd name="T6" fmla="*/ 1 w 3"/>
                <a:gd name="T7" fmla="*/ 2 h 3"/>
                <a:gd name="T8" fmla="*/ 1 w 3"/>
                <a:gd name="T9" fmla="*/ 2 h 3"/>
                <a:gd name="T10" fmla="*/ 3 w 3"/>
                <a:gd name="T11" fmla="*/ 3 h 3"/>
                <a:gd name="T12" fmla="*/ 1 w 3"/>
                <a:gd name="T13" fmla="*/ 3 h 3"/>
                <a:gd name="T14" fmla="*/ 0 w 3"/>
                <a:gd name="T15" fmla="*/ 2 h 3"/>
                <a:gd name="T16" fmla="*/ 0 w 3"/>
                <a:gd name="T17" fmla="*/ 2 h 3"/>
                <a:gd name="T18" fmla="*/ 0 w 3"/>
                <a:gd name="T19" fmla="*/ 2 h 3"/>
                <a:gd name="T20" fmla="*/ 0 w 3"/>
                <a:gd name="T21" fmla="*/ 0 h 3"/>
                <a:gd name="T22" fmla="*/ 0 w 3"/>
                <a:gd name="T23" fmla="*/ 0 h 3"/>
                <a:gd name="T24" fmla="*/ 0 w 3"/>
                <a:gd name="T25"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3">
                  <a:moveTo>
                    <a:pt x="0" y="0"/>
                  </a:moveTo>
                  <a:lnTo>
                    <a:pt x="0" y="0"/>
                  </a:lnTo>
                  <a:lnTo>
                    <a:pt x="0" y="0"/>
                  </a:lnTo>
                  <a:lnTo>
                    <a:pt x="1" y="2"/>
                  </a:lnTo>
                  <a:lnTo>
                    <a:pt x="1" y="2"/>
                  </a:lnTo>
                  <a:lnTo>
                    <a:pt x="3" y="3"/>
                  </a:lnTo>
                  <a:lnTo>
                    <a:pt x="1" y="3"/>
                  </a:lnTo>
                  <a:lnTo>
                    <a:pt x="0" y="2"/>
                  </a:lnTo>
                  <a:lnTo>
                    <a:pt x="0" y="2"/>
                  </a:lnTo>
                  <a:lnTo>
                    <a:pt x="0" y="2"/>
                  </a:lnTo>
                  <a:lnTo>
                    <a:pt x="0" y="0"/>
                  </a:lnTo>
                  <a:lnTo>
                    <a:pt x="0" y="0"/>
                  </a:lnTo>
                  <a:lnTo>
                    <a:pt x="0" y="0"/>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00" name="St Lucia">
              <a:extLst>
                <a:ext uri="{FF2B5EF4-FFF2-40B4-BE49-F238E27FC236}">
                  <a16:creationId xmlns:a16="http://schemas.microsoft.com/office/drawing/2014/main" id="{B15D774D-B4E0-A242-AFB4-A8A04901CE72}"/>
                </a:ext>
              </a:extLst>
            </p:cNvPr>
            <p:cNvSpPr>
              <a:spLocks/>
            </p:cNvSpPr>
            <p:nvPr/>
          </p:nvSpPr>
          <p:spPr bwMode="auto">
            <a:xfrm>
              <a:off x="4765877" y="3563727"/>
              <a:ext cx="5833" cy="10205"/>
            </a:xfrm>
            <a:custGeom>
              <a:avLst/>
              <a:gdLst>
                <a:gd name="T0" fmla="*/ 3 w 4"/>
                <a:gd name="T1" fmla="*/ 7 h 7"/>
                <a:gd name="T2" fmla="*/ 0 w 4"/>
                <a:gd name="T3" fmla="*/ 7 h 7"/>
                <a:gd name="T4" fmla="*/ 0 w 4"/>
                <a:gd name="T5" fmla="*/ 5 h 7"/>
                <a:gd name="T6" fmla="*/ 3 w 4"/>
                <a:gd name="T7" fmla="*/ 0 h 7"/>
                <a:gd name="T8" fmla="*/ 4 w 4"/>
                <a:gd name="T9" fmla="*/ 1 h 7"/>
                <a:gd name="T10" fmla="*/ 4 w 4"/>
                <a:gd name="T11" fmla="*/ 6 h 7"/>
                <a:gd name="T12" fmla="*/ 3 w 4"/>
                <a:gd name="T13" fmla="*/ 7 h 7"/>
                <a:gd name="T14" fmla="*/ 3 w 4"/>
                <a:gd name="T15" fmla="*/ 7 h 7"/>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4" h="7">
                  <a:moveTo>
                    <a:pt x="3" y="7"/>
                  </a:moveTo>
                  <a:lnTo>
                    <a:pt x="0" y="7"/>
                  </a:lnTo>
                  <a:lnTo>
                    <a:pt x="0" y="5"/>
                  </a:lnTo>
                  <a:lnTo>
                    <a:pt x="3" y="0"/>
                  </a:lnTo>
                  <a:lnTo>
                    <a:pt x="4" y="1"/>
                  </a:lnTo>
                  <a:lnTo>
                    <a:pt x="4" y="6"/>
                  </a:lnTo>
                  <a:lnTo>
                    <a:pt x="3" y="7"/>
                  </a:lnTo>
                  <a:lnTo>
                    <a:pt x="3" y="7"/>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01" name="Lesotho">
              <a:extLst>
                <a:ext uri="{FF2B5EF4-FFF2-40B4-BE49-F238E27FC236}">
                  <a16:creationId xmlns:a16="http://schemas.microsoft.com/office/drawing/2014/main" id="{68A91675-7B19-5D46-A96C-81C3D270D724}"/>
                </a:ext>
              </a:extLst>
            </p:cNvPr>
            <p:cNvSpPr>
              <a:spLocks/>
            </p:cNvSpPr>
            <p:nvPr/>
          </p:nvSpPr>
          <p:spPr bwMode="auto">
            <a:xfrm>
              <a:off x="7050483" y="4843805"/>
              <a:ext cx="61234" cy="62691"/>
            </a:xfrm>
            <a:custGeom>
              <a:avLst/>
              <a:gdLst>
                <a:gd name="T0" fmla="*/ 31 w 42"/>
                <a:gd name="T1" fmla="*/ 0 h 43"/>
                <a:gd name="T2" fmla="*/ 26 w 42"/>
                <a:gd name="T3" fmla="*/ 1 h 43"/>
                <a:gd name="T4" fmla="*/ 22 w 42"/>
                <a:gd name="T5" fmla="*/ 2 h 43"/>
                <a:gd name="T6" fmla="*/ 20 w 42"/>
                <a:gd name="T7" fmla="*/ 2 h 43"/>
                <a:gd name="T8" fmla="*/ 19 w 42"/>
                <a:gd name="T9" fmla="*/ 4 h 43"/>
                <a:gd name="T10" fmla="*/ 18 w 42"/>
                <a:gd name="T11" fmla="*/ 5 h 43"/>
                <a:gd name="T12" fmla="*/ 16 w 42"/>
                <a:gd name="T13" fmla="*/ 4 h 43"/>
                <a:gd name="T14" fmla="*/ 14 w 42"/>
                <a:gd name="T15" fmla="*/ 5 h 43"/>
                <a:gd name="T16" fmla="*/ 13 w 42"/>
                <a:gd name="T17" fmla="*/ 7 h 43"/>
                <a:gd name="T18" fmla="*/ 13 w 42"/>
                <a:gd name="T19" fmla="*/ 8 h 43"/>
                <a:gd name="T20" fmla="*/ 12 w 42"/>
                <a:gd name="T21" fmla="*/ 9 h 43"/>
                <a:gd name="T22" fmla="*/ 12 w 42"/>
                <a:gd name="T23" fmla="*/ 9 h 43"/>
                <a:gd name="T24" fmla="*/ 9 w 42"/>
                <a:gd name="T25" fmla="*/ 13 h 43"/>
                <a:gd name="T26" fmla="*/ 9 w 42"/>
                <a:gd name="T27" fmla="*/ 14 h 43"/>
                <a:gd name="T28" fmla="*/ 7 w 42"/>
                <a:gd name="T29" fmla="*/ 15 h 43"/>
                <a:gd name="T30" fmla="*/ 1 w 42"/>
                <a:gd name="T31" fmla="*/ 21 h 43"/>
                <a:gd name="T32" fmla="*/ 0 w 42"/>
                <a:gd name="T33" fmla="*/ 23 h 43"/>
                <a:gd name="T34" fmla="*/ 6 w 42"/>
                <a:gd name="T35" fmla="*/ 30 h 43"/>
                <a:gd name="T36" fmla="*/ 7 w 42"/>
                <a:gd name="T37" fmla="*/ 34 h 43"/>
                <a:gd name="T38" fmla="*/ 16 w 42"/>
                <a:gd name="T39" fmla="*/ 42 h 43"/>
                <a:gd name="T40" fmla="*/ 18 w 42"/>
                <a:gd name="T41" fmla="*/ 41 h 43"/>
                <a:gd name="T42" fmla="*/ 19 w 42"/>
                <a:gd name="T43" fmla="*/ 38 h 43"/>
                <a:gd name="T44" fmla="*/ 20 w 42"/>
                <a:gd name="T45" fmla="*/ 36 h 43"/>
                <a:gd name="T46" fmla="*/ 20 w 42"/>
                <a:gd name="T47" fmla="*/ 33 h 43"/>
                <a:gd name="T48" fmla="*/ 22 w 42"/>
                <a:gd name="T49" fmla="*/ 33 h 43"/>
                <a:gd name="T50" fmla="*/ 23 w 42"/>
                <a:gd name="T51" fmla="*/ 31 h 43"/>
                <a:gd name="T52" fmla="*/ 26 w 42"/>
                <a:gd name="T53" fmla="*/ 30 h 43"/>
                <a:gd name="T54" fmla="*/ 29 w 42"/>
                <a:gd name="T55" fmla="*/ 30 h 43"/>
                <a:gd name="T56" fmla="*/ 35 w 42"/>
                <a:gd name="T57" fmla="*/ 28 h 43"/>
                <a:gd name="T58" fmla="*/ 36 w 42"/>
                <a:gd name="T59" fmla="*/ 27 h 43"/>
                <a:gd name="T60" fmla="*/ 36 w 42"/>
                <a:gd name="T61" fmla="*/ 25 h 43"/>
                <a:gd name="T62" fmla="*/ 36 w 42"/>
                <a:gd name="T63" fmla="*/ 22 h 43"/>
                <a:gd name="T64" fmla="*/ 40 w 42"/>
                <a:gd name="T65" fmla="*/ 22 h 43"/>
                <a:gd name="T66" fmla="*/ 40 w 42"/>
                <a:gd name="T67" fmla="*/ 18 h 43"/>
                <a:gd name="T68" fmla="*/ 41 w 42"/>
                <a:gd name="T69" fmla="*/ 17 h 43"/>
                <a:gd name="T70" fmla="*/ 42 w 42"/>
                <a:gd name="T71" fmla="*/ 16 h 43"/>
                <a:gd name="T72" fmla="*/ 42 w 42"/>
                <a:gd name="T73" fmla="*/ 11 h 43"/>
                <a:gd name="T74" fmla="*/ 41 w 42"/>
                <a:gd name="T75" fmla="*/ 9 h 43"/>
                <a:gd name="T76" fmla="*/ 39 w 42"/>
                <a:gd name="T77" fmla="*/ 8 h 43"/>
                <a:gd name="T78" fmla="*/ 36 w 42"/>
                <a:gd name="T79" fmla="*/ 7 h 43"/>
                <a:gd name="T80" fmla="*/ 35 w 42"/>
                <a:gd name="T81" fmla="*/ 5 h 43"/>
                <a:gd name="T82" fmla="*/ 33 w 42"/>
                <a:gd name="T83" fmla="*/ 1 h 43"/>
                <a:gd name="T84" fmla="*/ 31 w 42"/>
                <a:gd name="T85" fmla="*/ 0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42" h="43">
                  <a:moveTo>
                    <a:pt x="31" y="0"/>
                  </a:moveTo>
                  <a:lnTo>
                    <a:pt x="31" y="0"/>
                  </a:lnTo>
                  <a:lnTo>
                    <a:pt x="28" y="0"/>
                  </a:lnTo>
                  <a:lnTo>
                    <a:pt x="26" y="1"/>
                  </a:lnTo>
                  <a:lnTo>
                    <a:pt x="25" y="2"/>
                  </a:lnTo>
                  <a:lnTo>
                    <a:pt x="22" y="2"/>
                  </a:lnTo>
                  <a:lnTo>
                    <a:pt x="21" y="2"/>
                  </a:lnTo>
                  <a:lnTo>
                    <a:pt x="20" y="2"/>
                  </a:lnTo>
                  <a:lnTo>
                    <a:pt x="20" y="4"/>
                  </a:lnTo>
                  <a:lnTo>
                    <a:pt x="19" y="4"/>
                  </a:lnTo>
                  <a:lnTo>
                    <a:pt x="19" y="5"/>
                  </a:lnTo>
                  <a:lnTo>
                    <a:pt x="18" y="5"/>
                  </a:lnTo>
                  <a:lnTo>
                    <a:pt x="18" y="4"/>
                  </a:lnTo>
                  <a:lnTo>
                    <a:pt x="16" y="4"/>
                  </a:lnTo>
                  <a:lnTo>
                    <a:pt x="15" y="5"/>
                  </a:lnTo>
                  <a:lnTo>
                    <a:pt x="14" y="5"/>
                  </a:lnTo>
                  <a:lnTo>
                    <a:pt x="13" y="7"/>
                  </a:lnTo>
                  <a:lnTo>
                    <a:pt x="13" y="7"/>
                  </a:lnTo>
                  <a:lnTo>
                    <a:pt x="13" y="8"/>
                  </a:lnTo>
                  <a:lnTo>
                    <a:pt x="13" y="8"/>
                  </a:lnTo>
                  <a:lnTo>
                    <a:pt x="13" y="9"/>
                  </a:lnTo>
                  <a:lnTo>
                    <a:pt x="12" y="9"/>
                  </a:lnTo>
                  <a:lnTo>
                    <a:pt x="12" y="9"/>
                  </a:lnTo>
                  <a:lnTo>
                    <a:pt x="12" y="9"/>
                  </a:lnTo>
                  <a:lnTo>
                    <a:pt x="11" y="11"/>
                  </a:lnTo>
                  <a:lnTo>
                    <a:pt x="9" y="13"/>
                  </a:lnTo>
                  <a:lnTo>
                    <a:pt x="9" y="14"/>
                  </a:lnTo>
                  <a:lnTo>
                    <a:pt x="9" y="14"/>
                  </a:lnTo>
                  <a:lnTo>
                    <a:pt x="8" y="15"/>
                  </a:lnTo>
                  <a:lnTo>
                    <a:pt x="7" y="15"/>
                  </a:lnTo>
                  <a:lnTo>
                    <a:pt x="7" y="16"/>
                  </a:lnTo>
                  <a:lnTo>
                    <a:pt x="1" y="21"/>
                  </a:lnTo>
                  <a:lnTo>
                    <a:pt x="0" y="22"/>
                  </a:lnTo>
                  <a:lnTo>
                    <a:pt x="0" y="23"/>
                  </a:lnTo>
                  <a:lnTo>
                    <a:pt x="5" y="31"/>
                  </a:lnTo>
                  <a:lnTo>
                    <a:pt x="6" y="30"/>
                  </a:lnTo>
                  <a:lnTo>
                    <a:pt x="6" y="34"/>
                  </a:lnTo>
                  <a:lnTo>
                    <a:pt x="7" y="34"/>
                  </a:lnTo>
                  <a:lnTo>
                    <a:pt x="11" y="40"/>
                  </a:lnTo>
                  <a:lnTo>
                    <a:pt x="16" y="42"/>
                  </a:lnTo>
                  <a:lnTo>
                    <a:pt x="18" y="43"/>
                  </a:lnTo>
                  <a:lnTo>
                    <a:pt x="18" y="41"/>
                  </a:lnTo>
                  <a:lnTo>
                    <a:pt x="19" y="40"/>
                  </a:lnTo>
                  <a:lnTo>
                    <a:pt x="19" y="38"/>
                  </a:lnTo>
                  <a:lnTo>
                    <a:pt x="19" y="37"/>
                  </a:lnTo>
                  <a:lnTo>
                    <a:pt x="20" y="36"/>
                  </a:lnTo>
                  <a:lnTo>
                    <a:pt x="21" y="35"/>
                  </a:lnTo>
                  <a:lnTo>
                    <a:pt x="20" y="33"/>
                  </a:lnTo>
                  <a:lnTo>
                    <a:pt x="21" y="33"/>
                  </a:lnTo>
                  <a:lnTo>
                    <a:pt x="22" y="33"/>
                  </a:lnTo>
                  <a:lnTo>
                    <a:pt x="23" y="31"/>
                  </a:lnTo>
                  <a:lnTo>
                    <a:pt x="23" y="31"/>
                  </a:lnTo>
                  <a:lnTo>
                    <a:pt x="25" y="31"/>
                  </a:lnTo>
                  <a:lnTo>
                    <a:pt x="26" y="30"/>
                  </a:lnTo>
                  <a:lnTo>
                    <a:pt x="28" y="31"/>
                  </a:lnTo>
                  <a:lnTo>
                    <a:pt x="29" y="30"/>
                  </a:lnTo>
                  <a:lnTo>
                    <a:pt x="32" y="30"/>
                  </a:lnTo>
                  <a:lnTo>
                    <a:pt x="35" y="28"/>
                  </a:lnTo>
                  <a:lnTo>
                    <a:pt x="36" y="27"/>
                  </a:lnTo>
                  <a:lnTo>
                    <a:pt x="36" y="27"/>
                  </a:lnTo>
                  <a:lnTo>
                    <a:pt x="36" y="25"/>
                  </a:lnTo>
                  <a:lnTo>
                    <a:pt x="36" y="25"/>
                  </a:lnTo>
                  <a:lnTo>
                    <a:pt x="36" y="23"/>
                  </a:lnTo>
                  <a:lnTo>
                    <a:pt x="36" y="22"/>
                  </a:lnTo>
                  <a:lnTo>
                    <a:pt x="38" y="21"/>
                  </a:lnTo>
                  <a:lnTo>
                    <a:pt x="40" y="22"/>
                  </a:lnTo>
                  <a:lnTo>
                    <a:pt x="40" y="20"/>
                  </a:lnTo>
                  <a:lnTo>
                    <a:pt x="40" y="18"/>
                  </a:lnTo>
                  <a:lnTo>
                    <a:pt x="40" y="17"/>
                  </a:lnTo>
                  <a:lnTo>
                    <a:pt x="41" y="17"/>
                  </a:lnTo>
                  <a:lnTo>
                    <a:pt x="42" y="17"/>
                  </a:lnTo>
                  <a:lnTo>
                    <a:pt x="42" y="16"/>
                  </a:lnTo>
                  <a:lnTo>
                    <a:pt x="42" y="15"/>
                  </a:lnTo>
                  <a:lnTo>
                    <a:pt x="42" y="11"/>
                  </a:lnTo>
                  <a:lnTo>
                    <a:pt x="41" y="11"/>
                  </a:lnTo>
                  <a:lnTo>
                    <a:pt x="41" y="9"/>
                  </a:lnTo>
                  <a:lnTo>
                    <a:pt x="40" y="9"/>
                  </a:lnTo>
                  <a:lnTo>
                    <a:pt x="39" y="8"/>
                  </a:lnTo>
                  <a:lnTo>
                    <a:pt x="39" y="8"/>
                  </a:lnTo>
                  <a:lnTo>
                    <a:pt x="36" y="7"/>
                  </a:lnTo>
                  <a:lnTo>
                    <a:pt x="36" y="7"/>
                  </a:lnTo>
                  <a:lnTo>
                    <a:pt x="35" y="5"/>
                  </a:lnTo>
                  <a:lnTo>
                    <a:pt x="34" y="2"/>
                  </a:lnTo>
                  <a:lnTo>
                    <a:pt x="33" y="1"/>
                  </a:lnTo>
                  <a:lnTo>
                    <a:pt x="31" y="0"/>
                  </a:lnTo>
                  <a:lnTo>
                    <a:pt x="31" y="0"/>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02" name="Liechtenstein">
              <a:extLst>
                <a:ext uri="{FF2B5EF4-FFF2-40B4-BE49-F238E27FC236}">
                  <a16:creationId xmlns:a16="http://schemas.microsoft.com/office/drawing/2014/main" id="{A61D0646-1AAA-0646-880B-B3FC8F7DE3FC}"/>
                </a:ext>
              </a:extLst>
            </p:cNvPr>
            <p:cNvSpPr>
              <a:spLocks/>
            </p:cNvSpPr>
            <p:nvPr/>
          </p:nvSpPr>
          <p:spPr bwMode="auto">
            <a:xfrm>
              <a:off x="6582480" y="2575237"/>
              <a:ext cx="4374" cy="4374"/>
            </a:xfrm>
            <a:custGeom>
              <a:avLst/>
              <a:gdLst>
                <a:gd name="T0" fmla="*/ 2 w 3"/>
                <a:gd name="T1" fmla="*/ 0 h 3"/>
                <a:gd name="T2" fmla="*/ 2 w 3"/>
                <a:gd name="T3" fmla="*/ 0 h 3"/>
                <a:gd name="T4" fmla="*/ 2 w 3"/>
                <a:gd name="T5" fmla="*/ 0 h 3"/>
                <a:gd name="T6" fmla="*/ 2 w 3"/>
                <a:gd name="T7" fmla="*/ 0 h 3"/>
                <a:gd name="T8" fmla="*/ 3 w 3"/>
                <a:gd name="T9" fmla="*/ 1 h 3"/>
                <a:gd name="T10" fmla="*/ 3 w 3"/>
                <a:gd name="T11" fmla="*/ 2 h 3"/>
                <a:gd name="T12" fmla="*/ 3 w 3"/>
                <a:gd name="T13" fmla="*/ 2 h 3"/>
                <a:gd name="T14" fmla="*/ 3 w 3"/>
                <a:gd name="T15" fmla="*/ 3 h 3"/>
                <a:gd name="T16" fmla="*/ 2 w 3"/>
                <a:gd name="T17" fmla="*/ 3 h 3"/>
                <a:gd name="T18" fmla="*/ 2 w 3"/>
                <a:gd name="T19" fmla="*/ 3 h 3"/>
                <a:gd name="T20" fmla="*/ 1 w 3"/>
                <a:gd name="T21" fmla="*/ 3 h 3"/>
                <a:gd name="T22" fmla="*/ 0 w 3"/>
                <a:gd name="T23" fmla="*/ 3 h 3"/>
                <a:gd name="T24" fmla="*/ 1 w 3"/>
                <a:gd name="T25" fmla="*/ 3 h 3"/>
                <a:gd name="T26" fmla="*/ 0 w 3"/>
                <a:gd name="T27" fmla="*/ 1 h 3"/>
                <a:gd name="T28" fmla="*/ 2 w 3"/>
                <a:gd name="T29" fmla="*/ 0 h 3"/>
                <a:gd name="T30" fmla="*/ 2 w 3"/>
                <a:gd name="T31"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 h="3">
                  <a:moveTo>
                    <a:pt x="2" y="0"/>
                  </a:moveTo>
                  <a:lnTo>
                    <a:pt x="2" y="0"/>
                  </a:lnTo>
                  <a:lnTo>
                    <a:pt x="2" y="0"/>
                  </a:lnTo>
                  <a:lnTo>
                    <a:pt x="2" y="0"/>
                  </a:lnTo>
                  <a:lnTo>
                    <a:pt x="3" y="1"/>
                  </a:lnTo>
                  <a:lnTo>
                    <a:pt x="3" y="2"/>
                  </a:lnTo>
                  <a:lnTo>
                    <a:pt x="3" y="2"/>
                  </a:lnTo>
                  <a:lnTo>
                    <a:pt x="3" y="3"/>
                  </a:lnTo>
                  <a:lnTo>
                    <a:pt x="2" y="3"/>
                  </a:lnTo>
                  <a:lnTo>
                    <a:pt x="2" y="3"/>
                  </a:lnTo>
                  <a:lnTo>
                    <a:pt x="1" y="3"/>
                  </a:lnTo>
                  <a:lnTo>
                    <a:pt x="0" y="3"/>
                  </a:lnTo>
                  <a:lnTo>
                    <a:pt x="1" y="3"/>
                  </a:lnTo>
                  <a:lnTo>
                    <a:pt x="0" y="1"/>
                  </a:lnTo>
                  <a:lnTo>
                    <a:pt x="2" y="0"/>
                  </a:lnTo>
                  <a:lnTo>
                    <a:pt x="2" y="0"/>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03" name="Libya">
              <a:extLst>
                <a:ext uri="{FF2B5EF4-FFF2-40B4-BE49-F238E27FC236}">
                  <a16:creationId xmlns:a16="http://schemas.microsoft.com/office/drawing/2014/main" id="{A37EBB3B-B209-E542-A86E-9151DD91E469}"/>
                </a:ext>
              </a:extLst>
            </p:cNvPr>
            <p:cNvSpPr>
              <a:spLocks/>
            </p:cNvSpPr>
            <p:nvPr>
              <p:custDataLst>
                <p:tags r:id="rId5"/>
              </p:custDataLst>
            </p:nvPr>
          </p:nvSpPr>
          <p:spPr bwMode="auto">
            <a:xfrm>
              <a:off x="6599976" y="2992210"/>
              <a:ext cx="412600" cy="414058"/>
            </a:xfrm>
            <a:custGeom>
              <a:avLst/>
              <a:gdLst>
                <a:gd name="T0" fmla="*/ 78 w 283"/>
                <a:gd name="T1" fmla="*/ 209 h 284"/>
                <a:gd name="T2" fmla="*/ 22 w 283"/>
                <a:gd name="T3" fmla="*/ 179 h 284"/>
                <a:gd name="T4" fmla="*/ 3 w 283"/>
                <a:gd name="T5" fmla="*/ 143 h 284"/>
                <a:gd name="T6" fmla="*/ 13 w 283"/>
                <a:gd name="T7" fmla="*/ 134 h 284"/>
                <a:gd name="T8" fmla="*/ 8 w 283"/>
                <a:gd name="T9" fmla="*/ 121 h 284"/>
                <a:gd name="T10" fmla="*/ 9 w 283"/>
                <a:gd name="T11" fmla="*/ 102 h 284"/>
                <a:gd name="T12" fmla="*/ 4 w 283"/>
                <a:gd name="T13" fmla="*/ 70 h 284"/>
                <a:gd name="T14" fmla="*/ 10 w 283"/>
                <a:gd name="T15" fmla="*/ 58 h 284"/>
                <a:gd name="T16" fmla="*/ 16 w 283"/>
                <a:gd name="T17" fmla="*/ 44 h 284"/>
                <a:gd name="T18" fmla="*/ 16 w 283"/>
                <a:gd name="T19" fmla="*/ 32 h 284"/>
                <a:gd name="T20" fmla="*/ 22 w 283"/>
                <a:gd name="T21" fmla="*/ 28 h 284"/>
                <a:gd name="T22" fmla="*/ 23 w 283"/>
                <a:gd name="T23" fmla="*/ 27 h 284"/>
                <a:gd name="T24" fmla="*/ 29 w 283"/>
                <a:gd name="T25" fmla="*/ 21 h 284"/>
                <a:gd name="T26" fmla="*/ 37 w 283"/>
                <a:gd name="T27" fmla="*/ 15 h 284"/>
                <a:gd name="T28" fmla="*/ 36 w 283"/>
                <a:gd name="T29" fmla="*/ 2 h 284"/>
                <a:gd name="T30" fmla="*/ 41 w 283"/>
                <a:gd name="T31" fmla="*/ 2 h 284"/>
                <a:gd name="T32" fmla="*/ 48 w 283"/>
                <a:gd name="T33" fmla="*/ 4 h 284"/>
                <a:gd name="T34" fmla="*/ 58 w 283"/>
                <a:gd name="T35" fmla="*/ 9 h 284"/>
                <a:gd name="T36" fmla="*/ 68 w 283"/>
                <a:gd name="T37" fmla="*/ 7 h 284"/>
                <a:gd name="T38" fmla="*/ 82 w 283"/>
                <a:gd name="T39" fmla="*/ 10 h 284"/>
                <a:gd name="T40" fmla="*/ 93 w 283"/>
                <a:gd name="T41" fmla="*/ 16 h 284"/>
                <a:gd name="T42" fmla="*/ 103 w 283"/>
                <a:gd name="T43" fmla="*/ 23 h 284"/>
                <a:gd name="T44" fmla="*/ 108 w 283"/>
                <a:gd name="T45" fmla="*/ 25 h 284"/>
                <a:gd name="T46" fmla="*/ 114 w 283"/>
                <a:gd name="T47" fmla="*/ 39 h 284"/>
                <a:gd name="T48" fmla="*/ 128 w 283"/>
                <a:gd name="T49" fmla="*/ 41 h 284"/>
                <a:gd name="T50" fmla="*/ 147 w 283"/>
                <a:gd name="T51" fmla="*/ 47 h 284"/>
                <a:gd name="T52" fmla="*/ 156 w 283"/>
                <a:gd name="T53" fmla="*/ 52 h 284"/>
                <a:gd name="T54" fmla="*/ 167 w 283"/>
                <a:gd name="T55" fmla="*/ 58 h 284"/>
                <a:gd name="T56" fmla="*/ 175 w 283"/>
                <a:gd name="T57" fmla="*/ 57 h 284"/>
                <a:gd name="T58" fmla="*/ 182 w 283"/>
                <a:gd name="T59" fmla="*/ 49 h 284"/>
                <a:gd name="T60" fmla="*/ 184 w 283"/>
                <a:gd name="T61" fmla="*/ 39 h 284"/>
                <a:gd name="T62" fmla="*/ 181 w 283"/>
                <a:gd name="T63" fmla="*/ 29 h 284"/>
                <a:gd name="T64" fmla="*/ 185 w 283"/>
                <a:gd name="T65" fmla="*/ 19 h 284"/>
                <a:gd name="T66" fmla="*/ 188 w 283"/>
                <a:gd name="T67" fmla="*/ 14 h 284"/>
                <a:gd name="T68" fmla="*/ 191 w 283"/>
                <a:gd name="T69" fmla="*/ 9 h 284"/>
                <a:gd name="T70" fmla="*/ 200 w 283"/>
                <a:gd name="T71" fmla="*/ 10 h 284"/>
                <a:gd name="T72" fmla="*/ 208 w 283"/>
                <a:gd name="T73" fmla="*/ 9 h 284"/>
                <a:gd name="T74" fmla="*/ 210 w 283"/>
                <a:gd name="T75" fmla="*/ 5 h 284"/>
                <a:gd name="T76" fmla="*/ 214 w 283"/>
                <a:gd name="T77" fmla="*/ 7 h 284"/>
                <a:gd name="T78" fmla="*/ 220 w 283"/>
                <a:gd name="T79" fmla="*/ 5 h 284"/>
                <a:gd name="T80" fmla="*/ 225 w 283"/>
                <a:gd name="T81" fmla="*/ 8 h 284"/>
                <a:gd name="T82" fmla="*/ 231 w 283"/>
                <a:gd name="T83" fmla="*/ 10 h 284"/>
                <a:gd name="T84" fmla="*/ 236 w 283"/>
                <a:gd name="T85" fmla="*/ 12 h 284"/>
                <a:gd name="T86" fmla="*/ 236 w 283"/>
                <a:gd name="T87" fmla="*/ 18 h 284"/>
                <a:gd name="T88" fmla="*/ 241 w 283"/>
                <a:gd name="T89" fmla="*/ 22 h 284"/>
                <a:gd name="T90" fmla="*/ 242 w 283"/>
                <a:gd name="T91" fmla="*/ 21 h 284"/>
                <a:gd name="T92" fmla="*/ 250 w 283"/>
                <a:gd name="T93" fmla="*/ 22 h 284"/>
                <a:gd name="T94" fmla="*/ 254 w 283"/>
                <a:gd name="T95" fmla="*/ 24 h 284"/>
                <a:gd name="T96" fmla="*/ 258 w 283"/>
                <a:gd name="T97" fmla="*/ 24 h 284"/>
                <a:gd name="T98" fmla="*/ 263 w 283"/>
                <a:gd name="T99" fmla="*/ 24 h 284"/>
                <a:gd name="T100" fmla="*/ 271 w 283"/>
                <a:gd name="T101" fmla="*/ 27 h 284"/>
                <a:gd name="T102" fmla="*/ 269 w 283"/>
                <a:gd name="T103" fmla="*/ 37 h 284"/>
                <a:gd name="T104" fmla="*/ 270 w 283"/>
                <a:gd name="T105" fmla="*/ 57 h 284"/>
                <a:gd name="T106" fmla="*/ 271 w 283"/>
                <a:gd name="T107" fmla="*/ 74 h 284"/>
                <a:gd name="T108" fmla="*/ 265 w 283"/>
                <a:gd name="T109" fmla="*/ 284 h 2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83" h="284">
                  <a:moveTo>
                    <a:pt x="265" y="284"/>
                  </a:moveTo>
                  <a:lnTo>
                    <a:pt x="174" y="232"/>
                  </a:lnTo>
                  <a:lnTo>
                    <a:pt x="117" y="204"/>
                  </a:lnTo>
                  <a:lnTo>
                    <a:pt x="104" y="210"/>
                  </a:lnTo>
                  <a:lnTo>
                    <a:pt x="90" y="218"/>
                  </a:lnTo>
                  <a:lnTo>
                    <a:pt x="78" y="209"/>
                  </a:lnTo>
                  <a:lnTo>
                    <a:pt x="50" y="199"/>
                  </a:lnTo>
                  <a:lnTo>
                    <a:pt x="42" y="183"/>
                  </a:lnTo>
                  <a:lnTo>
                    <a:pt x="33" y="179"/>
                  </a:lnTo>
                  <a:lnTo>
                    <a:pt x="27" y="177"/>
                  </a:lnTo>
                  <a:lnTo>
                    <a:pt x="23" y="179"/>
                  </a:lnTo>
                  <a:lnTo>
                    <a:pt x="22" y="179"/>
                  </a:lnTo>
                  <a:lnTo>
                    <a:pt x="18" y="177"/>
                  </a:lnTo>
                  <a:lnTo>
                    <a:pt x="18" y="174"/>
                  </a:lnTo>
                  <a:lnTo>
                    <a:pt x="15" y="172"/>
                  </a:lnTo>
                  <a:lnTo>
                    <a:pt x="15" y="162"/>
                  </a:lnTo>
                  <a:lnTo>
                    <a:pt x="3" y="145"/>
                  </a:lnTo>
                  <a:lnTo>
                    <a:pt x="3" y="143"/>
                  </a:lnTo>
                  <a:lnTo>
                    <a:pt x="4" y="142"/>
                  </a:lnTo>
                  <a:lnTo>
                    <a:pt x="6" y="142"/>
                  </a:lnTo>
                  <a:lnTo>
                    <a:pt x="6" y="141"/>
                  </a:lnTo>
                  <a:lnTo>
                    <a:pt x="8" y="139"/>
                  </a:lnTo>
                  <a:lnTo>
                    <a:pt x="11" y="137"/>
                  </a:lnTo>
                  <a:lnTo>
                    <a:pt x="13" y="134"/>
                  </a:lnTo>
                  <a:lnTo>
                    <a:pt x="11" y="134"/>
                  </a:lnTo>
                  <a:lnTo>
                    <a:pt x="11" y="130"/>
                  </a:lnTo>
                  <a:lnTo>
                    <a:pt x="10" y="130"/>
                  </a:lnTo>
                  <a:lnTo>
                    <a:pt x="10" y="127"/>
                  </a:lnTo>
                  <a:lnTo>
                    <a:pt x="9" y="124"/>
                  </a:lnTo>
                  <a:lnTo>
                    <a:pt x="8" y="121"/>
                  </a:lnTo>
                  <a:lnTo>
                    <a:pt x="9" y="118"/>
                  </a:lnTo>
                  <a:lnTo>
                    <a:pt x="10" y="117"/>
                  </a:lnTo>
                  <a:lnTo>
                    <a:pt x="9" y="116"/>
                  </a:lnTo>
                  <a:lnTo>
                    <a:pt x="10" y="116"/>
                  </a:lnTo>
                  <a:lnTo>
                    <a:pt x="13" y="110"/>
                  </a:lnTo>
                  <a:lnTo>
                    <a:pt x="9" y="102"/>
                  </a:lnTo>
                  <a:lnTo>
                    <a:pt x="10" y="90"/>
                  </a:lnTo>
                  <a:lnTo>
                    <a:pt x="10" y="88"/>
                  </a:lnTo>
                  <a:lnTo>
                    <a:pt x="9" y="83"/>
                  </a:lnTo>
                  <a:lnTo>
                    <a:pt x="8" y="77"/>
                  </a:lnTo>
                  <a:lnTo>
                    <a:pt x="7" y="74"/>
                  </a:lnTo>
                  <a:lnTo>
                    <a:pt x="4" y="70"/>
                  </a:lnTo>
                  <a:lnTo>
                    <a:pt x="2" y="67"/>
                  </a:lnTo>
                  <a:lnTo>
                    <a:pt x="0" y="63"/>
                  </a:lnTo>
                  <a:lnTo>
                    <a:pt x="4" y="61"/>
                  </a:lnTo>
                  <a:lnTo>
                    <a:pt x="7" y="58"/>
                  </a:lnTo>
                  <a:lnTo>
                    <a:pt x="8" y="57"/>
                  </a:lnTo>
                  <a:lnTo>
                    <a:pt x="10" y="58"/>
                  </a:lnTo>
                  <a:lnTo>
                    <a:pt x="13" y="55"/>
                  </a:lnTo>
                  <a:lnTo>
                    <a:pt x="15" y="52"/>
                  </a:lnTo>
                  <a:lnTo>
                    <a:pt x="15" y="51"/>
                  </a:lnTo>
                  <a:lnTo>
                    <a:pt x="16" y="48"/>
                  </a:lnTo>
                  <a:lnTo>
                    <a:pt x="16" y="45"/>
                  </a:lnTo>
                  <a:lnTo>
                    <a:pt x="16" y="44"/>
                  </a:lnTo>
                  <a:lnTo>
                    <a:pt x="14" y="37"/>
                  </a:lnTo>
                  <a:lnTo>
                    <a:pt x="14" y="36"/>
                  </a:lnTo>
                  <a:lnTo>
                    <a:pt x="15" y="35"/>
                  </a:lnTo>
                  <a:lnTo>
                    <a:pt x="16" y="34"/>
                  </a:lnTo>
                  <a:lnTo>
                    <a:pt x="16" y="32"/>
                  </a:lnTo>
                  <a:lnTo>
                    <a:pt x="16" y="32"/>
                  </a:lnTo>
                  <a:lnTo>
                    <a:pt x="17" y="32"/>
                  </a:lnTo>
                  <a:lnTo>
                    <a:pt x="18" y="31"/>
                  </a:lnTo>
                  <a:lnTo>
                    <a:pt x="18" y="30"/>
                  </a:lnTo>
                  <a:lnTo>
                    <a:pt x="20" y="30"/>
                  </a:lnTo>
                  <a:lnTo>
                    <a:pt x="21" y="29"/>
                  </a:lnTo>
                  <a:lnTo>
                    <a:pt x="22" y="28"/>
                  </a:lnTo>
                  <a:lnTo>
                    <a:pt x="22" y="27"/>
                  </a:lnTo>
                  <a:lnTo>
                    <a:pt x="21" y="25"/>
                  </a:lnTo>
                  <a:lnTo>
                    <a:pt x="22" y="25"/>
                  </a:lnTo>
                  <a:lnTo>
                    <a:pt x="22" y="24"/>
                  </a:lnTo>
                  <a:lnTo>
                    <a:pt x="22" y="25"/>
                  </a:lnTo>
                  <a:lnTo>
                    <a:pt x="23" y="27"/>
                  </a:lnTo>
                  <a:lnTo>
                    <a:pt x="23" y="25"/>
                  </a:lnTo>
                  <a:lnTo>
                    <a:pt x="23" y="24"/>
                  </a:lnTo>
                  <a:lnTo>
                    <a:pt x="24" y="24"/>
                  </a:lnTo>
                  <a:lnTo>
                    <a:pt x="24" y="24"/>
                  </a:lnTo>
                  <a:lnTo>
                    <a:pt x="26" y="22"/>
                  </a:lnTo>
                  <a:lnTo>
                    <a:pt x="29" y="21"/>
                  </a:lnTo>
                  <a:lnTo>
                    <a:pt x="31" y="19"/>
                  </a:lnTo>
                  <a:lnTo>
                    <a:pt x="34" y="19"/>
                  </a:lnTo>
                  <a:lnTo>
                    <a:pt x="35" y="18"/>
                  </a:lnTo>
                  <a:lnTo>
                    <a:pt x="37" y="16"/>
                  </a:lnTo>
                  <a:lnTo>
                    <a:pt x="38" y="15"/>
                  </a:lnTo>
                  <a:lnTo>
                    <a:pt x="37" y="15"/>
                  </a:lnTo>
                  <a:lnTo>
                    <a:pt x="37" y="14"/>
                  </a:lnTo>
                  <a:lnTo>
                    <a:pt x="36" y="14"/>
                  </a:lnTo>
                  <a:lnTo>
                    <a:pt x="35" y="11"/>
                  </a:lnTo>
                  <a:lnTo>
                    <a:pt x="36" y="8"/>
                  </a:lnTo>
                  <a:lnTo>
                    <a:pt x="35" y="7"/>
                  </a:lnTo>
                  <a:lnTo>
                    <a:pt x="36" y="2"/>
                  </a:lnTo>
                  <a:lnTo>
                    <a:pt x="37" y="1"/>
                  </a:lnTo>
                  <a:lnTo>
                    <a:pt x="37" y="2"/>
                  </a:lnTo>
                  <a:lnTo>
                    <a:pt x="38" y="2"/>
                  </a:lnTo>
                  <a:lnTo>
                    <a:pt x="41" y="3"/>
                  </a:lnTo>
                  <a:lnTo>
                    <a:pt x="40" y="2"/>
                  </a:lnTo>
                  <a:lnTo>
                    <a:pt x="41" y="2"/>
                  </a:lnTo>
                  <a:lnTo>
                    <a:pt x="42" y="3"/>
                  </a:lnTo>
                  <a:lnTo>
                    <a:pt x="40" y="0"/>
                  </a:lnTo>
                  <a:lnTo>
                    <a:pt x="42" y="0"/>
                  </a:lnTo>
                  <a:lnTo>
                    <a:pt x="44" y="2"/>
                  </a:lnTo>
                  <a:lnTo>
                    <a:pt x="46" y="3"/>
                  </a:lnTo>
                  <a:lnTo>
                    <a:pt x="48" y="4"/>
                  </a:lnTo>
                  <a:lnTo>
                    <a:pt x="48" y="5"/>
                  </a:lnTo>
                  <a:lnTo>
                    <a:pt x="47" y="7"/>
                  </a:lnTo>
                  <a:lnTo>
                    <a:pt x="49" y="7"/>
                  </a:lnTo>
                  <a:lnTo>
                    <a:pt x="50" y="8"/>
                  </a:lnTo>
                  <a:lnTo>
                    <a:pt x="55" y="9"/>
                  </a:lnTo>
                  <a:lnTo>
                    <a:pt x="58" y="9"/>
                  </a:lnTo>
                  <a:lnTo>
                    <a:pt x="60" y="8"/>
                  </a:lnTo>
                  <a:lnTo>
                    <a:pt x="62" y="8"/>
                  </a:lnTo>
                  <a:lnTo>
                    <a:pt x="63" y="7"/>
                  </a:lnTo>
                  <a:lnTo>
                    <a:pt x="64" y="7"/>
                  </a:lnTo>
                  <a:lnTo>
                    <a:pt x="67" y="7"/>
                  </a:lnTo>
                  <a:lnTo>
                    <a:pt x="68" y="7"/>
                  </a:lnTo>
                  <a:lnTo>
                    <a:pt x="69" y="8"/>
                  </a:lnTo>
                  <a:lnTo>
                    <a:pt x="73" y="9"/>
                  </a:lnTo>
                  <a:lnTo>
                    <a:pt x="76" y="9"/>
                  </a:lnTo>
                  <a:lnTo>
                    <a:pt x="77" y="9"/>
                  </a:lnTo>
                  <a:lnTo>
                    <a:pt x="80" y="10"/>
                  </a:lnTo>
                  <a:lnTo>
                    <a:pt x="82" y="10"/>
                  </a:lnTo>
                  <a:lnTo>
                    <a:pt x="83" y="11"/>
                  </a:lnTo>
                  <a:lnTo>
                    <a:pt x="84" y="11"/>
                  </a:lnTo>
                  <a:lnTo>
                    <a:pt x="87" y="14"/>
                  </a:lnTo>
                  <a:lnTo>
                    <a:pt x="88" y="15"/>
                  </a:lnTo>
                  <a:lnTo>
                    <a:pt x="90" y="15"/>
                  </a:lnTo>
                  <a:lnTo>
                    <a:pt x="93" y="16"/>
                  </a:lnTo>
                  <a:lnTo>
                    <a:pt x="95" y="16"/>
                  </a:lnTo>
                  <a:lnTo>
                    <a:pt x="100" y="16"/>
                  </a:lnTo>
                  <a:lnTo>
                    <a:pt x="102" y="18"/>
                  </a:lnTo>
                  <a:lnTo>
                    <a:pt x="102" y="21"/>
                  </a:lnTo>
                  <a:lnTo>
                    <a:pt x="103" y="22"/>
                  </a:lnTo>
                  <a:lnTo>
                    <a:pt x="103" y="23"/>
                  </a:lnTo>
                  <a:lnTo>
                    <a:pt x="103" y="24"/>
                  </a:lnTo>
                  <a:lnTo>
                    <a:pt x="103" y="25"/>
                  </a:lnTo>
                  <a:lnTo>
                    <a:pt x="104" y="25"/>
                  </a:lnTo>
                  <a:lnTo>
                    <a:pt x="107" y="25"/>
                  </a:lnTo>
                  <a:lnTo>
                    <a:pt x="109" y="25"/>
                  </a:lnTo>
                  <a:lnTo>
                    <a:pt x="108" y="25"/>
                  </a:lnTo>
                  <a:lnTo>
                    <a:pt x="108" y="28"/>
                  </a:lnTo>
                  <a:lnTo>
                    <a:pt x="108" y="29"/>
                  </a:lnTo>
                  <a:lnTo>
                    <a:pt x="107" y="32"/>
                  </a:lnTo>
                  <a:lnTo>
                    <a:pt x="108" y="35"/>
                  </a:lnTo>
                  <a:lnTo>
                    <a:pt x="109" y="36"/>
                  </a:lnTo>
                  <a:lnTo>
                    <a:pt x="114" y="39"/>
                  </a:lnTo>
                  <a:lnTo>
                    <a:pt x="116" y="39"/>
                  </a:lnTo>
                  <a:lnTo>
                    <a:pt x="120" y="41"/>
                  </a:lnTo>
                  <a:lnTo>
                    <a:pt x="123" y="43"/>
                  </a:lnTo>
                  <a:lnTo>
                    <a:pt x="124" y="43"/>
                  </a:lnTo>
                  <a:lnTo>
                    <a:pt x="125" y="42"/>
                  </a:lnTo>
                  <a:lnTo>
                    <a:pt x="128" y="41"/>
                  </a:lnTo>
                  <a:lnTo>
                    <a:pt x="131" y="42"/>
                  </a:lnTo>
                  <a:lnTo>
                    <a:pt x="135" y="43"/>
                  </a:lnTo>
                  <a:lnTo>
                    <a:pt x="140" y="44"/>
                  </a:lnTo>
                  <a:lnTo>
                    <a:pt x="141" y="45"/>
                  </a:lnTo>
                  <a:lnTo>
                    <a:pt x="143" y="45"/>
                  </a:lnTo>
                  <a:lnTo>
                    <a:pt x="147" y="47"/>
                  </a:lnTo>
                  <a:lnTo>
                    <a:pt x="148" y="47"/>
                  </a:lnTo>
                  <a:lnTo>
                    <a:pt x="149" y="49"/>
                  </a:lnTo>
                  <a:lnTo>
                    <a:pt x="150" y="49"/>
                  </a:lnTo>
                  <a:lnTo>
                    <a:pt x="151" y="49"/>
                  </a:lnTo>
                  <a:lnTo>
                    <a:pt x="154" y="50"/>
                  </a:lnTo>
                  <a:lnTo>
                    <a:pt x="156" y="52"/>
                  </a:lnTo>
                  <a:lnTo>
                    <a:pt x="160" y="56"/>
                  </a:lnTo>
                  <a:lnTo>
                    <a:pt x="161" y="56"/>
                  </a:lnTo>
                  <a:lnTo>
                    <a:pt x="162" y="56"/>
                  </a:lnTo>
                  <a:lnTo>
                    <a:pt x="163" y="58"/>
                  </a:lnTo>
                  <a:lnTo>
                    <a:pt x="163" y="58"/>
                  </a:lnTo>
                  <a:lnTo>
                    <a:pt x="167" y="58"/>
                  </a:lnTo>
                  <a:lnTo>
                    <a:pt x="167" y="59"/>
                  </a:lnTo>
                  <a:lnTo>
                    <a:pt x="168" y="61"/>
                  </a:lnTo>
                  <a:lnTo>
                    <a:pt x="170" y="61"/>
                  </a:lnTo>
                  <a:lnTo>
                    <a:pt x="171" y="58"/>
                  </a:lnTo>
                  <a:lnTo>
                    <a:pt x="173" y="57"/>
                  </a:lnTo>
                  <a:lnTo>
                    <a:pt x="175" y="57"/>
                  </a:lnTo>
                  <a:lnTo>
                    <a:pt x="177" y="55"/>
                  </a:lnTo>
                  <a:lnTo>
                    <a:pt x="178" y="55"/>
                  </a:lnTo>
                  <a:lnTo>
                    <a:pt x="180" y="52"/>
                  </a:lnTo>
                  <a:lnTo>
                    <a:pt x="181" y="51"/>
                  </a:lnTo>
                  <a:lnTo>
                    <a:pt x="181" y="50"/>
                  </a:lnTo>
                  <a:lnTo>
                    <a:pt x="182" y="49"/>
                  </a:lnTo>
                  <a:lnTo>
                    <a:pt x="182" y="47"/>
                  </a:lnTo>
                  <a:lnTo>
                    <a:pt x="184" y="47"/>
                  </a:lnTo>
                  <a:lnTo>
                    <a:pt x="184" y="45"/>
                  </a:lnTo>
                  <a:lnTo>
                    <a:pt x="185" y="44"/>
                  </a:lnTo>
                  <a:lnTo>
                    <a:pt x="185" y="41"/>
                  </a:lnTo>
                  <a:lnTo>
                    <a:pt x="184" y="39"/>
                  </a:lnTo>
                  <a:lnTo>
                    <a:pt x="183" y="37"/>
                  </a:lnTo>
                  <a:lnTo>
                    <a:pt x="182" y="36"/>
                  </a:lnTo>
                  <a:lnTo>
                    <a:pt x="182" y="34"/>
                  </a:lnTo>
                  <a:lnTo>
                    <a:pt x="181" y="32"/>
                  </a:lnTo>
                  <a:lnTo>
                    <a:pt x="181" y="31"/>
                  </a:lnTo>
                  <a:lnTo>
                    <a:pt x="181" y="29"/>
                  </a:lnTo>
                  <a:lnTo>
                    <a:pt x="181" y="27"/>
                  </a:lnTo>
                  <a:lnTo>
                    <a:pt x="181" y="23"/>
                  </a:lnTo>
                  <a:lnTo>
                    <a:pt x="181" y="21"/>
                  </a:lnTo>
                  <a:lnTo>
                    <a:pt x="182" y="18"/>
                  </a:lnTo>
                  <a:lnTo>
                    <a:pt x="184" y="17"/>
                  </a:lnTo>
                  <a:lnTo>
                    <a:pt x="185" y="19"/>
                  </a:lnTo>
                  <a:lnTo>
                    <a:pt x="188" y="19"/>
                  </a:lnTo>
                  <a:lnTo>
                    <a:pt x="188" y="19"/>
                  </a:lnTo>
                  <a:lnTo>
                    <a:pt x="188" y="17"/>
                  </a:lnTo>
                  <a:lnTo>
                    <a:pt x="187" y="16"/>
                  </a:lnTo>
                  <a:lnTo>
                    <a:pt x="187" y="15"/>
                  </a:lnTo>
                  <a:lnTo>
                    <a:pt x="188" y="14"/>
                  </a:lnTo>
                  <a:lnTo>
                    <a:pt x="189" y="14"/>
                  </a:lnTo>
                  <a:lnTo>
                    <a:pt x="190" y="14"/>
                  </a:lnTo>
                  <a:lnTo>
                    <a:pt x="193" y="14"/>
                  </a:lnTo>
                  <a:lnTo>
                    <a:pt x="191" y="12"/>
                  </a:lnTo>
                  <a:lnTo>
                    <a:pt x="191" y="10"/>
                  </a:lnTo>
                  <a:lnTo>
                    <a:pt x="191" y="9"/>
                  </a:lnTo>
                  <a:lnTo>
                    <a:pt x="193" y="9"/>
                  </a:lnTo>
                  <a:lnTo>
                    <a:pt x="193" y="10"/>
                  </a:lnTo>
                  <a:lnTo>
                    <a:pt x="194" y="10"/>
                  </a:lnTo>
                  <a:lnTo>
                    <a:pt x="195" y="11"/>
                  </a:lnTo>
                  <a:lnTo>
                    <a:pt x="197" y="11"/>
                  </a:lnTo>
                  <a:lnTo>
                    <a:pt x="200" y="10"/>
                  </a:lnTo>
                  <a:lnTo>
                    <a:pt x="201" y="9"/>
                  </a:lnTo>
                  <a:lnTo>
                    <a:pt x="203" y="9"/>
                  </a:lnTo>
                  <a:lnTo>
                    <a:pt x="204" y="9"/>
                  </a:lnTo>
                  <a:lnTo>
                    <a:pt x="205" y="9"/>
                  </a:lnTo>
                  <a:lnTo>
                    <a:pt x="207" y="9"/>
                  </a:lnTo>
                  <a:lnTo>
                    <a:pt x="208" y="9"/>
                  </a:lnTo>
                  <a:lnTo>
                    <a:pt x="208" y="8"/>
                  </a:lnTo>
                  <a:lnTo>
                    <a:pt x="208" y="7"/>
                  </a:lnTo>
                  <a:lnTo>
                    <a:pt x="207" y="5"/>
                  </a:lnTo>
                  <a:lnTo>
                    <a:pt x="208" y="5"/>
                  </a:lnTo>
                  <a:lnTo>
                    <a:pt x="209" y="5"/>
                  </a:lnTo>
                  <a:lnTo>
                    <a:pt x="210" y="5"/>
                  </a:lnTo>
                  <a:lnTo>
                    <a:pt x="210" y="7"/>
                  </a:lnTo>
                  <a:lnTo>
                    <a:pt x="209" y="9"/>
                  </a:lnTo>
                  <a:lnTo>
                    <a:pt x="210" y="9"/>
                  </a:lnTo>
                  <a:lnTo>
                    <a:pt x="211" y="8"/>
                  </a:lnTo>
                  <a:lnTo>
                    <a:pt x="211" y="7"/>
                  </a:lnTo>
                  <a:lnTo>
                    <a:pt x="214" y="7"/>
                  </a:lnTo>
                  <a:lnTo>
                    <a:pt x="215" y="7"/>
                  </a:lnTo>
                  <a:lnTo>
                    <a:pt x="216" y="5"/>
                  </a:lnTo>
                  <a:lnTo>
                    <a:pt x="217" y="5"/>
                  </a:lnTo>
                  <a:lnTo>
                    <a:pt x="218" y="7"/>
                  </a:lnTo>
                  <a:lnTo>
                    <a:pt x="218" y="5"/>
                  </a:lnTo>
                  <a:lnTo>
                    <a:pt x="220" y="5"/>
                  </a:lnTo>
                  <a:lnTo>
                    <a:pt x="220" y="5"/>
                  </a:lnTo>
                  <a:lnTo>
                    <a:pt x="221" y="7"/>
                  </a:lnTo>
                  <a:lnTo>
                    <a:pt x="222" y="7"/>
                  </a:lnTo>
                  <a:lnTo>
                    <a:pt x="223" y="7"/>
                  </a:lnTo>
                  <a:lnTo>
                    <a:pt x="224" y="7"/>
                  </a:lnTo>
                  <a:lnTo>
                    <a:pt x="225" y="8"/>
                  </a:lnTo>
                  <a:lnTo>
                    <a:pt x="227" y="8"/>
                  </a:lnTo>
                  <a:lnTo>
                    <a:pt x="227" y="9"/>
                  </a:lnTo>
                  <a:lnTo>
                    <a:pt x="228" y="9"/>
                  </a:lnTo>
                  <a:lnTo>
                    <a:pt x="229" y="10"/>
                  </a:lnTo>
                  <a:lnTo>
                    <a:pt x="230" y="9"/>
                  </a:lnTo>
                  <a:lnTo>
                    <a:pt x="231" y="10"/>
                  </a:lnTo>
                  <a:lnTo>
                    <a:pt x="233" y="10"/>
                  </a:lnTo>
                  <a:lnTo>
                    <a:pt x="235" y="11"/>
                  </a:lnTo>
                  <a:lnTo>
                    <a:pt x="236" y="11"/>
                  </a:lnTo>
                  <a:lnTo>
                    <a:pt x="236" y="11"/>
                  </a:lnTo>
                  <a:lnTo>
                    <a:pt x="236" y="12"/>
                  </a:lnTo>
                  <a:lnTo>
                    <a:pt x="236" y="12"/>
                  </a:lnTo>
                  <a:lnTo>
                    <a:pt x="236" y="15"/>
                  </a:lnTo>
                  <a:lnTo>
                    <a:pt x="237" y="15"/>
                  </a:lnTo>
                  <a:lnTo>
                    <a:pt x="237" y="16"/>
                  </a:lnTo>
                  <a:lnTo>
                    <a:pt x="237" y="16"/>
                  </a:lnTo>
                  <a:lnTo>
                    <a:pt x="236" y="16"/>
                  </a:lnTo>
                  <a:lnTo>
                    <a:pt x="236" y="18"/>
                  </a:lnTo>
                  <a:lnTo>
                    <a:pt x="237" y="19"/>
                  </a:lnTo>
                  <a:lnTo>
                    <a:pt x="238" y="19"/>
                  </a:lnTo>
                  <a:lnTo>
                    <a:pt x="240" y="19"/>
                  </a:lnTo>
                  <a:lnTo>
                    <a:pt x="240" y="21"/>
                  </a:lnTo>
                  <a:lnTo>
                    <a:pt x="241" y="21"/>
                  </a:lnTo>
                  <a:lnTo>
                    <a:pt x="241" y="22"/>
                  </a:lnTo>
                  <a:lnTo>
                    <a:pt x="241" y="21"/>
                  </a:lnTo>
                  <a:lnTo>
                    <a:pt x="241" y="21"/>
                  </a:lnTo>
                  <a:lnTo>
                    <a:pt x="242" y="17"/>
                  </a:lnTo>
                  <a:lnTo>
                    <a:pt x="243" y="16"/>
                  </a:lnTo>
                  <a:lnTo>
                    <a:pt x="243" y="19"/>
                  </a:lnTo>
                  <a:lnTo>
                    <a:pt x="242" y="21"/>
                  </a:lnTo>
                  <a:lnTo>
                    <a:pt x="243" y="21"/>
                  </a:lnTo>
                  <a:lnTo>
                    <a:pt x="243" y="22"/>
                  </a:lnTo>
                  <a:lnTo>
                    <a:pt x="244" y="22"/>
                  </a:lnTo>
                  <a:lnTo>
                    <a:pt x="247" y="22"/>
                  </a:lnTo>
                  <a:lnTo>
                    <a:pt x="248" y="22"/>
                  </a:lnTo>
                  <a:lnTo>
                    <a:pt x="250" y="22"/>
                  </a:lnTo>
                  <a:lnTo>
                    <a:pt x="251" y="22"/>
                  </a:lnTo>
                  <a:lnTo>
                    <a:pt x="253" y="23"/>
                  </a:lnTo>
                  <a:lnTo>
                    <a:pt x="253" y="23"/>
                  </a:lnTo>
                  <a:lnTo>
                    <a:pt x="253" y="23"/>
                  </a:lnTo>
                  <a:lnTo>
                    <a:pt x="253" y="24"/>
                  </a:lnTo>
                  <a:lnTo>
                    <a:pt x="254" y="24"/>
                  </a:lnTo>
                  <a:lnTo>
                    <a:pt x="254" y="24"/>
                  </a:lnTo>
                  <a:lnTo>
                    <a:pt x="255" y="24"/>
                  </a:lnTo>
                  <a:lnTo>
                    <a:pt x="256" y="27"/>
                  </a:lnTo>
                  <a:lnTo>
                    <a:pt x="257" y="27"/>
                  </a:lnTo>
                  <a:lnTo>
                    <a:pt x="258" y="25"/>
                  </a:lnTo>
                  <a:lnTo>
                    <a:pt x="258" y="24"/>
                  </a:lnTo>
                  <a:lnTo>
                    <a:pt x="258" y="24"/>
                  </a:lnTo>
                  <a:lnTo>
                    <a:pt x="260" y="24"/>
                  </a:lnTo>
                  <a:lnTo>
                    <a:pt x="262" y="24"/>
                  </a:lnTo>
                  <a:lnTo>
                    <a:pt x="263" y="25"/>
                  </a:lnTo>
                  <a:lnTo>
                    <a:pt x="263" y="24"/>
                  </a:lnTo>
                  <a:lnTo>
                    <a:pt x="263" y="24"/>
                  </a:lnTo>
                  <a:lnTo>
                    <a:pt x="264" y="24"/>
                  </a:lnTo>
                  <a:lnTo>
                    <a:pt x="265" y="24"/>
                  </a:lnTo>
                  <a:lnTo>
                    <a:pt x="268" y="25"/>
                  </a:lnTo>
                  <a:lnTo>
                    <a:pt x="269" y="25"/>
                  </a:lnTo>
                  <a:lnTo>
                    <a:pt x="270" y="25"/>
                  </a:lnTo>
                  <a:lnTo>
                    <a:pt x="271" y="27"/>
                  </a:lnTo>
                  <a:lnTo>
                    <a:pt x="271" y="28"/>
                  </a:lnTo>
                  <a:lnTo>
                    <a:pt x="272" y="30"/>
                  </a:lnTo>
                  <a:lnTo>
                    <a:pt x="274" y="32"/>
                  </a:lnTo>
                  <a:lnTo>
                    <a:pt x="272" y="34"/>
                  </a:lnTo>
                  <a:lnTo>
                    <a:pt x="271" y="35"/>
                  </a:lnTo>
                  <a:lnTo>
                    <a:pt x="269" y="37"/>
                  </a:lnTo>
                  <a:lnTo>
                    <a:pt x="269" y="41"/>
                  </a:lnTo>
                  <a:lnTo>
                    <a:pt x="269" y="43"/>
                  </a:lnTo>
                  <a:lnTo>
                    <a:pt x="270" y="45"/>
                  </a:lnTo>
                  <a:lnTo>
                    <a:pt x="272" y="50"/>
                  </a:lnTo>
                  <a:lnTo>
                    <a:pt x="271" y="56"/>
                  </a:lnTo>
                  <a:lnTo>
                    <a:pt x="270" y="57"/>
                  </a:lnTo>
                  <a:lnTo>
                    <a:pt x="269" y="59"/>
                  </a:lnTo>
                  <a:lnTo>
                    <a:pt x="268" y="62"/>
                  </a:lnTo>
                  <a:lnTo>
                    <a:pt x="268" y="63"/>
                  </a:lnTo>
                  <a:lnTo>
                    <a:pt x="270" y="68"/>
                  </a:lnTo>
                  <a:lnTo>
                    <a:pt x="270" y="70"/>
                  </a:lnTo>
                  <a:lnTo>
                    <a:pt x="271" y="74"/>
                  </a:lnTo>
                  <a:lnTo>
                    <a:pt x="271" y="76"/>
                  </a:lnTo>
                  <a:lnTo>
                    <a:pt x="274" y="82"/>
                  </a:lnTo>
                  <a:lnTo>
                    <a:pt x="282" y="230"/>
                  </a:lnTo>
                  <a:lnTo>
                    <a:pt x="283" y="271"/>
                  </a:lnTo>
                  <a:lnTo>
                    <a:pt x="265" y="270"/>
                  </a:lnTo>
                  <a:lnTo>
                    <a:pt x="265" y="284"/>
                  </a:lnTo>
                  <a:lnTo>
                    <a:pt x="265" y="284"/>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04" name="Liberia">
              <a:extLst>
                <a:ext uri="{FF2B5EF4-FFF2-40B4-BE49-F238E27FC236}">
                  <a16:creationId xmlns:a16="http://schemas.microsoft.com/office/drawing/2014/main" id="{6FD82953-0370-F044-9347-0232867D5F79}"/>
                </a:ext>
              </a:extLst>
            </p:cNvPr>
            <p:cNvSpPr>
              <a:spLocks/>
            </p:cNvSpPr>
            <p:nvPr/>
          </p:nvSpPr>
          <p:spPr bwMode="auto">
            <a:xfrm>
              <a:off x="6059077" y="3729933"/>
              <a:ext cx="107888" cy="129757"/>
            </a:xfrm>
            <a:custGeom>
              <a:avLst/>
              <a:gdLst>
                <a:gd name="T0" fmla="*/ 71 w 74"/>
                <a:gd name="T1" fmla="*/ 87 h 89"/>
                <a:gd name="T2" fmla="*/ 68 w 74"/>
                <a:gd name="T3" fmla="*/ 87 h 89"/>
                <a:gd name="T4" fmla="*/ 67 w 74"/>
                <a:gd name="T5" fmla="*/ 85 h 89"/>
                <a:gd name="T6" fmla="*/ 59 w 74"/>
                <a:gd name="T7" fmla="*/ 83 h 89"/>
                <a:gd name="T8" fmla="*/ 48 w 74"/>
                <a:gd name="T9" fmla="*/ 76 h 89"/>
                <a:gd name="T10" fmla="*/ 45 w 74"/>
                <a:gd name="T11" fmla="*/ 74 h 89"/>
                <a:gd name="T12" fmla="*/ 42 w 74"/>
                <a:gd name="T13" fmla="*/ 72 h 89"/>
                <a:gd name="T14" fmla="*/ 26 w 74"/>
                <a:gd name="T15" fmla="*/ 54 h 89"/>
                <a:gd name="T16" fmla="*/ 22 w 74"/>
                <a:gd name="T17" fmla="*/ 52 h 89"/>
                <a:gd name="T18" fmla="*/ 21 w 74"/>
                <a:gd name="T19" fmla="*/ 51 h 89"/>
                <a:gd name="T20" fmla="*/ 20 w 74"/>
                <a:gd name="T21" fmla="*/ 50 h 89"/>
                <a:gd name="T22" fmla="*/ 20 w 74"/>
                <a:gd name="T23" fmla="*/ 51 h 89"/>
                <a:gd name="T24" fmla="*/ 14 w 74"/>
                <a:gd name="T25" fmla="*/ 47 h 89"/>
                <a:gd name="T26" fmla="*/ 14 w 74"/>
                <a:gd name="T27" fmla="*/ 46 h 89"/>
                <a:gd name="T28" fmla="*/ 14 w 74"/>
                <a:gd name="T29" fmla="*/ 45 h 89"/>
                <a:gd name="T30" fmla="*/ 11 w 74"/>
                <a:gd name="T31" fmla="*/ 43 h 89"/>
                <a:gd name="T32" fmla="*/ 5 w 74"/>
                <a:gd name="T33" fmla="*/ 40 h 89"/>
                <a:gd name="T34" fmla="*/ 4 w 74"/>
                <a:gd name="T35" fmla="*/ 37 h 89"/>
                <a:gd name="T36" fmla="*/ 2 w 74"/>
                <a:gd name="T37" fmla="*/ 36 h 89"/>
                <a:gd name="T38" fmla="*/ 0 w 74"/>
                <a:gd name="T39" fmla="*/ 33 h 89"/>
                <a:gd name="T40" fmla="*/ 1 w 74"/>
                <a:gd name="T41" fmla="*/ 33 h 89"/>
                <a:gd name="T42" fmla="*/ 6 w 74"/>
                <a:gd name="T43" fmla="*/ 27 h 89"/>
                <a:gd name="T44" fmla="*/ 17 w 74"/>
                <a:gd name="T45" fmla="*/ 17 h 89"/>
                <a:gd name="T46" fmla="*/ 19 w 74"/>
                <a:gd name="T47" fmla="*/ 9 h 89"/>
                <a:gd name="T48" fmla="*/ 22 w 74"/>
                <a:gd name="T49" fmla="*/ 3 h 89"/>
                <a:gd name="T50" fmla="*/ 24 w 74"/>
                <a:gd name="T51" fmla="*/ 2 h 89"/>
                <a:gd name="T52" fmla="*/ 32 w 74"/>
                <a:gd name="T53" fmla="*/ 2 h 89"/>
                <a:gd name="T54" fmla="*/ 33 w 74"/>
                <a:gd name="T55" fmla="*/ 2 h 89"/>
                <a:gd name="T56" fmla="*/ 38 w 74"/>
                <a:gd name="T57" fmla="*/ 4 h 89"/>
                <a:gd name="T58" fmla="*/ 38 w 74"/>
                <a:gd name="T59" fmla="*/ 11 h 89"/>
                <a:gd name="T60" fmla="*/ 39 w 74"/>
                <a:gd name="T61" fmla="*/ 19 h 89"/>
                <a:gd name="T62" fmla="*/ 40 w 74"/>
                <a:gd name="T63" fmla="*/ 25 h 89"/>
                <a:gd name="T64" fmla="*/ 47 w 74"/>
                <a:gd name="T65" fmla="*/ 27 h 89"/>
                <a:gd name="T66" fmla="*/ 51 w 74"/>
                <a:gd name="T67" fmla="*/ 19 h 89"/>
                <a:gd name="T68" fmla="*/ 54 w 74"/>
                <a:gd name="T69" fmla="*/ 19 h 89"/>
                <a:gd name="T70" fmla="*/ 57 w 74"/>
                <a:gd name="T71" fmla="*/ 23 h 89"/>
                <a:gd name="T72" fmla="*/ 59 w 74"/>
                <a:gd name="T73" fmla="*/ 32 h 89"/>
                <a:gd name="T74" fmla="*/ 55 w 74"/>
                <a:gd name="T75" fmla="*/ 43 h 89"/>
                <a:gd name="T76" fmla="*/ 61 w 74"/>
                <a:gd name="T77" fmla="*/ 47 h 89"/>
                <a:gd name="T78" fmla="*/ 66 w 74"/>
                <a:gd name="T79" fmla="*/ 51 h 89"/>
                <a:gd name="T80" fmla="*/ 70 w 74"/>
                <a:gd name="T81" fmla="*/ 54 h 89"/>
                <a:gd name="T82" fmla="*/ 74 w 74"/>
                <a:gd name="T83" fmla="*/ 60 h 89"/>
                <a:gd name="T84" fmla="*/ 74 w 74"/>
                <a:gd name="T85" fmla="*/ 69 h 89"/>
                <a:gd name="T86" fmla="*/ 72 w 74"/>
                <a:gd name="T87" fmla="*/ 76 h 89"/>
                <a:gd name="T88" fmla="*/ 72 w 74"/>
                <a:gd name="T89" fmla="*/ 87 h 89"/>
                <a:gd name="T90" fmla="*/ 72 w 74"/>
                <a:gd name="T91" fmla="*/ 89 h 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4" h="89">
                  <a:moveTo>
                    <a:pt x="72" y="89"/>
                  </a:moveTo>
                  <a:lnTo>
                    <a:pt x="71" y="87"/>
                  </a:lnTo>
                  <a:lnTo>
                    <a:pt x="70" y="87"/>
                  </a:lnTo>
                  <a:lnTo>
                    <a:pt x="68" y="87"/>
                  </a:lnTo>
                  <a:lnTo>
                    <a:pt x="67" y="86"/>
                  </a:lnTo>
                  <a:lnTo>
                    <a:pt x="67" y="85"/>
                  </a:lnTo>
                  <a:lnTo>
                    <a:pt x="64" y="84"/>
                  </a:lnTo>
                  <a:lnTo>
                    <a:pt x="59" y="83"/>
                  </a:lnTo>
                  <a:lnTo>
                    <a:pt x="53" y="79"/>
                  </a:lnTo>
                  <a:lnTo>
                    <a:pt x="48" y="76"/>
                  </a:lnTo>
                  <a:lnTo>
                    <a:pt x="47" y="74"/>
                  </a:lnTo>
                  <a:lnTo>
                    <a:pt x="45" y="74"/>
                  </a:lnTo>
                  <a:lnTo>
                    <a:pt x="44" y="73"/>
                  </a:lnTo>
                  <a:lnTo>
                    <a:pt x="42" y="72"/>
                  </a:lnTo>
                  <a:lnTo>
                    <a:pt x="27" y="57"/>
                  </a:lnTo>
                  <a:lnTo>
                    <a:pt x="26" y="54"/>
                  </a:lnTo>
                  <a:lnTo>
                    <a:pt x="25" y="53"/>
                  </a:lnTo>
                  <a:lnTo>
                    <a:pt x="22" y="52"/>
                  </a:lnTo>
                  <a:lnTo>
                    <a:pt x="21" y="51"/>
                  </a:lnTo>
                  <a:lnTo>
                    <a:pt x="21" y="51"/>
                  </a:lnTo>
                  <a:lnTo>
                    <a:pt x="21" y="51"/>
                  </a:lnTo>
                  <a:lnTo>
                    <a:pt x="20" y="50"/>
                  </a:lnTo>
                  <a:lnTo>
                    <a:pt x="20" y="49"/>
                  </a:lnTo>
                  <a:lnTo>
                    <a:pt x="20" y="51"/>
                  </a:lnTo>
                  <a:lnTo>
                    <a:pt x="20" y="51"/>
                  </a:lnTo>
                  <a:lnTo>
                    <a:pt x="14" y="47"/>
                  </a:lnTo>
                  <a:lnTo>
                    <a:pt x="12" y="46"/>
                  </a:lnTo>
                  <a:lnTo>
                    <a:pt x="14" y="46"/>
                  </a:lnTo>
                  <a:lnTo>
                    <a:pt x="13" y="45"/>
                  </a:lnTo>
                  <a:lnTo>
                    <a:pt x="14" y="45"/>
                  </a:lnTo>
                  <a:lnTo>
                    <a:pt x="12" y="45"/>
                  </a:lnTo>
                  <a:lnTo>
                    <a:pt x="11" y="43"/>
                  </a:lnTo>
                  <a:lnTo>
                    <a:pt x="8" y="40"/>
                  </a:lnTo>
                  <a:lnTo>
                    <a:pt x="5" y="40"/>
                  </a:lnTo>
                  <a:lnTo>
                    <a:pt x="2" y="39"/>
                  </a:lnTo>
                  <a:lnTo>
                    <a:pt x="4" y="37"/>
                  </a:lnTo>
                  <a:lnTo>
                    <a:pt x="2" y="36"/>
                  </a:lnTo>
                  <a:lnTo>
                    <a:pt x="2" y="36"/>
                  </a:lnTo>
                  <a:lnTo>
                    <a:pt x="0" y="33"/>
                  </a:lnTo>
                  <a:lnTo>
                    <a:pt x="0" y="33"/>
                  </a:lnTo>
                  <a:lnTo>
                    <a:pt x="2" y="33"/>
                  </a:lnTo>
                  <a:lnTo>
                    <a:pt x="1" y="33"/>
                  </a:lnTo>
                  <a:lnTo>
                    <a:pt x="4" y="27"/>
                  </a:lnTo>
                  <a:lnTo>
                    <a:pt x="6" y="27"/>
                  </a:lnTo>
                  <a:lnTo>
                    <a:pt x="15" y="18"/>
                  </a:lnTo>
                  <a:lnTo>
                    <a:pt x="17" y="17"/>
                  </a:lnTo>
                  <a:lnTo>
                    <a:pt x="17" y="11"/>
                  </a:lnTo>
                  <a:lnTo>
                    <a:pt x="19" y="9"/>
                  </a:lnTo>
                  <a:lnTo>
                    <a:pt x="22" y="9"/>
                  </a:lnTo>
                  <a:lnTo>
                    <a:pt x="22" y="3"/>
                  </a:lnTo>
                  <a:lnTo>
                    <a:pt x="22" y="2"/>
                  </a:lnTo>
                  <a:lnTo>
                    <a:pt x="24" y="2"/>
                  </a:lnTo>
                  <a:lnTo>
                    <a:pt x="26" y="2"/>
                  </a:lnTo>
                  <a:lnTo>
                    <a:pt x="32" y="2"/>
                  </a:lnTo>
                  <a:lnTo>
                    <a:pt x="32" y="0"/>
                  </a:lnTo>
                  <a:lnTo>
                    <a:pt x="33" y="2"/>
                  </a:lnTo>
                  <a:lnTo>
                    <a:pt x="34" y="4"/>
                  </a:lnTo>
                  <a:lnTo>
                    <a:pt x="38" y="4"/>
                  </a:lnTo>
                  <a:lnTo>
                    <a:pt x="37" y="9"/>
                  </a:lnTo>
                  <a:lnTo>
                    <a:pt x="38" y="11"/>
                  </a:lnTo>
                  <a:lnTo>
                    <a:pt x="38" y="14"/>
                  </a:lnTo>
                  <a:lnTo>
                    <a:pt x="39" y="19"/>
                  </a:lnTo>
                  <a:lnTo>
                    <a:pt x="38" y="25"/>
                  </a:lnTo>
                  <a:lnTo>
                    <a:pt x="40" y="25"/>
                  </a:lnTo>
                  <a:lnTo>
                    <a:pt x="44" y="27"/>
                  </a:lnTo>
                  <a:lnTo>
                    <a:pt x="47" y="27"/>
                  </a:lnTo>
                  <a:lnTo>
                    <a:pt x="48" y="25"/>
                  </a:lnTo>
                  <a:lnTo>
                    <a:pt x="51" y="19"/>
                  </a:lnTo>
                  <a:lnTo>
                    <a:pt x="54" y="18"/>
                  </a:lnTo>
                  <a:lnTo>
                    <a:pt x="54" y="19"/>
                  </a:lnTo>
                  <a:lnTo>
                    <a:pt x="55" y="20"/>
                  </a:lnTo>
                  <a:lnTo>
                    <a:pt x="57" y="23"/>
                  </a:lnTo>
                  <a:lnTo>
                    <a:pt x="58" y="27"/>
                  </a:lnTo>
                  <a:lnTo>
                    <a:pt x="59" y="32"/>
                  </a:lnTo>
                  <a:lnTo>
                    <a:pt x="53" y="43"/>
                  </a:lnTo>
                  <a:lnTo>
                    <a:pt x="55" y="43"/>
                  </a:lnTo>
                  <a:lnTo>
                    <a:pt x="57" y="46"/>
                  </a:lnTo>
                  <a:lnTo>
                    <a:pt x="61" y="47"/>
                  </a:lnTo>
                  <a:lnTo>
                    <a:pt x="65" y="47"/>
                  </a:lnTo>
                  <a:lnTo>
                    <a:pt x="66" y="51"/>
                  </a:lnTo>
                  <a:lnTo>
                    <a:pt x="68" y="54"/>
                  </a:lnTo>
                  <a:lnTo>
                    <a:pt x="70" y="54"/>
                  </a:lnTo>
                  <a:lnTo>
                    <a:pt x="73" y="56"/>
                  </a:lnTo>
                  <a:lnTo>
                    <a:pt x="74" y="60"/>
                  </a:lnTo>
                  <a:lnTo>
                    <a:pt x="74" y="64"/>
                  </a:lnTo>
                  <a:lnTo>
                    <a:pt x="74" y="69"/>
                  </a:lnTo>
                  <a:lnTo>
                    <a:pt x="73" y="71"/>
                  </a:lnTo>
                  <a:lnTo>
                    <a:pt x="72" y="76"/>
                  </a:lnTo>
                  <a:lnTo>
                    <a:pt x="72" y="79"/>
                  </a:lnTo>
                  <a:lnTo>
                    <a:pt x="72" y="87"/>
                  </a:lnTo>
                  <a:lnTo>
                    <a:pt x="72" y="89"/>
                  </a:lnTo>
                  <a:lnTo>
                    <a:pt x="72" y="89"/>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05" name="Lebanon">
              <a:extLst>
                <a:ext uri="{FF2B5EF4-FFF2-40B4-BE49-F238E27FC236}">
                  <a16:creationId xmlns:a16="http://schemas.microsoft.com/office/drawing/2014/main" id="{9525308B-CE85-6642-A9D4-9D2C8AFE3571}"/>
                </a:ext>
              </a:extLst>
            </p:cNvPr>
            <p:cNvSpPr>
              <a:spLocks/>
            </p:cNvSpPr>
            <p:nvPr/>
          </p:nvSpPr>
          <p:spPr bwMode="auto">
            <a:xfrm>
              <a:off x="7244389" y="2947013"/>
              <a:ext cx="33533" cy="49570"/>
            </a:xfrm>
            <a:custGeom>
              <a:avLst/>
              <a:gdLst>
                <a:gd name="T0" fmla="*/ 9 w 23"/>
                <a:gd name="T1" fmla="*/ 29 h 34"/>
                <a:gd name="T2" fmla="*/ 10 w 23"/>
                <a:gd name="T3" fmla="*/ 28 h 34"/>
                <a:gd name="T4" fmla="*/ 10 w 23"/>
                <a:gd name="T5" fmla="*/ 27 h 34"/>
                <a:gd name="T6" fmla="*/ 14 w 23"/>
                <a:gd name="T7" fmla="*/ 26 h 34"/>
                <a:gd name="T8" fmla="*/ 14 w 23"/>
                <a:gd name="T9" fmla="*/ 25 h 34"/>
                <a:gd name="T10" fmla="*/ 15 w 23"/>
                <a:gd name="T11" fmla="*/ 23 h 34"/>
                <a:gd name="T12" fmla="*/ 15 w 23"/>
                <a:gd name="T13" fmla="*/ 22 h 34"/>
                <a:gd name="T14" fmla="*/ 13 w 23"/>
                <a:gd name="T15" fmla="*/ 22 h 34"/>
                <a:gd name="T16" fmla="*/ 13 w 23"/>
                <a:gd name="T17" fmla="*/ 21 h 34"/>
                <a:gd name="T18" fmla="*/ 15 w 23"/>
                <a:gd name="T19" fmla="*/ 20 h 34"/>
                <a:gd name="T20" fmla="*/ 15 w 23"/>
                <a:gd name="T21" fmla="*/ 19 h 34"/>
                <a:gd name="T22" fmla="*/ 18 w 23"/>
                <a:gd name="T23" fmla="*/ 18 h 34"/>
                <a:gd name="T24" fmla="*/ 20 w 23"/>
                <a:gd name="T25" fmla="*/ 18 h 34"/>
                <a:gd name="T26" fmla="*/ 20 w 23"/>
                <a:gd name="T27" fmla="*/ 16 h 34"/>
                <a:gd name="T28" fmla="*/ 19 w 23"/>
                <a:gd name="T29" fmla="*/ 16 h 34"/>
                <a:gd name="T30" fmla="*/ 18 w 23"/>
                <a:gd name="T31" fmla="*/ 15 h 34"/>
                <a:gd name="T32" fmla="*/ 20 w 23"/>
                <a:gd name="T33" fmla="*/ 14 h 34"/>
                <a:gd name="T34" fmla="*/ 21 w 23"/>
                <a:gd name="T35" fmla="*/ 13 h 34"/>
                <a:gd name="T36" fmla="*/ 22 w 23"/>
                <a:gd name="T37" fmla="*/ 12 h 34"/>
                <a:gd name="T38" fmla="*/ 22 w 23"/>
                <a:gd name="T39" fmla="*/ 11 h 34"/>
                <a:gd name="T40" fmla="*/ 21 w 23"/>
                <a:gd name="T41" fmla="*/ 9 h 34"/>
                <a:gd name="T42" fmla="*/ 21 w 23"/>
                <a:gd name="T43" fmla="*/ 8 h 34"/>
                <a:gd name="T44" fmla="*/ 21 w 23"/>
                <a:gd name="T45" fmla="*/ 7 h 34"/>
                <a:gd name="T46" fmla="*/ 20 w 23"/>
                <a:gd name="T47" fmla="*/ 6 h 34"/>
                <a:gd name="T48" fmla="*/ 19 w 23"/>
                <a:gd name="T49" fmla="*/ 5 h 34"/>
                <a:gd name="T50" fmla="*/ 18 w 23"/>
                <a:gd name="T51" fmla="*/ 3 h 34"/>
                <a:gd name="T52" fmla="*/ 19 w 23"/>
                <a:gd name="T53" fmla="*/ 2 h 34"/>
                <a:gd name="T54" fmla="*/ 18 w 23"/>
                <a:gd name="T55" fmla="*/ 1 h 34"/>
                <a:gd name="T56" fmla="*/ 16 w 23"/>
                <a:gd name="T57" fmla="*/ 0 h 34"/>
                <a:gd name="T58" fmla="*/ 15 w 23"/>
                <a:gd name="T59" fmla="*/ 2 h 34"/>
                <a:gd name="T60" fmla="*/ 15 w 23"/>
                <a:gd name="T61" fmla="*/ 1 h 34"/>
                <a:gd name="T62" fmla="*/ 13 w 23"/>
                <a:gd name="T63" fmla="*/ 1 h 34"/>
                <a:gd name="T64" fmla="*/ 13 w 23"/>
                <a:gd name="T65" fmla="*/ 2 h 34"/>
                <a:gd name="T66" fmla="*/ 10 w 23"/>
                <a:gd name="T67" fmla="*/ 1 h 34"/>
                <a:gd name="T68" fmla="*/ 10 w 23"/>
                <a:gd name="T69" fmla="*/ 2 h 34"/>
                <a:gd name="T70" fmla="*/ 10 w 23"/>
                <a:gd name="T71" fmla="*/ 3 h 34"/>
                <a:gd name="T72" fmla="*/ 10 w 23"/>
                <a:gd name="T73" fmla="*/ 6 h 34"/>
                <a:gd name="T74" fmla="*/ 9 w 23"/>
                <a:gd name="T75" fmla="*/ 6 h 34"/>
                <a:gd name="T76" fmla="*/ 8 w 23"/>
                <a:gd name="T77" fmla="*/ 7 h 34"/>
                <a:gd name="T78" fmla="*/ 7 w 23"/>
                <a:gd name="T79" fmla="*/ 8 h 34"/>
                <a:gd name="T80" fmla="*/ 7 w 23"/>
                <a:gd name="T81" fmla="*/ 11 h 34"/>
                <a:gd name="T82" fmla="*/ 7 w 23"/>
                <a:gd name="T83" fmla="*/ 13 h 34"/>
                <a:gd name="T84" fmla="*/ 8 w 23"/>
                <a:gd name="T85" fmla="*/ 14 h 34"/>
                <a:gd name="T86" fmla="*/ 6 w 23"/>
                <a:gd name="T87" fmla="*/ 15 h 34"/>
                <a:gd name="T88" fmla="*/ 5 w 23"/>
                <a:gd name="T89" fmla="*/ 15 h 34"/>
                <a:gd name="T90" fmla="*/ 5 w 23"/>
                <a:gd name="T91" fmla="*/ 16 h 34"/>
                <a:gd name="T92" fmla="*/ 5 w 23"/>
                <a:gd name="T93" fmla="*/ 18 h 34"/>
                <a:gd name="T94" fmla="*/ 6 w 23"/>
                <a:gd name="T95" fmla="*/ 19 h 34"/>
                <a:gd name="T96" fmla="*/ 5 w 23"/>
                <a:gd name="T97" fmla="*/ 20 h 34"/>
                <a:gd name="T98" fmla="*/ 3 w 23"/>
                <a:gd name="T99" fmla="*/ 21 h 34"/>
                <a:gd name="T100" fmla="*/ 3 w 23"/>
                <a:gd name="T101" fmla="*/ 23 h 34"/>
                <a:gd name="T102" fmla="*/ 2 w 23"/>
                <a:gd name="T103" fmla="*/ 28 h 34"/>
                <a:gd name="T104" fmla="*/ 1 w 23"/>
                <a:gd name="T105" fmla="*/ 29 h 34"/>
                <a:gd name="T106" fmla="*/ 0 w 23"/>
                <a:gd name="T107" fmla="*/ 33 h 34"/>
                <a:gd name="T108" fmla="*/ 3 w 23"/>
                <a:gd name="T109" fmla="*/ 33 h 34"/>
                <a:gd name="T110" fmla="*/ 5 w 23"/>
                <a:gd name="T111" fmla="*/ 34 h 34"/>
                <a:gd name="T112" fmla="*/ 7 w 23"/>
                <a:gd name="T113" fmla="*/ 33 h 34"/>
                <a:gd name="T114" fmla="*/ 10 w 23"/>
                <a:gd name="T115" fmla="*/ 32 h 34"/>
                <a:gd name="T116" fmla="*/ 9 w 23"/>
                <a:gd name="T117" fmla="*/ 31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3" h="34">
                  <a:moveTo>
                    <a:pt x="9" y="31"/>
                  </a:moveTo>
                  <a:lnTo>
                    <a:pt x="9" y="29"/>
                  </a:lnTo>
                  <a:lnTo>
                    <a:pt x="9" y="29"/>
                  </a:lnTo>
                  <a:lnTo>
                    <a:pt x="10" y="28"/>
                  </a:lnTo>
                  <a:lnTo>
                    <a:pt x="10" y="28"/>
                  </a:lnTo>
                  <a:lnTo>
                    <a:pt x="10" y="27"/>
                  </a:lnTo>
                  <a:lnTo>
                    <a:pt x="12" y="27"/>
                  </a:lnTo>
                  <a:lnTo>
                    <a:pt x="14" y="26"/>
                  </a:lnTo>
                  <a:lnTo>
                    <a:pt x="14" y="25"/>
                  </a:lnTo>
                  <a:lnTo>
                    <a:pt x="14" y="25"/>
                  </a:lnTo>
                  <a:lnTo>
                    <a:pt x="15" y="23"/>
                  </a:lnTo>
                  <a:lnTo>
                    <a:pt x="15" y="23"/>
                  </a:lnTo>
                  <a:lnTo>
                    <a:pt x="15" y="22"/>
                  </a:lnTo>
                  <a:lnTo>
                    <a:pt x="15" y="22"/>
                  </a:lnTo>
                  <a:lnTo>
                    <a:pt x="14" y="22"/>
                  </a:lnTo>
                  <a:lnTo>
                    <a:pt x="13" y="22"/>
                  </a:lnTo>
                  <a:lnTo>
                    <a:pt x="13" y="22"/>
                  </a:lnTo>
                  <a:lnTo>
                    <a:pt x="13" y="21"/>
                  </a:lnTo>
                  <a:lnTo>
                    <a:pt x="13" y="20"/>
                  </a:lnTo>
                  <a:lnTo>
                    <a:pt x="15" y="20"/>
                  </a:lnTo>
                  <a:lnTo>
                    <a:pt x="15" y="18"/>
                  </a:lnTo>
                  <a:lnTo>
                    <a:pt x="15" y="19"/>
                  </a:lnTo>
                  <a:lnTo>
                    <a:pt x="15" y="18"/>
                  </a:lnTo>
                  <a:lnTo>
                    <a:pt x="18" y="18"/>
                  </a:lnTo>
                  <a:lnTo>
                    <a:pt x="19" y="19"/>
                  </a:lnTo>
                  <a:lnTo>
                    <a:pt x="20" y="18"/>
                  </a:lnTo>
                  <a:lnTo>
                    <a:pt x="20" y="18"/>
                  </a:lnTo>
                  <a:lnTo>
                    <a:pt x="20" y="16"/>
                  </a:lnTo>
                  <a:lnTo>
                    <a:pt x="20" y="18"/>
                  </a:lnTo>
                  <a:lnTo>
                    <a:pt x="19" y="16"/>
                  </a:lnTo>
                  <a:lnTo>
                    <a:pt x="19" y="16"/>
                  </a:lnTo>
                  <a:lnTo>
                    <a:pt x="18" y="15"/>
                  </a:lnTo>
                  <a:lnTo>
                    <a:pt x="18" y="14"/>
                  </a:lnTo>
                  <a:lnTo>
                    <a:pt x="20" y="14"/>
                  </a:lnTo>
                  <a:lnTo>
                    <a:pt x="21" y="13"/>
                  </a:lnTo>
                  <a:lnTo>
                    <a:pt x="21" y="13"/>
                  </a:lnTo>
                  <a:lnTo>
                    <a:pt x="21" y="12"/>
                  </a:lnTo>
                  <a:lnTo>
                    <a:pt x="22" y="12"/>
                  </a:lnTo>
                  <a:lnTo>
                    <a:pt x="23" y="12"/>
                  </a:lnTo>
                  <a:lnTo>
                    <a:pt x="22" y="11"/>
                  </a:lnTo>
                  <a:lnTo>
                    <a:pt x="22" y="9"/>
                  </a:lnTo>
                  <a:lnTo>
                    <a:pt x="21" y="9"/>
                  </a:lnTo>
                  <a:lnTo>
                    <a:pt x="21" y="8"/>
                  </a:lnTo>
                  <a:lnTo>
                    <a:pt x="21" y="8"/>
                  </a:lnTo>
                  <a:lnTo>
                    <a:pt x="21" y="7"/>
                  </a:lnTo>
                  <a:lnTo>
                    <a:pt x="21" y="7"/>
                  </a:lnTo>
                  <a:lnTo>
                    <a:pt x="21" y="6"/>
                  </a:lnTo>
                  <a:lnTo>
                    <a:pt x="20" y="6"/>
                  </a:lnTo>
                  <a:lnTo>
                    <a:pt x="19" y="6"/>
                  </a:lnTo>
                  <a:lnTo>
                    <a:pt x="19" y="5"/>
                  </a:lnTo>
                  <a:lnTo>
                    <a:pt x="19" y="5"/>
                  </a:lnTo>
                  <a:lnTo>
                    <a:pt x="18" y="3"/>
                  </a:lnTo>
                  <a:lnTo>
                    <a:pt x="19" y="3"/>
                  </a:lnTo>
                  <a:lnTo>
                    <a:pt x="19" y="2"/>
                  </a:lnTo>
                  <a:lnTo>
                    <a:pt x="18" y="1"/>
                  </a:lnTo>
                  <a:lnTo>
                    <a:pt x="18" y="1"/>
                  </a:lnTo>
                  <a:lnTo>
                    <a:pt x="18" y="0"/>
                  </a:lnTo>
                  <a:lnTo>
                    <a:pt x="16" y="0"/>
                  </a:lnTo>
                  <a:lnTo>
                    <a:pt x="15" y="1"/>
                  </a:lnTo>
                  <a:lnTo>
                    <a:pt x="15" y="2"/>
                  </a:lnTo>
                  <a:lnTo>
                    <a:pt x="15" y="2"/>
                  </a:lnTo>
                  <a:lnTo>
                    <a:pt x="15" y="1"/>
                  </a:lnTo>
                  <a:lnTo>
                    <a:pt x="14" y="1"/>
                  </a:lnTo>
                  <a:lnTo>
                    <a:pt x="13" y="1"/>
                  </a:lnTo>
                  <a:lnTo>
                    <a:pt x="13" y="2"/>
                  </a:lnTo>
                  <a:lnTo>
                    <a:pt x="13" y="2"/>
                  </a:lnTo>
                  <a:lnTo>
                    <a:pt x="12" y="1"/>
                  </a:lnTo>
                  <a:lnTo>
                    <a:pt x="10" y="1"/>
                  </a:lnTo>
                  <a:lnTo>
                    <a:pt x="10" y="1"/>
                  </a:lnTo>
                  <a:lnTo>
                    <a:pt x="10" y="2"/>
                  </a:lnTo>
                  <a:lnTo>
                    <a:pt x="10" y="3"/>
                  </a:lnTo>
                  <a:lnTo>
                    <a:pt x="10" y="3"/>
                  </a:lnTo>
                  <a:lnTo>
                    <a:pt x="10" y="5"/>
                  </a:lnTo>
                  <a:lnTo>
                    <a:pt x="10" y="6"/>
                  </a:lnTo>
                  <a:lnTo>
                    <a:pt x="9" y="5"/>
                  </a:lnTo>
                  <a:lnTo>
                    <a:pt x="9" y="6"/>
                  </a:lnTo>
                  <a:lnTo>
                    <a:pt x="9" y="6"/>
                  </a:lnTo>
                  <a:lnTo>
                    <a:pt x="8" y="7"/>
                  </a:lnTo>
                  <a:lnTo>
                    <a:pt x="7" y="7"/>
                  </a:lnTo>
                  <a:lnTo>
                    <a:pt x="7" y="8"/>
                  </a:lnTo>
                  <a:lnTo>
                    <a:pt x="7" y="9"/>
                  </a:lnTo>
                  <a:lnTo>
                    <a:pt x="7" y="11"/>
                  </a:lnTo>
                  <a:lnTo>
                    <a:pt x="7" y="12"/>
                  </a:lnTo>
                  <a:lnTo>
                    <a:pt x="7" y="13"/>
                  </a:lnTo>
                  <a:lnTo>
                    <a:pt x="7" y="14"/>
                  </a:lnTo>
                  <a:lnTo>
                    <a:pt x="8" y="14"/>
                  </a:lnTo>
                  <a:lnTo>
                    <a:pt x="7" y="15"/>
                  </a:lnTo>
                  <a:lnTo>
                    <a:pt x="6" y="15"/>
                  </a:lnTo>
                  <a:lnTo>
                    <a:pt x="6" y="15"/>
                  </a:lnTo>
                  <a:lnTo>
                    <a:pt x="5" y="15"/>
                  </a:lnTo>
                  <a:lnTo>
                    <a:pt x="5" y="16"/>
                  </a:lnTo>
                  <a:lnTo>
                    <a:pt x="5" y="16"/>
                  </a:lnTo>
                  <a:lnTo>
                    <a:pt x="5" y="18"/>
                  </a:lnTo>
                  <a:lnTo>
                    <a:pt x="5" y="18"/>
                  </a:lnTo>
                  <a:lnTo>
                    <a:pt x="6" y="19"/>
                  </a:lnTo>
                  <a:lnTo>
                    <a:pt x="6" y="19"/>
                  </a:lnTo>
                  <a:lnTo>
                    <a:pt x="5" y="20"/>
                  </a:lnTo>
                  <a:lnTo>
                    <a:pt x="5" y="20"/>
                  </a:lnTo>
                  <a:lnTo>
                    <a:pt x="3" y="21"/>
                  </a:lnTo>
                  <a:lnTo>
                    <a:pt x="3" y="21"/>
                  </a:lnTo>
                  <a:lnTo>
                    <a:pt x="3" y="22"/>
                  </a:lnTo>
                  <a:lnTo>
                    <a:pt x="3" y="23"/>
                  </a:lnTo>
                  <a:lnTo>
                    <a:pt x="1" y="26"/>
                  </a:lnTo>
                  <a:lnTo>
                    <a:pt x="2" y="28"/>
                  </a:lnTo>
                  <a:lnTo>
                    <a:pt x="1" y="29"/>
                  </a:lnTo>
                  <a:lnTo>
                    <a:pt x="1" y="29"/>
                  </a:lnTo>
                  <a:lnTo>
                    <a:pt x="1" y="31"/>
                  </a:lnTo>
                  <a:lnTo>
                    <a:pt x="0" y="33"/>
                  </a:lnTo>
                  <a:lnTo>
                    <a:pt x="2" y="33"/>
                  </a:lnTo>
                  <a:lnTo>
                    <a:pt x="3" y="33"/>
                  </a:lnTo>
                  <a:lnTo>
                    <a:pt x="5" y="34"/>
                  </a:lnTo>
                  <a:lnTo>
                    <a:pt x="5" y="34"/>
                  </a:lnTo>
                  <a:lnTo>
                    <a:pt x="6" y="33"/>
                  </a:lnTo>
                  <a:lnTo>
                    <a:pt x="7" y="33"/>
                  </a:lnTo>
                  <a:lnTo>
                    <a:pt x="7" y="33"/>
                  </a:lnTo>
                  <a:lnTo>
                    <a:pt x="10" y="32"/>
                  </a:lnTo>
                  <a:lnTo>
                    <a:pt x="9" y="31"/>
                  </a:lnTo>
                  <a:lnTo>
                    <a:pt x="9" y="31"/>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06" name="Laos">
              <a:extLst>
                <a:ext uri="{FF2B5EF4-FFF2-40B4-BE49-F238E27FC236}">
                  <a16:creationId xmlns:a16="http://schemas.microsoft.com/office/drawing/2014/main" id="{7A8917AF-EA6B-404C-8151-5CE5721C6389}"/>
                </a:ext>
              </a:extLst>
            </p:cNvPr>
            <p:cNvSpPr>
              <a:spLocks/>
            </p:cNvSpPr>
            <p:nvPr/>
          </p:nvSpPr>
          <p:spPr bwMode="auto">
            <a:xfrm>
              <a:off x="8961853" y="3311501"/>
              <a:ext cx="221608" cy="258057"/>
            </a:xfrm>
            <a:custGeom>
              <a:avLst/>
              <a:gdLst>
                <a:gd name="T0" fmla="*/ 42 w 152"/>
                <a:gd name="T1" fmla="*/ 16 h 177"/>
                <a:gd name="T2" fmla="*/ 46 w 152"/>
                <a:gd name="T3" fmla="*/ 17 h 177"/>
                <a:gd name="T4" fmla="*/ 46 w 152"/>
                <a:gd name="T5" fmla="*/ 26 h 177"/>
                <a:gd name="T6" fmla="*/ 56 w 152"/>
                <a:gd name="T7" fmla="*/ 36 h 177"/>
                <a:gd name="T8" fmla="*/ 65 w 152"/>
                <a:gd name="T9" fmla="*/ 37 h 177"/>
                <a:gd name="T10" fmla="*/ 70 w 152"/>
                <a:gd name="T11" fmla="*/ 33 h 177"/>
                <a:gd name="T12" fmla="*/ 77 w 152"/>
                <a:gd name="T13" fmla="*/ 38 h 177"/>
                <a:gd name="T14" fmla="*/ 77 w 152"/>
                <a:gd name="T15" fmla="*/ 44 h 177"/>
                <a:gd name="T16" fmla="*/ 85 w 152"/>
                <a:gd name="T17" fmla="*/ 47 h 177"/>
                <a:gd name="T18" fmla="*/ 87 w 152"/>
                <a:gd name="T19" fmla="*/ 53 h 177"/>
                <a:gd name="T20" fmla="*/ 84 w 152"/>
                <a:gd name="T21" fmla="*/ 59 h 177"/>
                <a:gd name="T22" fmla="*/ 73 w 152"/>
                <a:gd name="T23" fmla="*/ 59 h 177"/>
                <a:gd name="T24" fmla="*/ 73 w 152"/>
                <a:gd name="T25" fmla="*/ 64 h 177"/>
                <a:gd name="T26" fmla="*/ 74 w 152"/>
                <a:gd name="T27" fmla="*/ 69 h 177"/>
                <a:gd name="T28" fmla="*/ 84 w 152"/>
                <a:gd name="T29" fmla="*/ 72 h 177"/>
                <a:gd name="T30" fmla="*/ 93 w 152"/>
                <a:gd name="T31" fmla="*/ 78 h 177"/>
                <a:gd name="T32" fmla="*/ 98 w 152"/>
                <a:gd name="T33" fmla="*/ 87 h 177"/>
                <a:gd name="T34" fmla="*/ 104 w 152"/>
                <a:gd name="T35" fmla="*/ 91 h 177"/>
                <a:gd name="T36" fmla="*/ 109 w 152"/>
                <a:gd name="T37" fmla="*/ 98 h 177"/>
                <a:gd name="T38" fmla="*/ 122 w 152"/>
                <a:gd name="T39" fmla="*/ 110 h 177"/>
                <a:gd name="T40" fmla="*/ 129 w 152"/>
                <a:gd name="T41" fmla="*/ 123 h 177"/>
                <a:gd name="T42" fmla="*/ 133 w 152"/>
                <a:gd name="T43" fmla="*/ 123 h 177"/>
                <a:gd name="T44" fmla="*/ 139 w 152"/>
                <a:gd name="T45" fmla="*/ 129 h 177"/>
                <a:gd name="T46" fmla="*/ 144 w 152"/>
                <a:gd name="T47" fmla="*/ 136 h 177"/>
                <a:gd name="T48" fmla="*/ 145 w 152"/>
                <a:gd name="T49" fmla="*/ 145 h 177"/>
                <a:gd name="T50" fmla="*/ 150 w 152"/>
                <a:gd name="T51" fmla="*/ 147 h 177"/>
                <a:gd name="T52" fmla="*/ 149 w 152"/>
                <a:gd name="T53" fmla="*/ 156 h 177"/>
                <a:gd name="T54" fmla="*/ 146 w 152"/>
                <a:gd name="T55" fmla="*/ 163 h 177"/>
                <a:gd name="T56" fmla="*/ 137 w 152"/>
                <a:gd name="T57" fmla="*/ 169 h 177"/>
                <a:gd name="T58" fmla="*/ 131 w 152"/>
                <a:gd name="T59" fmla="*/ 166 h 177"/>
                <a:gd name="T60" fmla="*/ 125 w 152"/>
                <a:gd name="T61" fmla="*/ 169 h 177"/>
                <a:gd name="T62" fmla="*/ 122 w 152"/>
                <a:gd name="T63" fmla="*/ 177 h 177"/>
                <a:gd name="T64" fmla="*/ 110 w 152"/>
                <a:gd name="T65" fmla="*/ 169 h 177"/>
                <a:gd name="T66" fmla="*/ 113 w 152"/>
                <a:gd name="T67" fmla="*/ 160 h 177"/>
                <a:gd name="T68" fmla="*/ 112 w 152"/>
                <a:gd name="T69" fmla="*/ 154 h 177"/>
                <a:gd name="T70" fmla="*/ 113 w 152"/>
                <a:gd name="T71" fmla="*/ 146 h 177"/>
                <a:gd name="T72" fmla="*/ 107 w 152"/>
                <a:gd name="T73" fmla="*/ 136 h 177"/>
                <a:gd name="T74" fmla="*/ 94 w 152"/>
                <a:gd name="T75" fmla="*/ 123 h 177"/>
                <a:gd name="T76" fmla="*/ 92 w 152"/>
                <a:gd name="T77" fmla="*/ 105 h 177"/>
                <a:gd name="T78" fmla="*/ 76 w 152"/>
                <a:gd name="T79" fmla="*/ 87 h 177"/>
                <a:gd name="T80" fmla="*/ 64 w 152"/>
                <a:gd name="T81" fmla="*/ 87 h 177"/>
                <a:gd name="T82" fmla="*/ 56 w 152"/>
                <a:gd name="T83" fmla="*/ 94 h 177"/>
                <a:gd name="T84" fmla="*/ 49 w 152"/>
                <a:gd name="T85" fmla="*/ 93 h 177"/>
                <a:gd name="T86" fmla="*/ 39 w 152"/>
                <a:gd name="T87" fmla="*/ 93 h 177"/>
                <a:gd name="T88" fmla="*/ 34 w 152"/>
                <a:gd name="T89" fmla="*/ 98 h 177"/>
                <a:gd name="T90" fmla="*/ 29 w 152"/>
                <a:gd name="T91" fmla="*/ 103 h 177"/>
                <a:gd name="T92" fmla="*/ 24 w 152"/>
                <a:gd name="T93" fmla="*/ 99 h 177"/>
                <a:gd name="T94" fmla="*/ 26 w 152"/>
                <a:gd name="T95" fmla="*/ 91 h 177"/>
                <a:gd name="T96" fmla="*/ 24 w 152"/>
                <a:gd name="T97" fmla="*/ 83 h 177"/>
                <a:gd name="T98" fmla="*/ 26 w 152"/>
                <a:gd name="T99" fmla="*/ 72 h 177"/>
                <a:gd name="T100" fmla="*/ 23 w 152"/>
                <a:gd name="T101" fmla="*/ 62 h 177"/>
                <a:gd name="T102" fmla="*/ 12 w 152"/>
                <a:gd name="T103" fmla="*/ 62 h 177"/>
                <a:gd name="T104" fmla="*/ 9 w 152"/>
                <a:gd name="T105" fmla="*/ 56 h 177"/>
                <a:gd name="T106" fmla="*/ 3 w 152"/>
                <a:gd name="T107" fmla="*/ 46 h 177"/>
                <a:gd name="T108" fmla="*/ 4 w 152"/>
                <a:gd name="T109" fmla="*/ 36 h 177"/>
                <a:gd name="T110" fmla="*/ 6 w 152"/>
                <a:gd name="T111" fmla="*/ 32 h 177"/>
                <a:gd name="T112" fmla="*/ 14 w 152"/>
                <a:gd name="T113" fmla="*/ 22 h 177"/>
                <a:gd name="T114" fmla="*/ 27 w 152"/>
                <a:gd name="T115" fmla="*/ 2 h 1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2" h="177">
                  <a:moveTo>
                    <a:pt x="31" y="2"/>
                  </a:moveTo>
                  <a:lnTo>
                    <a:pt x="33" y="6"/>
                  </a:lnTo>
                  <a:lnTo>
                    <a:pt x="37" y="9"/>
                  </a:lnTo>
                  <a:lnTo>
                    <a:pt x="38" y="11"/>
                  </a:lnTo>
                  <a:lnTo>
                    <a:pt x="37" y="11"/>
                  </a:lnTo>
                  <a:lnTo>
                    <a:pt x="38" y="12"/>
                  </a:lnTo>
                  <a:lnTo>
                    <a:pt x="39" y="12"/>
                  </a:lnTo>
                  <a:lnTo>
                    <a:pt x="42" y="13"/>
                  </a:lnTo>
                  <a:lnTo>
                    <a:pt x="42" y="15"/>
                  </a:lnTo>
                  <a:lnTo>
                    <a:pt x="42" y="16"/>
                  </a:lnTo>
                  <a:lnTo>
                    <a:pt x="42" y="17"/>
                  </a:lnTo>
                  <a:lnTo>
                    <a:pt x="43" y="19"/>
                  </a:lnTo>
                  <a:lnTo>
                    <a:pt x="43" y="18"/>
                  </a:lnTo>
                  <a:lnTo>
                    <a:pt x="44" y="17"/>
                  </a:lnTo>
                  <a:lnTo>
                    <a:pt x="43" y="16"/>
                  </a:lnTo>
                  <a:lnTo>
                    <a:pt x="44" y="15"/>
                  </a:lnTo>
                  <a:lnTo>
                    <a:pt x="45" y="15"/>
                  </a:lnTo>
                  <a:lnTo>
                    <a:pt x="45" y="16"/>
                  </a:lnTo>
                  <a:lnTo>
                    <a:pt x="45" y="17"/>
                  </a:lnTo>
                  <a:lnTo>
                    <a:pt x="46" y="17"/>
                  </a:lnTo>
                  <a:lnTo>
                    <a:pt x="46" y="17"/>
                  </a:lnTo>
                  <a:lnTo>
                    <a:pt x="47" y="19"/>
                  </a:lnTo>
                  <a:lnTo>
                    <a:pt x="46" y="23"/>
                  </a:lnTo>
                  <a:lnTo>
                    <a:pt x="46" y="23"/>
                  </a:lnTo>
                  <a:lnTo>
                    <a:pt x="47" y="23"/>
                  </a:lnTo>
                  <a:lnTo>
                    <a:pt x="47" y="23"/>
                  </a:lnTo>
                  <a:lnTo>
                    <a:pt x="46" y="24"/>
                  </a:lnTo>
                  <a:lnTo>
                    <a:pt x="47" y="25"/>
                  </a:lnTo>
                  <a:lnTo>
                    <a:pt x="46" y="25"/>
                  </a:lnTo>
                  <a:lnTo>
                    <a:pt x="46" y="26"/>
                  </a:lnTo>
                  <a:lnTo>
                    <a:pt x="47" y="26"/>
                  </a:lnTo>
                  <a:lnTo>
                    <a:pt x="47" y="27"/>
                  </a:lnTo>
                  <a:lnTo>
                    <a:pt x="47" y="29"/>
                  </a:lnTo>
                  <a:lnTo>
                    <a:pt x="49" y="30"/>
                  </a:lnTo>
                  <a:lnTo>
                    <a:pt x="50" y="31"/>
                  </a:lnTo>
                  <a:lnTo>
                    <a:pt x="51" y="32"/>
                  </a:lnTo>
                  <a:lnTo>
                    <a:pt x="51" y="33"/>
                  </a:lnTo>
                  <a:lnTo>
                    <a:pt x="53" y="36"/>
                  </a:lnTo>
                  <a:lnTo>
                    <a:pt x="54" y="36"/>
                  </a:lnTo>
                  <a:lnTo>
                    <a:pt x="56" y="36"/>
                  </a:lnTo>
                  <a:lnTo>
                    <a:pt x="56" y="36"/>
                  </a:lnTo>
                  <a:lnTo>
                    <a:pt x="57" y="36"/>
                  </a:lnTo>
                  <a:lnTo>
                    <a:pt x="58" y="36"/>
                  </a:lnTo>
                  <a:lnTo>
                    <a:pt x="58" y="36"/>
                  </a:lnTo>
                  <a:lnTo>
                    <a:pt x="59" y="37"/>
                  </a:lnTo>
                  <a:lnTo>
                    <a:pt x="62" y="38"/>
                  </a:lnTo>
                  <a:lnTo>
                    <a:pt x="63" y="39"/>
                  </a:lnTo>
                  <a:lnTo>
                    <a:pt x="64" y="38"/>
                  </a:lnTo>
                  <a:lnTo>
                    <a:pt x="64" y="38"/>
                  </a:lnTo>
                  <a:lnTo>
                    <a:pt x="65" y="37"/>
                  </a:lnTo>
                  <a:lnTo>
                    <a:pt x="65" y="36"/>
                  </a:lnTo>
                  <a:lnTo>
                    <a:pt x="65" y="36"/>
                  </a:lnTo>
                  <a:lnTo>
                    <a:pt x="65" y="36"/>
                  </a:lnTo>
                  <a:lnTo>
                    <a:pt x="66" y="35"/>
                  </a:lnTo>
                  <a:lnTo>
                    <a:pt x="66" y="35"/>
                  </a:lnTo>
                  <a:lnTo>
                    <a:pt x="67" y="35"/>
                  </a:lnTo>
                  <a:lnTo>
                    <a:pt x="69" y="35"/>
                  </a:lnTo>
                  <a:lnTo>
                    <a:pt x="69" y="33"/>
                  </a:lnTo>
                  <a:lnTo>
                    <a:pt x="70" y="32"/>
                  </a:lnTo>
                  <a:lnTo>
                    <a:pt x="70" y="33"/>
                  </a:lnTo>
                  <a:lnTo>
                    <a:pt x="71" y="33"/>
                  </a:lnTo>
                  <a:lnTo>
                    <a:pt x="73" y="33"/>
                  </a:lnTo>
                  <a:lnTo>
                    <a:pt x="73" y="35"/>
                  </a:lnTo>
                  <a:lnTo>
                    <a:pt x="74" y="35"/>
                  </a:lnTo>
                  <a:lnTo>
                    <a:pt x="74" y="35"/>
                  </a:lnTo>
                  <a:lnTo>
                    <a:pt x="74" y="36"/>
                  </a:lnTo>
                  <a:lnTo>
                    <a:pt x="76" y="36"/>
                  </a:lnTo>
                  <a:lnTo>
                    <a:pt x="76" y="36"/>
                  </a:lnTo>
                  <a:lnTo>
                    <a:pt x="77" y="37"/>
                  </a:lnTo>
                  <a:lnTo>
                    <a:pt x="77" y="38"/>
                  </a:lnTo>
                  <a:lnTo>
                    <a:pt x="80" y="38"/>
                  </a:lnTo>
                  <a:lnTo>
                    <a:pt x="79" y="39"/>
                  </a:lnTo>
                  <a:lnTo>
                    <a:pt x="79" y="40"/>
                  </a:lnTo>
                  <a:lnTo>
                    <a:pt x="80" y="42"/>
                  </a:lnTo>
                  <a:lnTo>
                    <a:pt x="79" y="42"/>
                  </a:lnTo>
                  <a:lnTo>
                    <a:pt x="78" y="42"/>
                  </a:lnTo>
                  <a:lnTo>
                    <a:pt x="78" y="42"/>
                  </a:lnTo>
                  <a:lnTo>
                    <a:pt x="78" y="42"/>
                  </a:lnTo>
                  <a:lnTo>
                    <a:pt x="77" y="43"/>
                  </a:lnTo>
                  <a:lnTo>
                    <a:pt x="77" y="44"/>
                  </a:lnTo>
                  <a:lnTo>
                    <a:pt x="77" y="44"/>
                  </a:lnTo>
                  <a:lnTo>
                    <a:pt x="78" y="44"/>
                  </a:lnTo>
                  <a:lnTo>
                    <a:pt x="80" y="44"/>
                  </a:lnTo>
                  <a:lnTo>
                    <a:pt x="80" y="45"/>
                  </a:lnTo>
                  <a:lnTo>
                    <a:pt x="83" y="45"/>
                  </a:lnTo>
                  <a:lnTo>
                    <a:pt x="83" y="46"/>
                  </a:lnTo>
                  <a:lnTo>
                    <a:pt x="82" y="46"/>
                  </a:lnTo>
                  <a:lnTo>
                    <a:pt x="82" y="47"/>
                  </a:lnTo>
                  <a:lnTo>
                    <a:pt x="84" y="49"/>
                  </a:lnTo>
                  <a:lnTo>
                    <a:pt x="85" y="47"/>
                  </a:lnTo>
                  <a:lnTo>
                    <a:pt x="86" y="47"/>
                  </a:lnTo>
                  <a:lnTo>
                    <a:pt x="87" y="49"/>
                  </a:lnTo>
                  <a:lnTo>
                    <a:pt x="87" y="50"/>
                  </a:lnTo>
                  <a:lnTo>
                    <a:pt x="87" y="51"/>
                  </a:lnTo>
                  <a:lnTo>
                    <a:pt x="89" y="51"/>
                  </a:lnTo>
                  <a:lnTo>
                    <a:pt x="87" y="51"/>
                  </a:lnTo>
                  <a:lnTo>
                    <a:pt x="89" y="52"/>
                  </a:lnTo>
                  <a:lnTo>
                    <a:pt x="87" y="53"/>
                  </a:lnTo>
                  <a:lnTo>
                    <a:pt x="87" y="53"/>
                  </a:lnTo>
                  <a:lnTo>
                    <a:pt x="87" y="53"/>
                  </a:lnTo>
                  <a:lnTo>
                    <a:pt x="86" y="55"/>
                  </a:lnTo>
                  <a:lnTo>
                    <a:pt x="85" y="55"/>
                  </a:lnTo>
                  <a:lnTo>
                    <a:pt x="85" y="56"/>
                  </a:lnTo>
                  <a:lnTo>
                    <a:pt x="86" y="55"/>
                  </a:lnTo>
                  <a:lnTo>
                    <a:pt x="86" y="56"/>
                  </a:lnTo>
                  <a:lnTo>
                    <a:pt x="86" y="57"/>
                  </a:lnTo>
                  <a:lnTo>
                    <a:pt x="85" y="57"/>
                  </a:lnTo>
                  <a:lnTo>
                    <a:pt x="85" y="57"/>
                  </a:lnTo>
                  <a:lnTo>
                    <a:pt x="85" y="57"/>
                  </a:lnTo>
                  <a:lnTo>
                    <a:pt x="84" y="59"/>
                  </a:lnTo>
                  <a:lnTo>
                    <a:pt x="83" y="60"/>
                  </a:lnTo>
                  <a:lnTo>
                    <a:pt x="82" y="60"/>
                  </a:lnTo>
                  <a:lnTo>
                    <a:pt x="80" y="60"/>
                  </a:lnTo>
                  <a:lnTo>
                    <a:pt x="80" y="59"/>
                  </a:lnTo>
                  <a:lnTo>
                    <a:pt x="79" y="59"/>
                  </a:lnTo>
                  <a:lnTo>
                    <a:pt x="79" y="59"/>
                  </a:lnTo>
                  <a:lnTo>
                    <a:pt x="78" y="59"/>
                  </a:lnTo>
                  <a:lnTo>
                    <a:pt x="77" y="59"/>
                  </a:lnTo>
                  <a:lnTo>
                    <a:pt x="74" y="59"/>
                  </a:lnTo>
                  <a:lnTo>
                    <a:pt x="73" y="59"/>
                  </a:lnTo>
                  <a:lnTo>
                    <a:pt x="73" y="59"/>
                  </a:lnTo>
                  <a:lnTo>
                    <a:pt x="72" y="59"/>
                  </a:lnTo>
                  <a:lnTo>
                    <a:pt x="73" y="60"/>
                  </a:lnTo>
                  <a:lnTo>
                    <a:pt x="73" y="62"/>
                  </a:lnTo>
                  <a:lnTo>
                    <a:pt x="74" y="62"/>
                  </a:lnTo>
                  <a:lnTo>
                    <a:pt x="74" y="63"/>
                  </a:lnTo>
                  <a:lnTo>
                    <a:pt x="73" y="63"/>
                  </a:lnTo>
                  <a:lnTo>
                    <a:pt x="73" y="64"/>
                  </a:lnTo>
                  <a:lnTo>
                    <a:pt x="74" y="64"/>
                  </a:lnTo>
                  <a:lnTo>
                    <a:pt x="73" y="64"/>
                  </a:lnTo>
                  <a:lnTo>
                    <a:pt x="73" y="64"/>
                  </a:lnTo>
                  <a:lnTo>
                    <a:pt x="72" y="65"/>
                  </a:lnTo>
                  <a:lnTo>
                    <a:pt x="71" y="66"/>
                  </a:lnTo>
                  <a:lnTo>
                    <a:pt x="71" y="66"/>
                  </a:lnTo>
                  <a:lnTo>
                    <a:pt x="71" y="67"/>
                  </a:lnTo>
                  <a:lnTo>
                    <a:pt x="72" y="67"/>
                  </a:lnTo>
                  <a:lnTo>
                    <a:pt x="72" y="67"/>
                  </a:lnTo>
                  <a:lnTo>
                    <a:pt x="73" y="69"/>
                  </a:lnTo>
                  <a:lnTo>
                    <a:pt x="74" y="67"/>
                  </a:lnTo>
                  <a:lnTo>
                    <a:pt x="74" y="69"/>
                  </a:lnTo>
                  <a:lnTo>
                    <a:pt x="76" y="69"/>
                  </a:lnTo>
                  <a:lnTo>
                    <a:pt x="76" y="69"/>
                  </a:lnTo>
                  <a:lnTo>
                    <a:pt x="77" y="70"/>
                  </a:lnTo>
                  <a:lnTo>
                    <a:pt x="78" y="70"/>
                  </a:lnTo>
                  <a:lnTo>
                    <a:pt x="78" y="71"/>
                  </a:lnTo>
                  <a:lnTo>
                    <a:pt x="79" y="70"/>
                  </a:lnTo>
                  <a:lnTo>
                    <a:pt x="79" y="71"/>
                  </a:lnTo>
                  <a:lnTo>
                    <a:pt x="82" y="72"/>
                  </a:lnTo>
                  <a:lnTo>
                    <a:pt x="82" y="73"/>
                  </a:lnTo>
                  <a:lnTo>
                    <a:pt x="84" y="72"/>
                  </a:lnTo>
                  <a:lnTo>
                    <a:pt x="85" y="76"/>
                  </a:lnTo>
                  <a:lnTo>
                    <a:pt x="85" y="76"/>
                  </a:lnTo>
                  <a:lnTo>
                    <a:pt x="86" y="76"/>
                  </a:lnTo>
                  <a:lnTo>
                    <a:pt x="87" y="76"/>
                  </a:lnTo>
                  <a:lnTo>
                    <a:pt x="87" y="77"/>
                  </a:lnTo>
                  <a:lnTo>
                    <a:pt x="90" y="77"/>
                  </a:lnTo>
                  <a:lnTo>
                    <a:pt x="91" y="77"/>
                  </a:lnTo>
                  <a:lnTo>
                    <a:pt x="92" y="78"/>
                  </a:lnTo>
                  <a:lnTo>
                    <a:pt x="92" y="78"/>
                  </a:lnTo>
                  <a:lnTo>
                    <a:pt x="93" y="78"/>
                  </a:lnTo>
                  <a:lnTo>
                    <a:pt x="94" y="79"/>
                  </a:lnTo>
                  <a:lnTo>
                    <a:pt x="96" y="79"/>
                  </a:lnTo>
                  <a:lnTo>
                    <a:pt x="97" y="79"/>
                  </a:lnTo>
                  <a:lnTo>
                    <a:pt x="98" y="80"/>
                  </a:lnTo>
                  <a:lnTo>
                    <a:pt x="97" y="82"/>
                  </a:lnTo>
                  <a:lnTo>
                    <a:pt x="96" y="82"/>
                  </a:lnTo>
                  <a:lnTo>
                    <a:pt x="96" y="84"/>
                  </a:lnTo>
                  <a:lnTo>
                    <a:pt x="97" y="85"/>
                  </a:lnTo>
                  <a:lnTo>
                    <a:pt x="98" y="86"/>
                  </a:lnTo>
                  <a:lnTo>
                    <a:pt x="98" y="87"/>
                  </a:lnTo>
                  <a:lnTo>
                    <a:pt x="98" y="87"/>
                  </a:lnTo>
                  <a:lnTo>
                    <a:pt x="99" y="89"/>
                  </a:lnTo>
                  <a:lnTo>
                    <a:pt x="100" y="87"/>
                  </a:lnTo>
                  <a:lnTo>
                    <a:pt x="100" y="90"/>
                  </a:lnTo>
                  <a:lnTo>
                    <a:pt x="102" y="90"/>
                  </a:lnTo>
                  <a:lnTo>
                    <a:pt x="102" y="90"/>
                  </a:lnTo>
                  <a:lnTo>
                    <a:pt x="103" y="87"/>
                  </a:lnTo>
                  <a:lnTo>
                    <a:pt x="104" y="90"/>
                  </a:lnTo>
                  <a:lnTo>
                    <a:pt x="104" y="90"/>
                  </a:lnTo>
                  <a:lnTo>
                    <a:pt x="104" y="91"/>
                  </a:lnTo>
                  <a:lnTo>
                    <a:pt x="104" y="91"/>
                  </a:lnTo>
                  <a:lnTo>
                    <a:pt x="104" y="92"/>
                  </a:lnTo>
                  <a:lnTo>
                    <a:pt x="106" y="92"/>
                  </a:lnTo>
                  <a:lnTo>
                    <a:pt x="105" y="93"/>
                  </a:lnTo>
                  <a:lnTo>
                    <a:pt x="106" y="93"/>
                  </a:lnTo>
                  <a:lnTo>
                    <a:pt x="106" y="94"/>
                  </a:lnTo>
                  <a:lnTo>
                    <a:pt x="106" y="96"/>
                  </a:lnTo>
                  <a:lnTo>
                    <a:pt x="107" y="97"/>
                  </a:lnTo>
                  <a:lnTo>
                    <a:pt x="107" y="98"/>
                  </a:lnTo>
                  <a:lnTo>
                    <a:pt x="109" y="98"/>
                  </a:lnTo>
                  <a:lnTo>
                    <a:pt x="110" y="100"/>
                  </a:lnTo>
                  <a:lnTo>
                    <a:pt x="112" y="102"/>
                  </a:lnTo>
                  <a:lnTo>
                    <a:pt x="114" y="106"/>
                  </a:lnTo>
                  <a:lnTo>
                    <a:pt x="119" y="109"/>
                  </a:lnTo>
                  <a:lnTo>
                    <a:pt x="120" y="109"/>
                  </a:lnTo>
                  <a:lnTo>
                    <a:pt x="120" y="109"/>
                  </a:lnTo>
                  <a:lnTo>
                    <a:pt x="122" y="109"/>
                  </a:lnTo>
                  <a:lnTo>
                    <a:pt x="122" y="109"/>
                  </a:lnTo>
                  <a:lnTo>
                    <a:pt x="122" y="109"/>
                  </a:lnTo>
                  <a:lnTo>
                    <a:pt x="122" y="110"/>
                  </a:lnTo>
                  <a:lnTo>
                    <a:pt x="123" y="112"/>
                  </a:lnTo>
                  <a:lnTo>
                    <a:pt x="124" y="112"/>
                  </a:lnTo>
                  <a:lnTo>
                    <a:pt x="123" y="113"/>
                  </a:lnTo>
                  <a:lnTo>
                    <a:pt x="124" y="114"/>
                  </a:lnTo>
                  <a:lnTo>
                    <a:pt x="125" y="114"/>
                  </a:lnTo>
                  <a:lnTo>
                    <a:pt x="126" y="116"/>
                  </a:lnTo>
                  <a:lnTo>
                    <a:pt x="127" y="120"/>
                  </a:lnTo>
                  <a:lnTo>
                    <a:pt x="127" y="122"/>
                  </a:lnTo>
                  <a:lnTo>
                    <a:pt x="129" y="122"/>
                  </a:lnTo>
                  <a:lnTo>
                    <a:pt x="129" y="123"/>
                  </a:lnTo>
                  <a:lnTo>
                    <a:pt x="130" y="123"/>
                  </a:lnTo>
                  <a:lnTo>
                    <a:pt x="130" y="123"/>
                  </a:lnTo>
                  <a:lnTo>
                    <a:pt x="130" y="125"/>
                  </a:lnTo>
                  <a:lnTo>
                    <a:pt x="130" y="126"/>
                  </a:lnTo>
                  <a:lnTo>
                    <a:pt x="131" y="126"/>
                  </a:lnTo>
                  <a:lnTo>
                    <a:pt x="132" y="126"/>
                  </a:lnTo>
                  <a:lnTo>
                    <a:pt x="132" y="125"/>
                  </a:lnTo>
                  <a:lnTo>
                    <a:pt x="132" y="125"/>
                  </a:lnTo>
                  <a:lnTo>
                    <a:pt x="132" y="123"/>
                  </a:lnTo>
                  <a:lnTo>
                    <a:pt x="133" y="123"/>
                  </a:lnTo>
                  <a:lnTo>
                    <a:pt x="133" y="124"/>
                  </a:lnTo>
                  <a:lnTo>
                    <a:pt x="133" y="125"/>
                  </a:lnTo>
                  <a:lnTo>
                    <a:pt x="133" y="126"/>
                  </a:lnTo>
                  <a:lnTo>
                    <a:pt x="134" y="126"/>
                  </a:lnTo>
                  <a:lnTo>
                    <a:pt x="134" y="126"/>
                  </a:lnTo>
                  <a:lnTo>
                    <a:pt x="136" y="127"/>
                  </a:lnTo>
                  <a:lnTo>
                    <a:pt x="136" y="129"/>
                  </a:lnTo>
                  <a:lnTo>
                    <a:pt x="136" y="129"/>
                  </a:lnTo>
                  <a:lnTo>
                    <a:pt x="137" y="129"/>
                  </a:lnTo>
                  <a:lnTo>
                    <a:pt x="139" y="129"/>
                  </a:lnTo>
                  <a:lnTo>
                    <a:pt x="140" y="131"/>
                  </a:lnTo>
                  <a:lnTo>
                    <a:pt x="140" y="131"/>
                  </a:lnTo>
                  <a:lnTo>
                    <a:pt x="142" y="131"/>
                  </a:lnTo>
                  <a:lnTo>
                    <a:pt x="143" y="133"/>
                  </a:lnTo>
                  <a:lnTo>
                    <a:pt x="144" y="133"/>
                  </a:lnTo>
                  <a:lnTo>
                    <a:pt x="144" y="132"/>
                  </a:lnTo>
                  <a:lnTo>
                    <a:pt x="145" y="132"/>
                  </a:lnTo>
                  <a:lnTo>
                    <a:pt x="145" y="133"/>
                  </a:lnTo>
                  <a:lnTo>
                    <a:pt x="145" y="134"/>
                  </a:lnTo>
                  <a:lnTo>
                    <a:pt x="144" y="136"/>
                  </a:lnTo>
                  <a:lnTo>
                    <a:pt x="143" y="136"/>
                  </a:lnTo>
                  <a:lnTo>
                    <a:pt x="142" y="138"/>
                  </a:lnTo>
                  <a:lnTo>
                    <a:pt x="142" y="138"/>
                  </a:lnTo>
                  <a:lnTo>
                    <a:pt x="142" y="138"/>
                  </a:lnTo>
                  <a:lnTo>
                    <a:pt x="140" y="139"/>
                  </a:lnTo>
                  <a:lnTo>
                    <a:pt x="143" y="140"/>
                  </a:lnTo>
                  <a:lnTo>
                    <a:pt x="143" y="142"/>
                  </a:lnTo>
                  <a:lnTo>
                    <a:pt x="143" y="142"/>
                  </a:lnTo>
                  <a:lnTo>
                    <a:pt x="144" y="143"/>
                  </a:lnTo>
                  <a:lnTo>
                    <a:pt x="145" y="145"/>
                  </a:lnTo>
                  <a:lnTo>
                    <a:pt x="146" y="144"/>
                  </a:lnTo>
                  <a:lnTo>
                    <a:pt x="146" y="145"/>
                  </a:lnTo>
                  <a:lnTo>
                    <a:pt x="147" y="144"/>
                  </a:lnTo>
                  <a:lnTo>
                    <a:pt x="147" y="145"/>
                  </a:lnTo>
                  <a:lnTo>
                    <a:pt x="147" y="145"/>
                  </a:lnTo>
                  <a:lnTo>
                    <a:pt x="147" y="146"/>
                  </a:lnTo>
                  <a:lnTo>
                    <a:pt x="149" y="146"/>
                  </a:lnTo>
                  <a:lnTo>
                    <a:pt x="149" y="146"/>
                  </a:lnTo>
                  <a:lnTo>
                    <a:pt x="150" y="147"/>
                  </a:lnTo>
                  <a:lnTo>
                    <a:pt x="150" y="147"/>
                  </a:lnTo>
                  <a:lnTo>
                    <a:pt x="152" y="150"/>
                  </a:lnTo>
                  <a:lnTo>
                    <a:pt x="151" y="151"/>
                  </a:lnTo>
                  <a:lnTo>
                    <a:pt x="151" y="151"/>
                  </a:lnTo>
                  <a:lnTo>
                    <a:pt x="151" y="152"/>
                  </a:lnTo>
                  <a:lnTo>
                    <a:pt x="150" y="153"/>
                  </a:lnTo>
                  <a:lnTo>
                    <a:pt x="151" y="154"/>
                  </a:lnTo>
                  <a:lnTo>
                    <a:pt x="150" y="154"/>
                  </a:lnTo>
                  <a:lnTo>
                    <a:pt x="149" y="154"/>
                  </a:lnTo>
                  <a:lnTo>
                    <a:pt x="149" y="154"/>
                  </a:lnTo>
                  <a:lnTo>
                    <a:pt x="149" y="156"/>
                  </a:lnTo>
                  <a:lnTo>
                    <a:pt x="151" y="158"/>
                  </a:lnTo>
                  <a:lnTo>
                    <a:pt x="149" y="159"/>
                  </a:lnTo>
                  <a:lnTo>
                    <a:pt x="150" y="160"/>
                  </a:lnTo>
                  <a:lnTo>
                    <a:pt x="149" y="160"/>
                  </a:lnTo>
                  <a:lnTo>
                    <a:pt x="150" y="160"/>
                  </a:lnTo>
                  <a:lnTo>
                    <a:pt x="151" y="162"/>
                  </a:lnTo>
                  <a:lnTo>
                    <a:pt x="151" y="163"/>
                  </a:lnTo>
                  <a:lnTo>
                    <a:pt x="150" y="165"/>
                  </a:lnTo>
                  <a:lnTo>
                    <a:pt x="147" y="164"/>
                  </a:lnTo>
                  <a:lnTo>
                    <a:pt x="146" y="163"/>
                  </a:lnTo>
                  <a:lnTo>
                    <a:pt x="145" y="164"/>
                  </a:lnTo>
                  <a:lnTo>
                    <a:pt x="145" y="165"/>
                  </a:lnTo>
                  <a:lnTo>
                    <a:pt x="144" y="166"/>
                  </a:lnTo>
                  <a:lnTo>
                    <a:pt x="144" y="167"/>
                  </a:lnTo>
                  <a:lnTo>
                    <a:pt x="142" y="166"/>
                  </a:lnTo>
                  <a:lnTo>
                    <a:pt x="142" y="167"/>
                  </a:lnTo>
                  <a:lnTo>
                    <a:pt x="140" y="170"/>
                  </a:lnTo>
                  <a:lnTo>
                    <a:pt x="139" y="169"/>
                  </a:lnTo>
                  <a:lnTo>
                    <a:pt x="138" y="170"/>
                  </a:lnTo>
                  <a:lnTo>
                    <a:pt x="137" y="169"/>
                  </a:lnTo>
                  <a:lnTo>
                    <a:pt x="137" y="166"/>
                  </a:lnTo>
                  <a:lnTo>
                    <a:pt x="137" y="167"/>
                  </a:lnTo>
                  <a:lnTo>
                    <a:pt x="136" y="166"/>
                  </a:lnTo>
                  <a:lnTo>
                    <a:pt x="133" y="165"/>
                  </a:lnTo>
                  <a:lnTo>
                    <a:pt x="133" y="165"/>
                  </a:lnTo>
                  <a:lnTo>
                    <a:pt x="132" y="163"/>
                  </a:lnTo>
                  <a:lnTo>
                    <a:pt x="132" y="164"/>
                  </a:lnTo>
                  <a:lnTo>
                    <a:pt x="132" y="165"/>
                  </a:lnTo>
                  <a:lnTo>
                    <a:pt x="131" y="165"/>
                  </a:lnTo>
                  <a:lnTo>
                    <a:pt x="131" y="166"/>
                  </a:lnTo>
                  <a:lnTo>
                    <a:pt x="129" y="166"/>
                  </a:lnTo>
                  <a:lnTo>
                    <a:pt x="129" y="165"/>
                  </a:lnTo>
                  <a:lnTo>
                    <a:pt x="127" y="165"/>
                  </a:lnTo>
                  <a:lnTo>
                    <a:pt x="127" y="167"/>
                  </a:lnTo>
                  <a:lnTo>
                    <a:pt x="127" y="167"/>
                  </a:lnTo>
                  <a:lnTo>
                    <a:pt x="127" y="169"/>
                  </a:lnTo>
                  <a:lnTo>
                    <a:pt x="126" y="169"/>
                  </a:lnTo>
                  <a:lnTo>
                    <a:pt x="126" y="170"/>
                  </a:lnTo>
                  <a:lnTo>
                    <a:pt x="124" y="167"/>
                  </a:lnTo>
                  <a:lnTo>
                    <a:pt x="125" y="169"/>
                  </a:lnTo>
                  <a:lnTo>
                    <a:pt x="123" y="169"/>
                  </a:lnTo>
                  <a:lnTo>
                    <a:pt x="123" y="169"/>
                  </a:lnTo>
                  <a:lnTo>
                    <a:pt x="124" y="170"/>
                  </a:lnTo>
                  <a:lnTo>
                    <a:pt x="124" y="171"/>
                  </a:lnTo>
                  <a:lnTo>
                    <a:pt x="125" y="172"/>
                  </a:lnTo>
                  <a:lnTo>
                    <a:pt x="127" y="173"/>
                  </a:lnTo>
                  <a:lnTo>
                    <a:pt x="127" y="174"/>
                  </a:lnTo>
                  <a:lnTo>
                    <a:pt x="126" y="176"/>
                  </a:lnTo>
                  <a:lnTo>
                    <a:pt x="126" y="177"/>
                  </a:lnTo>
                  <a:lnTo>
                    <a:pt x="122" y="177"/>
                  </a:lnTo>
                  <a:lnTo>
                    <a:pt x="120" y="174"/>
                  </a:lnTo>
                  <a:lnTo>
                    <a:pt x="120" y="174"/>
                  </a:lnTo>
                  <a:lnTo>
                    <a:pt x="119" y="173"/>
                  </a:lnTo>
                  <a:lnTo>
                    <a:pt x="118" y="174"/>
                  </a:lnTo>
                  <a:lnTo>
                    <a:pt x="117" y="173"/>
                  </a:lnTo>
                  <a:lnTo>
                    <a:pt x="116" y="172"/>
                  </a:lnTo>
                  <a:lnTo>
                    <a:pt x="114" y="173"/>
                  </a:lnTo>
                  <a:lnTo>
                    <a:pt x="112" y="173"/>
                  </a:lnTo>
                  <a:lnTo>
                    <a:pt x="110" y="170"/>
                  </a:lnTo>
                  <a:lnTo>
                    <a:pt x="110" y="169"/>
                  </a:lnTo>
                  <a:lnTo>
                    <a:pt x="112" y="169"/>
                  </a:lnTo>
                  <a:lnTo>
                    <a:pt x="111" y="167"/>
                  </a:lnTo>
                  <a:lnTo>
                    <a:pt x="111" y="167"/>
                  </a:lnTo>
                  <a:lnTo>
                    <a:pt x="112" y="167"/>
                  </a:lnTo>
                  <a:lnTo>
                    <a:pt x="112" y="166"/>
                  </a:lnTo>
                  <a:lnTo>
                    <a:pt x="112" y="166"/>
                  </a:lnTo>
                  <a:lnTo>
                    <a:pt x="114" y="164"/>
                  </a:lnTo>
                  <a:lnTo>
                    <a:pt x="114" y="163"/>
                  </a:lnTo>
                  <a:lnTo>
                    <a:pt x="113" y="162"/>
                  </a:lnTo>
                  <a:lnTo>
                    <a:pt x="113" y="160"/>
                  </a:lnTo>
                  <a:lnTo>
                    <a:pt x="113" y="160"/>
                  </a:lnTo>
                  <a:lnTo>
                    <a:pt x="113" y="159"/>
                  </a:lnTo>
                  <a:lnTo>
                    <a:pt x="114" y="158"/>
                  </a:lnTo>
                  <a:lnTo>
                    <a:pt x="113" y="158"/>
                  </a:lnTo>
                  <a:lnTo>
                    <a:pt x="114" y="158"/>
                  </a:lnTo>
                  <a:lnTo>
                    <a:pt x="113" y="156"/>
                  </a:lnTo>
                  <a:lnTo>
                    <a:pt x="114" y="156"/>
                  </a:lnTo>
                  <a:lnTo>
                    <a:pt x="114" y="154"/>
                  </a:lnTo>
                  <a:lnTo>
                    <a:pt x="113" y="154"/>
                  </a:lnTo>
                  <a:lnTo>
                    <a:pt x="112" y="154"/>
                  </a:lnTo>
                  <a:lnTo>
                    <a:pt x="112" y="153"/>
                  </a:lnTo>
                  <a:lnTo>
                    <a:pt x="112" y="151"/>
                  </a:lnTo>
                  <a:lnTo>
                    <a:pt x="113" y="150"/>
                  </a:lnTo>
                  <a:lnTo>
                    <a:pt x="113" y="150"/>
                  </a:lnTo>
                  <a:lnTo>
                    <a:pt x="113" y="149"/>
                  </a:lnTo>
                  <a:lnTo>
                    <a:pt x="112" y="149"/>
                  </a:lnTo>
                  <a:lnTo>
                    <a:pt x="111" y="147"/>
                  </a:lnTo>
                  <a:lnTo>
                    <a:pt x="111" y="147"/>
                  </a:lnTo>
                  <a:lnTo>
                    <a:pt x="112" y="146"/>
                  </a:lnTo>
                  <a:lnTo>
                    <a:pt x="113" y="146"/>
                  </a:lnTo>
                  <a:lnTo>
                    <a:pt x="113" y="144"/>
                  </a:lnTo>
                  <a:lnTo>
                    <a:pt x="113" y="143"/>
                  </a:lnTo>
                  <a:lnTo>
                    <a:pt x="113" y="142"/>
                  </a:lnTo>
                  <a:lnTo>
                    <a:pt x="112" y="140"/>
                  </a:lnTo>
                  <a:lnTo>
                    <a:pt x="111" y="139"/>
                  </a:lnTo>
                  <a:lnTo>
                    <a:pt x="111" y="139"/>
                  </a:lnTo>
                  <a:lnTo>
                    <a:pt x="110" y="139"/>
                  </a:lnTo>
                  <a:lnTo>
                    <a:pt x="109" y="139"/>
                  </a:lnTo>
                  <a:lnTo>
                    <a:pt x="107" y="136"/>
                  </a:lnTo>
                  <a:lnTo>
                    <a:pt x="107" y="136"/>
                  </a:lnTo>
                  <a:lnTo>
                    <a:pt x="109" y="134"/>
                  </a:lnTo>
                  <a:lnTo>
                    <a:pt x="109" y="134"/>
                  </a:lnTo>
                  <a:lnTo>
                    <a:pt x="105" y="133"/>
                  </a:lnTo>
                  <a:lnTo>
                    <a:pt x="102" y="132"/>
                  </a:lnTo>
                  <a:lnTo>
                    <a:pt x="102" y="131"/>
                  </a:lnTo>
                  <a:lnTo>
                    <a:pt x="100" y="130"/>
                  </a:lnTo>
                  <a:lnTo>
                    <a:pt x="98" y="127"/>
                  </a:lnTo>
                  <a:lnTo>
                    <a:pt x="97" y="125"/>
                  </a:lnTo>
                  <a:lnTo>
                    <a:pt x="94" y="123"/>
                  </a:lnTo>
                  <a:lnTo>
                    <a:pt x="94" y="123"/>
                  </a:lnTo>
                  <a:lnTo>
                    <a:pt x="96" y="120"/>
                  </a:lnTo>
                  <a:lnTo>
                    <a:pt x="93" y="119"/>
                  </a:lnTo>
                  <a:lnTo>
                    <a:pt x="94" y="117"/>
                  </a:lnTo>
                  <a:lnTo>
                    <a:pt x="93" y="116"/>
                  </a:lnTo>
                  <a:lnTo>
                    <a:pt x="93" y="113"/>
                  </a:lnTo>
                  <a:lnTo>
                    <a:pt x="94" y="111"/>
                  </a:lnTo>
                  <a:lnTo>
                    <a:pt x="93" y="109"/>
                  </a:lnTo>
                  <a:lnTo>
                    <a:pt x="93" y="106"/>
                  </a:lnTo>
                  <a:lnTo>
                    <a:pt x="93" y="106"/>
                  </a:lnTo>
                  <a:lnTo>
                    <a:pt x="92" y="105"/>
                  </a:lnTo>
                  <a:lnTo>
                    <a:pt x="92" y="104"/>
                  </a:lnTo>
                  <a:lnTo>
                    <a:pt x="91" y="103"/>
                  </a:lnTo>
                  <a:lnTo>
                    <a:pt x="87" y="102"/>
                  </a:lnTo>
                  <a:lnTo>
                    <a:pt x="85" y="98"/>
                  </a:lnTo>
                  <a:lnTo>
                    <a:pt x="84" y="97"/>
                  </a:lnTo>
                  <a:lnTo>
                    <a:pt x="83" y="97"/>
                  </a:lnTo>
                  <a:lnTo>
                    <a:pt x="82" y="94"/>
                  </a:lnTo>
                  <a:lnTo>
                    <a:pt x="79" y="92"/>
                  </a:lnTo>
                  <a:lnTo>
                    <a:pt x="78" y="90"/>
                  </a:lnTo>
                  <a:lnTo>
                    <a:pt x="76" y="87"/>
                  </a:lnTo>
                  <a:lnTo>
                    <a:pt x="74" y="87"/>
                  </a:lnTo>
                  <a:lnTo>
                    <a:pt x="74" y="87"/>
                  </a:lnTo>
                  <a:lnTo>
                    <a:pt x="73" y="87"/>
                  </a:lnTo>
                  <a:lnTo>
                    <a:pt x="73" y="87"/>
                  </a:lnTo>
                  <a:lnTo>
                    <a:pt x="71" y="87"/>
                  </a:lnTo>
                  <a:lnTo>
                    <a:pt x="69" y="85"/>
                  </a:lnTo>
                  <a:lnTo>
                    <a:pt x="66" y="85"/>
                  </a:lnTo>
                  <a:lnTo>
                    <a:pt x="64" y="85"/>
                  </a:lnTo>
                  <a:lnTo>
                    <a:pt x="63" y="86"/>
                  </a:lnTo>
                  <a:lnTo>
                    <a:pt x="64" y="87"/>
                  </a:lnTo>
                  <a:lnTo>
                    <a:pt x="64" y="87"/>
                  </a:lnTo>
                  <a:lnTo>
                    <a:pt x="62" y="89"/>
                  </a:lnTo>
                  <a:lnTo>
                    <a:pt x="60" y="90"/>
                  </a:lnTo>
                  <a:lnTo>
                    <a:pt x="60" y="91"/>
                  </a:lnTo>
                  <a:lnTo>
                    <a:pt x="60" y="93"/>
                  </a:lnTo>
                  <a:lnTo>
                    <a:pt x="60" y="94"/>
                  </a:lnTo>
                  <a:lnTo>
                    <a:pt x="59" y="94"/>
                  </a:lnTo>
                  <a:lnTo>
                    <a:pt x="58" y="93"/>
                  </a:lnTo>
                  <a:lnTo>
                    <a:pt x="57" y="94"/>
                  </a:lnTo>
                  <a:lnTo>
                    <a:pt x="56" y="94"/>
                  </a:lnTo>
                  <a:lnTo>
                    <a:pt x="56" y="96"/>
                  </a:lnTo>
                  <a:lnTo>
                    <a:pt x="54" y="96"/>
                  </a:lnTo>
                  <a:lnTo>
                    <a:pt x="54" y="97"/>
                  </a:lnTo>
                  <a:lnTo>
                    <a:pt x="52" y="97"/>
                  </a:lnTo>
                  <a:lnTo>
                    <a:pt x="53" y="96"/>
                  </a:lnTo>
                  <a:lnTo>
                    <a:pt x="52" y="94"/>
                  </a:lnTo>
                  <a:lnTo>
                    <a:pt x="51" y="94"/>
                  </a:lnTo>
                  <a:lnTo>
                    <a:pt x="50" y="94"/>
                  </a:lnTo>
                  <a:lnTo>
                    <a:pt x="50" y="94"/>
                  </a:lnTo>
                  <a:lnTo>
                    <a:pt x="49" y="93"/>
                  </a:lnTo>
                  <a:lnTo>
                    <a:pt x="46" y="92"/>
                  </a:lnTo>
                  <a:lnTo>
                    <a:pt x="46" y="92"/>
                  </a:lnTo>
                  <a:lnTo>
                    <a:pt x="44" y="90"/>
                  </a:lnTo>
                  <a:lnTo>
                    <a:pt x="44" y="90"/>
                  </a:lnTo>
                  <a:lnTo>
                    <a:pt x="42" y="89"/>
                  </a:lnTo>
                  <a:lnTo>
                    <a:pt x="42" y="90"/>
                  </a:lnTo>
                  <a:lnTo>
                    <a:pt x="42" y="90"/>
                  </a:lnTo>
                  <a:lnTo>
                    <a:pt x="40" y="92"/>
                  </a:lnTo>
                  <a:lnTo>
                    <a:pt x="40" y="93"/>
                  </a:lnTo>
                  <a:lnTo>
                    <a:pt x="39" y="93"/>
                  </a:lnTo>
                  <a:lnTo>
                    <a:pt x="37" y="92"/>
                  </a:lnTo>
                  <a:lnTo>
                    <a:pt x="37" y="93"/>
                  </a:lnTo>
                  <a:lnTo>
                    <a:pt x="37" y="94"/>
                  </a:lnTo>
                  <a:lnTo>
                    <a:pt x="36" y="96"/>
                  </a:lnTo>
                  <a:lnTo>
                    <a:pt x="36" y="96"/>
                  </a:lnTo>
                  <a:lnTo>
                    <a:pt x="34" y="97"/>
                  </a:lnTo>
                  <a:lnTo>
                    <a:pt x="34" y="96"/>
                  </a:lnTo>
                  <a:lnTo>
                    <a:pt x="34" y="97"/>
                  </a:lnTo>
                  <a:lnTo>
                    <a:pt x="34" y="98"/>
                  </a:lnTo>
                  <a:lnTo>
                    <a:pt x="34" y="98"/>
                  </a:lnTo>
                  <a:lnTo>
                    <a:pt x="33" y="98"/>
                  </a:lnTo>
                  <a:lnTo>
                    <a:pt x="32" y="98"/>
                  </a:lnTo>
                  <a:lnTo>
                    <a:pt x="32" y="98"/>
                  </a:lnTo>
                  <a:lnTo>
                    <a:pt x="32" y="99"/>
                  </a:lnTo>
                  <a:lnTo>
                    <a:pt x="32" y="100"/>
                  </a:lnTo>
                  <a:lnTo>
                    <a:pt x="31" y="100"/>
                  </a:lnTo>
                  <a:lnTo>
                    <a:pt x="31" y="102"/>
                  </a:lnTo>
                  <a:lnTo>
                    <a:pt x="30" y="102"/>
                  </a:lnTo>
                  <a:lnTo>
                    <a:pt x="29" y="103"/>
                  </a:lnTo>
                  <a:lnTo>
                    <a:pt x="29" y="103"/>
                  </a:lnTo>
                  <a:lnTo>
                    <a:pt x="27" y="104"/>
                  </a:lnTo>
                  <a:lnTo>
                    <a:pt x="29" y="105"/>
                  </a:lnTo>
                  <a:lnTo>
                    <a:pt x="27" y="105"/>
                  </a:lnTo>
                  <a:lnTo>
                    <a:pt x="26" y="104"/>
                  </a:lnTo>
                  <a:lnTo>
                    <a:pt x="26" y="104"/>
                  </a:lnTo>
                  <a:lnTo>
                    <a:pt x="26" y="103"/>
                  </a:lnTo>
                  <a:lnTo>
                    <a:pt x="24" y="103"/>
                  </a:lnTo>
                  <a:lnTo>
                    <a:pt x="23" y="102"/>
                  </a:lnTo>
                  <a:lnTo>
                    <a:pt x="24" y="102"/>
                  </a:lnTo>
                  <a:lnTo>
                    <a:pt x="24" y="99"/>
                  </a:lnTo>
                  <a:lnTo>
                    <a:pt x="24" y="98"/>
                  </a:lnTo>
                  <a:lnTo>
                    <a:pt x="24" y="98"/>
                  </a:lnTo>
                  <a:lnTo>
                    <a:pt x="24" y="97"/>
                  </a:lnTo>
                  <a:lnTo>
                    <a:pt x="25" y="97"/>
                  </a:lnTo>
                  <a:lnTo>
                    <a:pt x="24" y="96"/>
                  </a:lnTo>
                  <a:lnTo>
                    <a:pt x="25" y="94"/>
                  </a:lnTo>
                  <a:lnTo>
                    <a:pt x="26" y="94"/>
                  </a:lnTo>
                  <a:lnTo>
                    <a:pt x="26" y="93"/>
                  </a:lnTo>
                  <a:lnTo>
                    <a:pt x="26" y="92"/>
                  </a:lnTo>
                  <a:lnTo>
                    <a:pt x="26" y="91"/>
                  </a:lnTo>
                  <a:lnTo>
                    <a:pt x="26" y="90"/>
                  </a:lnTo>
                  <a:lnTo>
                    <a:pt x="26" y="89"/>
                  </a:lnTo>
                  <a:lnTo>
                    <a:pt x="25" y="89"/>
                  </a:lnTo>
                  <a:lnTo>
                    <a:pt x="25" y="87"/>
                  </a:lnTo>
                  <a:lnTo>
                    <a:pt x="26" y="87"/>
                  </a:lnTo>
                  <a:lnTo>
                    <a:pt x="24" y="86"/>
                  </a:lnTo>
                  <a:lnTo>
                    <a:pt x="23" y="85"/>
                  </a:lnTo>
                  <a:lnTo>
                    <a:pt x="24" y="84"/>
                  </a:lnTo>
                  <a:lnTo>
                    <a:pt x="24" y="83"/>
                  </a:lnTo>
                  <a:lnTo>
                    <a:pt x="24" y="83"/>
                  </a:lnTo>
                  <a:lnTo>
                    <a:pt x="25" y="82"/>
                  </a:lnTo>
                  <a:lnTo>
                    <a:pt x="25" y="82"/>
                  </a:lnTo>
                  <a:lnTo>
                    <a:pt x="26" y="80"/>
                  </a:lnTo>
                  <a:lnTo>
                    <a:pt x="26" y="79"/>
                  </a:lnTo>
                  <a:lnTo>
                    <a:pt x="25" y="78"/>
                  </a:lnTo>
                  <a:lnTo>
                    <a:pt x="25" y="77"/>
                  </a:lnTo>
                  <a:lnTo>
                    <a:pt x="25" y="76"/>
                  </a:lnTo>
                  <a:lnTo>
                    <a:pt x="26" y="75"/>
                  </a:lnTo>
                  <a:lnTo>
                    <a:pt x="26" y="73"/>
                  </a:lnTo>
                  <a:lnTo>
                    <a:pt x="26" y="72"/>
                  </a:lnTo>
                  <a:lnTo>
                    <a:pt x="25" y="70"/>
                  </a:lnTo>
                  <a:lnTo>
                    <a:pt x="24" y="69"/>
                  </a:lnTo>
                  <a:lnTo>
                    <a:pt x="24" y="67"/>
                  </a:lnTo>
                  <a:lnTo>
                    <a:pt x="24" y="66"/>
                  </a:lnTo>
                  <a:lnTo>
                    <a:pt x="23" y="65"/>
                  </a:lnTo>
                  <a:lnTo>
                    <a:pt x="23" y="63"/>
                  </a:lnTo>
                  <a:lnTo>
                    <a:pt x="24" y="63"/>
                  </a:lnTo>
                  <a:lnTo>
                    <a:pt x="24" y="63"/>
                  </a:lnTo>
                  <a:lnTo>
                    <a:pt x="24" y="62"/>
                  </a:lnTo>
                  <a:lnTo>
                    <a:pt x="23" y="62"/>
                  </a:lnTo>
                  <a:lnTo>
                    <a:pt x="23" y="60"/>
                  </a:lnTo>
                  <a:lnTo>
                    <a:pt x="22" y="62"/>
                  </a:lnTo>
                  <a:lnTo>
                    <a:pt x="22" y="62"/>
                  </a:lnTo>
                  <a:lnTo>
                    <a:pt x="19" y="60"/>
                  </a:lnTo>
                  <a:lnTo>
                    <a:pt x="17" y="60"/>
                  </a:lnTo>
                  <a:lnTo>
                    <a:pt x="16" y="63"/>
                  </a:lnTo>
                  <a:lnTo>
                    <a:pt x="16" y="63"/>
                  </a:lnTo>
                  <a:lnTo>
                    <a:pt x="14" y="63"/>
                  </a:lnTo>
                  <a:lnTo>
                    <a:pt x="13" y="62"/>
                  </a:lnTo>
                  <a:lnTo>
                    <a:pt x="12" y="62"/>
                  </a:lnTo>
                  <a:lnTo>
                    <a:pt x="12" y="63"/>
                  </a:lnTo>
                  <a:lnTo>
                    <a:pt x="11" y="63"/>
                  </a:lnTo>
                  <a:lnTo>
                    <a:pt x="11" y="63"/>
                  </a:lnTo>
                  <a:lnTo>
                    <a:pt x="10" y="63"/>
                  </a:lnTo>
                  <a:lnTo>
                    <a:pt x="10" y="62"/>
                  </a:lnTo>
                  <a:lnTo>
                    <a:pt x="10" y="62"/>
                  </a:lnTo>
                  <a:lnTo>
                    <a:pt x="9" y="60"/>
                  </a:lnTo>
                  <a:lnTo>
                    <a:pt x="9" y="59"/>
                  </a:lnTo>
                  <a:lnTo>
                    <a:pt x="6" y="57"/>
                  </a:lnTo>
                  <a:lnTo>
                    <a:pt x="9" y="56"/>
                  </a:lnTo>
                  <a:lnTo>
                    <a:pt x="9" y="55"/>
                  </a:lnTo>
                  <a:lnTo>
                    <a:pt x="10" y="50"/>
                  </a:lnTo>
                  <a:lnTo>
                    <a:pt x="9" y="50"/>
                  </a:lnTo>
                  <a:lnTo>
                    <a:pt x="7" y="49"/>
                  </a:lnTo>
                  <a:lnTo>
                    <a:pt x="6" y="47"/>
                  </a:lnTo>
                  <a:lnTo>
                    <a:pt x="5" y="45"/>
                  </a:lnTo>
                  <a:lnTo>
                    <a:pt x="4" y="44"/>
                  </a:lnTo>
                  <a:lnTo>
                    <a:pt x="3" y="44"/>
                  </a:lnTo>
                  <a:lnTo>
                    <a:pt x="3" y="45"/>
                  </a:lnTo>
                  <a:lnTo>
                    <a:pt x="3" y="46"/>
                  </a:lnTo>
                  <a:lnTo>
                    <a:pt x="2" y="46"/>
                  </a:lnTo>
                  <a:lnTo>
                    <a:pt x="2" y="47"/>
                  </a:lnTo>
                  <a:lnTo>
                    <a:pt x="0" y="47"/>
                  </a:lnTo>
                  <a:lnTo>
                    <a:pt x="0" y="46"/>
                  </a:lnTo>
                  <a:lnTo>
                    <a:pt x="0" y="45"/>
                  </a:lnTo>
                  <a:lnTo>
                    <a:pt x="0" y="45"/>
                  </a:lnTo>
                  <a:lnTo>
                    <a:pt x="0" y="44"/>
                  </a:lnTo>
                  <a:lnTo>
                    <a:pt x="0" y="39"/>
                  </a:lnTo>
                  <a:lnTo>
                    <a:pt x="2" y="37"/>
                  </a:lnTo>
                  <a:lnTo>
                    <a:pt x="4" y="36"/>
                  </a:lnTo>
                  <a:lnTo>
                    <a:pt x="3" y="36"/>
                  </a:lnTo>
                  <a:lnTo>
                    <a:pt x="6" y="36"/>
                  </a:lnTo>
                  <a:lnTo>
                    <a:pt x="7" y="36"/>
                  </a:lnTo>
                  <a:lnTo>
                    <a:pt x="9" y="35"/>
                  </a:lnTo>
                  <a:lnTo>
                    <a:pt x="9" y="35"/>
                  </a:lnTo>
                  <a:lnTo>
                    <a:pt x="7" y="35"/>
                  </a:lnTo>
                  <a:lnTo>
                    <a:pt x="6" y="35"/>
                  </a:lnTo>
                  <a:lnTo>
                    <a:pt x="6" y="35"/>
                  </a:lnTo>
                  <a:lnTo>
                    <a:pt x="6" y="33"/>
                  </a:lnTo>
                  <a:lnTo>
                    <a:pt x="6" y="32"/>
                  </a:lnTo>
                  <a:lnTo>
                    <a:pt x="6" y="31"/>
                  </a:lnTo>
                  <a:lnTo>
                    <a:pt x="7" y="31"/>
                  </a:lnTo>
                  <a:lnTo>
                    <a:pt x="9" y="29"/>
                  </a:lnTo>
                  <a:lnTo>
                    <a:pt x="9" y="27"/>
                  </a:lnTo>
                  <a:lnTo>
                    <a:pt x="9" y="25"/>
                  </a:lnTo>
                  <a:lnTo>
                    <a:pt x="10" y="25"/>
                  </a:lnTo>
                  <a:lnTo>
                    <a:pt x="11" y="25"/>
                  </a:lnTo>
                  <a:lnTo>
                    <a:pt x="11" y="24"/>
                  </a:lnTo>
                  <a:lnTo>
                    <a:pt x="12" y="23"/>
                  </a:lnTo>
                  <a:lnTo>
                    <a:pt x="14" y="22"/>
                  </a:lnTo>
                  <a:lnTo>
                    <a:pt x="16" y="19"/>
                  </a:lnTo>
                  <a:lnTo>
                    <a:pt x="18" y="27"/>
                  </a:lnTo>
                  <a:lnTo>
                    <a:pt x="23" y="26"/>
                  </a:lnTo>
                  <a:lnTo>
                    <a:pt x="27" y="27"/>
                  </a:lnTo>
                  <a:lnTo>
                    <a:pt x="26" y="19"/>
                  </a:lnTo>
                  <a:lnTo>
                    <a:pt x="20" y="6"/>
                  </a:lnTo>
                  <a:lnTo>
                    <a:pt x="22" y="5"/>
                  </a:lnTo>
                  <a:lnTo>
                    <a:pt x="23" y="0"/>
                  </a:lnTo>
                  <a:lnTo>
                    <a:pt x="25" y="3"/>
                  </a:lnTo>
                  <a:lnTo>
                    <a:pt x="27" y="2"/>
                  </a:lnTo>
                  <a:lnTo>
                    <a:pt x="31" y="2"/>
                  </a:lnTo>
                  <a:lnTo>
                    <a:pt x="31" y="2"/>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07" name="Kyrgyzstan">
              <a:extLst>
                <a:ext uri="{FF2B5EF4-FFF2-40B4-BE49-F238E27FC236}">
                  <a16:creationId xmlns:a16="http://schemas.microsoft.com/office/drawing/2014/main" id="{226832ED-F4E1-4940-AEDC-9A9336FC6A24}"/>
                </a:ext>
              </a:extLst>
            </p:cNvPr>
            <p:cNvSpPr>
              <a:spLocks/>
            </p:cNvSpPr>
            <p:nvPr/>
          </p:nvSpPr>
          <p:spPr bwMode="auto">
            <a:xfrm>
              <a:off x="8053552" y="2687499"/>
              <a:ext cx="243478" cy="122468"/>
            </a:xfrm>
            <a:custGeom>
              <a:avLst/>
              <a:gdLst>
                <a:gd name="T0" fmla="*/ 75 w 167"/>
                <a:gd name="T1" fmla="*/ 84 h 84"/>
                <a:gd name="T2" fmla="*/ 66 w 167"/>
                <a:gd name="T3" fmla="*/ 78 h 84"/>
                <a:gd name="T4" fmla="*/ 54 w 167"/>
                <a:gd name="T5" fmla="*/ 84 h 84"/>
                <a:gd name="T6" fmla="*/ 46 w 167"/>
                <a:gd name="T7" fmla="*/ 80 h 84"/>
                <a:gd name="T8" fmla="*/ 38 w 167"/>
                <a:gd name="T9" fmla="*/ 74 h 84"/>
                <a:gd name="T10" fmla="*/ 31 w 167"/>
                <a:gd name="T11" fmla="*/ 78 h 84"/>
                <a:gd name="T12" fmla="*/ 16 w 167"/>
                <a:gd name="T13" fmla="*/ 74 h 84"/>
                <a:gd name="T14" fmla="*/ 5 w 167"/>
                <a:gd name="T15" fmla="*/ 77 h 84"/>
                <a:gd name="T16" fmla="*/ 2 w 167"/>
                <a:gd name="T17" fmla="*/ 66 h 84"/>
                <a:gd name="T18" fmla="*/ 8 w 167"/>
                <a:gd name="T19" fmla="*/ 60 h 84"/>
                <a:gd name="T20" fmla="*/ 26 w 167"/>
                <a:gd name="T21" fmla="*/ 65 h 84"/>
                <a:gd name="T22" fmla="*/ 28 w 167"/>
                <a:gd name="T23" fmla="*/ 63 h 84"/>
                <a:gd name="T24" fmla="*/ 38 w 167"/>
                <a:gd name="T25" fmla="*/ 63 h 84"/>
                <a:gd name="T26" fmla="*/ 47 w 167"/>
                <a:gd name="T27" fmla="*/ 58 h 84"/>
                <a:gd name="T28" fmla="*/ 49 w 167"/>
                <a:gd name="T29" fmla="*/ 53 h 84"/>
                <a:gd name="T30" fmla="*/ 58 w 167"/>
                <a:gd name="T31" fmla="*/ 50 h 84"/>
                <a:gd name="T32" fmla="*/ 40 w 167"/>
                <a:gd name="T33" fmla="*/ 43 h 84"/>
                <a:gd name="T34" fmla="*/ 34 w 167"/>
                <a:gd name="T35" fmla="*/ 34 h 84"/>
                <a:gd name="T36" fmla="*/ 28 w 167"/>
                <a:gd name="T37" fmla="*/ 43 h 84"/>
                <a:gd name="T38" fmla="*/ 13 w 167"/>
                <a:gd name="T39" fmla="*/ 36 h 84"/>
                <a:gd name="T40" fmla="*/ 6 w 167"/>
                <a:gd name="T41" fmla="*/ 32 h 84"/>
                <a:gd name="T42" fmla="*/ 19 w 167"/>
                <a:gd name="T43" fmla="*/ 23 h 84"/>
                <a:gd name="T44" fmla="*/ 11 w 167"/>
                <a:gd name="T45" fmla="*/ 19 h 84"/>
                <a:gd name="T46" fmla="*/ 21 w 167"/>
                <a:gd name="T47" fmla="*/ 10 h 84"/>
                <a:gd name="T48" fmla="*/ 44 w 167"/>
                <a:gd name="T49" fmla="*/ 13 h 84"/>
                <a:gd name="T50" fmla="*/ 55 w 167"/>
                <a:gd name="T51" fmla="*/ 17 h 84"/>
                <a:gd name="T52" fmla="*/ 56 w 167"/>
                <a:gd name="T53" fmla="*/ 5 h 84"/>
                <a:gd name="T54" fmla="*/ 71 w 167"/>
                <a:gd name="T55" fmla="*/ 5 h 84"/>
                <a:gd name="T56" fmla="*/ 91 w 167"/>
                <a:gd name="T57" fmla="*/ 6 h 84"/>
                <a:gd name="T58" fmla="*/ 144 w 167"/>
                <a:gd name="T59" fmla="*/ 11 h 84"/>
                <a:gd name="T60" fmla="*/ 153 w 167"/>
                <a:gd name="T61" fmla="*/ 17 h 84"/>
                <a:gd name="T62" fmla="*/ 167 w 167"/>
                <a:gd name="T63" fmla="*/ 27 h 84"/>
                <a:gd name="T64" fmla="*/ 161 w 167"/>
                <a:gd name="T65" fmla="*/ 31 h 84"/>
                <a:gd name="T66" fmla="*/ 139 w 167"/>
                <a:gd name="T67" fmla="*/ 49 h 84"/>
                <a:gd name="T68" fmla="*/ 116 w 167"/>
                <a:gd name="T69" fmla="*/ 58 h 84"/>
                <a:gd name="T70" fmla="*/ 112 w 167"/>
                <a:gd name="T71" fmla="*/ 60 h 84"/>
                <a:gd name="T72" fmla="*/ 102 w 167"/>
                <a:gd name="T73" fmla="*/ 64 h 84"/>
                <a:gd name="T74" fmla="*/ 94 w 167"/>
                <a:gd name="T75" fmla="*/ 60 h 84"/>
                <a:gd name="T76" fmla="*/ 91 w 167"/>
                <a:gd name="T77" fmla="*/ 63 h 84"/>
                <a:gd name="T78" fmla="*/ 84 w 167"/>
                <a:gd name="T79" fmla="*/ 67 h 84"/>
                <a:gd name="T80" fmla="*/ 76 w 167"/>
                <a:gd name="T81" fmla="*/ 73 h 84"/>
                <a:gd name="T82" fmla="*/ 79 w 167"/>
                <a:gd name="T83" fmla="*/ 80 h 84"/>
                <a:gd name="T84" fmla="*/ 74 w 167"/>
                <a:gd name="T85" fmla="*/ 80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7" h="84">
                  <a:moveTo>
                    <a:pt x="74" y="80"/>
                  </a:moveTo>
                  <a:lnTo>
                    <a:pt x="75" y="84"/>
                  </a:lnTo>
                  <a:lnTo>
                    <a:pt x="73" y="81"/>
                  </a:lnTo>
                  <a:lnTo>
                    <a:pt x="66" y="78"/>
                  </a:lnTo>
                  <a:lnTo>
                    <a:pt x="58" y="78"/>
                  </a:lnTo>
                  <a:lnTo>
                    <a:pt x="54" y="84"/>
                  </a:lnTo>
                  <a:lnTo>
                    <a:pt x="49" y="78"/>
                  </a:lnTo>
                  <a:lnTo>
                    <a:pt x="46" y="80"/>
                  </a:lnTo>
                  <a:lnTo>
                    <a:pt x="44" y="77"/>
                  </a:lnTo>
                  <a:lnTo>
                    <a:pt x="38" y="74"/>
                  </a:lnTo>
                  <a:lnTo>
                    <a:pt x="33" y="74"/>
                  </a:lnTo>
                  <a:lnTo>
                    <a:pt x="31" y="78"/>
                  </a:lnTo>
                  <a:lnTo>
                    <a:pt x="24" y="74"/>
                  </a:lnTo>
                  <a:lnTo>
                    <a:pt x="16" y="74"/>
                  </a:lnTo>
                  <a:lnTo>
                    <a:pt x="7" y="74"/>
                  </a:lnTo>
                  <a:lnTo>
                    <a:pt x="5" y="77"/>
                  </a:lnTo>
                  <a:lnTo>
                    <a:pt x="0" y="66"/>
                  </a:lnTo>
                  <a:lnTo>
                    <a:pt x="2" y="66"/>
                  </a:lnTo>
                  <a:lnTo>
                    <a:pt x="4" y="64"/>
                  </a:lnTo>
                  <a:lnTo>
                    <a:pt x="8" y="60"/>
                  </a:lnTo>
                  <a:lnTo>
                    <a:pt x="25" y="66"/>
                  </a:lnTo>
                  <a:lnTo>
                    <a:pt x="26" y="65"/>
                  </a:lnTo>
                  <a:lnTo>
                    <a:pt x="29" y="65"/>
                  </a:lnTo>
                  <a:lnTo>
                    <a:pt x="28" y="63"/>
                  </a:lnTo>
                  <a:lnTo>
                    <a:pt x="29" y="63"/>
                  </a:lnTo>
                  <a:lnTo>
                    <a:pt x="38" y="63"/>
                  </a:lnTo>
                  <a:lnTo>
                    <a:pt x="42" y="60"/>
                  </a:lnTo>
                  <a:lnTo>
                    <a:pt x="47" y="58"/>
                  </a:lnTo>
                  <a:lnTo>
                    <a:pt x="52" y="59"/>
                  </a:lnTo>
                  <a:lnTo>
                    <a:pt x="49" y="53"/>
                  </a:lnTo>
                  <a:lnTo>
                    <a:pt x="55" y="54"/>
                  </a:lnTo>
                  <a:lnTo>
                    <a:pt x="58" y="50"/>
                  </a:lnTo>
                  <a:lnTo>
                    <a:pt x="44" y="46"/>
                  </a:lnTo>
                  <a:lnTo>
                    <a:pt x="40" y="43"/>
                  </a:lnTo>
                  <a:lnTo>
                    <a:pt x="36" y="43"/>
                  </a:lnTo>
                  <a:lnTo>
                    <a:pt x="34" y="34"/>
                  </a:lnTo>
                  <a:lnTo>
                    <a:pt x="29" y="37"/>
                  </a:lnTo>
                  <a:lnTo>
                    <a:pt x="28" y="43"/>
                  </a:lnTo>
                  <a:lnTo>
                    <a:pt x="19" y="40"/>
                  </a:lnTo>
                  <a:lnTo>
                    <a:pt x="13" y="36"/>
                  </a:lnTo>
                  <a:lnTo>
                    <a:pt x="11" y="36"/>
                  </a:lnTo>
                  <a:lnTo>
                    <a:pt x="6" y="32"/>
                  </a:lnTo>
                  <a:lnTo>
                    <a:pt x="14" y="25"/>
                  </a:lnTo>
                  <a:lnTo>
                    <a:pt x="19" y="23"/>
                  </a:lnTo>
                  <a:lnTo>
                    <a:pt x="14" y="19"/>
                  </a:lnTo>
                  <a:lnTo>
                    <a:pt x="11" y="19"/>
                  </a:lnTo>
                  <a:lnTo>
                    <a:pt x="13" y="12"/>
                  </a:lnTo>
                  <a:lnTo>
                    <a:pt x="21" y="10"/>
                  </a:lnTo>
                  <a:lnTo>
                    <a:pt x="33" y="11"/>
                  </a:lnTo>
                  <a:lnTo>
                    <a:pt x="44" y="13"/>
                  </a:lnTo>
                  <a:lnTo>
                    <a:pt x="49" y="13"/>
                  </a:lnTo>
                  <a:lnTo>
                    <a:pt x="55" y="17"/>
                  </a:lnTo>
                  <a:lnTo>
                    <a:pt x="52" y="6"/>
                  </a:lnTo>
                  <a:lnTo>
                    <a:pt x="56" y="5"/>
                  </a:lnTo>
                  <a:lnTo>
                    <a:pt x="60" y="0"/>
                  </a:lnTo>
                  <a:lnTo>
                    <a:pt x="71" y="5"/>
                  </a:lnTo>
                  <a:lnTo>
                    <a:pt x="88" y="9"/>
                  </a:lnTo>
                  <a:lnTo>
                    <a:pt x="91" y="6"/>
                  </a:lnTo>
                  <a:lnTo>
                    <a:pt x="135" y="6"/>
                  </a:lnTo>
                  <a:lnTo>
                    <a:pt x="144" y="11"/>
                  </a:lnTo>
                  <a:lnTo>
                    <a:pt x="148" y="11"/>
                  </a:lnTo>
                  <a:lnTo>
                    <a:pt x="153" y="17"/>
                  </a:lnTo>
                  <a:lnTo>
                    <a:pt x="161" y="17"/>
                  </a:lnTo>
                  <a:lnTo>
                    <a:pt x="167" y="27"/>
                  </a:lnTo>
                  <a:lnTo>
                    <a:pt x="161" y="29"/>
                  </a:lnTo>
                  <a:lnTo>
                    <a:pt x="161" y="31"/>
                  </a:lnTo>
                  <a:lnTo>
                    <a:pt x="144" y="39"/>
                  </a:lnTo>
                  <a:lnTo>
                    <a:pt x="139" y="49"/>
                  </a:lnTo>
                  <a:lnTo>
                    <a:pt x="118" y="49"/>
                  </a:lnTo>
                  <a:lnTo>
                    <a:pt x="116" y="58"/>
                  </a:lnTo>
                  <a:lnTo>
                    <a:pt x="114" y="63"/>
                  </a:lnTo>
                  <a:lnTo>
                    <a:pt x="112" y="60"/>
                  </a:lnTo>
                  <a:lnTo>
                    <a:pt x="108" y="64"/>
                  </a:lnTo>
                  <a:lnTo>
                    <a:pt x="102" y="64"/>
                  </a:lnTo>
                  <a:lnTo>
                    <a:pt x="99" y="57"/>
                  </a:lnTo>
                  <a:lnTo>
                    <a:pt x="94" y="60"/>
                  </a:lnTo>
                  <a:lnTo>
                    <a:pt x="89" y="59"/>
                  </a:lnTo>
                  <a:lnTo>
                    <a:pt x="91" y="63"/>
                  </a:lnTo>
                  <a:lnTo>
                    <a:pt x="87" y="63"/>
                  </a:lnTo>
                  <a:lnTo>
                    <a:pt x="84" y="67"/>
                  </a:lnTo>
                  <a:lnTo>
                    <a:pt x="76" y="69"/>
                  </a:lnTo>
                  <a:lnTo>
                    <a:pt x="76" y="73"/>
                  </a:lnTo>
                  <a:lnTo>
                    <a:pt x="79" y="78"/>
                  </a:lnTo>
                  <a:lnTo>
                    <a:pt x="79" y="80"/>
                  </a:lnTo>
                  <a:lnTo>
                    <a:pt x="74" y="80"/>
                  </a:lnTo>
                  <a:lnTo>
                    <a:pt x="74" y="80"/>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08" name="Kuwait">
              <a:extLst>
                <a:ext uri="{FF2B5EF4-FFF2-40B4-BE49-F238E27FC236}">
                  <a16:creationId xmlns:a16="http://schemas.microsoft.com/office/drawing/2014/main" id="{953ABBE1-DBF3-AE40-9B51-69900C4A4D7F}"/>
                </a:ext>
              </a:extLst>
            </p:cNvPr>
            <p:cNvSpPr>
              <a:spLocks/>
            </p:cNvSpPr>
            <p:nvPr/>
          </p:nvSpPr>
          <p:spPr bwMode="auto">
            <a:xfrm>
              <a:off x="7547643" y="3085519"/>
              <a:ext cx="49570" cy="45197"/>
            </a:xfrm>
            <a:custGeom>
              <a:avLst/>
              <a:gdLst>
                <a:gd name="T0" fmla="*/ 0 w 34"/>
                <a:gd name="T1" fmla="*/ 20 h 31"/>
                <a:gd name="T2" fmla="*/ 17 w 34"/>
                <a:gd name="T3" fmla="*/ 23 h 31"/>
                <a:gd name="T4" fmla="*/ 18 w 34"/>
                <a:gd name="T5" fmla="*/ 26 h 31"/>
                <a:gd name="T6" fmla="*/ 19 w 34"/>
                <a:gd name="T7" fmla="*/ 28 h 31"/>
                <a:gd name="T8" fmla="*/ 19 w 34"/>
                <a:gd name="T9" fmla="*/ 30 h 31"/>
                <a:gd name="T10" fmla="*/ 21 w 34"/>
                <a:gd name="T11" fmla="*/ 31 h 31"/>
                <a:gd name="T12" fmla="*/ 21 w 34"/>
                <a:gd name="T13" fmla="*/ 31 h 31"/>
                <a:gd name="T14" fmla="*/ 34 w 34"/>
                <a:gd name="T15" fmla="*/ 31 h 31"/>
                <a:gd name="T16" fmla="*/ 33 w 34"/>
                <a:gd name="T17" fmla="*/ 31 h 31"/>
                <a:gd name="T18" fmla="*/ 33 w 34"/>
                <a:gd name="T19" fmla="*/ 30 h 31"/>
                <a:gd name="T20" fmla="*/ 33 w 34"/>
                <a:gd name="T21" fmla="*/ 30 h 31"/>
                <a:gd name="T22" fmla="*/ 34 w 34"/>
                <a:gd name="T23" fmla="*/ 30 h 31"/>
                <a:gd name="T24" fmla="*/ 33 w 34"/>
                <a:gd name="T25" fmla="*/ 28 h 31"/>
                <a:gd name="T26" fmla="*/ 33 w 34"/>
                <a:gd name="T27" fmla="*/ 28 h 31"/>
                <a:gd name="T28" fmla="*/ 33 w 34"/>
                <a:gd name="T29" fmla="*/ 27 h 31"/>
                <a:gd name="T30" fmla="*/ 33 w 34"/>
                <a:gd name="T31" fmla="*/ 27 h 31"/>
                <a:gd name="T32" fmla="*/ 31 w 34"/>
                <a:gd name="T33" fmla="*/ 27 h 31"/>
                <a:gd name="T34" fmla="*/ 31 w 34"/>
                <a:gd name="T35" fmla="*/ 25 h 31"/>
                <a:gd name="T36" fmla="*/ 31 w 34"/>
                <a:gd name="T37" fmla="*/ 25 h 31"/>
                <a:gd name="T38" fmla="*/ 29 w 34"/>
                <a:gd name="T39" fmla="*/ 24 h 31"/>
                <a:gd name="T40" fmla="*/ 27 w 34"/>
                <a:gd name="T41" fmla="*/ 21 h 31"/>
                <a:gd name="T42" fmla="*/ 26 w 34"/>
                <a:gd name="T43" fmla="*/ 17 h 31"/>
                <a:gd name="T44" fmla="*/ 26 w 34"/>
                <a:gd name="T45" fmla="*/ 15 h 31"/>
                <a:gd name="T46" fmla="*/ 24 w 34"/>
                <a:gd name="T47" fmla="*/ 14 h 31"/>
                <a:gd name="T48" fmla="*/ 24 w 34"/>
                <a:gd name="T49" fmla="*/ 13 h 31"/>
                <a:gd name="T50" fmla="*/ 21 w 34"/>
                <a:gd name="T51" fmla="*/ 15 h 31"/>
                <a:gd name="T52" fmla="*/ 21 w 34"/>
                <a:gd name="T53" fmla="*/ 14 h 31"/>
                <a:gd name="T54" fmla="*/ 21 w 34"/>
                <a:gd name="T55" fmla="*/ 13 h 31"/>
                <a:gd name="T56" fmla="*/ 19 w 34"/>
                <a:gd name="T57" fmla="*/ 14 h 31"/>
                <a:gd name="T58" fmla="*/ 19 w 34"/>
                <a:gd name="T59" fmla="*/ 13 h 31"/>
                <a:gd name="T60" fmla="*/ 21 w 34"/>
                <a:gd name="T61" fmla="*/ 11 h 31"/>
                <a:gd name="T62" fmla="*/ 22 w 34"/>
                <a:gd name="T63" fmla="*/ 11 h 31"/>
                <a:gd name="T64" fmla="*/ 24 w 34"/>
                <a:gd name="T65" fmla="*/ 10 h 31"/>
                <a:gd name="T66" fmla="*/ 25 w 34"/>
                <a:gd name="T67" fmla="*/ 10 h 31"/>
                <a:gd name="T68" fmla="*/ 25 w 34"/>
                <a:gd name="T69" fmla="*/ 10 h 31"/>
                <a:gd name="T70" fmla="*/ 26 w 34"/>
                <a:gd name="T71" fmla="*/ 10 h 31"/>
                <a:gd name="T72" fmla="*/ 26 w 34"/>
                <a:gd name="T73" fmla="*/ 11 h 31"/>
                <a:gd name="T74" fmla="*/ 27 w 34"/>
                <a:gd name="T75" fmla="*/ 11 h 31"/>
                <a:gd name="T76" fmla="*/ 27 w 34"/>
                <a:gd name="T77" fmla="*/ 10 h 31"/>
                <a:gd name="T78" fmla="*/ 26 w 34"/>
                <a:gd name="T79" fmla="*/ 7 h 31"/>
                <a:gd name="T80" fmla="*/ 22 w 34"/>
                <a:gd name="T81" fmla="*/ 6 h 31"/>
                <a:gd name="T82" fmla="*/ 22 w 34"/>
                <a:gd name="T83" fmla="*/ 4 h 31"/>
                <a:gd name="T84" fmla="*/ 21 w 34"/>
                <a:gd name="T85" fmla="*/ 3 h 31"/>
                <a:gd name="T86" fmla="*/ 18 w 34"/>
                <a:gd name="T87" fmla="*/ 0 h 31"/>
                <a:gd name="T88" fmla="*/ 12 w 34"/>
                <a:gd name="T89" fmla="*/ 0 h 31"/>
                <a:gd name="T90" fmla="*/ 8 w 34"/>
                <a:gd name="T91" fmla="*/ 1 h 31"/>
                <a:gd name="T92" fmla="*/ 8 w 34"/>
                <a:gd name="T93" fmla="*/ 3 h 31"/>
                <a:gd name="T94" fmla="*/ 6 w 34"/>
                <a:gd name="T95" fmla="*/ 10 h 31"/>
                <a:gd name="T96" fmla="*/ 2 w 34"/>
                <a:gd name="T97" fmla="*/ 17 h 31"/>
                <a:gd name="T98" fmla="*/ 1 w 34"/>
                <a:gd name="T99" fmla="*/ 19 h 31"/>
                <a:gd name="T100" fmla="*/ 0 w 34"/>
                <a:gd name="T101" fmla="*/ 20 h 31"/>
                <a:gd name="T102" fmla="*/ 0 w 34"/>
                <a:gd name="T103" fmla="*/ 20 h 3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4" h="31">
                  <a:moveTo>
                    <a:pt x="0" y="20"/>
                  </a:moveTo>
                  <a:lnTo>
                    <a:pt x="17" y="23"/>
                  </a:lnTo>
                  <a:lnTo>
                    <a:pt x="18" y="26"/>
                  </a:lnTo>
                  <a:lnTo>
                    <a:pt x="19" y="28"/>
                  </a:lnTo>
                  <a:lnTo>
                    <a:pt x="19" y="30"/>
                  </a:lnTo>
                  <a:lnTo>
                    <a:pt x="21" y="31"/>
                  </a:lnTo>
                  <a:lnTo>
                    <a:pt x="21" y="31"/>
                  </a:lnTo>
                  <a:lnTo>
                    <a:pt x="34" y="31"/>
                  </a:lnTo>
                  <a:lnTo>
                    <a:pt x="33" y="31"/>
                  </a:lnTo>
                  <a:lnTo>
                    <a:pt x="33" y="30"/>
                  </a:lnTo>
                  <a:lnTo>
                    <a:pt x="33" y="30"/>
                  </a:lnTo>
                  <a:lnTo>
                    <a:pt x="34" y="30"/>
                  </a:lnTo>
                  <a:lnTo>
                    <a:pt x="33" y="28"/>
                  </a:lnTo>
                  <a:lnTo>
                    <a:pt x="33" y="28"/>
                  </a:lnTo>
                  <a:lnTo>
                    <a:pt x="33" y="27"/>
                  </a:lnTo>
                  <a:lnTo>
                    <a:pt x="33" y="27"/>
                  </a:lnTo>
                  <a:lnTo>
                    <a:pt x="31" y="27"/>
                  </a:lnTo>
                  <a:lnTo>
                    <a:pt x="31" y="25"/>
                  </a:lnTo>
                  <a:lnTo>
                    <a:pt x="31" y="25"/>
                  </a:lnTo>
                  <a:lnTo>
                    <a:pt x="29" y="24"/>
                  </a:lnTo>
                  <a:lnTo>
                    <a:pt x="27" y="21"/>
                  </a:lnTo>
                  <a:lnTo>
                    <a:pt x="26" y="17"/>
                  </a:lnTo>
                  <a:lnTo>
                    <a:pt x="26" y="15"/>
                  </a:lnTo>
                  <a:lnTo>
                    <a:pt x="24" y="14"/>
                  </a:lnTo>
                  <a:lnTo>
                    <a:pt x="24" y="13"/>
                  </a:lnTo>
                  <a:lnTo>
                    <a:pt x="21" y="15"/>
                  </a:lnTo>
                  <a:lnTo>
                    <a:pt x="21" y="14"/>
                  </a:lnTo>
                  <a:lnTo>
                    <a:pt x="21" y="13"/>
                  </a:lnTo>
                  <a:lnTo>
                    <a:pt x="19" y="14"/>
                  </a:lnTo>
                  <a:lnTo>
                    <a:pt x="19" y="13"/>
                  </a:lnTo>
                  <a:lnTo>
                    <a:pt x="21" y="11"/>
                  </a:lnTo>
                  <a:lnTo>
                    <a:pt x="22" y="11"/>
                  </a:lnTo>
                  <a:lnTo>
                    <a:pt x="24" y="10"/>
                  </a:lnTo>
                  <a:lnTo>
                    <a:pt x="25" y="10"/>
                  </a:lnTo>
                  <a:lnTo>
                    <a:pt x="25" y="10"/>
                  </a:lnTo>
                  <a:lnTo>
                    <a:pt x="26" y="10"/>
                  </a:lnTo>
                  <a:lnTo>
                    <a:pt x="26" y="11"/>
                  </a:lnTo>
                  <a:lnTo>
                    <a:pt x="27" y="11"/>
                  </a:lnTo>
                  <a:lnTo>
                    <a:pt x="27" y="10"/>
                  </a:lnTo>
                  <a:lnTo>
                    <a:pt x="26" y="7"/>
                  </a:lnTo>
                  <a:lnTo>
                    <a:pt x="22" y="6"/>
                  </a:lnTo>
                  <a:lnTo>
                    <a:pt x="22" y="4"/>
                  </a:lnTo>
                  <a:lnTo>
                    <a:pt x="21" y="3"/>
                  </a:lnTo>
                  <a:lnTo>
                    <a:pt x="18" y="0"/>
                  </a:lnTo>
                  <a:lnTo>
                    <a:pt x="12" y="0"/>
                  </a:lnTo>
                  <a:lnTo>
                    <a:pt x="8" y="1"/>
                  </a:lnTo>
                  <a:lnTo>
                    <a:pt x="8" y="3"/>
                  </a:lnTo>
                  <a:lnTo>
                    <a:pt x="6" y="10"/>
                  </a:lnTo>
                  <a:lnTo>
                    <a:pt x="2" y="17"/>
                  </a:lnTo>
                  <a:lnTo>
                    <a:pt x="1" y="19"/>
                  </a:lnTo>
                  <a:lnTo>
                    <a:pt x="0" y="20"/>
                  </a:lnTo>
                  <a:lnTo>
                    <a:pt x="0" y="20"/>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09" name="North Korea">
              <a:extLst>
                <a:ext uri="{FF2B5EF4-FFF2-40B4-BE49-F238E27FC236}">
                  <a16:creationId xmlns:a16="http://schemas.microsoft.com/office/drawing/2014/main" id="{2DDC55F0-1984-C34F-87DE-5857BC3CF696}"/>
                </a:ext>
              </a:extLst>
            </p:cNvPr>
            <p:cNvSpPr>
              <a:spLocks/>
            </p:cNvSpPr>
            <p:nvPr/>
          </p:nvSpPr>
          <p:spPr bwMode="auto">
            <a:xfrm>
              <a:off x="9394863" y="2702078"/>
              <a:ext cx="128299" cy="161832"/>
            </a:xfrm>
            <a:custGeom>
              <a:avLst/>
              <a:gdLst>
                <a:gd name="T0" fmla="*/ 9 w 88"/>
                <a:gd name="T1" fmla="*/ 47 h 111"/>
                <a:gd name="T2" fmla="*/ 17 w 88"/>
                <a:gd name="T3" fmla="*/ 41 h 111"/>
                <a:gd name="T4" fmla="*/ 22 w 88"/>
                <a:gd name="T5" fmla="*/ 23 h 111"/>
                <a:gd name="T6" fmla="*/ 43 w 88"/>
                <a:gd name="T7" fmla="*/ 30 h 111"/>
                <a:gd name="T8" fmla="*/ 53 w 88"/>
                <a:gd name="T9" fmla="*/ 19 h 111"/>
                <a:gd name="T10" fmla="*/ 61 w 88"/>
                <a:gd name="T11" fmla="*/ 10 h 111"/>
                <a:gd name="T12" fmla="*/ 61 w 88"/>
                <a:gd name="T13" fmla="*/ 1 h 111"/>
                <a:gd name="T14" fmla="*/ 88 w 88"/>
                <a:gd name="T15" fmla="*/ 8 h 111"/>
                <a:gd name="T16" fmla="*/ 88 w 88"/>
                <a:gd name="T17" fmla="*/ 12 h 111"/>
                <a:gd name="T18" fmla="*/ 84 w 88"/>
                <a:gd name="T19" fmla="*/ 14 h 111"/>
                <a:gd name="T20" fmla="*/ 80 w 88"/>
                <a:gd name="T21" fmla="*/ 15 h 111"/>
                <a:gd name="T22" fmla="*/ 74 w 88"/>
                <a:gd name="T23" fmla="*/ 15 h 111"/>
                <a:gd name="T24" fmla="*/ 72 w 88"/>
                <a:gd name="T25" fmla="*/ 20 h 111"/>
                <a:gd name="T26" fmla="*/ 72 w 88"/>
                <a:gd name="T27" fmla="*/ 24 h 111"/>
                <a:gd name="T28" fmla="*/ 70 w 88"/>
                <a:gd name="T29" fmla="*/ 29 h 111"/>
                <a:gd name="T30" fmla="*/ 74 w 88"/>
                <a:gd name="T31" fmla="*/ 33 h 111"/>
                <a:gd name="T32" fmla="*/ 76 w 88"/>
                <a:gd name="T33" fmla="*/ 39 h 111"/>
                <a:gd name="T34" fmla="*/ 77 w 88"/>
                <a:gd name="T35" fmla="*/ 43 h 111"/>
                <a:gd name="T36" fmla="*/ 72 w 88"/>
                <a:gd name="T37" fmla="*/ 50 h 111"/>
                <a:gd name="T38" fmla="*/ 72 w 88"/>
                <a:gd name="T39" fmla="*/ 55 h 111"/>
                <a:gd name="T40" fmla="*/ 67 w 88"/>
                <a:gd name="T41" fmla="*/ 59 h 111"/>
                <a:gd name="T42" fmla="*/ 60 w 88"/>
                <a:gd name="T43" fmla="*/ 63 h 111"/>
                <a:gd name="T44" fmla="*/ 60 w 88"/>
                <a:gd name="T45" fmla="*/ 68 h 111"/>
                <a:gd name="T46" fmla="*/ 60 w 88"/>
                <a:gd name="T47" fmla="*/ 73 h 111"/>
                <a:gd name="T48" fmla="*/ 64 w 88"/>
                <a:gd name="T49" fmla="*/ 76 h 111"/>
                <a:gd name="T50" fmla="*/ 69 w 88"/>
                <a:gd name="T51" fmla="*/ 79 h 111"/>
                <a:gd name="T52" fmla="*/ 77 w 88"/>
                <a:gd name="T53" fmla="*/ 82 h 111"/>
                <a:gd name="T54" fmla="*/ 82 w 88"/>
                <a:gd name="T55" fmla="*/ 82 h 111"/>
                <a:gd name="T56" fmla="*/ 83 w 88"/>
                <a:gd name="T57" fmla="*/ 87 h 111"/>
                <a:gd name="T58" fmla="*/ 76 w 88"/>
                <a:gd name="T59" fmla="*/ 99 h 111"/>
                <a:gd name="T60" fmla="*/ 63 w 88"/>
                <a:gd name="T61" fmla="*/ 103 h 111"/>
                <a:gd name="T62" fmla="*/ 59 w 88"/>
                <a:gd name="T63" fmla="*/ 111 h 111"/>
                <a:gd name="T64" fmla="*/ 55 w 88"/>
                <a:gd name="T65" fmla="*/ 103 h 111"/>
                <a:gd name="T66" fmla="*/ 49 w 88"/>
                <a:gd name="T67" fmla="*/ 102 h 111"/>
                <a:gd name="T68" fmla="*/ 42 w 88"/>
                <a:gd name="T69" fmla="*/ 103 h 111"/>
                <a:gd name="T70" fmla="*/ 39 w 88"/>
                <a:gd name="T71" fmla="*/ 107 h 111"/>
                <a:gd name="T72" fmla="*/ 35 w 88"/>
                <a:gd name="T73" fmla="*/ 104 h 111"/>
                <a:gd name="T74" fmla="*/ 32 w 88"/>
                <a:gd name="T75" fmla="*/ 102 h 111"/>
                <a:gd name="T76" fmla="*/ 32 w 88"/>
                <a:gd name="T77" fmla="*/ 100 h 111"/>
                <a:gd name="T78" fmla="*/ 28 w 88"/>
                <a:gd name="T79" fmla="*/ 101 h 111"/>
                <a:gd name="T80" fmla="*/ 27 w 88"/>
                <a:gd name="T81" fmla="*/ 96 h 111"/>
                <a:gd name="T82" fmla="*/ 24 w 88"/>
                <a:gd name="T83" fmla="*/ 97 h 111"/>
                <a:gd name="T84" fmla="*/ 22 w 88"/>
                <a:gd name="T85" fmla="*/ 95 h 111"/>
                <a:gd name="T86" fmla="*/ 23 w 88"/>
                <a:gd name="T87" fmla="*/ 91 h 111"/>
                <a:gd name="T88" fmla="*/ 26 w 88"/>
                <a:gd name="T89" fmla="*/ 88 h 111"/>
                <a:gd name="T90" fmla="*/ 29 w 88"/>
                <a:gd name="T91" fmla="*/ 86 h 111"/>
                <a:gd name="T92" fmla="*/ 24 w 88"/>
                <a:gd name="T93" fmla="*/ 80 h 111"/>
                <a:gd name="T94" fmla="*/ 23 w 88"/>
                <a:gd name="T95" fmla="*/ 74 h 111"/>
                <a:gd name="T96" fmla="*/ 20 w 88"/>
                <a:gd name="T97" fmla="*/ 70 h 111"/>
                <a:gd name="T98" fmla="*/ 14 w 88"/>
                <a:gd name="T99" fmla="*/ 69 h 111"/>
                <a:gd name="T100" fmla="*/ 9 w 88"/>
                <a:gd name="T101" fmla="*/ 68 h 111"/>
                <a:gd name="T102" fmla="*/ 6 w 88"/>
                <a:gd name="T103" fmla="*/ 67 h 111"/>
                <a:gd name="T104" fmla="*/ 2 w 88"/>
                <a:gd name="T105" fmla="*/ 64 h 111"/>
                <a:gd name="T106" fmla="*/ 0 w 88"/>
                <a:gd name="T107" fmla="*/ 63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8" h="111">
                  <a:moveTo>
                    <a:pt x="0" y="63"/>
                  </a:moveTo>
                  <a:lnTo>
                    <a:pt x="4" y="50"/>
                  </a:lnTo>
                  <a:lnTo>
                    <a:pt x="8" y="52"/>
                  </a:lnTo>
                  <a:lnTo>
                    <a:pt x="6" y="49"/>
                  </a:lnTo>
                  <a:lnTo>
                    <a:pt x="9" y="47"/>
                  </a:lnTo>
                  <a:lnTo>
                    <a:pt x="10" y="48"/>
                  </a:lnTo>
                  <a:lnTo>
                    <a:pt x="12" y="44"/>
                  </a:lnTo>
                  <a:lnTo>
                    <a:pt x="14" y="44"/>
                  </a:lnTo>
                  <a:lnTo>
                    <a:pt x="14" y="42"/>
                  </a:lnTo>
                  <a:lnTo>
                    <a:pt x="17" y="41"/>
                  </a:lnTo>
                  <a:lnTo>
                    <a:pt x="17" y="37"/>
                  </a:lnTo>
                  <a:lnTo>
                    <a:pt x="21" y="32"/>
                  </a:lnTo>
                  <a:lnTo>
                    <a:pt x="19" y="26"/>
                  </a:lnTo>
                  <a:lnTo>
                    <a:pt x="19" y="23"/>
                  </a:lnTo>
                  <a:lnTo>
                    <a:pt x="22" y="23"/>
                  </a:lnTo>
                  <a:lnTo>
                    <a:pt x="29" y="27"/>
                  </a:lnTo>
                  <a:lnTo>
                    <a:pt x="30" y="30"/>
                  </a:lnTo>
                  <a:lnTo>
                    <a:pt x="37" y="30"/>
                  </a:lnTo>
                  <a:lnTo>
                    <a:pt x="39" y="32"/>
                  </a:lnTo>
                  <a:lnTo>
                    <a:pt x="43" y="30"/>
                  </a:lnTo>
                  <a:lnTo>
                    <a:pt x="48" y="32"/>
                  </a:lnTo>
                  <a:lnTo>
                    <a:pt x="48" y="27"/>
                  </a:lnTo>
                  <a:lnTo>
                    <a:pt x="42" y="23"/>
                  </a:lnTo>
                  <a:lnTo>
                    <a:pt x="40" y="20"/>
                  </a:lnTo>
                  <a:lnTo>
                    <a:pt x="53" y="19"/>
                  </a:lnTo>
                  <a:lnTo>
                    <a:pt x="56" y="16"/>
                  </a:lnTo>
                  <a:lnTo>
                    <a:pt x="55" y="14"/>
                  </a:lnTo>
                  <a:lnTo>
                    <a:pt x="55" y="10"/>
                  </a:lnTo>
                  <a:lnTo>
                    <a:pt x="60" y="13"/>
                  </a:lnTo>
                  <a:lnTo>
                    <a:pt x="61" y="10"/>
                  </a:lnTo>
                  <a:lnTo>
                    <a:pt x="59" y="6"/>
                  </a:lnTo>
                  <a:lnTo>
                    <a:pt x="56" y="3"/>
                  </a:lnTo>
                  <a:lnTo>
                    <a:pt x="57" y="1"/>
                  </a:lnTo>
                  <a:lnTo>
                    <a:pt x="59" y="0"/>
                  </a:lnTo>
                  <a:lnTo>
                    <a:pt x="61" y="1"/>
                  </a:lnTo>
                  <a:lnTo>
                    <a:pt x="67" y="3"/>
                  </a:lnTo>
                  <a:lnTo>
                    <a:pt x="86" y="7"/>
                  </a:lnTo>
                  <a:lnTo>
                    <a:pt x="87" y="7"/>
                  </a:lnTo>
                  <a:lnTo>
                    <a:pt x="88" y="8"/>
                  </a:lnTo>
                  <a:lnTo>
                    <a:pt x="88" y="8"/>
                  </a:lnTo>
                  <a:lnTo>
                    <a:pt x="88" y="8"/>
                  </a:lnTo>
                  <a:lnTo>
                    <a:pt x="88" y="10"/>
                  </a:lnTo>
                  <a:lnTo>
                    <a:pt x="88" y="10"/>
                  </a:lnTo>
                  <a:lnTo>
                    <a:pt x="88" y="10"/>
                  </a:lnTo>
                  <a:lnTo>
                    <a:pt x="88" y="12"/>
                  </a:lnTo>
                  <a:lnTo>
                    <a:pt x="88" y="12"/>
                  </a:lnTo>
                  <a:lnTo>
                    <a:pt x="86" y="13"/>
                  </a:lnTo>
                  <a:lnTo>
                    <a:pt x="86" y="14"/>
                  </a:lnTo>
                  <a:lnTo>
                    <a:pt x="84" y="14"/>
                  </a:lnTo>
                  <a:lnTo>
                    <a:pt x="84" y="14"/>
                  </a:lnTo>
                  <a:lnTo>
                    <a:pt x="84" y="13"/>
                  </a:lnTo>
                  <a:lnTo>
                    <a:pt x="82" y="14"/>
                  </a:lnTo>
                  <a:lnTo>
                    <a:pt x="81" y="14"/>
                  </a:lnTo>
                  <a:lnTo>
                    <a:pt x="81" y="15"/>
                  </a:lnTo>
                  <a:lnTo>
                    <a:pt x="80" y="15"/>
                  </a:lnTo>
                  <a:lnTo>
                    <a:pt x="79" y="14"/>
                  </a:lnTo>
                  <a:lnTo>
                    <a:pt x="79" y="15"/>
                  </a:lnTo>
                  <a:lnTo>
                    <a:pt x="75" y="15"/>
                  </a:lnTo>
                  <a:lnTo>
                    <a:pt x="75" y="15"/>
                  </a:lnTo>
                  <a:lnTo>
                    <a:pt x="74" y="15"/>
                  </a:lnTo>
                  <a:lnTo>
                    <a:pt x="73" y="16"/>
                  </a:lnTo>
                  <a:lnTo>
                    <a:pt x="74" y="17"/>
                  </a:lnTo>
                  <a:lnTo>
                    <a:pt x="73" y="17"/>
                  </a:lnTo>
                  <a:lnTo>
                    <a:pt x="72" y="19"/>
                  </a:lnTo>
                  <a:lnTo>
                    <a:pt x="72" y="20"/>
                  </a:lnTo>
                  <a:lnTo>
                    <a:pt x="72" y="21"/>
                  </a:lnTo>
                  <a:lnTo>
                    <a:pt x="70" y="22"/>
                  </a:lnTo>
                  <a:lnTo>
                    <a:pt x="70" y="24"/>
                  </a:lnTo>
                  <a:lnTo>
                    <a:pt x="72" y="23"/>
                  </a:lnTo>
                  <a:lnTo>
                    <a:pt x="72" y="24"/>
                  </a:lnTo>
                  <a:lnTo>
                    <a:pt x="70" y="26"/>
                  </a:lnTo>
                  <a:lnTo>
                    <a:pt x="70" y="27"/>
                  </a:lnTo>
                  <a:lnTo>
                    <a:pt x="70" y="27"/>
                  </a:lnTo>
                  <a:lnTo>
                    <a:pt x="72" y="28"/>
                  </a:lnTo>
                  <a:lnTo>
                    <a:pt x="70" y="29"/>
                  </a:lnTo>
                  <a:lnTo>
                    <a:pt x="72" y="30"/>
                  </a:lnTo>
                  <a:lnTo>
                    <a:pt x="72" y="32"/>
                  </a:lnTo>
                  <a:lnTo>
                    <a:pt x="73" y="33"/>
                  </a:lnTo>
                  <a:lnTo>
                    <a:pt x="73" y="33"/>
                  </a:lnTo>
                  <a:lnTo>
                    <a:pt x="74" y="33"/>
                  </a:lnTo>
                  <a:lnTo>
                    <a:pt x="74" y="34"/>
                  </a:lnTo>
                  <a:lnTo>
                    <a:pt x="74" y="36"/>
                  </a:lnTo>
                  <a:lnTo>
                    <a:pt x="74" y="37"/>
                  </a:lnTo>
                  <a:lnTo>
                    <a:pt x="75" y="37"/>
                  </a:lnTo>
                  <a:lnTo>
                    <a:pt x="76" y="39"/>
                  </a:lnTo>
                  <a:lnTo>
                    <a:pt x="77" y="39"/>
                  </a:lnTo>
                  <a:lnTo>
                    <a:pt x="77" y="41"/>
                  </a:lnTo>
                  <a:lnTo>
                    <a:pt x="79" y="43"/>
                  </a:lnTo>
                  <a:lnTo>
                    <a:pt x="77" y="42"/>
                  </a:lnTo>
                  <a:lnTo>
                    <a:pt x="77" y="43"/>
                  </a:lnTo>
                  <a:lnTo>
                    <a:pt x="74" y="46"/>
                  </a:lnTo>
                  <a:lnTo>
                    <a:pt x="73" y="49"/>
                  </a:lnTo>
                  <a:lnTo>
                    <a:pt x="73" y="50"/>
                  </a:lnTo>
                  <a:lnTo>
                    <a:pt x="72" y="50"/>
                  </a:lnTo>
                  <a:lnTo>
                    <a:pt x="72" y="50"/>
                  </a:lnTo>
                  <a:lnTo>
                    <a:pt x="73" y="52"/>
                  </a:lnTo>
                  <a:lnTo>
                    <a:pt x="73" y="52"/>
                  </a:lnTo>
                  <a:lnTo>
                    <a:pt x="73" y="54"/>
                  </a:lnTo>
                  <a:lnTo>
                    <a:pt x="72" y="54"/>
                  </a:lnTo>
                  <a:lnTo>
                    <a:pt x="72" y="55"/>
                  </a:lnTo>
                  <a:lnTo>
                    <a:pt x="70" y="56"/>
                  </a:lnTo>
                  <a:lnTo>
                    <a:pt x="70" y="56"/>
                  </a:lnTo>
                  <a:lnTo>
                    <a:pt x="69" y="57"/>
                  </a:lnTo>
                  <a:lnTo>
                    <a:pt x="69" y="57"/>
                  </a:lnTo>
                  <a:lnTo>
                    <a:pt x="67" y="59"/>
                  </a:lnTo>
                  <a:lnTo>
                    <a:pt x="63" y="57"/>
                  </a:lnTo>
                  <a:lnTo>
                    <a:pt x="62" y="59"/>
                  </a:lnTo>
                  <a:lnTo>
                    <a:pt x="60" y="59"/>
                  </a:lnTo>
                  <a:lnTo>
                    <a:pt x="59" y="61"/>
                  </a:lnTo>
                  <a:lnTo>
                    <a:pt x="60" y="63"/>
                  </a:lnTo>
                  <a:lnTo>
                    <a:pt x="59" y="64"/>
                  </a:lnTo>
                  <a:lnTo>
                    <a:pt x="57" y="66"/>
                  </a:lnTo>
                  <a:lnTo>
                    <a:pt x="59" y="67"/>
                  </a:lnTo>
                  <a:lnTo>
                    <a:pt x="60" y="68"/>
                  </a:lnTo>
                  <a:lnTo>
                    <a:pt x="60" y="68"/>
                  </a:lnTo>
                  <a:lnTo>
                    <a:pt x="60" y="68"/>
                  </a:lnTo>
                  <a:lnTo>
                    <a:pt x="61" y="70"/>
                  </a:lnTo>
                  <a:lnTo>
                    <a:pt x="61" y="70"/>
                  </a:lnTo>
                  <a:lnTo>
                    <a:pt x="60" y="71"/>
                  </a:lnTo>
                  <a:lnTo>
                    <a:pt x="60" y="73"/>
                  </a:lnTo>
                  <a:lnTo>
                    <a:pt x="61" y="74"/>
                  </a:lnTo>
                  <a:lnTo>
                    <a:pt x="62" y="74"/>
                  </a:lnTo>
                  <a:lnTo>
                    <a:pt x="63" y="74"/>
                  </a:lnTo>
                  <a:lnTo>
                    <a:pt x="64" y="75"/>
                  </a:lnTo>
                  <a:lnTo>
                    <a:pt x="64" y="76"/>
                  </a:lnTo>
                  <a:lnTo>
                    <a:pt x="66" y="76"/>
                  </a:lnTo>
                  <a:lnTo>
                    <a:pt x="67" y="77"/>
                  </a:lnTo>
                  <a:lnTo>
                    <a:pt x="67" y="77"/>
                  </a:lnTo>
                  <a:lnTo>
                    <a:pt x="68" y="79"/>
                  </a:lnTo>
                  <a:lnTo>
                    <a:pt x="69" y="79"/>
                  </a:lnTo>
                  <a:lnTo>
                    <a:pt x="72" y="80"/>
                  </a:lnTo>
                  <a:lnTo>
                    <a:pt x="73" y="81"/>
                  </a:lnTo>
                  <a:lnTo>
                    <a:pt x="74" y="82"/>
                  </a:lnTo>
                  <a:lnTo>
                    <a:pt x="75" y="82"/>
                  </a:lnTo>
                  <a:lnTo>
                    <a:pt x="77" y="82"/>
                  </a:lnTo>
                  <a:lnTo>
                    <a:pt x="77" y="82"/>
                  </a:lnTo>
                  <a:lnTo>
                    <a:pt x="79" y="83"/>
                  </a:lnTo>
                  <a:lnTo>
                    <a:pt x="81" y="83"/>
                  </a:lnTo>
                  <a:lnTo>
                    <a:pt x="81" y="83"/>
                  </a:lnTo>
                  <a:lnTo>
                    <a:pt x="82" y="82"/>
                  </a:lnTo>
                  <a:lnTo>
                    <a:pt x="82" y="83"/>
                  </a:lnTo>
                  <a:lnTo>
                    <a:pt x="82" y="84"/>
                  </a:lnTo>
                  <a:lnTo>
                    <a:pt x="82" y="84"/>
                  </a:lnTo>
                  <a:lnTo>
                    <a:pt x="84" y="87"/>
                  </a:lnTo>
                  <a:lnTo>
                    <a:pt x="83" y="87"/>
                  </a:lnTo>
                  <a:lnTo>
                    <a:pt x="83" y="91"/>
                  </a:lnTo>
                  <a:lnTo>
                    <a:pt x="82" y="94"/>
                  </a:lnTo>
                  <a:lnTo>
                    <a:pt x="82" y="97"/>
                  </a:lnTo>
                  <a:lnTo>
                    <a:pt x="79" y="97"/>
                  </a:lnTo>
                  <a:lnTo>
                    <a:pt x="76" y="99"/>
                  </a:lnTo>
                  <a:lnTo>
                    <a:pt x="74" y="99"/>
                  </a:lnTo>
                  <a:lnTo>
                    <a:pt x="70" y="101"/>
                  </a:lnTo>
                  <a:lnTo>
                    <a:pt x="69" y="104"/>
                  </a:lnTo>
                  <a:lnTo>
                    <a:pt x="66" y="104"/>
                  </a:lnTo>
                  <a:lnTo>
                    <a:pt x="63" y="103"/>
                  </a:lnTo>
                  <a:lnTo>
                    <a:pt x="62" y="104"/>
                  </a:lnTo>
                  <a:lnTo>
                    <a:pt x="60" y="106"/>
                  </a:lnTo>
                  <a:lnTo>
                    <a:pt x="59" y="108"/>
                  </a:lnTo>
                  <a:lnTo>
                    <a:pt x="57" y="109"/>
                  </a:lnTo>
                  <a:lnTo>
                    <a:pt x="59" y="111"/>
                  </a:lnTo>
                  <a:lnTo>
                    <a:pt x="56" y="109"/>
                  </a:lnTo>
                  <a:lnTo>
                    <a:pt x="56" y="108"/>
                  </a:lnTo>
                  <a:lnTo>
                    <a:pt x="55" y="108"/>
                  </a:lnTo>
                  <a:lnTo>
                    <a:pt x="56" y="106"/>
                  </a:lnTo>
                  <a:lnTo>
                    <a:pt x="55" y="103"/>
                  </a:lnTo>
                  <a:lnTo>
                    <a:pt x="53" y="104"/>
                  </a:lnTo>
                  <a:lnTo>
                    <a:pt x="52" y="103"/>
                  </a:lnTo>
                  <a:lnTo>
                    <a:pt x="52" y="103"/>
                  </a:lnTo>
                  <a:lnTo>
                    <a:pt x="50" y="102"/>
                  </a:lnTo>
                  <a:lnTo>
                    <a:pt x="49" y="102"/>
                  </a:lnTo>
                  <a:lnTo>
                    <a:pt x="47" y="102"/>
                  </a:lnTo>
                  <a:lnTo>
                    <a:pt x="46" y="103"/>
                  </a:lnTo>
                  <a:lnTo>
                    <a:pt x="44" y="103"/>
                  </a:lnTo>
                  <a:lnTo>
                    <a:pt x="43" y="103"/>
                  </a:lnTo>
                  <a:lnTo>
                    <a:pt x="42" y="103"/>
                  </a:lnTo>
                  <a:lnTo>
                    <a:pt x="41" y="104"/>
                  </a:lnTo>
                  <a:lnTo>
                    <a:pt x="40" y="104"/>
                  </a:lnTo>
                  <a:lnTo>
                    <a:pt x="40" y="107"/>
                  </a:lnTo>
                  <a:lnTo>
                    <a:pt x="39" y="106"/>
                  </a:lnTo>
                  <a:lnTo>
                    <a:pt x="39" y="107"/>
                  </a:lnTo>
                  <a:lnTo>
                    <a:pt x="37" y="107"/>
                  </a:lnTo>
                  <a:lnTo>
                    <a:pt x="37" y="106"/>
                  </a:lnTo>
                  <a:lnTo>
                    <a:pt x="36" y="106"/>
                  </a:lnTo>
                  <a:lnTo>
                    <a:pt x="37" y="104"/>
                  </a:lnTo>
                  <a:lnTo>
                    <a:pt x="35" y="104"/>
                  </a:lnTo>
                  <a:lnTo>
                    <a:pt x="36" y="103"/>
                  </a:lnTo>
                  <a:lnTo>
                    <a:pt x="35" y="103"/>
                  </a:lnTo>
                  <a:lnTo>
                    <a:pt x="34" y="101"/>
                  </a:lnTo>
                  <a:lnTo>
                    <a:pt x="34" y="102"/>
                  </a:lnTo>
                  <a:lnTo>
                    <a:pt x="32" y="102"/>
                  </a:lnTo>
                  <a:lnTo>
                    <a:pt x="33" y="102"/>
                  </a:lnTo>
                  <a:lnTo>
                    <a:pt x="33" y="101"/>
                  </a:lnTo>
                  <a:lnTo>
                    <a:pt x="33" y="100"/>
                  </a:lnTo>
                  <a:lnTo>
                    <a:pt x="32" y="101"/>
                  </a:lnTo>
                  <a:lnTo>
                    <a:pt x="32" y="100"/>
                  </a:lnTo>
                  <a:lnTo>
                    <a:pt x="30" y="99"/>
                  </a:lnTo>
                  <a:lnTo>
                    <a:pt x="30" y="99"/>
                  </a:lnTo>
                  <a:lnTo>
                    <a:pt x="30" y="99"/>
                  </a:lnTo>
                  <a:lnTo>
                    <a:pt x="29" y="101"/>
                  </a:lnTo>
                  <a:lnTo>
                    <a:pt x="28" y="101"/>
                  </a:lnTo>
                  <a:lnTo>
                    <a:pt x="28" y="99"/>
                  </a:lnTo>
                  <a:lnTo>
                    <a:pt x="28" y="100"/>
                  </a:lnTo>
                  <a:lnTo>
                    <a:pt x="28" y="99"/>
                  </a:lnTo>
                  <a:lnTo>
                    <a:pt x="27" y="96"/>
                  </a:lnTo>
                  <a:lnTo>
                    <a:pt x="27" y="96"/>
                  </a:lnTo>
                  <a:lnTo>
                    <a:pt x="26" y="96"/>
                  </a:lnTo>
                  <a:lnTo>
                    <a:pt x="26" y="97"/>
                  </a:lnTo>
                  <a:lnTo>
                    <a:pt x="24" y="97"/>
                  </a:lnTo>
                  <a:lnTo>
                    <a:pt x="26" y="97"/>
                  </a:lnTo>
                  <a:lnTo>
                    <a:pt x="24" y="97"/>
                  </a:lnTo>
                  <a:lnTo>
                    <a:pt x="23" y="96"/>
                  </a:lnTo>
                  <a:lnTo>
                    <a:pt x="22" y="97"/>
                  </a:lnTo>
                  <a:lnTo>
                    <a:pt x="22" y="96"/>
                  </a:lnTo>
                  <a:lnTo>
                    <a:pt x="23" y="95"/>
                  </a:lnTo>
                  <a:lnTo>
                    <a:pt x="22" y="95"/>
                  </a:lnTo>
                  <a:lnTo>
                    <a:pt x="22" y="94"/>
                  </a:lnTo>
                  <a:lnTo>
                    <a:pt x="23" y="94"/>
                  </a:lnTo>
                  <a:lnTo>
                    <a:pt x="22" y="93"/>
                  </a:lnTo>
                  <a:lnTo>
                    <a:pt x="22" y="93"/>
                  </a:lnTo>
                  <a:lnTo>
                    <a:pt x="23" y="91"/>
                  </a:lnTo>
                  <a:lnTo>
                    <a:pt x="23" y="91"/>
                  </a:lnTo>
                  <a:lnTo>
                    <a:pt x="24" y="90"/>
                  </a:lnTo>
                  <a:lnTo>
                    <a:pt x="24" y="90"/>
                  </a:lnTo>
                  <a:lnTo>
                    <a:pt x="24" y="88"/>
                  </a:lnTo>
                  <a:lnTo>
                    <a:pt x="26" y="88"/>
                  </a:lnTo>
                  <a:lnTo>
                    <a:pt x="26" y="89"/>
                  </a:lnTo>
                  <a:lnTo>
                    <a:pt x="27" y="88"/>
                  </a:lnTo>
                  <a:lnTo>
                    <a:pt x="30" y="87"/>
                  </a:lnTo>
                  <a:lnTo>
                    <a:pt x="30" y="86"/>
                  </a:lnTo>
                  <a:lnTo>
                    <a:pt x="29" y="86"/>
                  </a:lnTo>
                  <a:lnTo>
                    <a:pt x="26" y="87"/>
                  </a:lnTo>
                  <a:lnTo>
                    <a:pt x="24" y="86"/>
                  </a:lnTo>
                  <a:lnTo>
                    <a:pt x="24" y="86"/>
                  </a:lnTo>
                  <a:lnTo>
                    <a:pt x="24" y="83"/>
                  </a:lnTo>
                  <a:lnTo>
                    <a:pt x="24" y="80"/>
                  </a:lnTo>
                  <a:lnTo>
                    <a:pt x="24" y="79"/>
                  </a:lnTo>
                  <a:lnTo>
                    <a:pt x="24" y="79"/>
                  </a:lnTo>
                  <a:lnTo>
                    <a:pt x="23" y="77"/>
                  </a:lnTo>
                  <a:lnTo>
                    <a:pt x="23" y="76"/>
                  </a:lnTo>
                  <a:lnTo>
                    <a:pt x="23" y="74"/>
                  </a:lnTo>
                  <a:lnTo>
                    <a:pt x="22" y="71"/>
                  </a:lnTo>
                  <a:lnTo>
                    <a:pt x="22" y="71"/>
                  </a:lnTo>
                  <a:lnTo>
                    <a:pt x="21" y="71"/>
                  </a:lnTo>
                  <a:lnTo>
                    <a:pt x="19" y="70"/>
                  </a:lnTo>
                  <a:lnTo>
                    <a:pt x="20" y="70"/>
                  </a:lnTo>
                  <a:lnTo>
                    <a:pt x="19" y="69"/>
                  </a:lnTo>
                  <a:lnTo>
                    <a:pt x="17" y="69"/>
                  </a:lnTo>
                  <a:lnTo>
                    <a:pt x="16" y="70"/>
                  </a:lnTo>
                  <a:lnTo>
                    <a:pt x="15" y="69"/>
                  </a:lnTo>
                  <a:lnTo>
                    <a:pt x="14" y="69"/>
                  </a:lnTo>
                  <a:lnTo>
                    <a:pt x="14" y="68"/>
                  </a:lnTo>
                  <a:lnTo>
                    <a:pt x="12" y="69"/>
                  </a:lnTo>
                  <a:lnTo>
                    <a:pt x="12" y="68"/>
                  </a:lnTo>
                  <a:lnTo>
                    <a:pt x="10" y="68"/>
                  </a:lnTo>
                  <a:lnTo>
                    <a:pt x="9" y="68"/>
                  </a:lnTo>
                  <a:lnTo>
                    <a:pt x="9" y="69"/>
                  </a:lnTo>
                  <a:lnTo>
                    <a:pt x="8" y="68"/>
                  </a:lnTo>
                  <a:lnTo>
                    <a:pt x="7" y="68"/>
                  </a:lnTo>
                  <a:lnTo>
                    <a:pt x="6" y="68"/>
                  </a:lnTo>
                  <a:lnTo>
                    <a:pt x="6" y="67"/>
                  </a:lnTo>
                  <a:lnTo>
                    <a:pt x="4" y="67"/>
                  </a:lnTo>
                  <a:lnTo>
                    <a:pt x="6" y="66"/>
                  </a:lnTo>
                  <a:lnTo>
                    <a:pt x="4" y="64"/>
                  </a:lnTo>
                  <a:lnTo>
                    <a:pt x="3" y="63"/>
                  </a:lnTo>
                  <a:lnTo>
                    <a:pt x="2" y="64"/>
                  </a:lnTo>
                  <a:lnTo>
                    <a:pt x="2" y="64"/>
                  </a:lnTo>
                  <a:lnTo>
                    <a:pt x="2" y="64"/>
                  </a:lnTo>
                  <a:lnTo>
                    <a:pt x="2" y="63"/>
                  </a:lnTo>
                  <a:lnTo>
                    <a:pt x="0" y="63"/>
                  </a:lnTo>
                  <a:lnTo>
                    <a:pt x="0" y="63"/>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10" name="Jordan">
              <a:extLst>
                <a:ext uri="{FF2B5EF4-FFF2-40B4-BE49-F238E27FC236}">
                  <a16:creationId xmlns:a16="http://schemas.microsoft.com/office/drawing/2014/main" id="{F80E6A34-D26C-FF45-8867-247F55D687B8}"/>
                </a:ext>
              </a:extLst>
            </p:cNvPr>
            <p:cNvSpPr>
              <a:spLocks noEditPoints="1"/>
            </p:cNvSpPr>
            <p:nvPr/>
          </p:nvSpPr>
          <p:spPr bwMode="auto">
            <a:xfrm>
              <a:off x="7244390" y="2986378"/>
              <a:ext cx="107888" cy="125384"/>
            </a:xfrm>
            <a:custGeom>
              <a:avLst/>
              <a:gdLst>
                <a:gd name="T0" fmla="*/ 6 w 74"/>
                <a:gd name="T1" fmla="*/ 40 h 86"/>
                <a:gd name="T2" fmla="*/ 1 w 74"/>
                <a:gd name="T3" fmla="*/ 41 h 86"/>
                <a:gd name="T4" fmla="*/ 0 w 74"/>
                <a:gd name="T5" fmla="*/ 40 h 86"/>
                <a:gd name="T6" fmla="*/ 1 w 74"/>
                <a:gd name="T7" fmla="*/ 41 h 86"/>
                <a:gd name="T8" fmla="*/ 9 w 74"/>
                <a:gd name="T9" fmla="*/ 38 h 86"/>
                <a:gd name="T10" fmla="*/ 1 w 74"/>
                <a:gd name="T11" fmla="*/ 35 h 86"/>
                <a:gd name="T12" fmla="*/ 1 w 74"/>
                <a:gd name="T13" fmla="*/ 35 h 86"/>
                <a:gd name="T14" fmla="*/ 5 w 74"/>
                <a:gd name="T15" fmla="*/ 33 h 86"/>
                <a:gd name="T16" fmla="*/ 5 w 74"/>
                <a:gd name="T17" fmla="*/ 33 h 86"/>
                <a:gd name="T18" fmla="*/ 1 w 74"/>
                <a:gd name="T19" fmla="*/ 32 h 86"/>
                <a:gd name="T20" fmla="*/ 0 w 74"/>
                <a:gd name="T21" fmla="*/ 28 h 86"/>
                <a:gd name="T22" fmla="*/ 0 w 74"/>
                <a:gd name="T23" fmla="*/ 28 h 86"/>
                <a:gd name="T24" fmla="*/ 1 w 74"/>
                <a:gd name="T25" fmla="*/ 28 h 86"/>
                <a:gd name="T26" fmla="*/ 1 w 74"/>
                <a:gd name="T27" fmla="*/ 27 h 86"/>
                <a:gd name="T28" fmla="*/ 0 w 74"/>
                <a:gd name="T29" fmla="*/ 23 h 86"/>
                <a:gd name="T30" fmla="*/ 1 w 74"/>
                <a:gd name="T31" fmla="*/ 22 h 86"/>
                <a:gd name="T32" fmla="*/ 1 w 74"/>
                <a:gd name="T33" fmla="*/ 20 h 86"/>
                <a:gd name="T34" fmla="*/ 1 w 74"/>
                <a:gd name="T35" fmla="*/ 19 h 86"/>
                <a:gd name="T36" fmla="*/ 8 w 74"/>
                <a:gd name="T37" fmla="*/ 19 h 86"/>
                <a:gd name="T38" fmla="*/ 7 w 74"/>
                <a:gd name="T39" fmla="*/ 18 h 86"/>
                <a:gd name="T40" fmla="*/ 3 w 74"/>
                <a:gd name="T41" fmla="*/ 16 h 86"/>
                <a:gd name="T42" fmla="*/ 5 w 74"/>
                <a:gd name="T43" fmla="*/ 18 h 86"/>
                <a:gd name="T44" fmla="*/ 5 w 74"/>
                <a:gd name="T45" fmla="*/ 18 h 86"/>
                <a:gd name="T46" fmla="*/ 27 w 74"/>
                <a:gd name="T47" fmla="*/ 82 h 86"/>
                <a:gd name="T48" fmla="*/ 5 w 74"/>
                <a:gd name="T49" fmla="*/ 81 h 86"/>
                <a:gd name="T50" fmla="*/ 6 w 74"/>
                <a:gd name="T51" fmla="*/ 73 h 86"/>
                <a:gd name="T52" fmla="*/ 7 w 74"/>
                <a:gd name="T53" fmla="*/ 68 h 86"/>
                <a:gd name="T54" fmla="*/ 7 w 74"/>
                <a:gd name="T55" fmla="*/ 62 h 86"/>
                <a:gd name="T56" fmla="*/ 7 w 74"/>
                <a:gd name="T57" fmla="*/ 55 h 86"/>
                <a:gd name="T58" fmla="*/ 8 w 74"/>
                <a:gd name="T59" fmla="*/ 52 h 86"/>
                <a:gd name="T60" fmla="*/ 9 w 74"/>
                <a:gd name="T61" fmla="*/ 48 h 86"/>
                <a:gd name="T62" fmla="*/ 9 w 74"/>
                <a:gd name="T63" fmla="*/ 45 h 86"/>
                <a:gd name="T64" fmla="*/ 10 w 74"/>
                <a:gd name="T65" fmla="*/ 40 h 86"/>
                <a:gd name="T66" fmla="*/ 9 w 74"/>
                <a:gd name="T67" fmla="*/ 38 h 86"/>
                <a:gd name="T68" fmla="*/ 9 w 74"/>
                <a:gd name="T69" fmla="*/ 36 h 86"/>
                <a:gd name="T70" fmla="*/ 9 w 74"/>
                <a:gd name="T71" fmla="*/ 29 h 86"/>
                <a:gd name="T72" fmla="*/ 9 w 74"/>
                <a:gd name="T73" fmla="*/ 25 h 86"/>
                <a:gd name="T74" fmla="*/ 9 w 74"/>
                <a:gd name="T75" fmla="*/ 22 h 86"/>
                <a:gd name="T76" fmla="*/ 9 w 74"/>
                <a:gd name="T77" fmla="*/ 19 h 86"/>
                <a:gd name="T78" fmla="*/ 9 w 74"/>
                <a:gd name="T79" fmla="*/ 19 h 86"/>
                <a:gd name="T80" fmla="*/ 8 w 74"/>
                <a:gd name="T81" fmla="*/ 15 h 86"/>
                <a:gd name="T82" fmla="*/ 10 w 74"/>
                <a:gd name="T83" fmla="*/ 14 h 86"/>
                <a:gd name="T84" fmla="*/ 10 w 74"/>
                <a:gd name="T85" fmla="*/ 14 h 86"/>
                <a:gd name="T86" fmla="*/ 14 w 74"/>
                <a:gd name="T87" fmla="*/ 14 h 86"/>
                <a:gd name="T88" fmla="*/ 18 w 74"/>
                <a:gd name="T89" fmla="*/ 15 h 86"/>
                <a:gd name="T90" fmla="*/ 23 w 74"/>
                <a:gd name="T91" fmla="*/ 21 h 86"/>
                <a:gd name="T92" fmla="*/ 63 w 74"/>
                <a:gd name="T93" fmla="*/ 0 h 86"/>
                <a:gd name="T94" fmla="*/ 35 w 74"/>
                <a:gd name="T95" fmla="*/ 39 h 86"/>
                <a:gd name="T96" fmla="*/ 49 w 74"/>
                <a:gd name="T97" fmla="*/ 69 h 86"/>
                <a:gd name="T98" fmla="*/ 27 w 74"/>
                <a:gd name="T99" fmla="*/ 82 h 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74" h="86">
                  <a:moveTo>
                    <a:pt x="6" y="40"/>
                  </a:moveTo>
                  <a:lnTo>
                    <a:pt x="6" y="40"/>
                  </a:lnTo>
                  <a:lnTo>
                    <a:pt x="6" y="40"/>
                  </a:lnTo>
                  <a:lnTo>
                    <a:pt x="6" y="40"/>
                  </a:lnTo>
                  <a:lnTo>
                    <a:pt x="6" y="40"/>
                  </a:lnTo>
                  <a:close/>
                  <a:moveTo>
                    <a:pt x="1" y="41"/>
                  </a:moveTo>
                  <a:lnTo>
                    <a:pt x="1" y="41"/>
                  </a:lnTo>
                  <a:lnTo>
                    <a:pt x="0" y="40"/>
                  </a:lnTo>
                  <a:lnTo>
                    <a:pt x="0" y="40"/>
                  </a:lnTo>
                  <a:lnTo>
                    <a:pt x="0" y="40"/>
                  </a:lnTo>
                  <a:lnTo>
                    <a:pt x="1" y="41"/>
                  </a:lnTo>
                  <a:lnTo>
                    <a:pt x="1" y="41"/>
                  </a:lnTo>
                  <a:close/>
                  <a:moveTo>
                    <a:pt x="9" y="38"/>
                  </a:moveTo>
                  <a:lnTo>
                    <a:pt x="8" y="39"/>
                  </a:lnTo>
                  <a:lnTo>
                    <a:pt x="9" y="38"/>
                  </a:lnTo>
                  <a:lnTo>
                    <a:pt x="9" y="38"/>
                  </a:lnTo>
                  <a:lnTo>
                    <a:pt x="9" y="38"/>
                  </a:lnTo>
                  <a:close/>
                  <a:moveTo>
                    <a:pt x="1" y="35"/>
                  </a:moveTo>
                  <a:lnTo>
                    <a:pt x="1" y="38"/>
                  </a:lnTo>
                  <a:lnTo>
                    <a:pt x="1" y="35"/>
                  </a:lnTo>
                  <a:lnTo>
                    <a:pt x="1" y="35"/>
                  </a:lnTo>
                  <a:lnTo>
                    <a:pt x="1" y="35"/>
                  </a:lnTo>
                  <a:close/>
                  <a:moveTo>
                    <a:pt x="5" y="33"/>
                  </a:moveTo>
                  <a:lnTo>
                    <a:pt x="5" y="33"/>
                  </a:lnTo>
                  <a:lnTo>
                    <a:pt x="5" y="33"/>
                  </a:lnTo>
                  <a:lnTo>
                    <a:pt x="5" y="33"/>
                  </a:lnTo>
                  <a:lnTo>
                    <a:pt x="5" y="33"/>
                  </a:lnTo>
                  <a:close/>
                  <a:moveTo>
                    <a:pt x="2" y="32"/>
                  </a:moveTo>
                  <a:lnTo>
                    <a:pt x="1" y="32"/>
                  </a:lnTo>
                  <a:lnTo>
                    <a:pt x="1" y="32"/>
                  </a:lnTo>
                  <a:lnTo>
                    <a:pt x="2" y="32"/>
                  </a:lnTo>
                  <a:lnTo>
                    <a:pt x="2" y="32"/>
                  </a:lnTo>
                  <a:close/>
                  <a:moveTo>
                    <a:pt x="0" y="28"/>
                  </a:moveTo>
                  <a:lnTo>
                    <a:pt x="0" y="28"/>
                  </a:lnTo>
                  <a:lnTo>
                    <a:pt x="0" y="28"/>
                  </a:lnTo>
                  <a:lnTo>
                    <a:pt x="0" y="28"/>
                  </a:lnTo>
                  <a:lnTo>
                    <a:pt x="0" y="28"/>
                  </a:lnTo>
                  <a:close/>
                  <a:moveTo>
                    <a:pt x="1" y="27"/>
                  </a:moveTo>
                  <a:lnTo>
                    <a:pt x="1" y="28"/>
                  </a:lnTo>
                  <a:lnTo>
                    <a:pt x="1" y="27"/>
                  </a:lnTo>
                  <a:lnTo>
                    <a:pt x="0" y="25"/>
                  </a:lnTo>
                  <a:lnTo>
                    <a:pt x="1" y="27"/>
                  </a:lnTo>
                  <a:lnTo>
                    <a:pt x="1" y="27"/>
                  </a:lnTo>
                  <a:close/>
                  <a:moveTo>
                    <a:pt x="1" y="22"/>
                  </a:moveTo>
                  <a:lnTo>
                    <a:pt x="0" y="23"/>
                  </a:lnTo>
                  <a:lnTo>
                    <a:pt x="1" y="22"/>
                  </a:lnTo>
                  <a:lnTo>
                    <a:pt x="1" y="22"/>
                  </a:lnTo>
                  <a:lnTo>
                    <a:pt x="1" y="22"/>
                  </a:lnTo>
                  <a:lnTo>
                    <a:pt x="1" y="22"/>
                  </a:lnTo>
                  <a:close/>
                  <a:moveTo>
                    <a:pt x="1" y="19"/>
                  </a:moveTo>
                  <a:lnTo>
                    <a:pt x="1" y="20"/>
                  </a:lnTo>
                  <a:lnTo>
                    <a:pt x="1" y="20"/>
                  </a:lnTo>
                  <a:lnTo>
                    <a:pt x="1" y="19"/>
                  </a:lnTo>
                  <a:lnTo>
                    <a:pt x="1" y="19"/>
                  </a:lnTo>
                  <a:close/>
                  <a:moveTo>
                    <a:pt x="8" y="19"/>
                  </a:moveTo>
                  <a:lnTo>
                    <a:pt x="8" y="19"/>
                  </a:lnTo>
                  <a:lnTo>
                    <a:pt x="8" y="19"/>
                  </a:lnTo>
                  <a:lnTo>
                    <a:pt x="7" y="18"/>
                  </a:lnTo>
                  <a:lnTo>
                    <a:pt x="6" y="18"/>
                  </a:lnTo>
                  <a:lnTo>
                    <a:pt x="7" y="18"/>
                  </a:lnTo>
                  <a:lnTo>
                    <a:pt x="8" y="19"/>
                  </a:lnTo>
                  <a:lnTo>
                    <a:pt x="8" y="19"/>
                  </a:lnTo>
                  <a:close/>
                  <a:moveTo>
                    <a:pt x="3" y="16"/>
                  </a:moveTo>
                  <a:lnTo>
                    <a:pt x="1" y="18"/>
                  </a:lnTo>
                  <a:lnTo>
                    <a:pt x="3" y="16"/>
                  </a:lnTo>
                  <a:lnTo>
                    <a:pt x="5" y="18"/>
                  </a:lnTo>
                  <a:lnTo>
                    <a:pt x="6" y="16"/>
                  </a:lnTo>
                  <a:lnTo>
                    <a:pt x="6" y="16"/>
                  </a:lnTo>
                  <a:lnTo>
                    <a:pt x="5" y="18"/>
                  </a:lnTo>
                  <a:lnTo>
                    <a:pt x="3" y="16"/>
                  </a:lnTo>
                  <a:lnTo>
                    <a:pt x="3" y="16"/>
                  </a:lnTo>
                  <a:close/>
                  <a:moveTo>
                    <a:pt x="27" y="82"/>
                  </a:moveTo>
                  <a:lnTo>
                    <a:pt x="25" y="86"/>
                  </a:lnTo>
                  <a:lnTo>
                    <a:pt x="6" y="82"/>
                  </a:lnTo>
                  <a:lnTo>
                    <a:pt x="5" y="81"/>
                  </a:lnTo>
                  <a:lnTo>
                    <a:pt x="6" y="79"/>
                  </a:lnTo>
                  <a:lnTo>
                    <a:pt x="6" y="75"/>
                  </a:lnTo>
                  <a:lnTo>
                    <a:pt x="6" y="73"/>
                  </a:lnTo>
                  <a:lnTo>
                    <a:pt x="6" y="71"/>
                  </a:lnTo>
                  <a:lnTo>
                    <a:pt x="6" y="71"/>
                  </a:lnTo>
                  <a:lnTo>
                    <a:pt x="7" y="68"/>
                  </a:lnTo>
                  <a:lnTo>
                    <a:pt x="8" y="67"/>
                  </a:lnTo>
                  <a:lnTo>
                    <a:pt x="6" y="65"/>
                  </a:lnTo>
                  <a:lnTo>
                    <a:pt x="7" y="62"/>
                  </a:lnTo>
                  <a:lnTo>
                    <a:pt x="6" y="61"/>
                  </a:lnTo>
                  <a:lnTo>
                    <a:pt x="7" y="58"/>
                  </a:lnTo>
                  <a:lnTo>
                    <a:pt x="7" y="55"/>
                  </a:lnTo>
                  <a:lnTo>
                    <a:pt x="7" y="54"/>
                  </a:lnTo>
                  <a:lnTo>
                    <a:pt x="8" y="53"/>
                  </a:lnTo>
                  <a:lnTo>
                    <a:pt x="8" y="52"/>
                  </a:lnTo>
                  <a:lnTo>
                    <a:pt x="9" y="51"/>
                  </a:lnTo>
                  <a:lnTo>
                    <a:pt x="9" y="51"/>
                  </a:lnTo>
                  <a:lnTo>
                    <a:pt x="9" y="48"/>
                  </a:lnTo>
                  <a:lnTo>
                    <a:pt x="10" y="47"/>
                  </a:lnTo>
                  <a:lnTo>
                    <a:pt x="10" y="46"/>
                  </a:lnTo>
                  <a:lnTo>
                    <a:pt x="9" y="45"/>
                  </a:lnTo>
                  <a:lnTo>
                    <a:pt x="10" y="43"/>
                  </a:lnTo>
                  <a:lnTo>
                    <a:pt x="9" y="42"/>
                  </a:lnTo>
                  <a:lnTo>
                    <a:pt x="10" y="40"/>
                  </a:lnTo>
                  <a:lnTo>
                    <a:pt x="10" y="39"/>
                  </a:lnTo>
                  <a:lnTo>
                    <a:pt x="10" y="38"/>
                  </a:lnTo>
                  <a:lnTo>
                    <a:pt x="9" y="38"/>
                  </a:lnTo>
                  <a:lnTo>
                    <a:pt x="10" y="38"/>
                  </a:lnTo>
                  <a:lnTo>
                    <a:pt x="10" y="38"/>
                  </a:lnTo>
                  <a:lnTo>
                    <a:pt x="9" y="36"/>
                  </a:lnTo>
                  <a:lnTo>
                    <a:pt x="9" y="34"/>
                  </a:lnTo>
                  <a:lnTo>
                    <a:pt x="9" y="32"/>
                  </a:lnTo>
                  <a:lnTo>
                    <a:pt x="9" y="29"/>
                  </a:lnTo>
                  <a:lnTo>
                    <a:pt x="9" y="28"/>
                  </a:lnTo>
                  <a:lnTo>
                    <a:pt x="9" y="28"/>
                  </a:lnTo>
                  <a:lnTo>
                    <a:pt x="9" y="25"/>
                  </a:lnTo>
                  <a:lnTo>
                    <a:pt x="9" y="23"/>
                  </a:lnTo>
                  <a:lnTo>
                    <a:pt x="9" y="22"/>
                  </a:lnTo>
                  <a:lnTo>
                    <a:pt x="9" y="22"/>
                  </a:lnTo>
                  <a:lnTo>
                    <a:pt x="8" y="21"/>
                  </a:lnTo>
                  <a:lnTo>
                    <a:pt x="9" y="19"/>
                  </a:lnTo>
                  <a:lnTo>
                    <a:pt x="9" y="19"/>
                  </a:lnTo>
                  <a:lnTo>
                    <a:pt x="9" y="19"/>
                  </a:lnTo>
                  <a:lnTo>
                    <a:pt x="9" y="19"/>
                  </a:lnTo>
                  <a:lnTo>
                    <a:pt x="9" y="19"/>
                  </a:lnTo>
                  <a:lnTo>
                    <a:pt x="8" y="18"/>
                  </a:lnTo>
                  <a:lnTo>
                    <a:pt x="7" y="16"/>
                  </a:lnTo>
                  <a:lnTo>
                    <a:pt x="8" y="15"/>
                  </a:lnTo>
                  <a:lnTo>
                    <a:pt x="8" y="14"/>
                  </a:lnTo>
                  <a:lnTo>
                    <a:pt x="10" y="14"/>
                  </a:lnTo>
                  <a:lnTo>
                    <a:pt x="10" y="14"/>
                  </a:lnTo>
                  <a:lnTo>
                    <a:pt x="10" y="14"/>
                  </a:lnTo>
                  <a:lnTo>
                    <a:pt x="10" y="14"/>
                  </a:lnTo>
                  <a:lnTo>
                    <a:pt x="10" y="14"/>
                  </a:lnTo>
                  <a:lnTo>
                    <a:pt x="13" y="13"/>
                  </a:lnTo>
                  <a:lnTo>
                    <a:pt x="13" y="15"/>
                  </a:lnTo>
                  <a:lnTo>
                    <a:pt x="14" y="14"/>
                  </a:lnTo>
                  <a:lnTo>
                    <a:pt x="16" y="15"/>
                  </a:lnTo>
                  <a:lnTo>
                    <a:pt x="16" y="15"/>
                  </a:lnTo>
                  <a:lnTo>
                    <a:pt x="18" y="15"/>
                  </a:lnTo>
                  <a:lnTo>
                    <a:pt x="20" y="18"/>
                  </a:lnTo>
                  <a:lnTo>
                    <a:pt x="22" y="19"/>
                  </a:lnTo>
                  <a:lnTo>
                    <a:pt x="23" y="21"/>
                  </a:lnTo>
                  <a:lnTo>
                    <a:pt x="32" y="22"/>
                  </a:lnTo>
                  <a:lnTo>
                    <a:pt x="40" y="14"/>
                  </a:lnTo>
                  <a:lnTo>
                    <a:pt x="63" y="0"/>
                  </a:lnTo>
                  <a:lnTo>
                    <a:pt x="74" y="25"/>
                  </a:lnTo>
                  <a:lnTo>
                    <a:pt x="69" y="28"/>
                  </a:lnTo>
                  <a:lnTo>
                    <a:pt x="35" y="39"/>
                  </a:lnTo>
                  <a:lnTo>
                    <a:pt x="55" y="60"/>
                  </a:lnTo>
                  <a:lnTo>
                    <a:pt x="50" y="62"/>
                  </a:lnTo>
                  <a:lnTo>
                    <a:pt x="49" y="69"/>
                  </a:lnTo>
                  <a:lnTo>
                    <a:pt x="34" y="73"/>
                  </a:lnTo>
                  <a:lnTo>
                    <a:pt x="32" y="80"/>
                  </a:lnTo>
                  <a:lnTo>
                    <a:pt x="27" y="82"/>
                  </a:lnTo>
                  <a:lnTo>
                    <a:pt x="27" y="82"/>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11" name="Jamaica">
              <a:extLst>
                <a:ext uri="{FF2B5EF4-FFF2-40B4-BE49-F238E27FC236}">
                  <a16:creationId xmlns:a16="http://schemas.microsoft.com/office/drawing/2014/main" id="{49F85E94-A8E6-5A42-8F97-9BD4B1D75208}"/>
                </a:ext>
              </a:extLst>
            </p:cNvPr>
            <p:cNvSpPr>
              <a:spLocks/>
            </p:cNvSpPr>
            <p:nvPr/>
          </p:nvSpPr>
          <p:spPr bwMode="auto">
            <a:xfrm>
              <a:off x="4315370" y="3432511"/>
              <a:ext cx="58318" cy="23327"/>
            </a:xfrm>
            <a:custGeom>
              <a:avLst/>
              <a:gdLst>
                <a:gd name="T0" fmla="*/ 22 w 40"/>
                <a:gd name="T1" fmla="*/ 16 h 16"/>
                <a:gd name="T2" fmla="*/ 20 w 40"/>
                <a:gd name="T3" fmla="*/ 15 h 16"/>
                <a:gd name="T4" fmla="*/ 18 w 40"/>
                <a:gd name="T5" fmla="*/ 14 h 16"/>
                <a:gd name="T6" fmla="*/ 12 w 40"/>
                <a:gd name="T7" fmla="*/ 14 h 16"/>
                <a:gd name="T8" fmla="*/ 11 w 40"/>
                <a:gd name="T9" fmla="*/ 11 h 16"/>
                <a:gd name="T10" fmla="*/ 11 w 40"/>
                <a:gd name="T11" fmla="*/ 10 h 16"/>
                <a:gd name="T12" fmla="*/ 7 w 40"/>
                <a:gd name="T13" fmla="*/ 9 h 16"/>
                <a:gd name="T14" fmla="*/ 6 w 40"/>
                <a:gd name="T15" fmla="*/ 7 h 16"/>
                <a:gd name="T16" fmla="*/ 4 w 40"/>
                <a:gd name="T17" fmla="*/ 7 h 16"/>
                <a:gd name="T18" fmla="*/ 1 w 40"/>
                <a:gd name="T19" fmla="*/ 7 h 16"/>
                <a:gd name="T20" fmla="*/ 0 w 40"/>
                <a:gd name="T21" fmla="*/ 6 h 16"/>
                <a:gd name="T22" fmla="*/ 4 w 40"/>
                <a:gd name="T23" fmla="*/ 2 h 16"/>
                <a:gd name="T24" fmla="*/ 8 w 40"/>
                <a:gd name="T25" fmla="*/ 2 h 16"/>
                <a:gd name="T26" fmla="*/ 8 w 40"/>
                <a:gd name="T27" fmla="*/ 1 h 16"/>
                <a:gd name="T28" fmla="*/ 9 w 40"/>
                <a:gd name="T29" fmla="*/ 0 h 16"/>
                <a:gd name="T30" fmla="*/ 19 w 40"/>
                <a:gd name="T31" fmla="*/ 1 h 16"/>
                <a:gd name="T32" fmla="*/ 28 w 40"/>
                <a:gd name="T33" fmla="*/ 4 h 16"/>
                <a:gd name="T34" fmla="*/ 32 w 40"/>
                <a:gd name="T35" fmla="*/ 6 h 16"/>
                <a:gd name="T36" fmla="*/ 38 w 40"/>
                <a:gd name="T37" fmla="*/ 8 h 16"/>
                <a:gd name="T38" fmla="*/ 40 w 40"/>
                <a:gd name="T39" fmla="*/ 13 h 16"/>
                <a:gd name="T40" fmla="*/ 38 w 40"/>
                <a:gd name="T41" fmla="*/ 14 h 16"/>
                <a:gd name="T42" fmla="*/ 33 w 40"/>
                <a:gd name="T43" fmla="*/ 14 h 16"/>
                <a:gd name="T44" fmla="*/ 31 w 40"/>
                <a:gd name="T45" fmla="*/ 11 h 16"/>
                <a:gd name="T46" fmla="*/ 28 w 40"/>
                <a:gd name="T47" fmla="*/ 11 h 16"/>
                <a:gd name="T48" fmla="*/ 27 w 40"/>
                <a:gd name="T49" fmla="*/ 13 h 16"/>
                <a:gd name="T50" fmla="*/ 27 w 40"/>
                <a:gd name="T51" fmla="*/ 14 h 16"/>
                <a:gd name="T52" fmla="*/ 25 w 40"/>
                <a:gd name="T53" fmla="*/ 14 h 16"/>
                <a:gd name="T54" fmla="*/ 24 w 40"/>
                <a:gd name="T55" fmla="*/ 13 h 16"/>
                <a:gd name="T56" fmla="*/ 22 w 40"/>
                <a:gd name="T57" fmla="*/ 13 h 16"/>
                <a:gd name="T58" fmla="*/ 21 w 40"/>
                <a:gd name="T59" fmla="*/ 15 h 16"/>
                <a:gd name="T60" fmla="*/ 22 w 40"/>
                <a:gd name="T61" fmla="*/ 16 h 16"/>
                <a:gd name="T62" fmla="*/ 22 w 40"/>
                <a:gd name="T63" fmla="*/ 16 h 16"/>
                <a:gd name="T64" fmla="*/ 22 w 40"/>
                <a:gd name="T65" fmla="*/ 16 h 16"/>
                <a:gd name="T66" fmla="*/ 22 w 40"/>
                <a:gd name="T67" fmla="*/ 16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40" h="16">
                  <a:moveTo>
                    <a:pt x="22" y="16"/>
                  </a:moveTo>
                  <a:lnTo>
                    <a:pt x="20" y="15"/>
                  </a:lnTo>
                  <a:lnTo>
                    <a:pt x="18" y="14"/>
                  </a:lnTo>
                  <a:lnTo>
                    <a:pt x="12" y="14"/>
                  </a:lnTo>
                  <a:lnTo>
                    <a:pt x="11" y="11"/>
                  </a:lnTo>
                  <a:lnTo>
                    <a:pt x="11" y="10"/>
                  </a:lnTo>
                  <a:lnTo>
                    <a:pt x="7" y="9"/>
                  </a:lnTo>
                  <a:lnTo>
                    <a:pt x="6" y="7"/>
                  </a:lnTo>
                  <a:lnTo>
                    <a:pt x="4" y="7"/>
                  </a:lnTo>
                  <a:lnTo>
                    <a:pt x="1" y="7"/>
                  </a:lnTo>
                  <a:lnTo>
                    <a:pt x="0" y="6"/>
                  </a:lnTo>
                  <a:lnTo>
                    <a:pt x="4" y="2"/>
                  </a:lnTo>
                  <a:lnTo>
                    <a:pt x="8" y="2"/>
                  </a:lnTo>
                  <a:lnTo>
                    <a:pt x="8" y="1"/>
                  </a:lnTo>
                  <a:lnTo>
                    <a:pt x="9" y="0"/>
                  </a:lnTo>
                  <a:lnTo>
                    <a:pt x="19" y="1"/>
                  </a:lnTo>
                  <a:lnTo>
                    <a:pt x="28" y="4"/>
                  </a:lnTo>
                  <a:lnTo>
                    <a:pt x="32" y="6"/>
                  </a:lnTo>
                  <a:lnTo>
                    <a:pt x="38" y="8"/>
                  </a:lnTo>
                  <a:lnTo>
                    <a:pt x="40" y="13"/>
                  </a:lnTo>
                  <a:lnTo>
                    <a:pt x="38" y="14"/>
                  </a:lnTo>
                  <a:lnTo>
                    <a:pt x="33" y="14"/>
                  </a:lnTo>
                  <a:lnTo>
                    <a:pt x="31" y="11"/>
                  </a:lnTo>
                  <a:lnTo>
                    <a:pt x="28" y="11"/>
                  </a:lnTo>
                  <a:lnTo>
                    <a:pt x="27" y="13"/>
                  </a:lnTo>
                  <a:lnTo>
                    <a:pt x="27" y="14"/>
                  </a:lnTo>
                  <a:lnTo>
                    <a:pt x="25" y="14"/>
                  </a:lnTo>
                  <a:lnTo>
                    <a:pt x="24" y="13"/>
                  </a:lnTo>
                  <a:lnTo>
                    <a:pt x="22" y="13"/>
                  </a:lnTo>
                  <a:lnTo>
                    <a:pt x="21" y="15"/>
                  </a:lnTo>
                  <a:lnTo>
                    <a:pt x="22" y="16"/>
                  </a:lnTo>
                  <a:lnTo>
                    <a:pt x="22" y="16"/>
                  </a:lnTo>
                  <a:lnTo>
                    <a:pt x="22" y="16"/>
                  </a:lnTo>
                  <a:lnTo>
                    <a:pt x="22" y="16"/>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12" name="Israel">
              <a:extLst>
                <a:ext uri="{FF2B5EF4-FFF2-40B4-BE49-F238E27FC236}">
                  <a16:creationId xmlns:a16="http://schemas.microsoft.com/office/drawing/2014/main" id="{F388E6E2-717A-5646-B16D-FCE07BDD89D9}"/>
                </a:ext>
              </a:extLst>
            </p:cNvPr>
            <p:cNvSpPr>
              <a:spLocks/>
            </p:cNvSpPr>
            <p:nvPr/>
          </p:nvSpPr>
          <p:spPr bwMode="auto">
            <a:xfrm>
              <a:off x="7228352" y="2993669"/>
              <a:ext cx="30618" cy="107888"/>
            </a:xfrm>
            <a:custGeom>
              <a:avLst/>
              <a:gdLst>
                <a:gd name="T0" fmla="*/ 21 w 21"/>
                <a:gd name="T1" fmla="*/ 33 h 74"/>
                <a:gd name="T2" fmla="*/ 18 w 21"/>
                <a:gd name="T3" fmla="*/ 35 h 74"/>
                <a:gd name="T4" fmla="*/ 12 w 21"/>
                <a:gd name="T5" fmla="*/ 36 h 74"/>
                <a:gd name="T6" fmla="*/ 12 w 21"/>
                <a:gd name="T7" fmla="*/ 33 h 74"/>
                <a:gd name="T8" fmla="*/ 16 w 21"/>
                <a:gd name="T9" fmla="*/ 28 h 74"/>
                <a:gd name="T10" fmla="*/ 14 w 21"/>
                <a:gd name="T11" fmla="*/ 26 h 74"/>
                <a:gd name="T12" fmla="*/ 11 w 21"/>
                <a:gd name="T13" fmla="*/ 26 h 74"/>
                <a:gd name="T14" fmla="*/ 12 w 21"/>
                <a:gd name="T15" fmla="*/ 22 h 74"/>
                <a:gd name="T16" fmla="*/ 12 w 21"/>
                <a:gd name="T17" fmla="*/ 17 h 74"/>
                <a:gd name="T18" fmla="*/ 12 w 21"/>
                <a:gd name="T19" fmla="*/ 13 h 74"/>
                <a:gd name="T20" fmla="*/ 16 w 21"/>
                <a:gd name="T21" fmla="*/ 13 h 74"/>
                <a:gd name="T22" fmla="*/ 18 w 21"/>
                <a:gd name="T23" fmla="*/ 13 h 74"/>
                <a:gd name="T24" fmla="*/ 20 w 21"/>
                <a:gd name="T25" fmla="*/ 14 h 74"/>
                <a:gd name="T26" fmla="*/ 18 w 21"/>
                <a:gd name="T27" fmla="*/ 11 h 74"/>
                <a:gd name="T28" fmla="*/ 19 w 21"/>
                <a:gd name="T29" fmla="*/ 9 h 74"/>
                <a:gd name="T30" fmla="*/ 21 w 21"/>
                <a:gd name="T31" fmla="*/ 9 h 74"/>
                <a:gd name="T32" fmla="*/ 21 w 21"/>
                <a:gd name="T33" fmla="*/ 8 h 74"/>
                <a:gd name="T34" fmla="*/ 20 w 21"/>
                <a:gd name="T35" fmla="*/ 6 h 74"/>
                <a:gd name="T36" fmla="*/ 20 w 21"/>
                <a:gd name="T37" fmla="*/ 2 h 74"/>
                <a:gd name="T38" fmla="*/ 18 w 21"/>
                <a:gd name="T39" fmla="*/ 1 h 74"/>
                <a:gd name="T40" fmla="*/ 17 w 21"/>
                <a:gd name="T41" fmla="*/ 1 h 74"/>
                <a:gd name="T42" fmla="*/ 16 w 21"/>
                <a:gd name="T43" fmla="*/ 2 h 74"/>
                <a:gd name="T44" fmla="*/ 13 w 21"/>
                <a:gd name="T45" fmla="*/ 1 h 74"/>
                <a:gd name="T46" fmla="*/ 11 w 21"/>
                <a:gd name="T47" fmla="*/ 3 h 74"/>
                <a:gd name="T48" fmla="*/ 11 w 21"/>
                <a:gd name="T49" fmla="*/ 7 h 74"/>
                <a:gd name="T50" fmla="*/ 9 w 21"/>
                <a:gd name="T51" fmla="*/ 7 h 74"/>
                <a:gd name="T52" fmla="*/ 10 w 21"/>
                <a:gd name="T53" fmla="*/ 9 h 74"/>
                <a:gd name="T54" fmla="*/ 7 w 21"/>
                <a:gd name="T55" fmla="*/ 15 h 74"/>
                <a:gd name="T56" fmla="*/ 6 w 21"/>
                <a:gd name="T57" fmla="*/ 24 h 74"/>
                <a:gd name="T58" fmla="*/ 5 w 21"/>
                <a:gd name="T59" fmla="*/ 31 h 74"/>
                <a:gd name="T60" fmla="*/ 3 w 21"/>
                <a:gd name="T61" fmla="*/ 36 h 74"/>
                <a:gd name="T62" fmla="*/ 0 w 21"/>
                <a:gd name="T63" fmla="*/ 40 h 74"/>
                <a:gd name="T64" fmla="*/ 4 w 21"/>
                <a:gd name="T65" fmla="*/ 44 h 74"/>
                <a:gd name="T66" fmla="*/ 7 w 21"/>
                <a:gd name="T67" fmla="*/ 53 h 74"/>
                <a:gd name="T68" fmla="*/ 9 w 21"/>
                <a:gd name="T69" fmla="*/ 56 h 74"/>
                <a:gd name="T70" fmla="*/ 10 w 21"/>
                <a:gd name="T71" fmla="*/ 57 h 74"/>
                <a:gd name="T72" fmla="*/ 12 w 21"/>
                <a:gd name="T73" fmla="*/ 66 h 74"/>
                <a:gd name="T74" fmla="*/ 14 w 21"/>
                <a:gd name="T75" fmla="*/ 69 h 74"/>
                <a:gd name="T76" fmla="*/ 16 w 21"/>
                <a:gd name="T77" fmla="*/ 73 h 74"/>
                <a:gd name="T78" fmla="*/ 17 w 21"/>
                <a:gd name="T79" fmla="*/ 74 h 74"/>
                <a:gd name="T80" fmla="*/ 17 w 21"/>
                <a:gd name="T81" fmla="*/ 68 h 74"/>
                <a:gd name="T82" fmla="*/ 17 w 21"/>
                <a:gd name="T83" fmla="*/ 66 h 74"/>
                <a:gd name="T84" fmla="*/ 19 w 21"/>
                <a:gd name="T85" fmla="*/ 62 h 74"/>
                <a:gd name="T86" fmla="*/ 18 w 21"/>
                <a:gd name="T87" fmla="*/ 57 h 74"/>
                <a:gd name="T88" fmla="*/ 18 w 21"/>
                <a:gd name="T89" fmla="*/ 53 h 74"/>
                <a:gd name="T90" fmla="*/ 18 w 21"/>
                <a:gd name="T91" fmla="*/ 49 h 74"/>
                <a:gd name="T92" fmla="*/ 19 w 21"/>
                <a:gd name="T93" fmla="*/ 47 h 74"/>
                <a:gd name="T94" fmla="*/ 20 w 21"/>
                <a:gd name="T95" fmla="*/ 46 h 74"/>
                <a:gd name="T96" fmla="*/ 21 w 21"/>
                <a:gd name="T97" fmla="*/ 42 h 74"/>
                <a:gd name="T98" fmla="*/ 20 w 21"/>
                <a:gd name="T99" fmla="*/ 40 h 74"/>
                <a:gd name="T100" fmla="*/ 20 w 21"/>
                <a:gd name="T101" fmla="*/ 37 h 74"/>
                <a:gd name="T102" fmla="*/ 21 w 21"/>
                <a:gd name="T103" fmla="*/ 34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21" h="74">
                  <a:moveTo>
                    <a:pt x="21" y="34"/>
                  </a:moveTo>
                  <a:lnTo>
                    <a:pt x="21" y="33"/>
                  </a:lnTo>
                  <a:lnTo>
                    <a:pt x="20" y="33"/>
                  </a:lnTo>
                  <a:lnTo>
                    <a:pt x="18" y="35"/>
                  </a:lnTo>
                  <a:lnTo>
                    <a:pt x="17" y="35"/>
                  </a:lnTo>
                  <a:lnTo>
                    <a:pt x="12" y="36"/>
                  </a:lnTo>
                  <a:lnTo>
                    <a:pt x="11" y="35"/>
                  </a:lnTo>
                  <a:lnTo>
                    <a:pt x="12" y="33"/>
                  </a:lnTo>
                  <a:lnTo>
                    <a:pt x="12" y="30"/>
                  </a:lnTo>
                  <a:lnTo>
                    <a:pt x="16" y="28"/>
                  </a:lnTo>
                  <a:lnTo>
                    <a:pt x="16" y="28"/>
                  </a:lnTo>
                  <a:lnTo>
                    <a:pt x="14" y="26"/>
                  </a:lnTo>
                  <a:lnTo>
                    <a:pt x="12" y="27"/>
                  </a:lnTo>
                  <a:lnTo>
                    <a:pt x="11" y="26"/>
                  </a:lnTo>
                  <a:lnTo>
                    <a:pt x="11" y="23"/>
                  </a:lnTo>
                  <a:lnTo>
                    <a:pt x="12" y="22"/>
                  </a:lnTo>
                  <a:lnTo>
                    <a:pt x="11" y="20"/>
                  </a:lnTo>
                  <a:lnTo>
                    <a:pt x="12" y="17"/>
                  </a:lnTo>
                  <a:lnTo>
                    <a:pt x="12" y="15"/>
                  </a:lnTo>
                  <a:lnTo>
                    <a:pt x="12" y="13"/>
                  </a:lnTo>
                  <a:lnTo>
                    <a:pt x="14" y="11"/>
                  </a:lnTo>
                  <a:lnTo>
                    <a:pt x="16" y="13"/>
                  </a:lnTo>
                  <a:lnTo>
                    <a:pt x="17" y="11"/>
                  </a:lnTo>
                  <a:lnTo>
                    <a:pt x="18" y="13"/>
                  </a:lnTo>
                  <a:lnTo>
                    <a:pt x="19" y="14"/>
                  </a:lnTo>
                  <a:lnTo>
                    <a:pt x="20" y="14"/>
                  </a:lnTo>
                  <a:lnTo>
                    <a:pt x="19" y="13"/>
                  </a:lnTo>
                  <a:lnTo>
                    <a:pt x="18" y="11"/>
                  </a:lnTo>
                  <a:lnTo>
                    <a:pt x="19" y="10"/>
                  </a:lnTo>
                  <a:lnTo>
                    <a:pt x="19" y="9"/>
                  </a:lnTo>
                  <a:lnTo>
                    <a:pt x="21" y="9"/>
                  </a:lnTo>
                  <a:lnTo>
                    <a:pt x="21" y="9"/>
                  </a:lnTo>
                  <a:lnTo>
                    <a:pt x="21" y="8"/>
                  </a:lnTo>
                  <a:lnTo>
                    <a:pt x="21" y="8"/>
                  </a:lnTo>
                  <a:lnTo>
                    <a:pt x="20" y="7"/>
                  </a:lnTo>
                  <a:lnTo>
                    <a:pt x="20" y="6"/>
                  </a:lnTo>
                  <a:lnTo>
                    <a:pt x="20" y="4"/>
                  </a:lnTo>
                  <a:lnTo>
                    <a:pt x="20" y="2"/>
                  </a:lnTo>
                  <a:lnTo>
                    <a:pt x="21" y="0"/>
                  </a:lnTo>
                  <a:lnTo>
                    <a:pt x="18" y="1"/>
                  </a:lnTo>
                  <a:lnTo>
                    <a:pt x="18" y="1"/>
                  </a:lnTo>
                  <a:lnTo>
                    <a:pt x="17" y="1"/>
                  </a:lnTo>
                  <a:lnTo>
                    <a:pt x="16" y="2"/>
                  </a:lnTo>
                  <a:lnTo>
                    <a:pt x="16" y="2"/>
                  </a:lnTo>
                  <a:lnTo>
                    <a:pt x="14" y="1"/>
                  </a:lnTo>
                  <a:lnTo>
                    <a:pt x="13" y="1"/>
                  </a:lnTo>
                  <a:lnTo>
                    <a:pt x="11" y="1"/>
                  </a:lnTo>
                  <a:lnTo>
                    <a:pt x="11" y="3"/>
                  </a:lnTo>
                  <a:lnTo>
                    <a:pt x="11" y="4"/>
                  </a:lnTo>
                  <a:lnTo>
                    <a:pt x="11" y="7"/>
                  </a:lnTo>
                  <a:lnTo>
                    <a:pt x="11" y="7"/>
                  </a:lnTo>
                  <a:lnTo>
                    <a:pt x="9" y="7"/>
                  </a:lnTo>
                  <a:lnTo>
                    <a:pt x="9" y="7"/>
                  </a:lnTo>
                  <a:lnTo>
                    <a:pt x="10" y="9"/>
                  </a:lnTo>
                  <a:lnTo>
                    <a:pt x="9" y="9"/>
                  </a:lnTo>
                  <a:lnTo>
                    <a:pt x="7" y="15"/>
                  </a:lnTo>
                  <a:lnTo>
                    <a:pt x="9" y="21"/>
                  </a:lnTo>
                  <a:lnTo>
                    <a:pt x="6" y="24"/>
                  </a:lnTo>
                  <a:lnTo>
                    <a:pt x="6" y="29"/>
                  </a:lnTo>
                  <a:lnTo>
                    <a:pt x="5" y="31"/>
                  </a:lnTo>
                  <a:lnTo>
                    <a:pt x="5" y="33"/>
                  </a:lnTo>
                  <a:lnTo>
                    <a:pt x="3" y="36"/>
                  </a:lnTo>
                  <a:lnTo>
                    <a:pt x="3" y="37"/>
                  </a:lnTo>
                  <a:lnTo>
                    <a:pt x="0" y="40"/>
                  </a:lnTo>
                  <a:lnTo>
                    <a:pt x="1" y="41"/>
                  </a:lnTo>
                  <a:lnTo>
                    <a:pt x="4" y="44"/>
                  </a:lnTo>
                  <a:lnTo>
                    <a:pt x="6" y="50"/>
                  </a:lnTo>
                  <a:lnTo>
                    <a:pt x="7" y="53"/>
                  </a:lnTo>
                  <a:lnTo>
                    <a:pt x="7" y="54"/>
                  </a:lnTo>
                  <a:lnTo>
                    <a:pt x="9" y="56"/>
                  </a:lnTo>
                  <a:lnTo>
                    <a:pt x="9" y="56"/>
                  </a:lnTo>
                  <a:lnTo>
                    <a:pt x="10" y="57"/>
                  </a:lnTo>
                  <a:lnTo>
                    <a:pt x="12" y="66"/>
                  </a:lnTo>
                  <a:lnTo>
                    <a:pt x="12" y="66"/>
                  </a:lnTo>
                  <a:lnTo>
                    <a:pt x="13" y="68"/>
                  </a:lnTo>
                  <a:lnTo>
                    <a:pt x="14" y="69"/>
                  </a:lnTo>
                  <a:lnTo>
                    <a:pt x="14" y="71"/>
                  </a:lnTo>
                  <a:lnTo>
                    <a:pt x="16" y="73"/>
                  </a:lnTo>
                  <a:lnTo>
                    <a:pt x="14" y="74"/>
                  </a:lnTo>
                  <a:lnTo>
                    <a:pt x="17" y="74"/>
                  </a:lnTo>
                  <a:lnTo>
                    <a:pt x="17" y="70"/>
                  </a:lnTo>
                  <a:lnTo>
                    <a:pt x="17" y="68"/>
                  </a:lnTo>
                  <a:lnTo>
                    <a:pt x="17" y="66"/>
                  </a:lnTo>
                  <a:lnTo>
                    <a:pt x="17" y="66"/>
                  </a:lnTo>
                  <a:lnTo>
                    <a:pt x="18" y="63"/>
                  </a:lnTo>
                  <a:lnTo>
                    <a:pt x="19" y="62"/>
                  </a:lnTo>
                  <a:lnTo>
                    <a:pt x="17" y="60"/>
                  </a:lnTo>
                  <a:lnTo>
                    <a:pt x="18" y="57"/>
                  </a:lnTo>
                  <a:lnTo>
                    <a:pt x="17" y="56"/>
                  </a:lnTo>
                  <a:lnTo>
                    <a:pt x="18" y="53"/>
                  </a:lnTo>
                  <a:lnTo>
                    <a:pt x="18" y="50"/>
                  </a:lnTo>
                  <a:lnTo>
                    <a:pt x="18" y="49"/>
                  </a:lnTo>
                  <a:lnTo>
                    <a:pt x="19" y="48"/>
                  </a:lnTo>
                  <a:lnTo>
                    <a:pt x="19" y="47"/>
                  </a:lnTo>
                  <a:lnTo>
                    <a:pt x="20" y="46"/>
                  </a:lnTo>
                  <a:lnTo>
                    <a:pt x="20" y="46"/>
                  </a:lnTo>
                  <a:lnTo>
                    <a:pt x="20" y="43"/>
                  </a:lnTo>
                  <a:lnTo>
                    <a:pt x="21" y="42"/>
                  </a:lnTo>
                  <a:lnTo>
                    <a:pt x="21" y="41"/>
                  </a:lnTo>
                  <a:lnTo>
                    <a:pt x="20" y="40"/>
                  </a:lnTo>
                  <a:lnTo>
                    <a:pt x="21" y="38"/>
                  </a:lnTo>
                  <a:lnTo>
                    <a:pt x="20" y="37"/>
                  </a:lnTo>
                  <a:lnTo>
                    <a:pt x="21" y="35"/>
                  </a:lnTo>
                  <a:lnTo>
                    <a:pt x="21" y="34"/>
                  </a:lnTo>
                  <a:lnTo>
                    <a:pt x="21" y="34"/>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13" name="Ireland">
              <a:extLst>
                <a:ext uri="{FF2B5EF4-FFF2-40B4-BE49-F238E27FC236}">
                  <a16:creationId xmlns:a16="http://schemas.microsoft.com/office/drawing/2014/main" id="{0FCF076C-03FD-774D-82A9-618FF4FCEB36}"/>
                </a:ext>
              </a:extLst>
            </p:cNvPr>
            <p:cNvSpPr>
              <a:spLocks/>
            </p:cNvSpPr>
            <p:nvPr/>
          </p:nvSpPr>
          <p:spPr bwMode="auto">
            <a:xfrm>
              <a:off x="6123227" y="2340507"/>
              <a:ext cx="102056" cy="110804"/>
            </a:xfrm>
            <a:custGeom>
              <a:avLst/>
              <a:gdLst>
                <a:gd name="T0" fmla="*/ 46 w 70"/>
                <a:gd name="T1" fmla="*/ 3 h 76"/>
                <a:gd name="T2" fmla="*/ 47 w 70"/>
                <a:gd name="T3" fmla="*/ 6 h 76"/>
                <a:gd name="T4" fmla="*/ 44 w 70"/>
                <a:gd name="T5" fmla="*/ 2 h 76"/>
                <a:gd name="T6" fmla="*/ 43 w 70"/>
                <a:gd name="T7" fmla="*/ 4 h 76"/>
                <a:gd name="T8" fmla="*/ 38 w 70"/>
                <a:gd name="T9" fmla="*/ 4 h 76"/>
                <a:gd name="T10" fmla="*/ 37 w 70"/>
                <a:gd name="T11" fmla="*/ 6 h 76"/>
                <a:gd name="T12" fmla="*/ 35 w 70"/>
                <a:gd name="T13" fmla="*/ 8 h 76"/>
                <a:gd name="T14" fmla="*/ 33 w 70"/>
                <a:gd name="T15" fmla="*/ 10 h 76"/>
                <a:gd name="T16" fmla="*/ 35 w 70"/>
                <a:gd name="T17" fmla="*/ 14 h 76"/>
                <a:gd name="T18" fmla="*/ 37 w 70"/>
                <a:gd name="T19" fmla="*/ 16 h 76"/>
                <a:gd name="T20" fmla="*/ 30 w 70"/>
                <a:gd name="T21" fmla="*/ 21 h 76"/>
                <a:gd name="T22" fmla="*/ 31 w 70"/>
                <a:gd name="T23" fmla="*/ 22 h 76"/>
                <a:gd name="T24" fmla="*/ 23 w 70"/>
                <a:gd name="T25" fmla="*/ 23 h 76"/>
                <a:gd name="T26" fmla="*/ 20 w 70"/>
                <a:gd name="T27" fmla="*/ 21 h 76"/>
                <a:gd name="T28" fmla="*/ 14 w 70"/>
                <a:gd name="T29" fmla="*/ 21 h 76"/>
                <a:gd name="T30" fmla="*/ 9 w 70"/>
                <a:gd name="T31" fmla="*/ 21 h 76"/>
                <a:gd name="T32" fmla="*/ 11 w 70"/>
                <a:gd name="T33" fmla="*/ 23 h 76"/>
                <a:gd name="T34" fmla="*/ 11 w 70"/>
                <a:gd name="T35" fmla="*/ 26 h 76"/>
                <a:gd name="T36" fmla="*/ 10 w 70"/>
                <a:gd name="T37" fmla="*/ 29 h 76"/>
                <a:gd name="T38" fmla="*/ 16 w 70"/>
                <a:gd name="T39" fmla="*/ 31 h 76"/>
                <a:gd name="T40" fmla="*/ 9 w 70"/>
                <a:gd name="T41" fmla="*/ 35 h 76"/>
                <a:gd name="T42" fmla="*/ 6 w 70"/>
                <a:gd name="T43" fmla="*/ 37 h 76"/>
                <a:gd name="T44" fmla="*/ 11 w 70"/>
                <a:gd name="T45" fmla="*/ 37 h 76"/>
                <a:gd name="T46" fmla="*/ 15 w 70"/>
                <a:gd name="T47" fmla="*/ 38 h 76"/>
                <a:gd name="T48" fmla="*/ 22 w 70"/>
                <a:gd name="T49" fmla="*/ 41 h 76"/>
                <a:gd name="T50" fmla="*/ 23 w 70"/>
                <a:gd name="T51" fmla="*/ 42 h 76"/>
                <a:gd name="T52" fmla="*/ 20 w 70"/>
                <a:gd name="T53" fmla="*/ 43 h 76"/>
                <a:gd name="T54" fmla="*/ 16 w 70"/>
                <a:gd name="T55" fmla="*/ 51 h 76"/>
                <a:gd name="T56" fmla="*/ 11 w 70"/>
                <a:gd name="T57" fmla="*/ 55 h 76"/>
                <a:gd name="T58" fmla="*/ 24 w 70"/>
                <a:gd name="T59" fmla="*/ 51 h 76"/>
                <a:gd name="T60" fmla="*/ 20 w 70"/>
                <a:gd name="T61" fmla="*/ 55 h 76"/>
                <a:gd name="T62" fmla="*/ 9 w 70"/>
                <a:gd name="T63" fmla="*/ 58 h 76"/>
                <a:gd name="T64" fmla="*/ 10 w 70"/>
                <a:gd name="T65" fmla="*/ 62 h 76"/>
                <a:gd name="T66" fmla="*/ 6 w 70"/>
                <a:gd name="T67" fmla="*/ 61 h 76"/>
                <a:gd name="T68" fmla="*/ 0 w 70"/>
                <a:gd name="T69" fmla="*/ 64 h 76"/>
                <a:gd name="T70" fmla="*/ 8 w 70"/>
                <a:gd name="T71" fmla="*/ 63 h 76"/>
                <a:gd name="T72" fmla="*/ 3 w 70"/>
                <a:gd name="T73" fmla="*/ 67 h 76"/>
                <a:gd name="T74" fmla="*/ 6 w 70"/>
                <a:gd name="T75" fmla="*/ 69 h 76"/>
                <a:gd name="T76" fmla="*/ 14 w 70"/>
                <a:gd name="T77" fmla="*/ 68 h 76"/>
                <a:gd name="T78" fmla="*/ 7 w 70"/>
                <a:gd name="T79" fmla="*/ 73 h 76"/>
                <a:gd name="T80" fmla="*/ 8 w 70"/>
                <a:gd name="T81" fmla="*/ 73 h 76"/>
                <a:gd name="T82" fmla="*/ 14 w 70"/>
                <a:gd name="T83" fmla="*/ 73 h 76"/>
                <a:gd name="T84" fmla="*/ 10 w 70"/>
                <a:gd name="T85" fmla="*/ 76 h 76"/>
                <a:gd name="T86" fmla="*/ 16 w 70"/>
                <a:gd name="T87" fmla="*/ 75 h 76"/>
                <a:gd name="T88" fmla="*/ 21 w 70"/>
                <a:gd name="T89" fmla="*/ 75 h 76"/>
                <a:gd name="T90" fmla="*/ 29 w 70"/>
                <a:gd name="T91" fmla="*/ 74 h 76"/>
                <a:gd name="T92" fmla="*/ 33 w 70"/>
                <a:gd name="T93" fmla="*/ 68 h 76"/>
                <a:gd name="T94" fmla="*/ 37 w 70"/>
                <a:gd name="T95" fmla="*/ 68 h 76"/>
                <a:gd name="T96" fmla="*/ 47 w 70"/>
                <a:gd name="T97" fmla="*/ 65 h 76"/>
                <a:gd name="T98" fmla="*/ 53 w 70"/>
                <a:gd name="T99" fmla="*/ 63 h 76"/>
                <a:gd name="T100" fmla="*/ 58 w 70"/>
                <a:gd name="T101" fmla="*/ 62 h 76"/>
                <a:gd name="T102" fmla="*/ 64 w 70"/>
                <a:gd name="T103" fmla="*/ 60 h 76"/>
                <a:gd name="T104" fmla="*/ 68 w 70"/>
                <a:gd name="T105" fmla="*/ 42 h 76"/>
                <a:gd name="T106" fmla="*/ 67 w 70"/>
                <a:gd name="T107" fmla="*/ 29 h 76"/>
                <a:gd name="T108" fmla="*/ 61 w 70"/>
                <a:gd name="T109" fmla="*/ 23 h 76"/>
                <a:gd name="T110" fmla="*/ 49 w 70"/>
                <a:gd name="T111" fmla="*/ 23 h 76"/>
                <a:gd name="T112" fmla="*/ 43 w 70"/>
                <a:gd name="T113" fmla="*/ 16 h 76"/>
                <a:gd name="T114" fmla="*/ 50 w 70"/>
                <a:gd name="T115" fmla="*/ 7 h 76"/>
                <a:gd name="T116" fmla="*/ 55 w 70"/>
                <a:gd name="T117" fmla="*/ 2 h 76"/>
                <a:gd name="T118" fmla="*/ 51 w 70"/>
                <a:gd name="T119" fmla="*/ 2 h 76"/>
                <a:gd name="T120" fmla="*/ 50 w 70"/>
                <a:gd name="T121" fmla="*/ 6 h 76"/>
                <a:gd name="T122" fmla="*/ 48 w 70"/>
                <a:gd name="T123" fmla="*/ 7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0" h="76">
                  <a:moveTo>
                    <a:pt x="48" y="3"/>
                  </a:moveTo>
                  <a:lnTo>
                    <a:pt x="48" y="3"/>
                  </a:lnTo>
                  <a:lnTo>
                    <a:pt x="47" y="2"/>
                  </a:lnTo>
                  <a:lnTo>
                    <a:pt x="47" y="2"/>
                  </a:lnTo>
                  <a:lnTo>
                    <a:pt x="47" y="2"/>
                  </a:lnTo>
                  <a:lnTo>
                    <a:pt x="47" y="2"/>
                  </a:lnTo>
                  <a:lnTo>
                    <a:pt x="46" y="2"/>
                  </a:lnTo>
                  <a:lnTo>
                    <a:pt x="46" y="2"/>
                  </a:lnTo>
                  <a:lnTo>
                    <a:pt x="46" y="2"/>
                  </a:lnTo>
                  <a:lnTo>
                    <a:pt x="46" y="3"/>
                  </a:lnTo>
                  <a:lnTo>
                    <a:pt x="44" y="3"/>
                  </a:lnTo>
                  <a:lnTo>
                    <a:pt x="46" y="3"/>
                  </a:lnTo>
                  <a:lnTo>
                    <a:pt x="46" y="3"/>
                  </a:lnTo>
                  <a:lnTo>
                    <a:pt x="46" y="3"/>
                  </a:lnTo>
                  <a:lnTo>
                    <a:pt x="46" y="3"/>
                  </a:lnTo>
                  <a:lnTo>
                    <a:pt x="46" y="4"/>
                  </a:lnTo>
                  <a:lnTo>
                    <a:pt x="46" y="4"/>
                  </a:lnTo>
                  <a:lnTo>
                    <a:pt x="46" y="3"/>
                  </a:lnTo>
                  <a:lnTo>
                    <a:pt x="46" y="3"/>
                  </a:lnTo>
                  <a:lnTo>
                    <a:pt x="46" y="3"/>
                  </a:lnTo>
                  <a:lnTo>
                    <a:pt x="47" y="3"/>
                  </a:lnTo>
                  <a:lnTo>
                    <a:pt x="47" y="3"/>
                  </a:lnTo>
                  <a:lnTo>
                    <a:pt x="47" y="4"/>
                  </a:lnTo>
                  <a:lnTo>
                    <a:pt x="47" y="4"/>
                  </a:lnTo>
                  <a:lnTo>
                    <a:pt x="47" y="4"/>
                  </a:lnTo>
                  <a:lnTo>
                    <a:pt x="47" y="4"/>
                  </a:lnTo>
                  <a:lnTo>
                    <a:pt x="47" y="6"/>
                  </a:lnTo>
                  <a:lnTo>
                    <a:pt x="47" y="6"/>
                  </a:lnTo>
                  <a:lnTo>
                    <a:pt x="46" y="6"/>
                  </a:lnTo>
                  <a:lnTo>
                    <a:pt x="47" y="6"/>
                  </a:lnTo>
                  <a:lnTo>
                    <a:pt x="47" y="4"/>
                  </a:lnTo>
                  <a:lnTo>
                    <a:pt x="47" y="4"/>
                  </a:lnTo>
                  <a:lnTo>
                    <a:pt x="46" y="4"/>
                  </a:lnTo>
                  <a:lnTo>
                    <a:pt x="46" y="4"/>
                  </a:lnTo>
                  <a:lnTo>
                    <a:pt x="46" y="4"/>
                  </a:lnTo>
                  <a:lnTo>
                    <a:pt x="44" y="4"/>
                  </a:lnTo>
                  <a:lnTo>
                    <a:pt x="44" y="4"/>
                  </a:lnTo>
                  <a:lnTo>
                    <a:pt x="44" y="3"/>
                  </a:lnTo>
                  <a:lnTo>
                    <a:pt x="44" y="3"/>
                  </a:lnTo>
                  <a:lnTo>
                    <a:pt x="44" y="3"/>
                  </a:lnTo>
                  <a:lnTo>
                    <a:pt x="44" y="3"/>
                  </a:lnTo>
                  <a:lnTo>
                    <a:pt x="44" y="2"/>
                  </a:lnTo>
                  <a:lnTo>
                    <a:pt x="44" y="3"/>
                  </a:lnTo>
                  <a:lnTo>
                    <a:pt x="44" y="3"/>
                  </a:lnTo>
                  <a:lnTo>
                    <a:pt x="44" y="3"/>
                  </a:lnTo>
                  <a:lnTo>
                    <a:pt x="43" y="3"/>
                  </a:lnTo>
                  <a:lnTo>
                    <a:pt x="43" y="3"/>
                  </a:lnTo>
                  <a:lnTo>
                    <a:pt x="44" y="3"/>
                  </a:lnTo>
                  <a:lnTo>
                    <a:pt x="44" y="4"/>
                  </a:lnTo>
                  <a:lnTo>
                    <a:pt x="44" y="4"/>
                  </a:lnTo>
                  <a:lnTo>
                    <a:pt x="44" y="4"/>
                  </a:lnTo>
                  <a:lnTo>
                    <a:pt x="44" y="4"/>
                  </a:lnTo>
                  <a:lnTo>
                    <a:pt x="43" y="4"/>
                  </a:lnTo>
                  <a:lnTo>
                    <a:pt x="43" y="4"/>
                  </a:lnTo>
                  <a:lnTo>
                    <a:pt x="43" y="4"/>
                  </a:lnTo>
                  <a:lnTo>
                    <a:pt x="43" y="4"/>
                  </a:lnTo>
                  <a:lnTo>
                    <a:pt x="43" y="4"/>
                  </a:lnTo>
                  <a:lnTo>
                    <a:pt x="43" y="4"/>
                  </a:lnTo>
                  <a:lnTo>
                    <a:pt x="43" y="4"/>
                  </a:lnTo>
                  <a:lnTo>
                    <a:pt x="42" y="4"/>
                  </a:lnTo>
                  <a:lnTo>
                    <a:pt x="42" y="3"/>
                  </a:lnTo>
                  <a:lnTo>
                    <a:pt x="42" y="3"/>
                  </a:lnTo>
                  <a:lnTo>
                    <a:pt x="42" y="2"/>
                  </a:lnTo>
                  <a:lnTo>
                    <a:pt x="42" y="2"/>
                  </a:lnTo>
                  <a:lnTo>
                    <a:pt x="41" y="3"/>
                  </a:lnTo>
                  <a:lnTo>
                    <a:pt x="41" y="3"/>
                  </a:lnTo>
                  <a:lnTo>
                    <a:pt x="41" y="3"/>
                  </a:lnTo>
                  <a:lnTo>
                    <a:pt x="40" y="4"/>
                  </a:lnTo>
                  <a:lnTo>
                    <a:pt x="40" y="4"/>
                  </a:lnTo>
                  <a:lnTo>
                    <a:pt x="38" y="4"/>
                  </a:lnTo>
                  <a:lnTo>
                    <a:pt x="38" y="4"/>
                  </a:lnTo>
                  <a:lnTo>
                    <a:pt x="38" y="4"/>
                  </a:lnTo>
                  <a:lnTo>
                    <a:pt x="40" y="4"/>
                  </a:lnTo>
                  <a:lnTo>
                    <a:pt x="38" y="4"/>
                  </a:lnTo>
                  <a:lnTo>
                    <a:pt x="38" y="4"/>
                  </a:lnTo>
                  <a:lnTo>
                    <a:pt x="38" y="4"/>
                  </a:lnTo>
                  <a:lnTo>
                    <a:pt x="37" y="4"/>
                  </a:lnTo>
                  <a:lnTo>
                    <a:pt x="37" y="4"/>
                  </a:lnTo>
                  <a:lnTo>
                    <a:pt x="37" y="4"/>
                  </a:lnTo>
                  <a:lnTo>
                    <a:pt x="37" y="6"/>
                  </a:lnTo>
                  <a:lnTo>
                    <a:pt x="36" y="6"/>
                  </a:lnTo>
                  <a:lnTo>
                    <a:pt x="36" y="6"/>
                  </a:lnTo>
                  <a:lnTo>
                    <a:pt x="37" y="6"/>
                  </a:lnTo>
                  <a:lnTo>
                    <a:pt x="37" y="6"/>
                  </a:lnTo>
                  <a:lnTo>
                    <a:pt x="36" y="6"/>
                  </a:lnTo>
                  <a:lnTo>
                    <a:pt x="36" y="6"/>
                  </a:lnTo>
                  <a:lnTo>
                    <a:pt x="36" y="6"/>
                  </a:lnTo>
                  <a:lnTo>
                    <a:pt x="36" y="7"/>
                  </a:lnTo>
                  <a:lnTo>
                    <a:pt x="35" y="7"/>
                  </a:lnTo>
                  <a:lnTo>
                    <a:pt x="35" y="7"/>
                  </a:lnTo>
                  <a:lnTo>
                    <a:pt x="35" y="7"/>
                  </a:lnTo>
                  <a:lnTo>
                    <a:pt x="35" y="7"/>
                  </a:lnTo>
                  <a:lnTo>
                    <a:pt x="35" y="7"/>
                  </a:lnTo>
                  <a:lnTo>
                    <a:pt x="35" y="8"/>
                  </a:lnTo>
                  <a:lnTo>
                    <a:pt x="35" y="8"/>
                  </a:lnTo>
                  <a:lnTo>
                    <a:pt x="36" y="8"/>
                  </a:lnTo>
                  <a:lnTo>
                    <a:pt x="35" y="8"/>
                  </a:lnTo>
                  <a:lnTo>
                    <a:pt x="35" y="8"/>
                  </a:lnTo>
                  <a:lnTo>
                    <a:pt x="35" y="9"/>
                  </a:lnTo>
                  <a:lnTo>
                    <a:pt x="35" y="9"/>
                  </a:lnTo>
                  <a:lnTo>
                    <a:pt x="35" y="9"/>
                  </a:lnTo>
                  <a:lnTo>
                    <a:pt x="36" y="9"/>
                  </a:lnTo>
                  <a:lnTo>
                    <a:pt x="35" y="10"/>
                  </a:lnTo>
                  <a:lnTo>
                    <a:pt x="35" y="10"/>
                  </a:lnTo>
                  <a:lnTo>
                    <a:pt x="34" y="10"/>
                  </a:lnTo>
                  <a:lnTo>
                    <a:pt x="34" y="10"/>
                  </a:lnTo>
                  <a:lnTo>
                    <a:pt x="33" y="10"/>
                  </a:lnTo>
                  <a:lnTo>
                    <a:pt x="35" y="10"/>
                  </a:lnTo>
                  <a:lnTo>
                    <a:pt x="35" y="10"/>
                  </a:lnTo>
                  <a:lnTo>
                    <a:pt x="34" y="10"/>
                  </a:lnTo>
                  <a:lnTo>
                    <a:pt x="33" y="11"/>
                  </a:lnTo>
                  <a:lnTo>
                    <a:pt x="33" y="10"/>
                  </a:lnTo>
                  <a:lnTo>
                    <a:pt x="33" y="11"/>
                  </a:lnTo>
                  <a:lnTo>
                    <a:pt x="34" y="11"/>
                  </a:lnTo>
                  <a:lnTo>
                    <a:pt x="35" y="11"/>
                  </a:lnTo>
                  <a:lnTo>
                    <a:pt x="35" y="13"/>
                  </a:lnTo>
                  <a:lnTo>
                    <a:pt x="34" y="13"/>
                  </a:lnTo>
                  <a:lnTo>
                    <a:pt x="31" y="11"/>
                  </a:lnTo>
                  <a:lnTo>
                    <a:pt x="30" y="13"/>
                  </a:lnTo>
                  <a:lnTo>
                    <a:pt x="30" y="13"/>
                  </a:lnTo>
                  <a:lnTo>
                    <a:pt x="29" y="14"/>
                  </a:lnTo>
                  <a:lnTo>
                    <a:pt x="29" y="14"/>
                  </a:lnTo>
                  <a:lnTo>
                    <a:pt x="31" y="15"/>
                  </a:lnTo>
                  <a:lnTo>
                    <a:pt x="31" y="15"/>
                  </a:lnTo>
                  <a:lnTo>
                    <a:pt x="34" y="15"/>
                  </a:lnTo>
                  <a:lnTo>
                    <a:pt x="35" y="14"/>
                  </a:lnTo>
                  <a:lnTo>
                    <a:pt x="35" y="15"/>
                  </a:lnTo>
                  <a:lnTo>
                    <a:pt x="34" y="15"/>
                  </a:lnTo>
                  <a:lnTo>
                    <a:pt x="34" y="16"/>
                  </a:lnTo>
                  <a:lnTo>
                    <a:pt x="35" y="15"/>
                  </a:lnTo>
                  <a:lnTo>
                    <a:pt x="36" y="15"/>
                  </a:lnTo>
                  <a:lnTo>
                    <a:pt x="37" y="14"/>
                  </a:lnTo>
                  <a:lnTo>
                    <a:pt x="36" y="15"/>
                  </a:lnTo>
                  <a:lnTo>
                    <a:pt x="37" y="15"/>
                  </a:lnTo>
                  <a:lnTo>
                    <a:pt x="37" y="15"/>
                  </a:lnTo>
                  <a:lnTo>
                    <a:pt x="40" y="14"/>
                  </a:lnTo>
                  <a:lnTo>
                    <a:pt x="40" y="15"/>
                  </a:lnTo>
                  <a:lnTo>
                    <a:pt x="38" y="15"/>
                  </a:lnTo>
                  <a:lnTo>
                    <a:pt x="38" y="15"/>
                  </a:lnTo>
                  <a:lnTo>
                    <a:pt x="37" y="16"/>
                  </a:lnTo>
                  <a:lnTo>
                    <a:pt x="37" y="16"/>
                  </a:lnTo>
                  <a:lnTo>
                    <a:pt x="37" y="17"/>
                  </a:lnTo>
                  <a:lnTo>
                    <a:pt x="35" y="17"/>
                  </a:lnTo>
                  <a:lnTo>
                    <a:pt x="34" y="17"/>
                  </a:lnTo>
                  <a:lnTo>
                    <a:pt x="34" y="17"/>
                  </a:lnTo>
                  <a:lnTo>
                    <a:pt x="34" y="17"/>
                  </a:lnTo>
                  <a:lnTo>
                    <a:pt x="33" y="18"/>
                  </a:lnTo>
                  <a:lnTo>
                    <a:pt x="33" y="18"/>
                  </a:lnTo>
                  <a:lnTo>
                    <a:pt x="31" y="18"/>
                  </a:lnTo>
                  <a:lnTo>
                    <a:pt x="31" y="18"/>
                  </a:lnTo>
                  <a:lnTo>
                    <a:pt x="31" y="18"/>
                  </a:lnTo>
                  <a:lnTo>
                    <a:pt x="30" y="20"/>
                  </a:lnTo>
                  <a:lnTo>
                    <a:pt x="30" y="20"/>
                  </a:lnTo>
                  <a:lnTo>
                    <a:pt x="30" y="21"/>
                  </a:lnTo>
                  <a:lnTo>
                    <a:pt x="31" y="20"/>
                  </a:lnTo>
                  <a:lnTo>
                    <a:pt x="33" y="20"/>
                  </a:lnTo>
                  <a:lnTo>
                    <a:pt x="33" y="21"/>
                  </a:lnTo>
                  <a:lnTo>
                    <a:pt x="33" y="21"/>
                  </a:lnTo>
                  <a:lnTo>
                    <a:pt x="31" y="21"/>
                  </a:lnTo>
                  <a:lnTo>
                    <a:pt x="33" y="21"/>
                  </a:lnTo>
                  <a:lnTo>
                    <a:pt x="33" y="22"/>
                  </a:lnTo>
                  <a:lnTo>
                    <a:pt x="33" y="21"/>
                  </a:lnTo>
                  <a:lnTo>
                    <a:pt x="31" y="21"/>
                  </a:lnTo>
                  <a:lnTo>
                    <a:pt x="31" y="22"/>
                  </a:lnTo>
                  <a:lnTo>
                    <a:pt x="31" y="22"/>
                  </a:lnTo>
                  <a:lnTo>
                    <a:pt x="33" y="23"/>
                  </a:lnTo>
                  <a:lnTo>
                    <a:pt x="31" y="22"/>
                  </a:lnTo>
                  <a:lnTo>
                    <a:pt x="31" y="22"/>
                  </a:lnTo>
                  <a:lnTo>
                    <a:pt x="30" y="22"/>
                  </a:lnTo>
                  <a:lnTo>
                    <a:pt x="30" y="21"/>
                  </a:lnTo>
                  <a:lnTo>
                    <a:pt x="29" y="22"/>
                  </a:lnTo>
                  <a:lnTo>
                    <a:pt x="29" y="21"/>
                  </a:lnTo>
                  <a:lnTo>
                    <a:pt x="28" y="22"/>
                  </a:lnTo>
                  <a:lnTo>
                    <a:pt x="27" y="22"/>
                  </a:lnTo>
                  <a:lnTo>
                    <a:pt x="27" y="21"/>
                  </a:lnTo>
                  <a:lnTo>
                    <a:pt x="27" y="21"/>
                  </a:lnTo>
                  <a:lnTo>
                    <a:pt x="26" y="21"/>
                  </a:lnTo>
                  <a:lnTo>
                    <a:pt x="24" y="21"/>
                  </a:lnTo>
                  <a:lnTo>
                    <a:pt x="24" y="21"/>
                  </a:lnTo>
                  <a:lnTo>
                    <a:pt x="23" y="21"/>
                  </a:lnTo>
                  <a:lnTo>
                    <a:pt x="23" y="22"/>
                  </a:lnTo>
                  <a:lnTo>
                    <a:pt x="23" y="23"/>
                  </a:lnTo>
                  <a:lnTo>
                    <a:pt x="24" y="23"/>
                  </a:lnTo>
                  <a:lnTo>
                    <a:pt x="23" y="24"/>
                  </a:lnTo>
                  <a:lnTo>
                    <a:pt x="23" y="23"/>
                  </a:lnTo>
                  <a:lnTo>
                    <a:pt x="23" y="22"/>
                  </a:lnTo>
                  <a:lnTo>
                    <a:pt x="23" y="22"/>
                  </a:lnTo>
                  <a:lnTo>
                    <a:pt x="22" y="22"/>
                  </a:lnTo>
                  <a:lnTo>
                    <a:pt x="22" y="22"/>
                  </a:lnTo>
                  <a:lnTo>
                    <a:pt x="22" y="22"/>
                  </a:lnTo>
                  <a:lnTo>
                    <a:pt x="22" y="22"/>
                  </a:lnTo>
                  <a:lnTo>
                    <a:pt x="22" y="21"/>
                  </a:lnTo>
                  <a:lnTo>
                    <a:pt x="22" y="21"/>
                  </a:lnTo>
                  <a:lnTo>
                    <a:pt x="22" y="21"/>
                  </a:lnTo>
                  <a:lnTo>
                    <a:pt x="20" y="20"/>
                  </a:lnTo>
                  <a:lnTo>
                    <a:pt x="20" y="21"/>
                  </a:lnTo>
                  <a:lnTo>
                    <a:pt x="18" y="21"/>
                  </a:lnTo>
                  <a:lnTo>
                    <a:pt x="18" y="21"/>
                  </a:lnTo>
                  <a:lnTo>
                    <a:pt x="18" y="21"/>
                  </a:lnTo>
                  <a:lnTo>
                    <a:pt x="17" y="21"/>
                  </a:lnTo>
                  <a:lnTo>
                    <a:pt x="15" y="21"/>
                  </a:lnTo>
                  <a:lnTo>
                    <a:pt x="15" y="20"/>
                  </a:lnTo>
                  <a:lnTo>
                    <a:pt x="14" y="20"/>
                  </a:lnTo>
                  <a:lnTo>
                    <a:pt x="14" y="20"/>
                  </a:lnTo>
                  <a:lnTo>
                    <a:pt x="13" y="20"/>
                  </a:lnTo>
                  <a:lnTo>
                    <a:pt x="13" y="20"/>
                  </a:lnTo>
                  <a:lnTo>
                    <a:pt x="13" y="21"/>
                  </a:lnTo>
                  <a:lnTo>
                    <a:pt x="13" y="21"/>
                  </a:lnTo>
                  <a:lnTo>
                    <a:pt x="14" y="21"/>
                  </a:lnTo>
                  <a:lnTo>
                    <a:pt x="14" y="21"/>
                  </a:lnTo>
                  <a:lnTo>
                    <a:pt x="13" y="22"/>
                  </a:lnTo>
                  <a:lnTo>
                    <a:pt x="13" y="22"/>
                  </a:lnTo>
                  <a:lnTo>
                    <a:pt x="11" y="21"/>
                  </a:lnTo>
                  <a:lnTo>
                    <a:pt x="11" y="22"/>
                  </a:lnTo>
                  <a:lnTo>
                    <a:pt x="10" y="22"/>
                  </a:lnTo>
                  <a:lnTo>
                    <a:pt x="10" y="22"/>
                  </a:lnTo>
                  <a:lnTo>
                    <a:pt x="10" y="22"/>
                  </a:lnTo>
                  <a:lnTo>
                    <a:pt x="11" y="22"/>
                  </a:lnTo>
                  <a:lnTo>
                    <a:pt x="11" y="22"/>
                  </a:lnTo>
                  <a:lnTo>
                    <a:pt x="11" y="21"/>
                  </a:lnTo>
                  <a:lnTo>
                    <a:pt x="10" y="21"/>
                  </a:lnTo>
                  <a:lnTo>
                    <a:pt x="10" y="21"/>
                  </a:lnTo>
                  <a:lnTo>
                    <a:pt x="10" y="21"/>
                  </a:lnTo>
                  <a:lnTo>
                    <a:pt x="9" y="21"/>
                  </a:lnTo>
                  <a:lnTo>
                    <a:pt x="9" y="21"/>
                  </a:lnTo>
                  <a:lnTo>
                    <a:pt x="9" y="22"/>
                  </a:lnTo>
                  <a:lnTo>
                    <a:pt x="8" y="22"/>
                  </a:lnTo>
                  <a:lnTo>
                    <a:pt x="8" y="23"/>
                  </a:lnTo>
                  <a:lnTo>
                    <a:pt x="9" y="24"/>
                  </a:lnTo>
                  <a:lnTo>
                    <a:pt x="9" y="24"/>
                  </a:lnTo>
                  <a:lnTo>
                    <a:pt x="8" y="23"/>
                  </a:lnTo>
                  <a:lnTo>
                    <a:pt x="9" y="23"/>
                  </a:lnTo>
                  <a:lnTo>
                    <a:pt x="8" y="23"/>
                  </a:lnTo>
                  <a:lnTo>
                    <a:pt x="9" y="23"/>
                  </a:lnTo>
                  <a:lnTo>
                    <a:pt x="9" y="22"/>
                  </a:lnTo>
                  <a:lnTo>
                    <a:pt x="9" y="22"/>
                  </a:lnTo>
                  <a:lnTo>
                    <a:pt x="10" y="22"/>
                  </a:lnTo>
                  <a:lnTo>
                    <a:pt x="11" y="23"/>
                  </a:lnTo>
                  <a:lnTo>
                    <a:pt x="10" y="23"/>
                  </a:lnTo>
                  <a:lnTo>
                    <a:pt x="10" y="23"/>
                  </a:lnTo>
                  <a:lnTo>
                    <a:pt x="11" y="23"/>
                  </a:lnTo>
                  <a:lnTo>
                    <a:pt x="10" y="23"/>
                  </a:lnTo>
                  <a:lnTo>
                    <a:pt x="10" y="24"/>
                  </a:lnTo>
                  <a:lnTo>
                    <a:pt x="10" y="24"/>
                  </a:lnTo>
                  <a:lnTo>
                    <a:pt x="10" y="26"/>
                  </a:lnTo>
                  <a:lnTo>
                    <a:pt x="10" y="24"/>
                  </a:lnTo>
                  <a:lnTo>
                    <a:pt x="11" y="24"/>
                  </a:lnTo>
                  <a:lnTo>
                    <a:pt x="11" y="24"/>
                  </a:lnTo>
                  <a:lnTo>
                    <a:pt x="11" y="26"/>
                  </a:lnTo>
                  <a:lnTo>
                    <a:pt x="10" y="26"/>
                  </a:lnTo>
                  <a:lnTo>
                    <a:pt x="10" y="26"/>
                  </a:lnTo>
                  <a:lnTo>
                    <a:pt x="11" y="26"/>
                  </a:lnTo>
                  <a:lnTo>
                    <a:pt x="11" y="26"/>
                  </a:lnTo>
                  <a:lnTo>
                    <a:pt x="11" y="27"/>
                  </a:lnTo>
                  <a:lnTo>
                    <a:pt x="13" y="27"/>
                  </a:lnTo>
                  <a:lnTo>
                    <a:pt x="13" y="27"/>
                  </a:lnTo>
                  <a:lnTo>
                    <a:pt x="13" y="27"/>
                  </a:lnTo>
                  <a:lnTo>
                    <a:pt x="13" y="26"/>
                  </a:lnTo>
                  <a:lnTo>
                    <a:pt x="14" y="27"/>
                  </a:lnTo>
                  <a:lnTo>
                    <a:pt x="14" y="27"/>
                  </a:lnTo>
                  <a:lnTo>
                    <a:pt x="14" y="28"/>
                  </a:lnTo>
                  <a:lnTo>
                    <a:pt x="13" y="27"/>
                  </a:lnTo>
                  <a:lnTo>
                    <a:pt x="11" y="28"/>
                  </a:lnTo>
                  <a:lnTo>
                    <a:pt x="10" y="27"/>
                  </a:lnTo>
                  <a:lnTo>
                    <a:pt x="10" y="28"/>
                  </a:lnTo>
                  <a:lnTo>
                    <a:pt x="10" y="29"/>
                  </a:lnTo>
                  <a:lnTo>
                    <a:pt x="10" y="29"/>
                  </a:lnTo>
                  <a:lnTo>
                    <a:pt x="11" y="29"/>
                  </a:lnTo>
                  <a:lnTo>
                    <a:pt x="11" y="29"/>
                  </a:lnTo>
                  <a:lnTo>
                    <a:pt x="13" y="29"/>
                  </a:lnTo>
                  <a:lnTo>
                    <a:pt x="14" y="28"/>
                  </a:lnTo>
                  <a:lnTo>
                    <a:pt x="15" y="28"/>
                  </a:lnTo>
                  <a:lnTo>
                    <a:pt x="16" y="28"/>
                  </a:lnTo>
                  <a:lnTo>
                    <a:pt x="16" y="28"/>
                  </a:lnTo>
                  <a:lnTo>
                    <a:pt x="16" y="29"/>
                  </a:lnTo>
                  <a:lnTo>
                    <a:pt x="15" y="30"/>
                  </a:lnTo>
                  <a:lnTo>
                    <a:pt x="16" y="30"/>
                  </a:lnTo>
                  <a:lnTo>
                    <a:pt x="16" y="30"/>
                  </a:lnTo>
                  <a:lnTo>
                    <a:pt x="16" y="30"/>
                  </a:lnTo>
                  <a:lnTo>
                    <a:pt x="16" y="31"/>
                  </a:lnTo>
                  <a:lnTo>
                    <a:pt x="16" y="31"/>
                  </a:lnTo>
                  <a:lnTo>
                    <a:pt x="14" y="31"/>
                  </a:lnTo>
                  <a:lnTo>
                    <a:pt x="13" y="31"/>
                  </a:lnTo>
                  <a:lnTo>
                    <a:pt x="11" y="31"/>
                  </a:lnTo>
                  <a:lnTo>
                    <a:pt x="10" y="31"/>
                  </a:lnTo>
                  <a:lnTo>
                    <a:pt x="10" y="31"/>
                  </a:lnTo>
                  <a:lnTo>
                    <a:pt x="10" y="33"/>
                  </a:lnTo>
                  <a:lnTo>
                    <a:pt x="11" y="33"/>
                  </a:lnTo>
                  <a:lnTo>
                    <a:pt x="10" y="34"/>
                  </a:lnTo>
                  <a:lnTo>
                    <a:pt x="10" y="34"/>
                  </a:lnTo>
                  <a:lnTo>
                    <a:pt x="8" y="34"/>
                  </a:lnTo>
                  <a:lnTo>
                    <a:pt x="8" y="34"/>
                  </a:lnTo>
                  <a:lnTo>
                    <a:pt x="9" y="34"/>
                  </a:lnTo>
                  <a:lnTo>
                    <a:pt x="9" y="35"/>
                  </a:lnTo>
                  <a:lnTo>
                    <a:pt x="8" y="35"/>
                  </a:lnTo>
                  <a:lnTo>
                    <a:pt x="8" y="35"/>
                  </a:lnTo>
                  <a:lnTo>
                    <a:pt x="8" y="35"/>
                  </a:lnTo>
                  <a:lnTo>
                    <a:pt x="7" y="35"/>
                  </a:lnTo>
                  <a:lnTo>
                    <a:pt x="7" y="35"/>
                  </a:lnTo>
                  <a:lnTo>
                    <a:pt x="8" y="35"/>
                  </a:lnTo>
                  <a:lnTo>
                    <a:pt x="8" y="36"/>
                  </a:lnTo>
                  <a:lnTo>
                    <a:pt x="8" y="36"/>
                  </a:lnTo>
                  <a:lnTo>
                    <a:pt x="8" y="37"/>
                  </a:lnTo>
                  <a:lnTo>
                    <a:pt x="7" y="37"/>
                  </a:lnTo>
                  <a:lnTo>
                    <a:pt x="7" y="37"/>
                  </a:lnTo>
                  <a:lnTo>
                    <a:pt x="7" y="37"/>
                  </a:lnTo>
                  <a:lnTo>
                    <a:pt x="6" y="37"/>
                  </a:lnTo>
                  <a:lnTo>
                    <a:pt x="6" y="37"/>
                  </a:lnTo>
                  <a:lnTo>
                    <a:pt x="7" y="37"/>
                  </a:lnTo>
                  <a:lnTo>
                    <a:pt x="7" y="37"/>
                  </a:lnTo>
                  <a:lnTo>
                    <a:pt x="8" y="37"/>
                  </a:lnTo>
                  <a:lnTo>
                    <a:pt x="8" y="37"/>
                  </a:lnTo>
                  <a:lnTo>
                    <a:pt x="8" y="37"/>
                  </a:lnTo>
                  <a:lnTo>
                    <a:pt x="8" y="37"/>
                  </a:lnTo>
                  <a:lnTo>
                    <a:pt x="9" y="38"/>
                  </a:lnTo>
                  <a:lnTo>
                    <a:pt x="9" y="38"/>
                  </a:lnTo>
                  <a:lnTo>
                    <a:pt x="9" y="38"/>
                  </a:lnTo>
                  <a:lnTo>
                    <a:pt x="10" y="37"/>
                  </a:lnTo>
                  <a:lnTo>
                    <a:pt x="10" y="37"/>
                  </a:lnTo>
                  <a:lnTo>
                    <a:pt x="13" y="37"/>
                  </a:lnTo>
                  <a:lnTo>
                    <a:pt x="13" y="37"/>
                  </a:lnTo>
                  <a:lnTo>
                    <a:pt x="11" y="37"/>
                  </a:lnTo>
                  <a:lnTo>
                    <a:pt x="10" y="38"/>
                  </a:lnTo>
                  <a:lnTo>
                    <a:pt x="11" y="38"/>
                  </a:lnTo>
                  <a:lnTo>
                    <a:pt x="13" y="38"/>
                  </a:lnTo>
                  <a:lnTo>
                    <a:pt x="13" y="38"/>
                  </a:lnTo>
                  <a:lnTo>
                    <a:pt x="11" y="38"/>
                  </a:lnTo>
                  <a:lnTo>
                    <a:pt x="10" y="38"/>
                  </a:lnTo>
                  <a:lnTo>
                    <a:pt x="9" y="40"/>
                  </a:lnTo>
                  <a:lnTo>
                    <a:pt x="10" y="40"/>
                  </a:lnTo>
                  <a:lnTo>
                    <a:pt x="10" y="40"/>
                  </a:lnTo>
                  <a:lnTo>
                    <a:pt x="11" y="40"/>
                  </a:lnTo>
                  <a:lnTo>
                    <a:pt x="13" y="40"/>
                  </a:lnTo>
                  <a:lnTo>
                    <a:pt x="14" y="40"/>
                  </a:lnTo>
                  <a:lnTo>
                    <a:pt x="14" y="38"/>
                  </a:lnTo>
                  <a:lnTo>
                    <a:pt x="15" y="38"/>
                  </a:lnTo>
                  <a:lnTo>
                    <a:pt x="16" y="38"/>
                  </a:lnTo>
                  <a:lnTo>
                    <a:pt x="15" y="40"/>
                  </a:lnTo>
                  <a:lnTo>
                    <a:pt x="15" y="40"/>
                  </a:lnTo>
                  <a:lnTo>
                    <a:pt x="15" y="41"/>
                  </a:lnTo>
                  <a:lnTo>
                    <a:pt x="15" y="41"/>
                  </a:lnTo>
                  <a:lnTo>
                    <a:pt x="15" y="40"/>
                  </a:lnTo>
                  <a:lnTo>
                    <a:pt x="15" y="41"/>
                  </a:lnTo>
                  <a:lnTo>
                    <a:pt x="15" y="42"/>
                  </a:lnTo>
                  <a:lnTo>
                    <a:pt x="17" y="42"/>
                  </a:lnTo>
                  <a:lnTo>
                    <a:pt x="18" y="41"/>
                  </a:lnTo>
                  <a:lnTo>
                    <a:pt x="21" y="42"/>
                  </a:lnTo>
                  <a:lnTo>
                    <a:pt x="22" y="41"/>
                  </a:lnTo>
                  <a:lnTo>
                    <a:pt x="22" y="41"/>
                  </a:lnTo>
                  <a:lnTo>
                    <a:pt x="22" y="41"/>
                  </a:lnTo>
                  <a:lnTo>
                    <a:pt x="23" y="40"/>
                  </a:lnTo>
                  <a:lnTo>
                    <a:pt x="24" y="41"/>
                  </a:lnTo>
                  <a:lnTo>
                    <a:pt x="26" y="41"/>
                  </a:lnTo>
                  <a:lnTo>
                    <a:pt x="26" y="41"/>
                  </a:lnTo>
                  <a:lnTo>
                    <a:pt x="24" y="41"/>
                  </a:lnTo>
                  <a:lnTo>
                    <a:pt x="24" y="41"/>
                  </a:lnTo>
                  <a:lnTo>
                    <a:pt x="24" y="42"/>
                  </a:lnTo>
                  <a:lnTo>
                    <a:pt x="24" y="42"/>
                  </a:lnTo>
                  <a:lnTo>
                    <a:pt x="26" y="42"/>
                  </a:lnTo>
                  <a:lnTo>
                    <a:pt x="26" y="42"/>
                  </a:lnTo>
                  <a:lnTo>
                    <a:pt x="26" y="42"/>
                  </a:lnTo>
                  <a:lnTo>
                    <a:pt x="26" y="43"/>
                  </a:lnTo>
                  <a:lnTo>
                    <a:pt x="24" y="43"/>
                  </a:lnTo>
                  <a:lnTo>
                    <a:pt x="23" y="42"/>
                  </a:lnTo>
                  <a:lnTo>
                    <a:pt x="23" y="42"/>
                  </a:lnTo>
                  <a:lnTo>
                    <a:pt x="23" y="43"/>
                  </a:lnTo>
                  <a:lnTo>
                    <a:pt x="26" y="43"/>
                  </a:lnTo>
                  <a:lnTo>
                    <a:pt x="24" y="43"/>
                  </a:lnTo>
                  <a:lnTo>
                    <a:pt x="23" y="43"/>
                  </a:lnTo>
                  <a:lnTo>
                    <a:pt x="23" y="43"/>
                  </a:lnTo>
                  <a:lnTo>
                    <a:pt x="22" y="43"/>
                  </a:lnTo>
                  <a:lnTo>
                    <a:pt x="22" y="43"/>
                  </a:lnTo>
                  <a:lnTo>
                    <a:pt x="23" y="44"/>
                  </a:lnTo>
                  <a:lnTo>
                    <a:pt x="23" y="44"/>
                  </a:lnTo>
                  <a:lnTo>
                    <a:pt x="22" y="44"/>
                  </a:lnTo>
                  <a:lnTo>
                    <a:pt x="22" y="44"/>
                  </a:lnTo>
                  <a:lnTo>
                    <a:pt x="21" y="43"/>
                  </a:lnTo>
                  <a:lnTo>
                    <a:pt x="20" y="43"/>
                  </a:lnTo>
                  <a:lnTo>
                    <a:pt x="20" y="44"/>
                  </a:lnTo>
                  <a:lnTo>
                    <a:pt x="18" y="44"/>
                  </a:lnTo>
                  <a:lnTo>
                    <a:pt x="18" y="45"/>
                  </a:lnTo>
                  <a:lnTo>
                    <a:pt x="17" y="47"/>
                  </a:lnTo>
                  <a:lnTo>
                    <a:pt x="16" y="47"/>
                  </a:lnTo>
                  <a:lnTo>
                    <a:pt x="16" y="48"/>
                  </a:lnTo>
                  <a:lnTo>
                    <a:pt x="17" y="48"/>
                  </a:lnTo>
                  <a:lnTo>
                    <a:pt x="17" y="48"/>
                  </a:lnTo>
                  <a:lnTo>
                    <a:pt x="18" y="48"/>
                  </a:lnTo>
                  <a:lnTo>
                    <a:pt x="17" y="49"/>
                  </a:lnTo>
                  <a:lnTo>
                    <a:pt x="17" y="49"/>
                  </a:lnTo>
                  <a:lnTo>
                    <a:pt x="17" y="50"/>
                  </a:lnTo>
                  <a:lnTo>
                    <a:pt x="16" y="50"/>
                  </a:lnTo>
                  <a:lnTo>
                    <a:pt x="16" y="51"/>
                  </a:lnTo>
                  <a:lnTo>
                    <a:pt x="16" y="51"/>
                  </a:lnTo>
                  <a:lnTo>
                    <a:pt x="16" y="51"/>
                  </a:lnTo>
                  <a:lnTo>
                    <a:pt x="15" y="51"/>
                  </a:lnTo>
                  <a:lnTo>
                    <a:pt x="15" y="51"/>
                  </a:lnTo>
                  <a:lnTo>
                    <a:pt x="14" y="53"/>
                  </a:lnTo>
                  <a:lnTo>
                    <a:pt x="11" y="54"/>
                  </a:lnTo>
                  <a:lnTo>
                    <a:pt x="11" y="55"/>
                  </a:lnTo>
                  <a:lnTo>
                    <a:pt x="10" y="55"/>
                  </a:lnTo>
                  <a:lnTo>
                    <a:pt x="9" y="55"/>
                  </a:lnTo>
                  <a:lnTo>
                    <a:pt x="9" y="55"/>
                  </a:lnTo>
                  <a:lnTo>
                    <a:pt x="9" y="55"/>
                  </a:lnTo>
                  <a:lnTo>
                    <a:pt x="10" y="56"/>
                  </a:lnTo>
                  <a:lnTo>
                    <a:pt x="10" y="55"/>
                  </a:lnTo>
                  <a:lnTo>
                    <a:pt x="11" y="55"/>
                  </a:lnTo>
                  <a:lnTo>
                    <a:pt x="14" y="54"/>
                  </a:lnTo>
                  <a:lnTo>
                    <a:pt x="14" y="54"/>
                  </a:lnTo>
                  <a:lnTo>
                    <a:pt x="15" y="53"/>
                  </a:lnTo>
                  <a:lnTo>
                    <a:pt x="14" y="53"/>
                  </a:lnTo>
                  <a:lnTo>
                    <a:pt x="15" y="53"/>
                  </a:lnTo>
                  <a:lnTo>
                    <a:pt x="15" y="53"/>
                  </a:lnTo>
                  <a:lnTo>
                    <a:pt x="15" y="54"/>
                  </a:lnTo>
                  <a:lnTo>
                    <a:pt x="17" y="54"/>
                  </a:lnTo>
                  <a:lnTo>
                    <a:pt x="18" y="54"/>
                  </a:lnTo>
                  <a:lnTo>
                    <a:pt x="20" y="54"/>
                  </a:lnTo>
                  <a:lnTo>
                    <a:pt x="22" y="54"/>
                  </a:lnTo>
                  <a:lnTo>
                    <a:pt x="22" y="53"/>
                  </a:lnTo>
                  <a:lnTo>
                    <a:pt x="23" y="51"/>
                  </a:lnTo>
                  <a:lnTo>
                    <a:pt x="24" y="51"/>
                  </a:lnTo>
                  <a:lnTo>
                    <a:pt x="24" y="51"/>
                  </a:lnTo>
                  <a:lnTo>
                    <a:pt x="24" y="51"/>
                  </a:lnTo>
                  <a:lnTo>
                    <a:pt x="24" y="53"/>
                  </a:lnTo>
                  <a:lnTo>
                    <a:pt x="26" y="53"/>
                  </a:lnTo>
                  <a:lnTo>
                    <a:pt x="27" y="53"/>
                  </a:lnTo>
                  <a:lnTo>
                    <a:pt x="28" y="53"/>
                  </a:lnTo>
                  <a:lnTo>
                    <a:pt x="27" y="53"/>
                  </a:lnTo>
                  <a:lnTo>
                    <a:pt x="26" y="53"/>
                  </a:lnTo>
                  <a:lnTo>
                    <a:pt x="24" y="53"/>
                  </a:lnTo>
                  <a:lnTo>
                    <a:pt x="24" y="53"/>
                  </a:lnTo>
                  <a:lnTo>
                    <a:pt x="24" y="54"/>
                  </a:lnTo>
                  <a:lnTo>
                    <a:pt x="23" y="54"/>
                  </a:lnTo>
                  <a:lnTo>
                    <a:pt x="22" y="54"/>
                  </a:lnTo>
                  <a:lnTo>
                    <a:pt x="20" y="55"/>
                  </a:lnTo>
                  <a:lnTo>
                    <a:pt x="17" y="55"/>
                  </a:lnTo>
                  <a:lnTo>
                    <a:pt x="16" y="55"/>
                  </a:lnTo>
                  <a:lnTo>
                    <a:pt x="14" y="55"/>
                  </a:lnTo>
                  <a:lnTo>
                    <a:pt x="14" y="55"/>
                  </a:lnTo>
                  <a:lnTo>
                    <a:pt x="14" y="56"/>
                  </a:lnTo>
                  <a:lnTo>
                    <a:pt x="14" y="57"/>
                  </a:lnTo>
                  <a:lnTo>
                    <a:pt x="13" y="56"/>
                  </a:lnTo>
                  <a:lnTo>
                    <a:pt x="11" y="57"/>
                  </a:lnTo>
                  <a:lnTo>
                    <a:pt x="10" y="57"/>
                  </a:lnTo>
                  <a:lnTo>
                    <a:pt x="10" y="57"/>
                  </a:lnTo>
                  <a:lnTo>
                    <a:pt x="9" y="58"/>
                  </a:lnTo>
                  <a:lnTo>
                    <a:pt x="9" y="58"/>
                  </a:lnTo>
                  <a:lnTo>
                    <a:pt x="9" y="58"/>
                  </a:lnTo>
                  <a:lnTo>
                    <a:pt x="9" y="58"/>
                  </a:lnTo>
                  <a:lnTo>
                    <a:pt x="9" y="58"/>
                  </a:lnTo>
                  <a:lnTo>
                    <a:pt x="9" y="60"/>
                  </a:lnTo>
                  <a:lnTo>
                    <a:pt x="9" y="60"/>
                  </a:lnTo>
                  <a:lnTo>
                    <a:pt x="9" y="60"/>
                  </a:lnTo>
                  <a:lnTo>
                    <a:pt x="9" y="60"/>
                  </a:lnTo>
                  <a:lnTo>
                    <a:pt x="8" y="60"/>
                  </a:lnTo>
                  <a:lnTo>
                    <a:pt x="9" y="61"/>
                  </a:lnTo>
                  <a:lnTo>
                    <a:pt x="10" y="60"/>
                  </a:lnTo>
                  <a:lnTo>
                    <a:pt x="11" y="61"/>
                  </a:lnTo>
                  <a:lnTo>
                    <a:pt x="11" y="61"/>
                  </a:lnTo>
                  <a:lnTo>
                    <a:pt x="11" y="62"/>
                  </a:lnTo>
                  <a:lnTo>
                    <a:pt x="11" y="62"/>
                  </a:lnTo>
                  <a:lnTo>
                    <a:pt x="10" y="62"/>
                  </a:lnTo>
                  <a:lnTo>
                    <a:pt x="10" y="62"/>
                  </a:lnTo>
                  <a:lnTo>
                    <a:pt x="10" y="62"/>
                  </a:lnTo>
                  <a:lnTo>
                    <a:pt x="9" y="62"/>
                  </a:lnTo>
                  <a:lnTo>
                    <a:pt x="8" y="62"/>
                  </a:lnTo>
                  <a:lnTo>
                    <a:pt x="8" y="62"/>
                  </a:lnTo>
                  <a:lnTo>
                    <a:pt x="7" y="61"/>
                  </a:lnTo>
                  <a:lnTo>
                    <a:pt x="7" y="60"/>
                  </a:lnTo>
                  <a:lnTo>
                    <a:pt x="7" y="60"/>
                  </a:lnTo>
                  <a:lnTo>
                    <a:pt x="6" y="60"/>
                  </a:lnTo>
                  <a:lnTo>
                    <a:pt x="7" y="61"/>
                  </a:lnTo>
                  <a:lnTo>
                    <a:pt x="7" y="61"/>
                  </a:lnTo>
                  <a:lnTo>
                    <a:pt x="6" y="61"/>
                  </a:lnTo>
                  <a:lnTo>
                    <a:pt x="6" y="62"/>
                  </a:lnTo>
                  <a:lnTo>
                    <a:pt x="6" y="62"/>
                  </a:lnTo>
                  <a:lnTo>
                    <a:pt x="6" y="61"/>
                  </a:lnTo>
                  <a:lnTo>
                    <a:pt x="3" y="62"/>
                  </a:lnTo>
                  <a:lnTo>
                    <a:pt x="2" y="62"/>
                  </a:lnTo>
                  <a:lnTo>
                    <a:pt x="2" y="62"/>
                  </a:lnTo>
                  <a:lnTo>
                    <a:pt x="2" y="62"/>
                  </a:lnTo>
                  <a:lnTo>
                    <a:pt x="2" y="63"/>
                  </a:lnTo>
                  <a:lnTo>
                    <a:pt x="1" y="63"/>
                  </a:lnTo>
                  <a:lnTo>
                    <a:pt x="1" y="62"/>
                  </a:lnTo>
                  <a:lnTo>
                    <a:pt x="0" y="63"/>
                  </a:lnTo>
                  <a:lnTo>
                    <a:pt x="0" y="63"/>
                  </a:lnTo>
                  <a:lnTo>
                    <a:pt x="1" y="63"/>
                  </a:lnTo>
                  <a:lnTo>
                    <a:pt x="0" y="63"/>
                  </a:lnTo>
                  <a:lnTo>
                    <a:pt x="1" y="63"/>
                  </a:lnTo>
                  <a:lnTo>
                    <a:pt x="0" y="64"/>
                  </a:lnTo>
                  <a:lnTo>
                    <a:pt x="0" y="64"/>
                  </a:lnTo>
                  <a:lnTo>
                    <a:pt x="1" y="64"/>
                  </a:lnTo>
                  <a:lnTo>
                    <a:pt x="1" y="64"/>
                  </a:lnTo>
                  <a:lnTo>
                    <a:pt x="1" y="64"/>
                  </a:lnTo>
                  <a:lnTo>
                    <a:pt x="2" y="64"/>
                  </a:lnTo>
                  <a:lnTo>
                    <a:pt x="1" y="64"/>
                  </a:lnTo>
                  <a:lnTo>
                    <a:pt x="2" y="64"/>
                  </a:lnTo>
                  <a:lnTo>
                    <a:pt x="3" y="64"/>
                  </a:lnTo>
                  <a:lnTo>
                    <a:pt x="3" y="64"/>
                  </a:lnTo>
                  <a:lnTo>
                    <a:pt x="3" y="64"/>
                  </a:lnTo>
                  <a:lnTo>
                    <a:pt x="4" y="64"/>
                  </a:lnTo>
                  <a:lnTo>
                    <a:pt x="7" y="63"/>
                  </a:lnTo>
                  <a:lnTo>
                    <a:pt x="8" y="64"/>
                  </a:lnTo>
                  <a:lnTo>
                    <a:pt x="8" y="63"/>
                  </a:lnTo>
                  <a:lnTo>
                    <a:pt x="8" y="63"/>
                  </a:lnTo>
                  <a:lnTo>
                    <a:pt x="8" y="63"/>
                  </a:lnTo>
                  <a:lnTo>
                    <a:pt x="9" y="63"/>
                  </a:lnTo>
                  <a:lnTo>
                    <a:pt x="10" y="63"/>
                  </a:lnTo>
                  <a:lnTo>
                    <a:pt x="10" y="64"/>
                  </a:lnTo>
                  <a:lnTo>
                    <a:pt x="10" y="64"/>
                  </a:lnTo>
                  <a:lnTo>
                    <a:pt x="10" y="64"/>
                  </a:lnTo>
                  <a:lnTo>
                    <a:pt x="9" y="64"/>
                  </a:lnTo>
                  <a:lnTo>
                    <a:pt x="8" y="65"/>
                  </a:lnTo>
                  <a:lnTo>
                    <a:pt x="8" y="64"/>
                  </a:lnTo>
                  <a:lnTo>
                    <a:pt x="8" y="65"/>
                  </a:lnTo>
                  <a:lnTo>
                    <a:pt x="6" y="65"/>
                  </a:lnTo>
                  <a:lnTo>
                    <a:pt x="6" y="65"/>
                  </a:lnTo>
                  <a:lnTo>
                    <a:pt x="3" y="67"/>
                  </a:lnTo>
                  <a:lnTo>
                    <a:pt x="3" y="67"/>
                  </a:lnTo>
                  <a:lnTo>
                    <a:pt x="3" y="67"/>
                  </a:lnTo>
                  <a:lnTo>
                    <a:pt x="3" y="67"/>
                  </a:lnTo>
                  <a:lnTo>
                    <a:pt x="3" y="68"/>
                  </a:lnTo>
                  <a:lnTo>
                    <a:pt x="3" y="68"/>
                  </a:lnTo>
                  <a:lnTo>
                    <a:pt x="2" y="68"/>
                  </a:lnTo>
                  <a:lnTo>
                    <a:pt x="2" y="68"/>
                  </a:lnTo>
                  <a:lnTo>
                    <a:pt x="1" y="68"/>
                  </a:lnTo>
                  <a:lnTo>
                    <a:pt x="2" y="69"/>
                  </a:lnTo>
                  <a:lnTo>
                    <a:pt x="2" y="69"/>
                  </a:lnTo>
                  <a:lnTo>
                    <a:pt x="2" y="70"/>
                  </a:lnTo>
                  <a:lnTo>
                    <a:pt x="3" y="69"/>
                  </a:lnTo>
                  <a:lnTo>
                    <a:pt x="3" y="68"/>
                  </a:lnTo>
                  <a:lnTo>
                    <a:pt x="4" y="69"/>
                  </a:lnTo>
                  <a:lnTo>
                    <a:pt x="6" y="69"/>
                  </a:lnTo>
                  <a:lnTo>
                    <a:pt x="3" y="70"/>
                  </a:lnTo>
                  <a:lnTo>
                    <a:pt x="3" y="70"/>
                  </a:lnTo>
                  <a:lnTo>
                    <a:pt x="6" y="70"/>
                  </a:lnTo>
                  <a:lnTo>
                    <a:pt x="6" y="70"/>
                  </a:lnTo>
                  <a:lnTo>
                    <a:pt x="6" y="70"/>
                  </a:lnTo>
                  <a:lnTo>
                    <a:pt x="8" y="70"/>
                  </a:lnTo>
                  <a:lnTo>
                    <a:pt x="8" y="70"/>
                  </a:lnTo>
                  <a:lnTo>
                    <a:pt x="8" y="70"/>
                  </a:lnTo>
                  <a:lnTo>
                    <a:pt x="9" y="69"/>
                  </a:lnTo>
                  <a:lnTo>
                    <a:pt x="9" y="70"/>
                  </a:lnTo>
                  <a:lnTo>
                    <a:pt x="10" y="69"/>
                  </a:lnTo>
                  <a:lnTo>
                    <a:pt x="11" y="69"/>
                  </a:lnTo>
                  <a:lnTo>
                    <a:pt x="13" y="68"/>
                  </a:lnTo>
                  <a:lnTo>
                    <a:pt x="14" y="68"/>
                  </a:lnTo>
                  <a:lnTo>
                    <a:pt x="13" y="69"/>
                  </a:lnTo>
                  <a:lnTo>
                    <a:pt x="10" y="70"/>
                  </a:lnTo>
                  <a:lnTo>
                    <a:pt x="10" y="70"/>
                  </a:lnTo>
                  <a:lnTo>
                    <a:pt x="10" y="70"/>
                  </a:lnTo>
                  <a:lnTo>
                    <a:pt x="9" y="70"/>
                  </a:lnTo>
                  <a:lnTo>
                    <a:pt x="8" y="70"/>
                  </a:lnTo>
                  <a:lnTo>
                    <a:pt x="8" y="70"/>
                  </a:lnTo>
                  <a:lnTo>
                    <a:pt x="8" y="70"/>
                  </a:lnTo>
                  <a:lnTo>
                    <a:pt x="7" y="70"/>
                  </a:lnTo>
                  <a:lnTo>
                    <a:pt x="7" y="71"/>
                  </a:lnTo>
                  <a:lnTo>
                    <a:pt x="7" y="71"/>
                  </a:lnTo>
                  <a:lnTo>
                    <a:pt x="8" y="71"/>
                  </a:lnTo>
                  <a:lnTo>
                    <a:pt x="8" y="73"/>
                  </a:lnTo>
                  <a:lnTo>
                    <a:pt x="7" y="73"/>
                  </a:lnTo>
                  <a:lnTo>
                    <a:pt x="6" y="71"/>
                  </a:lnTo>
                  <a:lnTo>
                    <a:pt x="6" y="73"/>
                  </a:lnTo>
                  <a:lnTo>
                    <a:pt x="6" y="73"/>
                  </a:lnTo>
                  <a:lnTo>
                    <a:pt x="6" y="73"/>
                  </a:lnTo>
                  <a:lnTo>
                    <a:pt x="6" y="74"/>
                  </a:lnTo>
                  <a:lnTo>
                    <a:pt x="4" y="74"/>
                  </a:lnTo>
                  <a:lnTo>
                    <a:pt x="4" y="74"/>
                  </a:lnTo>
                  <a:lnTo>
                    <a:pt x="4" y="74"/>
                  </a:lnTo>
                  <a:lnTo>
                    <a:pt x="6" y="74"/>
                  </a:lnTo>
                  <a:lnTo>
                    <a:pt x="6" y="74"/>
                  </a:lnTo>
                  <a:lnTo>
                    <a:pt x="6" y="74"/>
                  </a:lnTo>
                  <a:lnTo>
                    <a:pt x="7" y="74"/>
                  </a:lnTo>
                  <a:lnTo>
                    <a:pt x="8" y="74"/>
                  </a:lnTo>
                  <a:lnTo>
                    <a:pt x="8" y="73"/>
                  </a:lnTo>
                  <a:lnTo>
                    <a:pt x="9" y="73"/>
                  </a:lnTo>
                  <a:lnTo>
                    <a:pt x="10" y="73"/>
                  </a:lnTo>
                  <a:lnTo>
                    <a:pt x="13" y="73"/>
                  </a:lnTo>
                  <a:lnTo>
                    <a:pt x="14" y="73"/>
                  </a:lnTo>
                  <a:lnTo>
                    <a:pt x="13" y="71"/>
                  </a:lnTo>
                  <a:lnTo>
                    <a:pt x="14" y="70"/>
                  </a:lnTo>
                  <a:lnTo>
                    <a:pt x="14" y="70"/>
                  </a:lnTo>
                  <a:lnTo>
                    <a:pt x="14" y="70"/>
                  </a:lnTo>
                  <a:lnTo>
                    <a:pt x="15" y="71"/>
                  </a:lnTo>
                  <a:lnTo>
                    <a:pt x="16" y="71"/>
                  </a:lnTo>
                  <a:lnTo>
                    <a:pt x="16" y="71"/>
                  </a:lnTo>
                  <a:lnTo>
                    <a:pt x="16" y="73"/>
                  </a:lnTo>
                  <a:lnTo>
                    <a:pt x="15" y="73"/>
                  </a:lnTo>
                  <a:lnTo>
                    <a:pt x="14" y="73"/>
                  </a:lnTo>
                  <a:lnTo>
                    <a:pt x="13" y="74"/>
                  </a:lnTo>
                  <a:lnTo>
                    <a:pt x="11" y="74"/>
                  </a:lnTo>
                  <a:lnTo>
                    <a:pt x="11" y="74"/>
                  </a:lnTo>
                  <a:lnTo>
                    <a:pt x="10" y="74"/>
                  </a:lnTo>
                  <a:lnTo>
                    <a:pt x="10" y="75"/>
                  </a:lnTo>
                  <a:lnTo>
                    <a:pt x="14" y="74"/>
                  </a:lnTo>
                  <a:lnTo>
                    <a:pt x="13" y="75"/>
                  </a:lnTo>
                  <a:lnTo>
                    <a:pt x="11" y="75"/>
                  </a:lnTo>
                  <a:lnTo>
                    <a:pt x="10" y="75"/>
                  </a:lnTo>
                  <a:lnTo>
                    <a:pt x="9" y="75"/>
                  </a:lnTo>
                  <a:lnTo>
                    <a:pt x="8" y="76"/>
                  </a:lnTo>
                  <a:lnTo>
                    <a:pt x="8" y="76"/>
                  </a:lnTo>
                  <a:lnTo>
                    <a:pt x="9" y="76"/>
                  </a:lnTo>
                  <a:lnTo>
                    <a:pt x="10" y="76"/>
                  </a:lnTo>
                  <a:lnTo>
                    <a:pt x="10" y="76"/>
                  </a:lnTo>
                  <a:lnTo>
                    <a:pt x="10" y="76"/>
                  </a:lnTo>
                  <a:lnTo>
                    <a:pt x="10" y="76"/>
                  </a:lnTo>
                  <a:lnTo>
                    <a:pt x="11" y="76"/>
                  </a:lnTo>
                  <a:lnTo>
                    <a:pt x="13" y="75"/>
                  </a:lnTo>
                  <a:lnTo>
                    <a:pt x="13" y="76"/>
                  </a:lnTo>
                  <a:lnTo>
                    <a:pt x="13" y="76"/>
                  </a:lnTo>
                  <a:lnTo>
                    <a:pt x="13" y="75"/>
                  </a:lnTo>
                  <a:lnTo>
                    <a:pt x="14" y="75"/>
                  </a:lnTo>
                  <a:lnTo>
                    <a:pt x="14" y="76"/>
                  </a:lnTo>
                  <a:lnTo>
                    <a:pt x="15" y="75"/>
                  </a:lnTo>
                  <a:lnTo>
                    <a:pt x="15" y="75"/>
                  </a:lnTo>
                  <a:lnTo>
                    <a:pt x="16" y="75"/>
                  </a:lnTo>
                  <a:lnTo>
                    <a:pt x="16" y="75"/>
                  </a:lnTo>
                  <a:lnTo>
                    <a:pt x="16" y="76"/>
                  </a:lnTo>
                  <a:lnTo>
                    <a:pt x="16" y="76"/>
                  </a:lnTo>
                  <a:lnTo>
                    <a:pt x="16" y="76"/>
                  </a:lnTo>
                  <a:lnTo>
                    <a:pt x="16" y="76"/>
                  </a:lnTo>
                  <a:lnTo>
                    <a:pt x="17" y="76"/>
                  </a:lnTo>
                  <a:lnTo>
                    <a:pt x="17" y="76"/>
                  </a:lnTo>
                  <a:lnTo>
                    <a:pt x="17" y="76"/>
                  </a:lnTo>
                  <a:lnTo>
                    <a:pt x="18" y="76"/>
                  </a:lnTo>
                  <a:lnTo>
                    <a:pt x="20" y="76"/>
                  </a:lnTo>
                  <a:lnTo>
                    <a:pt x="20" y="76"/>
                  </a:lnTo>
                  <a:lnTo>
                    <a:pt x="20" y="75"/>
                  </a:lnTo>
                  <a:lnTo>
                    <a:pt x="20" y="75"/>
                  </a:lnTo>
                  <a:lnTo>
                    <a:pt x="21" y="75"/>
                  </a:lnTo>
                  <a:lnTo>
                    <a:pt x="21" y="75"/>
                  </a:lnTo>
                  <a:lnTo>
                    <a:pt x="21" y="75"/>
                  </a:lnTo>
                  <a:lnTo>
                    <a:pt x="21" y="75"/>
                  </a:lnTo>
                  <a:lnTo>
                    <a:pt x="22" y="74"/>
                  </a:lnTo>
                  <a:lnTo>
                    <a:pt x="22" y="75"/>
                  </a:lnTo>
                  <a:lnTo>
                    <a:pt x="23" y="75"/>
                  </a:lnTo>
                  <a:lnTo>
                    <a:pt x="23" y="75"/>
                  </a:lnTo>
                  <a:lnTo>
                    <a:pt x="23" y="75"/>
                  </a:lnTo>
                  <a:lnTo>
                    <a:pt x="23" y="74"/>
                  </a:lnTo>
                  <a:lnTo>
                    <a:pt x="24" y="74"/>
                  </a:lnTo>
                  <a:lnTo>
                    <a:pt x="26" y="74"/>
                  </a:lnTo>
                  <a:lnTo>
                    <a:pt x="27" y="75"/>
                  </a:lnTo>
                  <a:lnTo>
                    <a:pt x="28" y="74"/>
                  </a:lnTo>
                  <a:lnTo>
                    <a:pt x="28" y="74"/>
                  </a:lnTo>
                  <a:lnTo>
                    <a:pt x="29" y="74"/>
                  </a:lnTo>
                  <a:lnTo>
                    <a:pt x="29" y="74"/>
                  </a:lnTo>
                  <a:lnTo>
                    <a:pt x="29" y="73"/>
                  </a:lnTo>
                  <a:lnTo>
                    <a:pt x="29" y="73"/>
                  </a:lnTo>
                  <a:lnTo>
                    <a:pt x="29" y="73"/>
                  </a:lnTo>
                  <a:lnTo>
                    <a:pt x="29" y="71"/>
                  </a:lnTo>
                  <a:lnTo>
                    <a:pt x="30" y="71"/>
                  </a:lnTo>
                  <a:lnTo>
                    <a:pt x="31" y="73"/>
                  </a:lnTo>
                  <a:lnTo>
                    <a:pt x="31" y="71"/>
                  </a:lnTo>
                  <a:lnTo>
                    <a:pt x="31" y="71"/>
                  </a:lnTo>
                  <a:lnTo>
                    <a:pt x="33" y="71"/>
                  </a:lnTo>
                  <a:lnTo>
                    <a:pt x="34" y="70"/>
                  </a:lnTo>
                  <a:lnTo>
                    <a:pt x="35" y="69"/>
                  </a:lnTo>
                  <a:lnTo>
                    <a:pt x="34" y="69"/>
                  </a:lnTo>
                  <a:lnTo>
                    <a:pt x="33" y="68"/>
                  </a:lnTo>
                  <a:lnTo>
                    <a:pt x="31" y="68"/>
                  </a:lnTo>
                  <a:lnTo>
                    <a:pt x="31" y="68"/>
                  </a:lnTo>
                  <a:lnTo>
                    <a:pt x="33" y="68"/>
                  </a:lnTo>
                  <a:lnTo>
                    <a:pt x="34" y="68"/>
                  </a:lnTo>
                  <a:lnTo>
                    <a:pt x="35" y="68"/>
                  </a:lnTo>
                  <a:lnTo>
                    <a:pt x="35" y="68"/>
                  </a:lnTo>
                  <a:lnTo>
                    <a:pt x="35" y="69"/>
                  </a:lnTo>
                  <a:lnTo>
                    <a:pt x="35" y="69"/>
                  </a:lnTo>
                  <a:lnTo>
                    <a:pt x="35" y="70"/>
                  </a:lnTo>
                  <a:lnTo>
                    <a:pt x="35" y="70"/>
                  </a:lnTo>
                  <a:lnTo>
                    <a:pt x="36" y="70"/>
                  </a:lnTo>
                  <a:lnTo>
                    <a:pt x="37" y="69"/>
                  </a:lnTo>
                  <a:lnTo>
                    <a:pt x="36" y="69"/>
                  </a:lnTo>
                  <a:lnTo>
                    <a:pt x="37" y="68"/>
                  </a:lnTo>
                  <a:lnTo>
                    <a:pt x="40" y="68"/>
                  </a:lnTo>
                  <a:lnTo>
                    <a:pt x="40" y="68"/>
                  </a:lnTo>
                  <a:lnTo>
                    <a:pt x="40" y="67"/>
                  </a:lnTo>
                  <a:lnTo>
                    <a:pt x="40" y="67"/>
                  </a:lnTo>
                  <a:lnTo>
                    <a:pt x="41" y="67"/>
                  </a:lnTo>
                  <a:lnTo>
                    <a:pt x="41" y="67"/>
                  </a:lnTo>
                  <a:lnTo>
                    <a:pt x="42" y="67"/>
                  </a:lnTo>
                  <a:lnTo>
                    <a:pt x="42" y="67"/>
                  </a:lnTo>
                  <a:lnTo>
                    <a:pt x="42" y="67"/>
                  </a:lnTo>
                  <a:lnTo>
                    <a:pt x="43" y="67"/>
                  </a:lnTo>
                  <a:lnTo>
                    <a:pt x="46" y="65"/>
                  </a:lnTo>
                  <a:lnTo>
                    <a:pt x="46" y="65"/>
                  </a:lnTo>
                  <a:lnTo>
                    <a:pt x="46" y="65"/>
                  </a:lnTo>
                  <a:lnTo>
                    <a:pt x="47" y="65"/>
                  </a:lnTo>
                  <a:lnTo>
                    <a:pt x="46" y="64"/>
                  </a:lnTo>
                  <a:lnTo>
                    <a:pt x="46" y="65"/>
                  </a:lnTo>
                  <a:lnTo>
                    <a:pt x="46" y="64"/>
                  </a:lnTo>
                  <a:lnTo>
                    <a:pt x="46" y="64"/>
                  </a:lnTo>
                  <a:lnTo>
                    <a:pt x="47" y="64"/>
                  </a:lnTo>
                  <a:lnTo>
                    <a:pt x="48" y="64"/>
                  </a:lnTo>
                  <a:lnTo>
                    <a:pt x="50" y="64"/>
                  </a:lnTo>
                  <a:lnTo>
                    <a:pt x="51" y="64"/>
                  </a:lnTo>
                  <a:lnTo>
                    <a:pt x="51" y="63"/>
                  </a:lnTo>
                  <a:lnTo>
                    <a:pt x="51" y="63"/>
                  </a:lnTo>
                  <a:lnTo>
                    <a:pt x="53" y="63"/>
                  </a:lnTo>
                  <a:lnTo>
                    <a:pt x="53" y="63"/>
                  </a:lnTo>
                  <a:lnTo>
                    <a:pt x="53" y="63"/>
                  </a:lnTo>
                  <a:lnTo>
                    <a:pt x="53" y="63"/>
                  </a:lnTo>
                  <a:lnTo>
                    <a:pt x="53" y="64"/>
                  </a:lnTo>
                  <a:lnTo>
                    <a:pt x="54" y="64"/>
                  </a:lnTo>
                  <a:lnTo>
                    <a:pt x="54" y="64"/>
                  </a:lnTo>
                  <a:lnTo>
                    <a:pt x="54" y="63"/>
                  </a:lnTo>
                  <a:lnTo>
                    <a:pt x="54" y="62"/>
                  </a:lnTo>
                  <a:lnTo>
                    <a:pt x="54" y="61"/>
                  </a:lnTo>
                  <a:lnTo>
                    <a:pt x="55" y="62"/>
                  </a:lnTo>
                  <a:lnTo>
                    <a:pt x="55" y="62"/>
                  </a:lnTo>
                  <a:lnTo>
                    <a:pt x="55" y="63"/>
                  </a:lnTo>
                  <a:lnTo>
                    <a:pt x="55" y="63"/>
                  </a:lnTo>
                  <a:lnTo>
                    <a:pt x="57" y="63"/>
                  </a:lnTo>
                  <a:lnTo>
                    <a:pt x="56" y="62"/>
                  </a:lnTo>
                  <a:lnTo>
                    <a:pt x="57" y="62"/>
                  </a:lnTo>
                  <a:lnTo>
                    <a:pt x="58" y="62"/>
                  </a:lnTo>
                  <a:lnTo>
                    <a:pt x="61" y="63"/>
                  </a:lnTo>
                  <a:lnTo>
                    <a:pt x="62" y="63"/>
                  </a:lnTo>
                  <a:lnTo>
                    <a:pt x="62" y="62"/>
                  </a:lnTo>
                  <a:lnTo>
                    <a:pt x="62" y="63"/>
                  </a:lnTo>
                  <a:lnTo>
                    <a:pt x="62" y="63"/>
                  </a:lnTo>
                  <a:lnTo>
                    <a:pt x="63" y="63"/>
                  </a:lnTo>
                  <a:lnTo>
                    <a:pt x="64" y="62"/>
                  </a:lnTo>
                  <a:lnTo>
                    <a:pt x="64" y="63"/>
                  </a:lnTo>
                  <a:lnTo>
                    <a:pt x="64" y="63"/>
                  </a:lnTo>
                  <a:lnTo>
                    <a:pt x="66" y="62"/>
                  </a:lnTo>
                  <a:lnTo>
                    <a:pt x="64" y="62"/>
                  </a:lnTo>
                  <a:lnTo>
                    <a:pt x="64" y="61"/>
                  </a:lnTo>
                  <a:lnTo>
                    <a:pt x="64" y="60"/>
                  </a:lnTo>
                  <a:lnTo>
                    <a:pt x="64" y="60"/>
                  </a:lnTo>
                  <a:lnTo>
                    <a:pt x="63" y="60"/>
                  </a:lnTo>
                  <a:lnTo>
                    <a:pt x="63" y="58"/>
                  </a:lnTo>
                  <a:lnTo>
                    <a:pt x="63" y="58"/>
                  </a:lnTo>
                  <a:lnTo>
                    <a:pt x="64" y="58"/>
                  </a:lnTo>
                  <a:lnTo>
                    <a:pt x="66" y="58"/>
                  </a:lnTo>
                  <a:lnTo>
                    <a:pt x="67" y="55"/>
                  </a:lnTo>
                  <a:lnTo>
                    <a:pt x="67" y="53"/>
                  </a:lnTo>
                  <a:lnTo>
                    <a:pt x="68" y="51"/>
                  </a:lnTo>
                  <a:lnTo>
                    <a:pt x="68" y="49"/>
                  </a:lnTo>
                  <a:lnTo>
                    <a:pt x="69" y="49"/>
                  </a:lnTo>
                  <a:lnTo>
                    <a:pt x="70" y="47"/>
                  </a:lnTo>
                  <a:lnTo>
                    <a:pt x="69" y="47"/>
                  </a:lnTo>
                  <a:lnTo>
                    <a:pt x="69" y="43"/>
                  </a:lnTo>
                  <a:lnTo>
                    <a:pt x="68" y="42"/>
                  </a:lnTo>
                  <a:lnTo>
                    <a:pt x="68" y="41"/>
                  </a:lnTo>
                  <a:lnTo>
                    <a:pt x="68" y="40"/>
                  </a:lnTo>
                  <a:lnTo>
                    <a:pt x="67" y="38"/>
                  </a:lnTo>
                  <a:lnTo>
                    <a:pt x="67" y="38"/>
                  </a:lnTo>
                  <a:lnTo>
                    <a:pt x="68" y="37"/>
                  </a:lnTo>
                  <a:lnTo>
                    <a:pt x="68" y="37"/>
                  </a:lnTo>
                  <a:lnTo>
                    <a:pt x="68" y="35"/>
                  </a:lnTo>
                  <a:lnTo>
                    <a:pt x="68" y="35"/>
                  </a:lnTo>
                  <a:lnTo>
                    <a:pt x="67" y="34"/>
                  </a:lnTo>
                  <a:lnTo>
                    <a:pt x="67" y="33"/>
                  </a:lnTo>
                  <a:lnTo>
                    <a:pt x="67" y="31"/>
                  </a:lnTo>
                  <a:lnTo>
                    <a:pt x="67" y="31"/>
                  </a:lnTo>
                  <a:lnTo>
                    <a:pt x="67" y="30"/>
                  </a:lnTo>
                  <a:lnTo>
                    <a:pt x="67" y="29"/>
                  </a:lnTo>
                  <a:lnTo>
                    <a:pt x="67" y="29"/>
                  </a:lnTo>
                  <a:lnTo>
                    <a:pt x="66" y="28"/>
                  </a:lnTo>
                  <a:lnTo>
                    <a:pt x="66" y="27"/>
                  </a:lnTo>
                  <a:lnTo>
                    <a:pt x="67" y="26"/>
                  </a:lnTo>
                  <a:lnTo>
                    <a:pt x="68" y="27"/>
                  </a:lnTo>
                  <a:lnTo>
                    <a:pt x="70" y="26"/>
                  </a:lnTo>
                  <a:lnTo>
                    <a:pt x="68" y="26"/>
                  </a:lnTo>
                  <a:lnTo>
                    <a:pt x="67" y="26"/>
                  </a:lnTo>
                  <a:lnTo>
                    <a:pt x="66" y="26"/>
                  </a:lnTo>
                  <a:lnTo>
                    <a:pt x="63" y="26"/>
                  </a:lnTo>
                  <a:lnTo>
                    <a:pt x="63" y="26"/>
                  </a:lnTo>
                  <a:lnTo>
                    <a:pt x="62" y="26"/>
                  </a:lnTo>
                  <a:lnTo>
                    <a:pt x="61" y="26"/>
                  </a:lnTo>
                  <a:lnTo>
                    <a:pt x="61" y="23"/>
                  </a:lnTo>
                  <a:lnTo>
                    <a:pt x="61" y="23"/>
                  </a:lnTo>
                  <a:lnTo>
                    <a:pt x="60" y="22"/>
                  </a:lnTo>
                  <a:lnTo>
                    <a:pt x="60" y="23"/>
                  </a:lnTo>
                  <a:lnTo>
                    <a:pt x="58" y="22"/>
                  </a:lnTo>
                  <a:lnTo>
                    <a:pt x="57" y="20"/>
                  </a:lnTo>
                  <a:lnTo>
                    <a:pt x="56" y="18"/>
                  </a:lnTo>
                  <a:lnTo>
                    <a:pt x="55" y="18"/>
                  </a:lnTo>
                  <a:lnTo>
                    <a:pt x="53" y="21"/>
                  </a:lnTo>
                  <a:lnTo>
                    <a:pt x="54" y="21"/>
                  </a:lnTo>
                  <a:lnTo>
                    <a:pt x="54" y="22"/>
                  </a:lnTo>
                  <a:lnTo>
                    <a:pt x="53" y="22"/>
                  </a:lnTo>
                  <a:lnTo>
                    <a:pt x="51" y="24"/>
                  </a:lnTo>
                  <a:lnTo>
                    <a:pt x="49" y="23"/>
                  </a:lnTo>
                  <a:lnTo>
                    <a:pt x="49" y="23"/>
                  </a:lnTo>
                  <a:lnTo>
                    <a:pt x="48" y="24"/>
                  </a:lnTo>
                  <a:lnTo>
                    <a:pt x="47" y="23"/>
                  </a:lnTo>
                  <a:lnTo>
                    <a:pt x="46" y="22"/>
                  </a:lnTo>
                  <a:lnTo>
                    <a:pt x="43" y="22"/>
                  </a:lnTo>
                  <a:lnTo>
                    <a:pt x="42" y="21"/>
                  </a:lnTo>
                  <a:lnTo>
                    <a:pt x="42" y="21"/>
                  </a:lnTo>
                  <a:lnTo>
                    <a:pt x="41" y="20"/>
                  </a:lnTo>
                  <a:lnTo>
                    <a:pt x="40" y="20"/>
                  </a:lnTo>
                  <a:lnTo>
                    <a:pt x="38" y="17"/>
                  </a:lnTo>
                  <a:lnTo>
                    <a:pt x="40" y="17"/>
                  </a:lnTo>
                  <a:lnTo>
                    <a:pt x="40" y="16"/>
                  </a:lnTo>
                  <a:lnTo>
                    <a:pt x="41" y="16"/>
                  </a:lnTo>
                  <a:lnTo>
                    <a:pt x="42" y="16"/>
                  </a:lnTo>
                  <a:lnTo>
                    <a:pt x="43" y="16"/>
                  </a:lnTo>
                  <a:lnTo>
                    <a:pt x="46" y="15"/>
                  </a:lnTo>
                  <a:lnTo>
                    <a:pt x="46" y="15"/>
                  </a:lnTo>
                  <a:lnTo>
                    <a:pt x="42" y="14"/>
                  </a:lnTo>
                  <a:lnTo>
                    <a:pt x="42" y="14"/>
                  </a:lnTo>
                  <a:lnTo>
                    <a:pt x="42" y="11"/>
                  </a:lnTo>
                  <a:lnTo>
                    <a:pt x="43" y="11"/>
                  </a:lnTo>
                  <a:lnTo>
                    <a:pt x="46" y="13"/>
                  </a:lnTo>
                  <a:lnTo>
                    <a:pt x="47" y="11"/>
                  </a:lnTo>
                  <a:lnTo>
                    <a:pt x="48" y="11"/>
                  </a:lnTo>
                  <a:lnTo>
                    <a:pt x="49" y="10"/>
                  </a:lnTo>
                  <a:lnTo>
                    <a:pt x="49" y="9"/>
                  </a:lnTo>
                  <a:lnTo>
                    <a:pt x="49" y="8"/>
                  </a:lnTo>
                  <a:lnTo>
                    <a:pt x="50" y="7"/>
                  </a:lnTo>
                  <a:lnTo>
                    <a:pt x="50" y="7"/>
                  </a:lnTo>
                  <a:lnTo>
                    <a:pt x="51" y="6"/>
                  </a:lnTo>
                  <a:lnTo>
                    <a:pt x="53" y="6"/>
                  </a:lnTo>
                  <a:lnTo>
                    <a:pt x="53" y="6"/>
                  </a:lnTo>
                  <a:lnTo>
                    <a:pt x="53" y="6"/>
                  </a:lnTo>
                  <a:lnTo>
                    <a:pt x="53" y="4"/>
                  </a:lnTo>
                  <a:lnTo>
                    <a:pt x="54" y="4"/>
                  </a:lnTo>
                  <a:lnTo>
                    <a:pt x="54" y="4"/>
                  </a:lnTo>
                  <a:lnTo>
                    <a:pt x="55" y="4"/>
                  </a:lnTo>
                  <a:lnTo>
                    <a:pt x="56" y="3"/>
                  </a:lnTo>
                  <a:lnTo>
                    <a:pt x="57" y="3"/>
                  </a:lnTo>
                  <a:lnTo>
                    <a:pt x="57" y="2"/>
                  </a:lnTo>
                  <a:lnTo>
                    <a:pt x="56" y="2"/>
                  </a:lnTo>
                  <a:lnTo>
                    <a:pt x="55" y="2"/>
                  </a:lnTo>
                  <a:lnTo>
                    <a:pt x="55" y="2"/>
                  </a:lnTo>
                  <a:lnTo>
                    <a:pt x="55" y="2"/>
                  </a:lnTo>
                  <a:lnTo>
                    <a:pt x="54" y="1"/>
                  </a:lnTo>
                  <a:lnTo>
                    <a:pt x="54" y="1"/>
                  </a:lnTo>
                  <a:lnTo>
                    <a:pt x="54" y="1"/>
                  </a:lnTo>
                  <a:lnTo>
                    <a:pt x="53" y="1"/>
                  </a:lnTo>
                  <a:lnTo>
                    <a:pt x="53" y="1"/>
                  </a:lnTo>
                  <a:lnTo>
                    <a:pt x="51" y="0"/>
                  </a:lnTo>
                  <a:lnTo>
                    <a:pt x="51" y="1"/>
                  </a:lnTo>
                  <a:lnTo>
                    <a:pt x="51" y="1"/>
                  </a:lnTo>
                  <a:lnTo>
                    <a:pt x="53" y="1"/>
                  </a:lnTo>
                  <a:lnTo>
                    <a:pt x="53" y="2"/>
                  </a:lnTo>
                  <a:lnTo>
                    <a:pt x="53" y="2"/>
                  </a:lnTo>
                  <a:lnTo>
                    <a:pt x="53" y="2"/>
                  </a:lnTo>
                  <a:lnTo>
                    <a:pt x="51" y="2"/>
                  </a:lnTo>
                  <a:lnTo>
                    <a:pt x="51" y="1"/>
                  </a:lnTo>
                  <a:lnTo>
                    <a:pt x="50" y="2"/>
                  </a:lnTo>
                  <a:lnTo>
                    <a:pt x="50" y="2"/>
                  </a:lnTo>
                  <a:lnTo>
                    <a:pt x="50" y="2"/>
                  </a:lnTo>
                  <a:lnTo>
                    <a:pt x="50" y="2"/>
                  </a:lnTo>
                  <a:lnTo>
                    <a:pt x="49" y="2"/>
                  </a:lnTo>
                  <a:lnTo>
                    <a:pt x="49" y="2"/>
                  </a:lnTo>
                  <a:lnTo>
                    <a:pt x="49" y="2"/>
                  </a:lnTo>
                  <a:lnTo>
                    <a:pt x="49" y="3"/>
                  </a:lnTo>
                  <a:lnTo>
                    <a:pt x="49" y="3"/>
                  </a:lnTo>
                  <a:lnTo>
                    <a:pt x="49" y="4"/>
                  </a:lnTo>
                  <a:lnTo>
                    <a:pt x="49" y="4"/>
                  </a:lnTo>
                  <a:lnTo>
                    <a:pt x="50" y="4"/>
                  </a:lnTo>
                  <a:lnTo>
                    <a:pt x="50" y="6"/>
                  </a:lnTo>
                  <a:lnTo>
                    <a:pt x="49" y="6"/>
                  </a:lnTo>
                  <a:lnTo>
                    <a:pt x="50" y="6"/>
                  </a:lnTo>
                  <a:lnTo>
                    <a:pt x="50" y="7"/>
                  </a:lnTo>
                  <a:lnTo>
                    <a:pt x="49" y="7"/>
                  </a:lnTo>
                  <a:lnTo>
                    <a:pt x="48" y="8"/>
                  </a:lnTo>
                  <a:lnTo>
                    <a:pt x="47" y="8"/>
                  </a:lnTo>
                  <a:lnTo>
                    <a:pt x="47" y="8"/>
                  </a:lnTo>
                  <a:lnTo>
                    <a:pt x="47" y="8"/>
                  </a:lnTo>
                  <a:lnTo>
                    <a:pt x="48" y="7"/>
                  </a:lnTo>
                  <a:lnTo>
                    <a:pt x="48" y="7"/>
                  </a:lnTo>
                  <a:lnTo>
                    <a:pt x="48" y="7"/>
                  </a:lnTo>
                  <a:lnTo>
                    <a:pt x="47" y="7"/>
                  </a:lnTo>
                  <a:lnTo>
                    <a:pt x="47" y="6"/>
                  </a:lnTo>
                  <a:lnTo>
                    <a:pt x="48" y="7"/>
                  </a:lnTo>
                  <a:lnTo>
                    <a:pt x="48" y="6"/>
                  </a:lnTo>
                  <a:lnTo>
                    <a:pt x="48" y="6"/>
                  </a:lnTo>
                  <a:lnTo>
                    <a:pt x="48" y="6"/>
                  </a:lnTo>
                  <a:lnTo>
                    <a:pt x="49" y="6"/>
                  </a:lnTo>
                  <a:lnTo>
                    <a:pt x="49" y="6"/>
                  </a:lnTo>
                  <a:lnTo>
                    <a:pt x="48" y="4"/>
                  </a:lnTo>
                  <a:lnTo>
                    <a:pt x="48" y="3"/>
                  </a:lnTo>
                  <a:lnTo>
                    <a:pt x="48" y="3"/>
                  </a:lnTo>
                  <a:lnTo>
                    <a:pt x="48" y="3"/>
                  </a:lnTo>
                  <a:lnTo>
                    <a:pt x="48" y="3"/>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14" name="Iran">
              <a:extLst>
                <a:ext uri="{FF2B5EF4-FFF2-40B4-BE49-F238E27FC236}">
                  <a16:creationId xmlns:a16="http://schemas.microsoft.com/office/drawing/2014/main" id="{0185A0A2-D042-244F-9BB7-AFEE5F1FF813}"/>
                </a:ext>
              </a:extLst>
            </p:cNvPr>
            <p:cNvSpPr>
              <a:spLocks noEditPoints="1"/>
            </p:cNvSpPr>
            <p:nvPr/>
          </p:nvSpPr>
          <p:spPr bwMode="auto">
            <a:xfrm>
              <a:off x="7438297" y="2798304"/>
              <a:ext cx="545272" cy="435927"/>
            </a:xfrm>
            <a:custGeom>
              <a:avLst/>
              <a:gdLst>
                <a:gd name="T0" fmla="*/ 236 w 374"/>
                <a:gd name="T1" fmla="*/ 269 h 299"/>
                <a:gd name="T2" fmla="*/ 243 w 374"/>
                <a:gd name="T3" fmla="*/ 262 h 299"/>
                <a:gd name="T4" fmla="*/ 109 w 374"/>
                <a:gd name="T5" fmla="*/ 197 h 299"/>
                <a:gd name="T6" fmla="*/ 116 w 374"/>
                <a:gd name="T7" fmla="*/ 188 h 299"/>
                <a:gd name="T8" fmla="*/ 114 w 374"/>
                <a:gd name="T9" fmla="*/ 192 h 299"/>
                <a:gd name="T10" fmla="*/ 124 w 374"/>
                <a:gd name="T11" fmla="*/ 197 h 299"/>
                <a:gd name="T12" fmla="*/ 144 w 374"/>
                <a:gd name="T13" fmla="*/ 210 h 299"/>
                <a:gd name="T14" fmla="*/ 149 w 374"/>
                <a:gd name="T15" fmla="*/ 218 h 299"/>
                <a:gd name="T16" fmla="*/ 157 w 374"/>
                <a:gd name="T17" fmla="*/ 232 h 299"/>
                <a:gd name="T18" fmla="*/ 181 w 374"/>
                <a:gd name="T19" fmla="*/ 247 h 299"/>
                <a:gd name="T20" fmla="*/ 193 w 374"/>
                <a:gd name="T21" fmla="*/ 257 h 299"/>
                <a:gd name="T22" fmla="*/ 214 w 374"/>
                <a:gd name="T23" fmla="*/ 267 h 299"/>
                <a:gd name="T24" fmla="*/ 230 w 374"/>
                <a:gd name="T25" fmla="*/ 268 h 299"/>
                <a:gd name="T26" fmla="*/ 243 w 374"/>
                <a:gd name="T27" fmla="*/ 260 h 299"/>
                <a:gd name="T28" fmla="*/ 261 w 374"/>
                <a:gd name="T29" fmla="*/ 258 h 299"/>
                <a:gd name="T30" fmla="*/ 267 w 374"/>
                <a:gd name="T31" fmla="*/ 272 h 299"/>
                <a:gd name="T32" fmla="*/ 274 w 374"/>
                <a:gd name="T33" fmla="*/ 285 h 299"/>
                <a:gd name="T34" fmla="*/ 288 w 374"/>
                <a:gd name="T35" fmla="*/ 290 h 299"/>
                <a:gd name="T36" fmla="*/ 306 w 374"/>
                <a:gd name="T37" fmla="*/ 294 h 299"/>
                <a:gd name="T38" fmla="*/ 324 w 374"/>
                <a:gd name="T39" fmla="*/ 294 h 299"/>
                <a:gd name="T40" fmla="*/ 330 w 374"/>
                <a:gd name="T41" fmla="*/ 296 h 299"/>
                <a:gd name="T42" fmla="*/ 349 w 374"/>
                <a:gd name="T43" fmla="*/ 291 h 299"/>
                <a:gd name="T44" fmla="*/ 353 w 374"/>
                <a:gd name="T45" fmla="*/ 274 h 299"/>
                <a:gd name="T46" fmla="*/ 364 w 374"/>
                <a:gd name="T47" fmla="*/ 269 h 299"/>
                <a:gd name="T48" fmla="*/ 370 w 374"/>
                <a:gd name="T49" fmla="*/ 254 h 299"/>
                <a:gd name="T50" fmla="*/ 357 w 374"/>
                <a:gd name="T51" fmla="*/ 234 h 299"/>
                <a:gd name="T52" fmla="*/ 335 w 374"/>
                <a:gd name="T53" fmla="*/ 216 h 299"/>
                <a:gd name="T54" fmla="*/ 316 w 374"/>
                <a:gd name="T55" fmla="*/ 168 h 299"/>
                <a:gd name="T56" fmla="*/ 307 w 374"/>
                <a:gd name="T57" fmla="*/ 107 h 299"/>
                <a:gd name="T58" fmla="*/ 306 w 374"/>
                <a:gd name="T59" fmla="*/ 77 h 299"/>
                <a:gd name="T60" fmla="*/ 300 w 374"/>
                <a:gd name="T61" fmla="*/ 62 h 299"/>
                <a:gd name="T62" fmla="*/ 271 w 374"/>
                <a:gd name="T63" fmla="*/ 50 h 299"/>
                <a:gd name="T64" fmla="*/ 257 w 374"/>
                <a:gd name="T65" fmla="*/ 41 h 299"/>
                <a:gd name="T66" fmla="*/ 240 w 374"/>
                <a:gd name="T67" fmla="*/ 37 h 299"/>
                <a:gd name="T68" fmla="*/ 227 w 374"/>
                <a:gd name="T69" fmla="*/ 30 h 299"/>
                <a:gd name="T70" fmla="*/ 211 w 374"/>
                <a:gd name="T71" fmla="*/ 31 h 299"/>
                <a:gd name="T72" fmla="*/ 195 w 374"/>
                <a:gd name="T73" fmla="*/ 35 h 299"/>
                <a:gd name="T74" fmla="*/ 174 w 374"/>
                <a:gd name="T75" fmla="*/ 48 h 299"/>
                <a:gd name="T76" fmla="*/ 156 w 374"/>
                <a:gd name="T77" fmla="*/ 61 h 299"/>
                <a:gd name="T78" fmla="*/ 114 w 374"/>
                <a:gd name="T79" fmla="*/ 49 h 299"/>
                <a:gd name="T80" fmla="*/ 89 w 374"/>
                <a:gd name="T81" fmla="*/ 35 h 299"/>
                <a:gd name="T82" fmla="*/ 72 w 374"/>
                <a:gd name="T83" fmla="*/ 20 h 299"/>
                <a:gd name="T84" fmla="*/ 72 w 374"/>
                <a:gd name="T85" fmla="*/ 7 h 299"/>
                <a:gd name="T86" fmla="*/ 53 w 374"/>
                <a:gd name="T87" fmla="*/ 8 h 299"/>
                <a:gd name="T88" fmla="*/ 37 w 374"/>
                <a:gd name="T89" fmla="*/ 17 h 299"/>
                <a:gd name="T90" fmla="*/ 23 w 374"/>
                <a:gd name="T91" fmla="*/ 10 h 299"/>
                <a:gd name="T92" fmla="*/ 3 w 374"/>
                <a:gd name="T93" fmla="*/ 7 h 299"/>
                <a:gd name="T94" fmla="*/ 13 w 374"/>
                <a:gd name="T95" fmla="*/ 30 h 299"/>
                <a:gd name="T96" fmla="*/ 17 w 374"/>
                <a:gd name="T97" fmla="*/ 44 h 299"/>
                <a:gd name="T98" fmla="*/ 23 w 374"/>
                <a:gd name="T99" fmla="*/ 60 h 299"/>
                <a:gd name="T100" fmla="*/ 32 w 374"/>
                <a:gd name="T101" fmla="*/ 70 h 299"/>
                <a:gd name="T102" fmla="*/ 48 w 374"/>
                <a:gd name="T103" fmla="*/ 78 h 299"/>
                <a:gd name="T104" fmla="*/ 47 w 374"/>
                <a:gd name="T105" fmla="*/ 85 h 299"/>
                <a:gd name="T106" fmla="*/ 48 w 374"/>
                <a:gd name="T107" fmla="*/ 97 h 299"/>
                <a:gd name="T108" fmla="*/ 43 w 374"/>
                <a:gd name="T109" fmla="*/ 104 h 299"/>
                <a:gd name="T110" fmla="*/ 43 w 374"/>
                <a:gd name="T111" fmla="*/ 116 h 299"/>
                <a:gd name="T112" fmla="*/ 50 w 374"/>
                <a:gd name="T113" fmla="*/ 127 h 299"/>
                <a:gd name="T114" fmla="*/ 62 w 374"/>
                <a:gd name="T115" fmla="*/ 138 h 299"/>
                <a:gd name="T116" fmla="*/ 87 w 374"/>
                <a:gd name="T117" fmla="*/ 157 h 299"/>
                <a:gd name="T118" fmla="*/ 102 w 374"/>
                <a:gd name="T119" fmla="*/ 191 h 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74" h="299">
                  <a:moveTo>
                    <a:pt x="251" y="262"/>
                  </a:moveTo>
                  <a:lnTo>
                    <a:pt x="251" y="262"/>
                  </a:lnTo>
                  <a:lnTo>
                    <a:pt x="248" y="262"/>
                  </a:lnTo>
                  <a:lnTo>
                    <a:pt x="248" y="263"/>
                  </a:lnTo>
                  <a:lnTo>
                    <a:pt x="248" y="264"/>
                  </a:lnTo>
                  <a:lnTo>
                    <a:pt x="247" y="265"/>
                  </a:lnTo>
                  <a:lnTo>
                    <a:pt x="247" y="267"/>
                  </a:lnTo>
                  <a:lnTo>
                    <a:pt x="244" y="267"/>
                  </a:lnTo>
                  <a:lnTo>
                    <a:pt x="244" y="265"/>
                  </a:lnTo>
                  <a:lnTo>
                    <a:pt x="242" y="267"/>
                  </a:lnTo>
                  <a:lnTo>
                    <a:pt x="242" y="267"/>
                  </a:lnTo>
                  <a:lnTo>
                    <a:pt x="237" y="269"/>
                  </a:lnTo>
                  <a:lnTo>
                    <a:pt x="236" y="269"/>
                  </a:lnTo>
                  <a:lnTo>
                    <a:pt x="236" y="270"/>
                  </a:lnTo>
                  <a:lnTo>
                    <a:pt x="235" y="270"/>
                  </a:lnTo>
                  <a:lnTo>
                    <a:pt x="234" y="270"/>
                  </a:lnTo>
                  <a:lnTo>
                    <a:pt x="234" y="268"/>
                  </a:lnTo>
                  <a:lnTo>
                    <a:pt x="236" y="268"/>
                  </a:lnTo>
                  <a:lnTo>
                    <a:pt x="236" y="267"/>
                  </a:lnTo>
                  <a:lnTo>
                    <a:pt x="239" y="267"/>
                  </a:lnTo>
                  <a:lnTo>
                    <a:pt x="241" y="265"/>
                  </a:lnTo>
                  <a:lnTo>
                    <a:pt x="241" y="264"/>
                  </a:lnTo>
                  <a:lnTo>
                    <a:pt x="241" y="263"/>
                  </a:lnTo>
                  <a:lnTo>
                    <a:pt x="241" y="262"/>
                  </a:lnTo>
                  <a:lnTo>
                    <a:pt x="242" y="262"/>
                  </a:lnTo>
                  <a:lnTo>
                    <a:pt x="243" y="262"/>
                  </a:lnTo>
                  <a:lnTo>
                    <a:pt x="243" y="262"/>
                  </a:lnTo>
                  <a:lnTo>
                    <a:pt x="246" y="261"/>
                  </a:lnTo>
                  <a:lnTo>
                    <a:pt x="248" y="261"/>
                  </a:lnTo>
                  <a:lnTo>
                    <a:pt x="250" y="261"/>
                  </a:lnTo>
                  <a:lnTo>
                    <a:pt x="251" y="261"/>
                  </a:lnTo>
                  <a:lnTo>
                    <a:pt x="251" y="262"/>
                  </a:lnTo>
                  <a:lnTo>
                    <a:pt x="251" y="262"/>
                  </a:lnTo>
                  <a:close/>
                  <a:moveTo>
                    <a:pt x="108" y="200"/>
                  </a:moveTo>
                  <a:lnTo>
                    <a:pt x="108" y="200"/>
                  </a:lnTo>
                  <a:lnTo>
                    <a:pt x="110" y="200"/>
                  </a:lnTo>
                  <a:lnTo>
                    <a:pt x="110" y="198"/>
                  </a:lnTo>
                  <a:lnTo>
                    <a:pt x="109" y="198"/>
                  </a:lnTo>
                  <a:lnTo>
                    <a:pt x="109" y="197"/>
                  </a:lnTo>
                  <a:lnTo>
                    <a:pt x="110" y="198"/>
                  </a:lnTo>
                  <a:lnTo>
                    <a:pt x="113" y="198"/>
                  </a:lnTo>
                  <a:lnTo>
                    <a:pt x="115" y="195"/>
                  </a:lnTo>
                  <a:lnTo>
                    <a:pt x="112" y="194"/>
                  </a:lnTo>
                  <a:lnTo>
                    <a:pt x="112" y="192"/>
                  </a:lnTo>
                  <a:lnTo>
                    <a:pt x="112" y="191"/>
                  </a:lnTo>
                  <a:lnTo>
                    <a:pt x="112" y="191"/>
                  </a:lnTo>
                  <a:lnTo>
                    <a:pt x="112" y="190"/>
                  </a:lnTo>
                  <a:lnTo>
                    <a:pt x="114" y="190"/>
                  </a:lnTo>
                  <a:lnTo>
                    <a:pt x="114" y="190"/>
                  </a:lnTo>
                  <a:lnTo>
                    <a:pt x="114" y="189"/>
                  </a:lnTo>
                  <a:lnTo>
                    <a:pt x="114" y="188"/>
                  </a:lnTo>
                  <a:lnTo>
                    <a:pt x="116" y="188"/>
                  </a:lnTo>
                  <a:lnTo>
                    <a:pt x="115" y="188"/>
                  </a:lnTo>
                  <a:lnTo>
                    <a:pt x="116" y="188"/>
                  </a:lnTo>
                  <a:lnTo>
                    <a:pt x="116" y="189"/>
                  </a:lnTo>
                  <a:lnTo>
                    <a:pt x="116" y="188"/>
                  </a:lnTo>
                  <a:lnTo>
                    <a:pt x="119" y="190"/>
                  </a:lnTo>
                  <a:lnTo>
                    <a:pt x="119" y="190"/>
                  </a:lnTo>
                  <a:lnTo>
                    <a:pt x="119" y="191"/>
                  </a:lnTo>
                  <a:lnTo>
                    <a:pt x="116" y="190"/>
                  </a:lnTo>
                  <a:lnTo>
                    <a:pt x="114" y="190"/>
                  </a:lnTo>
                  <a:lnTo>
                    <a:pt x="114" y="190"/>
                  </a:lnTo>
                  <a:lnTo>
                    <a:pt x="112" y="190"/>
                  </a:lnTo>
                  <a:lnTo>
                    <a:pt x="114" y="191"/>
                  </a:lnTo>
                  <a:lnTo>
                    <a:pt x="114" y="192"/>
                  </a:lnTo>
                  <a:lnTo>
                    <a:pt x="116" y="192"/>
                  </a:lnTo>
                  <a:lnTo>
                    <a:pt x="116" y="194"/>
                  </a:lnTo>
                  <a:lnTo>
                    <a:pt x="117" y="194"/>
                  </a:lnTo>
                  <a:lnTo>
                    <a:pt x="117" y="195"/>
                  </a:lnTo>
                  <a:lnTo>
                    <a:pt x="117" y="194"/>
                  </a:lnTo>
                  <a:lnTo>
                    <a:pt x="119" y="192"/>
                  </a:lnTo>
                  <a:lnTo>
                    <a:pt x="119" y="195"/>
                  </a:lnTo>
                  <a:lnTo>
                    <a:pt x="120" y="195"/>
                  </a:lnTo>
                  <a:lnTo>
                    <a:pt x="120" y="195"/>
                  </a:lnTo>
                  <a:lnTo>
                    <a:pt x="122" y="195"/>
                  </a:lnTo>
                  <a:lnTo>
                    <a:pt x="122" y="195"/>
                  </a:lnTo>
                  <a:lnTo>
                    <a:pt x="123" y="195"/>
                  </a:lnTo>
                  <a:lnTo>
                    <a:pt x="124" y="197"/>
                  </a:lnTo>
                  <a:lnTo>
                    <a:pt x="124" y="198"/>
                  </a:lnTo>
                  <a:lnTo>
                    <a:pt x="132" y="195"/>
                  </a:lnTo>
                  <a:lnTo>
                    <a:pt x="134" y="195"/>
                  </a:lnTo>
                  <a:lnTo>
                    <a:pt x="135" y="195"/>
                  </a:lnTo>
                  <a:lnTo>
                    <a:pt x="135" y="196"/>
                  </a:lnTo>
                  <a:lnTo>
                    <a:pt x="135" y="197"/>
                  </a:lnTo>
                  <a:lnTo>
                    <a:pt x="135" y="198"/>
                  </a:lnTo>
                  <a:lnTo>
                    <a:pt x="135" y="200"/>
                  </a:lnTo>
                  <a:lnTo>
                    <a:pt x="135" y="201"/>
                  </a:lnTo>
                  <a:lnTo>
                    <a:pt x="137" y="202"/>
                  </a:lnTo>
                  <a:lnTo>
                    <a:pt x="141" y="207"/>
                  </a:lnTo>
                  <a:lnTo>
                    <a:pt x="141" y="207"/>
                  </a:lnTo>
                  <a:lnTo>
                    <a:pt x="144" y="210"/>
                  </a:lnTo>
                  <a:lnTo>
                    <a:pt x="146" y="209"/>
                  </a:lnTo>
                  <a:lnTo>
                    <a:pt x="146" y="210"/>
                  </a:lnTo>
                  <a:lnTo>
                    <a:pt x="146" y="211"/>
                  </a:lnTo>
                  <a:lnTo>
                    <a:pt x="146" y="212"/>
                  </a:lnTo>
                  <a:lnTo>
                    <a:pt x="147" y="214"/>
                  </a:lnTo>
                  <a:lnTo>
                    <a:pt x="147" y="214"/>
                  </a:lnTo>
                  <a:lnTo>
                    <a:pt x="146" y="214"/>
                  </a:lnTo>
                  <a:lnTo>
                    <a:pt x="147" y="215"/>
                  </a:lnTo>
                  <a:lnTo>
                    <a:pt x="147" y="216"/>
                  </a:lnTo>
                  <a:lnTo>
                    <a:pt x="147" y="217"/>
                  </a:lnTo>
                  <a:lnTo>
                    <a:pt x="147" y="216"/>
                  </a:lnTo>
                  <a:lnTo>
                    <a:pt x="149" y="216"/>
                  </a:lnTo>
                  <a:lnTo>
                    <a:pt x="149" y="218"/>
                  </a:lnTo>
                  <a:lnTo>
                    <a:pt x="150" y="218"/>
                  </a:lnTo>
                  <a:lnTo>
                    <a:pt x="153" y="218"/>
                  </a:lnTo>
                  <a:lnTo>
                    <a:pt x="153" y="220"/>
                  </a:lnTo>
                  <a:lnTo>
                    <a:pt x="150" y="220"/>
                  </a:lnTo>
                  <a:lnTo>
                    <a:pt x="150" y="221"/>
                  </a:lnTo>
                  <a:lnTo>
                    <a:pt x="149" y="220"/>
                  </a:lnTo>
                  <a:lnTo>
                    <a:pt x="149" y="220"/>
                  </a:lnTo>
                  <a:lnTo>
                    <a:pt x="149" y="221"/>
                  </a:lnTo>
                  <a:lnTo>
                    <a:pt x="150" y="222"/>
                  </a:lnTo>
                  <a:lnTo>
                    <a:pt x="153" y="223"/>
                  </a:lnTo>
                  <a:lnTo>
                    <a:pt x="154" y="225"/>
                  </a:lnTo>
                  <a:lnTo>
                    <a:pt x="156" y="230"/>
                  </a:lnTo>
                  <a:lnTo>
                    <a:pt x="157" y="232"/>
                  </a:lnTo>
                  <a:lnTo>
                    <a:pt x="160" y="235"/>
                  </a:lnTo>
                  <a:lnTo>
                    <a:pt x="160" y="236"/>
                  </a:lnTo>
                  <a:lnTo>
                    <a:pt x="160" y="237"/>
                  </a:lnTo>
                  <a:lnTo>
                    <a:pt x="160" y="238"/>
                  </a:lnTo>
                  <a:lnTo>
                    <a:pt x="163" y="240"/>
                  </a:lnTo>
                  <a:lnTo>
                    <a:pt x="163" y="241"/>
                  </a:lnTo>
                  <a:lnTo>
                    <a:pt x="166" y="242"/>
                  </a:lnTo>
                  <a:lnTo>
                    <a:pt x="166" y="243"/>
                  </a:lnTo>
                  <a:lnTo>
                    <a:pt x="168" y="243"/>
                  </a:lnTo>
                  <a:lnTo>
                    <a:pt x="170" y="243"/>
                  </a:lnTo>
                  <a:lnTo>
                    <a:pt x="174" y="243"/>
                  </a:lnTo>
                  <a:lnTo>
                    <a:pt x="177" y="247"/>
                  </a:lnTo>
                  <a:lnTo>
                    <a:pt x="181" y="247"/>
                  </a:lnTo>
                  <a:lnTo>
                    <a:pt x="182" y="248"/>
                  </a:lnTo>
                  <a:lnTo>
                    <a:pt x="184" y="249"/>
                  </a:lnTo>
                  <a:lnTo>
                    <a:pt x="184" y="251"/>
                  </a:lnTo>
                  <a:lnTo>
                    <a:pt x="187" y="251"/>
                  </a:lnTo>
                  <a:lnTo>
                    <a:pt x="187" y="252"/>
                  </a:lnTo>
                  <a:lnTo>
                    <a:pt x="184" y="252"/>
                  </a:lnTo>
                  <a:lnTo>
                    <a:pt x="184" y="252"/>
                  </a:lnTo>
                  <a:lnTo>
                    <a:pt x="184" y="254"/>
                  </a:lnTo>
                  <a:lnTo>
                    <a:pt x="187" y="255"/>
                  </a:lnTo>
                  <a:lnTo>
                    <a:pt x="190" y="256"/>
                  </a:lnTo>
                  <a:lnTo>
                    <a:pt x="190" y="256"/>
                  </a:lnTo>
                  <a:lnTo>
                    <a:pt x="191" y="257"/>
                  </a:lnTo>
                  <a:lnTo>
                    <a:pt x="193" y="257"/>
                  </a:lnTo>
                  <a:lnTo>
                    <a:pt x="195" y="258"/>
                  </a:lnTo>
                  <a:lnTo>
                    <a:pt x="197" y="261"/>
                  </a:lnTo>
                  <a:lnTo>
                    <a:pt x="200" y="261"/>
                  </a:lnTo>
                  <a:lnTo>
                    <a:pt x="201" y="261"/>
                  </a:lnTo>
                  <a:lnTo>
                    <a:pt x="201" y="262"/>
                  </a:lnTo>
                  <a:lnTo>
                    <a:pt x="201" y="263"/>
                  </a:lnTo>
                  <a:lnTo>
                    <a:pt x="202" y="263"/>
                  </a:lnTo>
                  <a:lnTo>
                    <a:pt x="203" y="264"/>
                  </a:lnTo>
                  <a:lnTo>
                    <a:pt x="206" y="265"/>
                  </a:lnTo>
                  <a:lnTo>
                    <a:pt x="206" y="267"/>
                  </a:lnTo>
                  <a:lnTo>
                    <a:pt x="210" y="267"/>
                  </a:lnTo>
                  <a:lnTo>
                    <a:pt x="211" y="265"/>
                  </a:lnTo>
                  <a:lnTo>
                    <a:pt x="214" y="267"/>
                  </a:lnTo>
                  <a:lnTo>
                    <a:pt x="215" y="267"/>
                  </a:lnTo>
                  <a:lnTo>
                    <a:pt x="216" y="267"/>
                  </a:lnTo>
                  <a:lnTo>
                    <a:pt x="217" y="267"/>
                  </a:lnTo>
                  <a:lnTo>
                    <a:pt x="219" y="269"/>
                  </a:lnTo>
                  <a:lnTo>
                    <a:pt x="221" y="269"/>
                  </a:lnTo>
                  <a:lnTo>
                    <a:pt x="221" y="270"/>
                  </a:lnTo>
                  <a:lnTo>
                    <a:pt x="221" y="270"/>
                  </a:lnTo>
                  <a:lnTo>
                    <a:pt x="223" y="271"/>
                  </a:lnTo>
                  <a:lnTo>
                    <a:pt x="224" y="271"/>
                  </a:lnTo>
                  <a:lnTo>
                    <a:pt x="226" y="271"/>
                  </a:lnTo>
                  <a:lnTo>
                    <a:pt x="229" y="269"/>
                  </a:lnTo>
                  <a:lnTo>
                    <a:pt x="229" y="269"/>
                  </a:lnTo>
                  <a:lnTo>
                    <a:pt x="230" y="268"/>
                  </a:lnTo>
                  <a:lnTo>
                    <a:pt x="230" y="267"/>
                  </a:lnTo>
                  <a:lnTo>
                    <a:pt x="231" y="267"/>
                  </a:lnTo>
                  <a:lnTo>
                    <a:pt x="234" y="264"/>
                  </a:lnTo>
                  <a:lnTo>
                    <a:pt x="235" y="264"/>
                  </a:lnTo>
                  <a:lnTo>
                    <a:pt x="235" y="265"/>
                  </a:lnTo>
                  <a:lnTo>
                    <a:pt x="236" y="265"/>
                  </a:lnTo>
                  <a:lnTo>
                    <a:pt x="236" y="265"/>
                  </a:lnTo>
                  <a:lnTo>
                    <a:pt x="237" y="264"/>
                  </a:lnTo>
                  <a:lnTo>
                    <a:pt x="237" y="262"/>
                  </a:lnTo>
                  <a:lnTo>
                    <a:pt x="240" y="261"/>
                  </a:lnTo>
                  <a:lnTo>
                    <a:pt x="241" y="261"/>
                  </a:lnTo>
                  <a:lnTo>
                    <a:pt x="241" y="261"/>
                  </a:lnTo>
                  <a:lnTo>
                    <a:pt x="243" y="260"/>
                  </a:lnTo>
                  <a:lnTo>
                    <a:pt x="246" y="260"/>
                  </a:lnTo>
                  <a:lnTo>
                    <a:pt x="246" y="260"/>
                  </a:lnTo>
                  <a:lnTo>
                    <a:pt x="247" y="257"/>
                  </a:lnTo>
                  <a:lnTo>
                    <a:pt x="248" y="257"/>
                  </a:lnTo>
                  <a:lnTo>
                    <a:pt x="251" y="256"/>
                  </a:lnTo>
                  <a:lnTo>
                    <a:pt x="253" y="257"/>
                  </a:lnTo>
                  <a:lnTo>
                    <a:pt x="254" y="257"/>
                  </a:lnTo>
                  <a:lnTo>
                    <a:pt x="255" y="257"/>
                  </a:lnTo>
                  <a:lnTo>
                    <a:pt x="257" y="257"/>
                  </a:lnTo>
                  <a:lnTo>
                    <a:pt x="257" y="257"/>
                  </a:lnTo>
                  <a:lnTo>
                    <a:pt x="259" y="257"/>
                  </a:lnTo>
                  <a:lnTo>
                    <a:pt x="261" y="257"/>
                  </a:lnTo>
                  <a:lnTo>
                    <a:pt x="261" y="258"/>
                  </a:lnTo>
                  <a:lnTo>
                    <a:pt x="261" y="260"/>
                  </a:lnTo>
                  <a:lnTo>
                    <a:pt x="261" y="260"/>
                  </a:lnTo>
                  <a:lnTo>
                    <a:pt x="261" y="261"/>
                  </a:lnTo>
                  <a:lnTo>
                    <a:pt x="261" y="260"/>
                  </a:lnTo>
                  <a:lnTo>
                    <a:pt x="262" y="261"/>
                  </a:lnTo>
                  <a:lnTo>
                    <a:pt x="263" y="261"/>
                  </a:lnTo>
                  <a:lnTo>
                    <a:pt x="263" y="261"/>
                  </a:lnTo>
                  <a:lnTo>
                    <a:pt x="263" y="262"/>
                  </a:lnTo>
                  <a:lnTo>
                    <a:pt x="263" y="262"/>
                  </a:lnTo>
                  <a:lnTo>
                    <a:pt x="263" y="263"/>
                  </a:lnTo>
                  <a:lnTo>
                    <a:pt x="266" y="268"/>
                  </a:lnTo>
                  <a:lnTo>
                    <a:pt x="267" y="270"/>
                  </a:lnTo>
                  <a:lnTo>
                    <a:pt x="267" y="272"/>
                  </a:lnTo>
                  <a:lnTo>
                    <a:pt x="267" y="272"/>
                  </a:lnTo>
                  <a:lnTo>
                    <a:pt x="267" y="274"/>
                  </a:lnTo>
                  <a:lnTo>
                    <a:pt x="268" y="276"/>
                  </a:lnTo>
                  <a:lnTo>
                    <a:pt x="269" y="277"/>
                  </a:lnTo>
                  <a:lnTo>
                    <a:pt x="268" y="278"/>
                  </a:lnTo>
                  <a:lnTo>
                    <a:pt x="268" y="280"/>
                  </a:lnTo>
                  <a:lnTo>
                    <a:pt x="270" y="281"/>
                  </a:lnTo>
                  <a:lnTo>
                    <a:pt x="270" y="282"/>
                  </a:lnTo>
                  <a:lnTo>
                    <a:pt x="270" y="283"/>
                  </a:lnTo>
                  <a:lnTo>
                    <a:pt x="271" y="285"/>
                  </a:lnTo>
                  <a:lnTo>
                    <a:pt x="274" y="285"/>
                  </a:lnTo>
                  <a:lnTo>
                    <a:pt x="274" y="287"/>
                  </a:lnTo>
                  <a:lnTo>
                    <a:pt x="274" y="285"/>
                  </a:lnTo>
                  <a:lnTo>
                    <a:pt x="274" y="287"/>
                  </a:lnTo>
                  <a:lnTo>
                    <a:pt x="276" y="287"/>
                  </a:lnTo>
                  <a:lnTo>
                    <a:pt x="279" y="287"/>
                  </a:lnTo>
                  <a:lnTo>
                    <a:pt x="280" y="288"/>
                  </a:lnTo>
                  <a:lnTo>
                    <a:pt x="280" y="288"/>
                  </a:lnTo>
                  <a:lnTo>
                    <a:pt x="282" y="288"/>
                  </a:lnTo>
                  <a:lnTo>
                    <a:pt x="283" y="288"/>
                  </a:lnTo>
                  <a:lnTo>
                    <a:pt x="284" y="288"/>
                  </a:lnTo>
                  <a:lnTo>
                    <a:pt x="284" y="288"/>
                  </a:lnTo>
                  <a:lnTo>
                    <a:pt x="284" y="290"/>
                  </a:lnTo>
                  <a:lnTo>
                    <a:pt x="287" y="290"/>
                  </a:lnTo>
                  <a:lnTo>
                    <a:pt x="288" y="290"/>
                  </a:lnTo>
                  <a:lnTo>
                    <a:pt x="288" y="290"/>
                  </a:lnTo>
                  <a:lnTo>
                    <a:pt x="289" y="290"/>
                  </a:lnTo>
                  <a:lnTo>
                    <a:pt x="289" y="289"/>
                  </a:lnTo>
                  <a:lnTo>
                    <a:pt x="290" y="289"/>
                  </a:lnTo>
                  <a:lnTo>
                    <a:pt x="291" y="289"/>
                  </a:lnTo>
                  <a:lnTo>
                    <a:pt x="291" y="289"/>
                  </a:lnTo>
                  <a:lnTo>
                    <a:pt x="295" y="289"/>
                  </a:lnTo>
                  <a:lnTo>
                    <a:pt x="297" y="290"/>
                  </a:lnTo>
                  <a:lnTo>
                    <a:pt x="297" y="290"/>
                  </a:lnTo>
                  <a:lnTo>
                    <a:pt x="300" y="290"/>
                  </a:lnTo>
                  <a:lnTo>
                    <a:pt x="300" y="290"/>
                  </a:lnTo>
                  <a:lnTo>
                    <a:pt x="301" y="291"/>
                  </a:lnTo>
                  <a:lnTo>
                    <a:pt x="302" y="294"/>
                  </a:lnTo>
                  <a:lnTo>
                    <a:pt x="306" y="294"/>
                  </a:lnTo>
                  <a:lnTo>
                    <a:pt x="309" y="291"/>
                  </a:lnTo>
                  <a:lnTo>
                    <a:pt x="311" y="292"/>
                  </a:lnTo>
                  <a:lnTo>
                    <a:pt x="313" y="292"/>
                  </a:lnTo>
                  <a:lnTo>
                    <a:pt x="313" y="294"/>
                  </a:lnTo>
                  <a:lnTo>
                    <a:pt x="317" y="292"/>
                  </a:lnTo>
                  <a:lnTo>
                    <a:pt x="317" y="295"/>
                  </a:lnTo>
                  <a:lnTo>
                    <a:pt x="320" y="294"/>
                  </a:lnTo>
                  <a:lnTo>
                    <a:pt x="320" y="294"/>
                  </a:lnTo>
                  <a:lnTo>
                    <a:pt x="322" y="294"/>
                  </a:lnTo>
                  <a:lnTo>
                    <a:pt x="322" y="295"/>
                  </a:lnTo>
                  <a:lnTo>
                    <a:pt x="323" y="295"/>
                  </a:lnTo>
                  <a:lnTo>
                    <a:pt x="324" y="294"/>
                  </a:lnTo>
                  <a:lnTo>
                    <a:pt x="324" y="294"/>
                  </a:lnTo>
                  <a:lnTo>
                    <a:pt x="324" y="295"/>
                  </a:lnTo>
                  <a:lnTo>
                    <a:pt x="328" y="295"/>
                  </a:lnTo>
                  <a:lnTo>
                    <a:pt x="329" y="296"/>
                  </a:lnTo>
                  <a:lnTo>
                    <a:pt x="328" y="295"/>
                  </a:lnTo>
                  <a:lnTo>
                    <a:pt x="328" y="295"/>
                  </a:lnTo>
                  <a:lnTo>
                    <a:pt x="328" y="294"/>
                  </a:lnTo>
                  <a:lnTo>
                    <a:pt x="328" y="292"/>
                  </a:lnTo>
                  <a:lnTo>
                    <a:pt x="330" y="292"/>
                  </a:lnTo>
                  <a:lnTo>
                    <a:pt x="330" y="294"/>
                  </a:lnTo>
                  <a:lnTo>
                    <a:pt x="330" y="295"/>
                  </a:lnTo>
                  <a:lnTo>
                    <a:pt x="331" y="295"/>
                  </a:lnTo>
                  <a:lnTo>
                    <a:pt x="330" y="295"/>
                  </a:lnTo>
                  <a:lnTo>
                    <a:pt x="330" y="296"/>
                  </a:lnTo>
                  <a:lnTo>
                    <a:pt x="341" y="298"/>
                  </a:lnTo>
                  <a:lnTo>
                    <a:pt x="343" y="298"/>
                  </a:lnTo>
                  <a:lnTo>
                    <a:pt x="346" y="299"/>
                  </a:lnTo>
                  <a:lnTo>
                    <a:pt x="346" y="298"/>
                  </a:lnTo>
                  <a:lnTo>
                    <a:pt x="347" y="298"/>
                  </a:lnTo>
                  <a:lnTo>
                    <a:pt x="347" y="298"/>
                  </a:lnTo>
                  <a:lnTo>
                    <a:pt x="347" y="297"/>
                  </a:lnTo>
                  <a:lnTo>
                    <a:pt x="348" y="297"/>
                  </a:lnTo>
                  <a:lnTo>
                    <a:pt x="348" y="297"/>
                  </a:lnTo>
                  <a:lnTo>
                    <a:pt x="348" y="296"/>
                  </a:lnTo>
                  <a:lnTo>
                    <a:pt x="348" y="297"/>
                  </a:lnTo>
                  <a:lnTo>
                    <a:pt x="350" y="295"/>
                  </a:lnTo>
                  <a:lnTo>
                    <a:pt x="349" y="291"/>
                  </a:lnTo>
                  <a:lnTo>
                    <a:pt x="349" y="287"/>
                  </a:lnTo>
                  <a:lnTo>
                    <a:pt x="351" y="287"/>
                  </a:lnTo>
                  <a:lnTo>
                    <a:pt x="353" y="287"/>
                  </a:lnTo>
                  <a:lnTo>
                    <a:pt x="351" y="285"/>
                  </a:lnTo>
                  <a:lnTo>
                    <a:pt x="351" y="284"/>
                  </a:lnTo>
                  <a:lnTo>
                    <a:pt x="351" y="284"/>
                  </a:lnTo>
                  <a:lnTo>
                    <a:pt x="351" y="283"/>
                  </a:lnTo>
                  <a:lnTo>
                    <a:pt x="351" y="282"/>
                  </a:lnTo>
                  <a:lnTo>
                    <a:pt x="351" y="281"/>
                  </a:lnTo>
                  <a:lnTo>
                    <a:pt x="351" y="280"/>
                  </a:lnTo>
                  <a:lnTo>
                    <a:pt x="350" y="276"/>
                  </a:lnTo>
                  <a:lnTo>
                    <a:pt x="353" y="275"/>
                  </a:lnTo>
                  <a:lnTo>
                    <a:pt x="353" y="274"/>
                  </a:lnTo>
                  <a:lnTo>
                    <a:pt x="355" y="275"/>
                  </a:lnTo>
                  <a:lnTo>
                    <a:pt x="355" y="275"/>
                  </a:lnTo>
                  <a:lnTo>
                    <a:pt x="357" y="275"/>
                  </a:lnTo>
                  <a:lnTo>
                    <a:pt x="357" y="275"/>
                  </a:lnTo>
                  <a:lnTo>
                    <a:pt x="357" y="274"/>
                  </a:lnTo>
                  <a:lnTo>
                    <a:pt x="357" y="272"/>
                  </a:lnTo>
                  <a:lnTo>
                    <a:pt x="357" y="271"/>
                  </a:lnTo>
                  <a:lnTo>
                    <a:pt x="357" y="271"/>
                  </a:lnTo>
                  <a:lnTo>
                    <a:pt x="359" y="270"/>
                  </a:lnTo>
                  <a:lnTo>
                    <a:pt x="360" y="270"/>
                  </a:lnTo>
                  <a:lnTo>
                    <a:pt x="362" y="269"/>
                  </a:lnTo>
                  <a:lnTo>
                    <a:pt x="364" y="269"/>
                  </a:lnTo>
                  <a:lnTo>
                    <a:pt x="364" y="269"/>
                  </a:lnTo>
                  <a:lnTo>
                    <a:pt x="364" y="269"/>
                  </a:lnTo>
                  <a:lnTo>
                    <a:pt x="367" y="268"/>
                  </a:lnTo>
                  <a:lnTo>
                    <a:pt x="367" y="268"/>
                  </a:lnTo>
                  <a:lnTo>
                    <a:pt x="371" y="268"/>
                  </a:lnTo>
                  <a:lnTo>
                    <a:pt x="373" y="267"/>
                  </a:lnTo>
                  <a:lnTo>
                    <a:pt x="371" y="264"/>
                  </a:lnTo>
                  <a:lnTo>
                    <a:pt x="374" y="263"/>
                  </a:lnTo>
                  <a:lnTo>
                    <a:pt x="373" y="258"/>
                  </a:lnTo>
                  <a:lnTo>
                    <a:pt x="374" y="257"/>
                  </a:lnTo>
                  <a:lnTo>
                    <a:pt x="373" y="256"/>
                  </a:lnTo>
                  <a:lnTo>
                    <a:pt x="373" y="256"/>
                  </a:lnTo>
                  <a:lnTo>
                    <a:pt x="373" y="255"/>
                  </a:lnTo>
                  <a:lnTo>
                    <a:pt x="370" y="254"/>
                  </a:lnTo>
                  <a:lnTo>
                    <a:pt x="368" y="255"/>
                  </a:lnTo>
                  <a:lnTo>
                    <a:pt x="368" y="256"/>
                  </a:lnTo>
                  <a:lnTo>
                    <a:pt x="366" y="256"/>
                  </a:lnTo>
                  <a:lnTo>
                    <a:pt x="364" y="255"/>
                  </a:lnTo>
                  <a:lnTo>
                    <a:pt x="364" y="254"/>
                  </a:lnTo>
                  <a:lnTo>
                    <a:pt x="364" y="254"/>
                  </a:lnTo>
                  <a:lnTo>
                    <a:pt x="364" y="251"/>
                  </a:lnTo>
                  <a:lnTo>
                    <a:pt x="364" y="244"/>
                  </a:lnTo>
                  <a:lnTo>
                    <a:pt x="361" y="240"/>
                  </a:lnTo>
                  <a:lnTo>
                    <a:pt x="362" y="235"/>
                  </a:lnTo>
                  <a:lnTo>
                    <a:pt x="362" y="235"/>
                  </a:lnTo>
                  <a:lnTo>
                    <a:pt x="357" y="235"/>
                  </a:lnTo>
                  <a:lnTo>
                    <a:pt x="357" y="234"/>
                  </a:lnTo>
                  <a:lnTo>
                    <a:pt x="355" y="232"/>
                  </a:lnTo>
                  <a:lnTo>
                    <a:pt x="354" y="230"/>
                  </a:lnTo>
                  <a:lnTo>
                    <a:pt x="351" y="230"/>
                  </a:lnTo>
                  <a:lnTo>
                    <a:pt x="347" y="229"/>
                  </a:lnTo>
                  <a:lnTo>
                    <a:pt x="344" y="228"/>
                  </a:lnTo>
                  <a:lnTo>
                    <a:pt x="343" y="227"/>
                  </a:lnTo>
                  <a:lnTo>
                    <a:pt x="341" y="225"/>
                  </a:lnTo>
                  <a:lnTo>
                    <a:pt x="340" y="223"/>
                  </a:lnTo>
                  <a:lnTo>
                    <a:pt x="339" y="222"/>
                  </a:lnTo>
                  <a:lnTo>
                    <a:pt x="339" y="221"/>
                  </a:lnTo>
                  <a:lnTo>
                    <a:pt x="336" y="220"/>
                  </a:lnTo>
                  <a:lnTo>
                    <a:pt x="336" y="218"/>
                  </a:lnTo>
                  <a:lnTo>
                    <a:pt x="335" y="216"/>
                  </a:lnTo>
                  <a:lnTo>
                    <a:pt x="335" y="216"/>
                  </a:lnTo>
                  <a:lnTo>
                    <a:pt x="335" y="215"/>
                  </a:lnTo>
                  <a:lnTo>
                    <a:pt x="336" y="211"/>
                  </a:lnTo>
                  <a:lnTo>
                    <a:pt x="333" y="211"/>
                  </a:lnTo>
                  <a:lnTo>
                    <a:pt x="324" y="201"/>
                  </a:lnTo>
                  <a:lnTo>
                    <a:pt x="324" y="201"/>
                  </a:lnTo>
                  <a:lnTo>
                    <a:pt x="336" y="182"/>
                  </a:lnTo>
                  <a:lnTo>
                    <a:pt x="335" y="180"/>
                  </a:lnTo>
                  <a:lnTo>
                    <a:pt x="336" y="177"/>
                  </a:lnTo>
                  <a:lnTo>
                    <a:pt x="334" y="174"/>
                  </a:lnTo>
                  <a:lnTo>
                    <a:pt x="333" y="171"/>
                  </a:lnTo>
                  <a:lnTo>
                    <a:pt x="331" y="170"/>
                  </a:lnTo>
                  <a:lnTo>
                    <a:pt x="316" y="168"/>
                  </a:lnTo>
                  <a:lnTo>
                    <a:pt x="314" y="158"/>
                  </a:lnTo>
                  <a:lnTo>
                    <a:pt x="314" y="156"/>
                  </a:lnTo>
                  <a:lnTo>
                    <a:pt x="314" y="152"/>
                  </a:lnTo>
                  <a:lnTo>
                    <a:pt x="306" y="134"/>
                  </a:lnTo>
                  <a:lnTo>
                    <a:pt x="310" y="125"/>
                  </a:lnTo>
                  <a:lnTo>
                    <a:pt x="306" y="124"/>
                  </a:lnTo>
                  <a:lnTo>
                    <a:pt x="303" y="124"/>
                  </a:lnTo>
                  <a:lnTo>
                    <a:pt x="301" y="122"/>
                  </a:lnTo>
                  <a:lnTo>
                    <a:pt x="300" y="114"/>
                  </a:lnTo>
                  <a:lnTo>
                    <a:pt x="303" y="110"/>
                  </a:lnTo>
                  <a:lnTo>
                    <a:pt x="306" y="110"/>
                  </a:lnTo>
                  <a:lnTo>
                    <a:pt x="304" y="108"/>
                  </a:lnTo>
                  <a:lnTo>
                    <a:pt x="307" y="107"/>
                  </a:lnTo>
                  <a:lnTo>
                    <a:pt x="302" y="105"/>
                  </a:lnTo>
                  <a:lnTo>
                    <a:pt x="306" y="103"/>
                  </a:lnTo>
                  <a:lnTo>
                    <a:pt x="307" y="97"/>
                  </a:lnTo>
                  <a:lnTo>
                    <a:pt x="307" y="96"/>
                  </a:lnTo>
                  <a:lnTo>
                    <a:pt x="307" y="95"/>
                  </a:lnTo>
                  <a:lnTo>
                    <a:pt x="307" y="94"/>
                  </a:lnTo>
                  <a:lnTo>
                    <a:pt x="307" y="93"/>
                  </a:lnTo>
                  <a:lnTo>
                    <a:pt x="307" y="93"/>
                  </a:lnTo>
                  <a:lnTo>
                    <a:pt x="307" y="91"/>
                  </a:lnTo>
                  <a:lnTo>
                    <a:pt x="307" y="84"/>
                  </a:lnTo>
                  <a:lnTo>
                    <a:pt x="307" y="82"/>
                  </a:lnTo>
                  <a:lnTo>
                    <a:pt x="306" y="78"/>
                  </a:lnTo>
                  <a:lnTo>
                    <a:pt x="306" y="77"/>
                  </a:lnTo>
                  <a:lnTo>
                    <a:pt x="303" y="77"/>
                  </a:lnTo>
                  <a:lnTo>
                    <a:pt x="303" y="76"/>
                  </a:lnTo>
                  <a:lnTo>
                    <a:pt x="303" y="75"/>
                  </a:lnTo>
                  <a:lnTo>
                    <a:pt x="303" y="75"/>
                  </a:lnTo>
                  <a:lnTo>
                    <a:pt x="303" y="75"/>
                  </a:lnTo>
                  <a:lnTo>
                    <a:pt x="304" y="73"/>
                  </a:lnTo>
                  <a:lnTo>
                    <a:pt x="302" y="70"/>
                  </a:lnTo>
                  <a:lnTo>
                    <a:pt x="302" y="69"/>
                  </a:lnTo>
                  <a:lnTo>
                    <a:pt x="301" y="67"/>
                  </a:lnTo>
                  <a:lnTo>
                    <a:pt x="301" y="67"/>
                  </a:lnTo>
                  <a:lnTo>
                    <a:pt x="301" y="65"/>
                  </a:lnTo>
                  <a:lnTo>
                    <a:pt x="301" y="64"/>
                  </a:lnTo>
                  <a:lnTo>
                    <a:pt x="300" y="62"/>
                  </a:lnTo>
                  <a:lnTo>
                    <a:pt x="288" y="62"/>
                  </a:lnTo>
                  <a:lnTo>
                    <a:pt x="286" y="62"/>
                  </a:lnTo>
                  <a:lnTo>
                    <a:pt x="286" y="61"/>
                  </a:lnTo>
                  <a:lnTo>
                    <a:pt x="286" y="60"/>
                  </a:lnTo>
                  <a:lnTo>
                    <a:pt x="282" y="57"/>
                  </a:lnTo>
                  <a:lnTo>
                    <a:pt x="279" y="54"/>
                  </a:lnTo>
                  <a:lnTo>
                    <a:pt x="279" y="54"/>
                  </a:lnTo>
                  <a:lnTo>
                    <a:pt x="276" y="53"/>
                  </a:lnTo>
                  <a:lnTo>
                    <a:pt x="274" y="53"/>
                  </a:lnTo>
                  <a:lnTo>
                    <a:pt x="274" y="53"/>
                  </a:lnTo>
                  <a:lnTo>
                    <a:pt x="271" y="53"/>
                  </a:lnTo>
                  <a:lnTo>
                    <a:pt x="271" y="51"/>
                  </a:lnTo>
                  <a:lnTo>
                    <a:pt x="271" y="50"/>
                  </a:lnTo>
                  <a:lnTo>
                    <a:pt x="271" y="51"/>
                  </a:lnTo>
                  <a:lnTo>
                    <a:pt x="269" y="50"/>
                  </a:lnTo>
                  <a:lnTo>
                    <a:pt x="269" y="50"/>
                  </a:lnTo>
                  <a:lnTo>
                    <a:pt x="268" y="49"/>
                  </a:lnTo>
                  <a:lnTo>
                    <a:pt x="267" y="47"/>
                  </a:lnTo>
                  <a:lnTo>
                    <a:pt x="267" y="47"/>
                  </a:lnTo>
                  <a:lnTo>
                    <a:pt x="267" y="45"/>
                  </a:lnTo>
                  <a:lnTo>
                    <a:pt x="264" y="44"/>
                  </a:lnTo>
                  <a:lnTo>
                    <a:pt x="264" y="44"/>
                  </a:lnTo>
                  <a:lnTo>
                    <a:pt x="260" y="42"/>
                  </a:lnTo>
                  <a:lnTo>
                    <a:pt x="259" y="42"/>
                  </a:lnTo>
                  <a:lnTo>
                    <a:pt x="257" y="42"/>
                  </a:lnTo>
                  <a:lnTo>
                    <a:pt x="257" y="41"/>
                  </a:lnTo>
                  <a:lnTo>
                    <a:pt x="256" y="42"/>
                  </a:lnTo>
                  <a:lnTo>
                    <a:pt x="255" y="42"/>
                  </a:lnTo>
                  <a:lnTo>
                    <a:pt x="251" y="41"/>
                  </a:lnTo>
                  <a:lnTo>
                    <a:pt x="251" y="42"/>
                  </a:lnTo>
                  <a:lnTo>
                    <a:pt x="249" y="42"/>
                  </a:lnTo>
                  <a:lnTo>
                    <a:pt x="249" y="42"/>
                  </a:lnTo>
                  <a:lnTo>
                    <a:pt x="246" y="41"/>
                  </a:lnTo>
                  <a:lnTo>
                    <a:pt x="244" y="38"/>
                  </a:lnTo>
                  <a:lnTo>
                    <a:pt x="244" y="38"/>
                  </a:lnTo>
                  <a:lnTo>
                    <a:pt x="242" y="38"/>
                  </a:lnTo>
                  <a:lnTo>
                    <a:pt x="241" y="37"/>
                  </a:lnTo>
                  <a:lnTo>
                    <a:pt x="241" y="37"/>
                  </a:lnTo>
                  <a:lnTo>
                    <a:pt x="240" y="37"/>
                  </a:lnTo>
                  <a:lnTo>
                    <a:pt x="237" y="37"/>
                  </a:lnTo>
                  <a:lnTo>
                    <a:pt x="236" y="37"/>
                  </a:lnTo>
                  <a:lnTo>
                    <a:pt x="236" y="36"/>
                  </a:lnTo>
                  <a:lnTo>
                    <a:pt x="235" y="36"/>
                  </a:lnTo>
                  <a:lnTo>
                    <a:pt x="234" y="36"/>
                  </a:lnTo>
                  <a:lnTo>
                    <a:pt x="234" y="36"/>
                  </a:lnTo>
                  <a:lnTo>
                    <a:pt x="231" y="36"/>
                  </a:lnTo>
                  <a:lnTo>
                    <a:pt x="230" y="35"/>
                  </a:lnTo>
                  <a:lnTo>
                    <a:pt x="230" y="33"/>
                  </a:lnTo>
                  <a:lnTo>
                    <a:pt x="228" y="31"/>
                  </a:lnTo>
                  <a:lnTo>
                    <a:pt x="228" y="31"/>
                  </a:lnTo>
                  <a:lnTo>
                    <a:pt x="228" y="31"/>
                  </a:lnTo>
                  <a:lnTo>
                    <a:pt x="227" y="30"/>
                  </a:lnTo>
                  <a:lnTo>
                    <a:pt x="227" y="29"/>
                  </a:lnTo>
                  <a:lnTo>
                    <a:pt x="227" y="28"/>
                  </a:lnTo>
                  <a:lnTo>
                    <a:pt x="224" y="28"/>
                  </a:lnTo>
                  <a:lnTo>
                    <a:pt x="226" y="30"/>
                  </a:lnTo>
                  <a:lnTo>
                    <a:pt x="223" y="31"/>
                  </a:lnTo>
                  <a:lnTo>
                    <a:pt x="221" y="30"/>
                  </a:lnTo>
                  <a:lnTo>
                    <a:pt x="220" y="30"/>
                  </a:lnTo>
                  <a:lnTo>
                    <a:pt x="217" y="28"/>
                  </a:lnTo>
                  <a:lnTo>
                    <a:pt x="217" y="29"/>
                  </a:lnTo>
                  <a:lnTo>
                    <a:pt x="216" y="30"/>
                  </a:lnTo>
                  <a:lnTo>
                    <a:pt x="215" y="29"/>
                  </a:lnTo>
                  <a:lnTo>
                    <a:pt x="213" y="29"/>
                  </a:lnTo>
                  <a:lnTo>
                    <a:pt x="211" y="31"/>
                  </a:lnTo>
                  <a:lnTo>
                    <a:pt x="211" y="31"/>
                  </a:lnTo>
                  <a:lnTo>
                    <a:pt x="213" y="31"/>
                  </a:lnTo>
                  <a:lnTo>
                    <a:pt x="211" y="33"/>
                  </a:lnTo>
                  <a:lnTo>
                    <a:pt x="211" y="34"/>
                  </a:lnTo>
                  <a:lnTo>
                    <a:pt x="209" y="33"/>
                  </a:lnTo>
                  <a:lnTo>
                    <a:pt x="207" y="34"/>
                  </a:lnTo>
                  <a:lnTo>
                    <a:pt x="204" y="33"/>
                  </a:lnTo>
                  <a:lnTo>
                    <a:pt x="204" y="33"/>
                  </a:lnTo>
                  <a:lnTo>
                    <a:pt x="203" y="33"/>
                  </a:lnTo>
                  <a:lnTo>
                    <a:pt x="202" y="31"/>
                  </a:lnTo>
                  <a:lnTo>
                    <a:pt x="197" y="33"/>
                  </a:lnTo>
                  <a:lnTo>
                    <a:pt x="197" y="35"/>
                  </a:lnTo>
                  <a:lnTo>
                    <a:pt x="195" y="35"/>
                  </a:lnTo>
                  <a:lnTo>
                    <a:pt x="193" y="35"/>
                  </a:lnTo>
                  <a:lnTo>
                    <a:pt x="190" y="38"/>
                  </a:lnTo>
                  <a:lnTo>
                    <a:pt x="189" y="40"/>
                  </a:lnTo>
                  <a:lnTo>
                    <a:pt x="188" y="42"/>
                  </a:lnTo>
                  <a:lnTo>
                    <a:pt x="189" y="43"/>
                  </a:lnTo>
                  <a:lnTo>
                    <a:pt x="188" y="44"/>
                  </a:lnTo>
                  <a:lnTo>
                    <a:pt x="188" y="45"/>
                  </a:lnTo>
                  <a:lnTo>
                    <a:pt x="184" y="45"/>
                  </a:lnTo>
                  <a:lnTo>
                    <a:pt x="182" y="48"/>
                  </a:lnTo>
                  <a:lnTo>
                    <a:pt x="181" y="48"/>
                  </a:lnTo>
                  <a:lnTo>
                    <a:pt x="181" y="48"/>
                  </a:lnTo>
                  <a:lnTo>
                    <a:pt x="174" y="48"/>
                  </a:lnTo>
                  <a:lnTo>
                    <a:pt x="174" y="48"/>
                  </a:lnTo>
                  <a:lnTo>
                    <a:pt x="175" y="49"/>
                  </a:lnTo>
                  <a:lnTo>
                    <a:pt x="176" y="51"/>
                  </a:lnTo>
                  <a:lnTo>
                    <a:pt x="177" y="54"/>
                  </a:lnTo>
                  <a:lnTo>
                    <a:pt x="177" y="55"/>
                  </a:lnTo>
                  <a:lnTo>
                    <a:pt x="177" y="55"/>
                  </a:lnTo>
                  <a:lnTo>
                    <a:pt x="177" y="56"/>
                  </a:lnTo>
                  <a:lnTo>
                    <a:pt x="177" y="56"/>
                  </a:lnTo>
                  <a:lnTo>
                    <a:pt x="177" y="56"/>
                  </a:lnTo>
                  <a:lnTo>
                    <a:pt x="177" y="57"/>
                  </a:lnTo>
                  <a:lnTo>
                    <a:pt x="169" y="57"/>
                  </a:lnTo>
                  <a:lnTo>
                    <a:pt x="166" y="58"/>
                  </a:lnTo>
                  <a:lnTo>
                    <a:pt x="160" y="60"/>
                  </a:lnTo>
                  <a:lnTo>
                    <a:pt x="156" y="61"/>
                  </a:lnTo>
                  <a:lnTo>
                    <a:pt x="155" y="61"/>
                  </a:lnTo>
                  <a:lnTo>
                    <a:pt x="153" y="61"/>
                  </a:lnTo>
                  <a:lnTo>
                    <a:pt x="148" y="63"/>
                  </a:lnTo>
                  <a:lnTo>
                    <a:pt x="146" y="64"/>
                  </a:lnTo>
                  <a:lnTo>
                    <a:pt x="143" y="64"/>
                  </a:lnTo>
                  <a:lnTo>
                    <a:pt x="135" y="61"/>
                  </a:lnTo>
                  <a:lnTo>
                    <a:pt x="130" y="60"/>
                  </a:lnTo>
                  <a:lnTo>
                    <a:pt x="127" y="60"/>
                  </a:lnTo>
                  <a:lnTo>
                    <a:pt x="124" y="58"/>
                  </a:lnTo>
                  <a:lnTo>
                    <a:pt x="116" y="54"/>
                  </a:lnTo>
                  <a:lnTo>
                    <a:pt x="115" y="53"/>
                  </a:lnTo>
                  <a:lnTo>
                    <a:pt x="114" y="53"/>
                  </a:lnTo>
                  <a:lnTo>
                    <a:pt x="114" y="49"/>
                  </a:lnTo>
                  <a:lnTo>
                    <a:pt x="113" y="48"/>
                  </a:lnTo>
                  <a:lnTo>
                    <a:pt x="110" y="48"/>
                  </a:lnTo>
                  <a:lnTo>
                    <a:pt x="108" y="45"/>
                  </a:lnTo>
                  <a:lnTo>
                    <a:pt x="108" y="45"/>
                  </a:lnTo>
                  <a:lnTo>
                    <a:pt x="104" y="45"/>
                  </a:lnTo>
                  <a:lnTo>
                    <a:pt x="99" y="45"/>
                  </a:lnTo>
                  <a:lnTo>
                    <a:pt x="95" y="43"/>
                  </a:lnTo>
                  <a:lnTo>
                    <a:pt x="93" y="42"/>
                  </a:lnTo>
                  <a:lnTo>
                    <a:pt x="90" y="40"/>
                  </a:lnTo>
                  <a:lnTo>
                    <a:pt x="89" y="38"/>
                  </a:lnTo>
                  <a:lnTo>
                    <a:pt x="89" y="37"/>
                  </a:lnTo>
                  <a:lnTo>
                    <a:pt x="89" y="37"/>
                  </a:lnTo>
                  <a:lnTo>
                    <a:pt x="89" y="35"/>
                  </a:lnTo>
                  <a:lnTo>
                    <a:pt x="87" y="34"/>
                  </a:lnTo>
                  <a:lnTo>
                    <a:pt x="86" y="28"/>
                  </a:lnTo>
                  <a:lnTo>
                    <a:pt x="84" y="25"/>
                  </a:lnTo>
                  <a:lnTo>
                    <a:pt x="83" y="25"/>
                  </a:lnTo>
                  <a:lnTo>
                    <a:pt x="82" y="25"/>
                  </a:lnTo>
                  <a:lnTo>
                    <a:pt x="81" y="27"/>
                  </a:lnTo>
                  <a:lnTo>
                    <a:pt x="77" y="23"/>
                  </a:lnTo>
                  <a:lnTo>
                    <a:pt x="77" y="22"/>
                  </a:lnTo>
                  <a:lnTo>
                    <a:pt x="76" y="22"/>
                  </a:lnTo>
                  <a:lnTo>
                    <a:pt x="74" y="21"/>
                  </a:lnTo>
                  <a:lnTo>
                    <a:pt x="74" y="21"/>
                  </a:lnTo>
                  <a:lnTo>
                    <a:pt x="74" y="20"/>
                  </a:lnTo>
                  <a:lnTo>
                    <a:pt x="72" y="20"/>
                  </a:lnTo>
                  <a:lnTo>
                    <a:pt x="68" y="17"/>
                  </a:lnTo>
                  <a:lnTo>
                    <a:pt x="68" y="16"/>
                  </a:lnTo>
                  <a:lnTo>
                    <a:pt x="70" y="16"/>
                  </a:lnTo>
                  <a:lnTo>
                    <a:pt x="70" y="15"/>
                  </a:lnTo>
                  <a:lnTo>
                    <a:pt x="73" y="15"/>
                  </a:lnTo>
                  <a:lnTo>
                    <a:pt x="74" y="14"/>
                  </a:lnTo>
                  <a:lnTo>
                    <a:pt x="73" y="11"/>
                  </a:lnTo>
                  <a:lnTo>
                    <a:pt x="72" y="10"/>
                  </a:lnTo>
                  <a:lnTo>
                    <a:pt x="69" y="9"/>
                  </a:lnTo>
                  <a:lnTo>
                    <a:pt x="69" y="9"/>
                  </a:lnTo>
                  <a:lnTo>
                    <a:pt x="69" y="8"/>
                  </a:lnTo>
                  <a:lnTo>
                    <a:pt x="69" y="7"/>
                  </a:lnTo>
                  <a:lnTo>
                    <a:pt x="72" y="7"/>
                  </a:lnTo>
                  <a:lnTo>
                    <a:pt x="73" y="5"/>
                  </a:lnTo>
                  <a:lnTo>
                    <a:pt x="73" y="4"/>
                  </a:lnTo>
                  <a:lnTo>
                    <a:pt x="68" y="2"/>
                  </a:lnTo>
                  <a:lnTo>
                    <a:pt x="66" y="1"/>
                  </a:lnTo>
                  <a:lnTo>
                    <a:pt x="64" y="0"/>
                  </a:lnTo>
                  <a:lnTo>
                    <a:pt x="66" y="1"/>
                  </a:lnTo>
                  <a:lnTo>
                    <a:pt x="62" y="1"/>
                  </a:lnTo>
                  <a:lnTo>
                    <a:pt x="62" y="1"/>
                  </a:lnTo>
                  <a:lnTo>
                    <a:pt x="59" y="3"/>
                  </a:lnTo>
                  <a:lnTo>
                    <a:pt x="57" y="3"/>
                  </a:lnTo>
                  <a:lnTo>
                    <a:pt x="56" y="4"/>
                  </a:lnTo>
                  <a:lnTo>
                    <a:pt x="55" y="5"/>
                  </a:lnTo>
                  <a:lnTo>
                    <a:pt x="53" y="8"/>
                  </a:lnTo>
                  <a:lnTo>
                    <a:pt x="52" y="9"/>
                  </a:lnTo>
                  <a:lnTo>
                    <a:pt x="50" y="10"/>
                  </a:lnTo>
                  <a:lnTo>
                    <a:pt x="50" y="10"/>
                  </a:lnTo>
                  <a:lnTo>
                    <a:pt x="48" y="10"/>
                  </a:lnTo>
                  <a:lnTo>
                    <a:pt x="46" y="13"/>
                  </a:lnTo>
                  <a:lnTo>
                    <a:pt x="47" y="14"/>
                  </a:lnTo>
                  <a:lnTo>
                    <a:pt x="46" y="14"/>
                  </a:lnTo>
                  <a:lnTo>
                    <a:pt x="47" y="15"/>
                  </a:lnTo>
                  <a:lnTo>
                    <a:pt x="44" y="16"/>
                  </a:lnTo>
                  <a:lnTo>
                    <a:pt x="44" y="17"/>
                  </a:lnTo>
                  <a:lnTo>
                    <a:pt x="42" y="16"/>
                  </a:lnTo>
                  <a:lnTo>
                    <a:pt x="40" y="16"/>
                  </a:lnTo>
                  <a:lnTo>
                    <a:pt x="37" y="17"/>
                  </a:lnTo>
                  <a:lnTo>
                    <a:pt x="35" y="16"/>
                  </a:lnTo>
                  <a:lnTo>
                    <a:pt x="35" y="16"/>
                  </a:lnTo>
                  <a:lnTo>
                    <a:pt x="33" y="16"/>
                  </a:lnTo>
                  <a:lnTo>
                    <a:pt x="32" y="16"/>
                  </a:lnTo>
                  <a:lnTo>
                    <a:pt x="29" y="15"/>
                  </a:lnTo>
                  <a:lnTo>
                    <a:pt x="27" y="15"/>
                  </a:lnTo>
                  <a:lnTo>
                    <a:pt x="27" y="15"/>
                  </a:lnTo>
                  <a:lnTo>
                    <a:pt x="24" y="15"/>
                  </a:lnTo>
                  <a:lnTo>
                    <a:pt x="24" y="14"/>
                  </a:lnTo>
                  <a:lnTo>
                    <a:pt x="24" y="13"/>
                  </a:lnTo>
                  <a:lnTo>
                    <a:pt x="24" y="11"/>
                  </a:lnTo>
                  <a:lnTo>
                    <a:pt x="24" y="11"/>
                  </a:lnTo>
                  <a:lnTo>
                    <a:pt x="23" y="10"/>
                  </a:lnTo>
                  <a:lnTo>
                    <a:pt x="22" y="10"/>
                  </a:lnTo>
                  <a:lnTo>
                    <a:pt x="22" y="10"/>
                  </a:lnTo>
                  <a:lnTo>
                    <a:pt x="22" y="10"/>
                  </a:lnTo>
                  <a:lnTo>
                    <a:pt x="19" y="9"/>
                  </a:lnTo>
                  <a:lnTo>
                    <a:pt x="19" y="8"/>
                  </a:lnTo>
                  <a:lnTo>
                    <a:pt x="17" y="7"/>
                  </a:lnTo>
                  <a:lnTo>
                    <a:pt x="15" y="3"/>
                  </a:lnTo>
                  <a:lnTo>
                    <a:pt x="9" y="3"/>
                  </a:lnTo>
                  <a:lnTo>
                    <a:pt x="7" y="2"/>
                  </a:lnTo>
                  <a:lnTo>
                    <a:pt x="8" y="5"/>
                  </a:lnTo>
                  <a:lnTo>
                    <a:pt x="8" y="8"/>
                  </a:lnTo>
                  <a:lnTo>
                    <a:pt x="4" y="8"/>
                  </a:lnTo>
                  <a:lnTo>
                    <a:pt x="3" y="7"/>
                  </a:lnTo>
                  <a:lnTo>
                    <a:pt x="0" y="7"/>
                  </a:lnTo>
                  <a:lnTo>
                    <a:pt x="1" y="9"/>
                  </a:lnTo>
                  <a:lnTo>
                    <a:pt x="1" y="11"/>
                  </a:lnTo>
                  <a:lnTo>
                    <a:pt x="7" y="13"/>
                  </a:lnTo>
                  <a:lnTo>
                    <a:pt x="3" y="15"/>
                  </a:lnTo>
                  <a:lnTo>
                    <a:pt x="7" y="15"/>
                  </a:lnTo>
                  <a:lnTo>
                    <a:pt x="4" y="16"/>
                  </a:lnTo>
                  <a:lnTo>
                    <a:pt x="7" y="17"/>
                  </a:lnTo>
                  <a:lnTo>
                    <a:pt x="7" y="21"/>
                  </a:lnTo>
                  <a:lnTo>
                    <a:pt x="8" y="25"/>
                  </a:lnTo>
                  <a:lnTo>
                    <a:pt x="12" y="25"/>
                  </a:lnTo>
                  <a:lnTo>
                    <a:pt x="13" y="28"/>
                  </a:lnTo>
                  <a:lnTo>
                    <a:pt x="13" y="30"/>
                  </a:lnTo>
                  <a:lnTo>
                    <a:pt x="12" y="31"/>
                  </a:lnTo>
                  <a:lnTo>
                    <a:pt x="10" y="33"/>
                  </a:lnTo>
                  <a:lnTo>
                    <a:pt x="10" y="35"/>
                  </a:lnTo>
                  <a:lnTo>
                    <a:pt x="13" y="36"/>
                  </a:lnTo>
                  <a:lnTo>
                    <a:pt x="14" y="36"/>
                  </a:lnTo>
                  <a:lnTo>
                    <a:pt x="15" y="38"/>
                  </a:lnTo>
                  <a:lnTo>
                    <a:pt x="16" y="37"/>
                  </a:lnTo>
                  <a:lnTo>
                    <a:pt x="19" y="38"/>
                  </a:lnTo>
                  <a:lnTo>
                    <a:pt x="20" y="40"/>
                  </a:lnTo>
                  <a:lnTo>
                    <a:pt x="16" y="41"/>
                  </a:lnTo>
                  <a:lnTo>
                    <a:pt x="19" y="41"/>
                  </a:lnTo>
                  <a:lnTo>
                    <a:pt x="16" y="42"/>
                  </a:lnTo>
                  <a:lnTo>
                    <a:pt x="17" y="44"/>
                  </a:lnTo>
                  <a:lnTo>
                    <a:pt x="19" y="48"/>
                  </a:lnTo>
                  <a:lnTo>
                    <a:pt x="19" y="47"/>
                  </a:lnTo>
                  <a:lnTo>
                    <a:pt x="22" y="48"/>
                  </a:lnTo>
                  <a:lnTo>
                    <a:pt x="20" y="49"/>
                  </a:lnTo>
                  <a:lnTo>
                    <a:pt x="21" y="50"/>
                  </a:lnTo>
                  <a:lnTo>
                    <a:pt x="21" y="53"/>
                  </a:lnTo>
                  <a:lnTo>
                    <a:pt x="24" y="54"/>
                  </a:lnTo>
                  <a:lnTo>
                    <a:pt x="22" y="56"/>
                  </a:lnTo>
                  <a:lnTo>
                    <a:pt x="22" y="56"/>
                  </a:lnTo>
                  <a:lnTo>
                    <a:pt x="22" y="57"/>
                  </a:lnTo>
                  <a:lnTo>
                    <a:pt x="23" y="58"/>
                  </a:lnTo>
                  <a:lnTo>
                    <a:pt x="23" y="58"/>
                  </a:lnTo>
                  <a:lnTo>
                    <a:pt x="23" y="60"/>
                  </a:lnTo>
                  <a:lnTo>
                    <a:pt x="24" y="60"/>
                  </a:lnTo>
                  <a:lnTo>
                    <a:pt x="26" y="62"/>
                  </a:lnTo>
                  <a:lnTo>
                    <a:pt x="27" y="61"/>
                  </a:lnTo>
                  <a:lnTo>
                    <a:pt x="27" y="62"/>
                  </a:lnTo>
                  <a:lnTo>
                    <a:pt x="26" y="63"/>
                  </a:lnTo>
                  <a:lnTo>
                    <a:pt x="26" y="64"/>
                  </a:lnTo>
                  <a:lnTo>
                    <a:pt x="27" y="64"/>
                  </a:lnTo>
                  <a:lnTo>
                    <a:pt x="28" y="65"/>
                  </a:lnTo>
                  <a:lnTo>
                    <a:pt x="28" y="67"/>
                  </a:lnTo>
                  <a:lnTo>
                    <a:pt x="30" y="67"/>
                  </a:lnTo>
                  <a:lnTo>
                    <a:pt x="32" y="68"/>
                  </a:lnTo>
                  <a:lnTo>
                    <a:pt x="32" y="70"/>
                  </a:lnTo>
                  <a:lnTo>
                    <a:pt x="32" y="70"/>
                  </a:lnTo>
                  <a:lnTo>
                    <a:pt x="33" y="70"/>
                  </a:lnTo>
                  <a:lnTo>
                    <a:pt x="33" y="73"/>
                  </a:lnTo>
                  <a:lnTo>
                    <a:pt x="35" y="74"/>
                  </a:lnTo>
                  <a:lnTo>
                    <a:pt x="34" y="75"/>
                  </a:lnTo>
                  <a:lnTo>
                    <a:pt x="35" y="76"/>
                  </a:lnTo>
                  <a:lnTo>
                    <a:pt x="35" y="76"/>
                  </a:lnTo>
                  <a:lnTo>
                    <a:pt x="36" y="75"/>
                  </a:lnTo>
                  <a:lnTo>
                    <a:pt x="39" y="76"/>
                  </a:lnTo>
                  <a:lnTo>
                    <a:pt x="42" y="78"/>
                  </a:lnTo>
                  <a:lnTo>
                    <a:pt x="43" y="78"/>
                  </a:lnTo>
                  <a:lnTo>
                    <a:pt x="44" y="78"/>
                  </a:lnTo>
                  <a:lnTo>
                    <a:pt x="47" y="78"/>
                  </a:lnTo>
                  <a:lnTo>
                    <a:pt x="48" y="78"/>
                  </a:lnTo>
                  <a:lnTo>
                    <a:pt x="48" y="78"/>
                  </a:lnTo>
                  <a:lnTo>
                    <a:pt x="49" y="81"/>
                  </a:lnTo>
                  <a:lnTo>
                    <a:pt x="50" y="78"/>
                  </a:lnTo>
                  <a:lnTo>
                    <a:pt x="50" y="78"/>
                  </a:lnTo>
                  <a:lnTo>
                    <a:pt x="52" y="81"/>
                  </a:lnTo>
                  <a:lnTo>
                    <a:pt x="50" y="81"/>
                  </a:lnTo>
                  <a:lnTo>
                    <a:pt x="50" y="81"/>
                  </a:lnTo>
                  <a:lnTo>
                    <a:pt x="48" y="82"/>
                  </a:lnTo>
                  <a:lnTo>
                    <a:pt x="46" y="82"/>
                  </a:lnTo>
                  <a:lnTo>
                    <a:pt x="46" y="82"/>
                  </a:lnTo>
                  <a:lnTo>
                    <a:pt x="46" y="84"/>
                  </a:lnTo>
                  <a:lnTo>
                    <a:pt x="47" y="85"/>
                  </a:lnTo>
                  <a:lnTo>
                    <a:pt x="47" y="85"/>
                  </a:lnTo>
                  <a:lnTo>
                    <a:pt x="47" y="88"/>
                  </a:lnTo>
                  <a:lnTo>
                    <a:pt x="49" y="89"/>
                  </a:lnTo>
                  <a:lnTo>
                    <a:pt x="49" y="89"/>
                  </a:lnTo>
                  <a:lnTo>
                    <a:pt x="50" y="91"/>
                  </a:lnTo>
                  <a:lnTo>
                    <a:pt x="53" y="91"/>
                  </a:lnTo>
                  <a:lnTo>
                    <a:pt x="50" y="93"/>
                  </a:lnTo>
                  <a:lnTo>
                    <a:pt x="50" y="94"/>
                  </a:lnTo>
                  <a:lnTo>
                    <a:pt x="50" y="95"/>
                  </a:lnTo>
                  <a:lnTo>
                    <a:pt x="48" y="95"/>
                  </a:lnTo>
                  <a:lnTo>
                    <a:pt x="47" y="94"/>
                  </a:lnTo>
                  <a:lnTo>
                    <a:pt x="47" y="95"/>
                  </a:lnTo>
                  <a:lnTo>
                    <a:pt x="46" y="96"/>
                  </a:lnTo>
                  <a:lnTo>
                    <a:pt x="48" y="97"/>
                  </a:lnTo>
                  <a:lnTo>
                    <a:pt x="47" y="97"/>
                  </a:lnTo>
                  <a:lnTo>
                    <a:pt x="47" y="98"/>
                  </a:lnTo>
                  <a:lnTo>
                    <a:pt x="46" y="97"/>
                  </a:lnTo>
                  <a:lnTo>
                    <a:pt x="46" y="100"/>
                  </a:lnTo>
                  <a:lnTo>
                    <a:pt x="44" y="100"/>
                  </a:lnTo>
                  <a:lnTo>
                    <a:pt x="44" y="101"/>
                  </a:lnTo>
                  <a:lnTo>
                    <a:pt x="44" y="102"/>
                  </a:lnTo>
                  <a:lnTo>
                    <a:pt x="44" y="103"/>
                  </a:lnTo>
                  <a:lnTo>
                    <a:pt x="44" y="104"/>
                  </a:lnTo>
                  <a:lnTo>
                    <a:pt x="44" y="104"/>
                  </a:lnTo>
                  <a:lnTo>
                    <a:pt x="44" y="105"/>
                  </a:lnTo>
                  <a:lnTo>
                    <a:pt x="44" y="104"/>
                  </a:lnTo>
                  <a:lnTo>
                    <a:pt x="43" y="104"/>
                  </a:lnTo>
                  <a:lnTo>
                    <a:pt x="42" y="104"/>
                  </a:lnTo>
                  <a:lnTo>
                    <a:pt x="42" y="104"/>
                  </a:lnTo>
                  <a:lnTo>
                    <a:pt x="42" y="107"/>
                  </a:lnTo>
                  <a:lnTo>
                    <a:pt x="43" y="108"/>
                  </a:lnTo>
                  <a:lnTo>
                    <a:pt x="40" y="108"/>
                  </a:lnTo>
                  <a:lnTo>
                    <a:pt x="42" y="109"/>
                  </a:lnTo>
                  <a:lnTo>
                    <a:pt x="42" y="109"/>
                  </a:lnTo>
                  <a:lnTo>
                    <a:pt x="43" y="110"/>
                  </a:lnTo>
                  <a:lnTo>
                    <a:pt x="43" y="111"/>
                  </a:lnTo>
                  <a:lnTo>
                    <a:pt x="43" y="113"/>
                  </a:lnTo>
                  <a:lnTo>
                    <a:pt x="44" y="114"/>
                  </a:lnTo>
                  <a:lnTo>
                    <a:pt x="43" y="115"/>
                  </a:lnTo>
                  <a:lnTo>
                    <a:pt x="43" y="116"/>
                  </a:lnTo>
                  <a:lnTo>
                    <a:pt x="42" y="117"/>
                  </a:lnTo>
                  <a:lnTo>
                    <a:pt x="43" y="117"/>
                  </a:lnTo>
                  <a:lnTo>
                    <a:pt x="46" y="121"/>
                  </a:lnTo>
                  <a:lnTo>
                    <a:pt x="47" y="121"/>
                  </a:lnTo>
                  <a:lnTo>
                    <a:pt x="47" y="122"/>
                  </a:lnTo>
                  <a:lnTo>
                    <a:pt x="48" y="123"/>
                  </a:lnTo>
                  <a:lnTo>
                    <a:pt x="48" y="124"/>
                  </a:lnTo>
                  <a:lnTo>
                    <a:pt x="49" y="124"/>
                  </a:lnTo>
                  <a:lnTo>
                    <a:pt x="50" y="124"/>
                  </a:lnTo>
                  <a:lnTo>
                    <a:pt x="52" y="124"/>
                  </a:lnTo>
                  <a:lnTo>
                    <a:pt x="53" y="125"/>
                  </a:lnTo>
                  <a:lnTo>
                    <a:pt x="50" y="125"/>
                  </a:lnTo>
                  <a:lnTo>
                    <a:pt x="50" y="127"/>
                  </a:lnTo>
                  <a:lnTo>
                    <a:pt x="53" y="127"/>
                  </a:lnTo>
                  <a:lnTo>
                    <a:pt x="53" y="128"/>
                  </a:lnTo>
                  <a:lnTo>
                    <a:pt x="54" y="129"/>
                  </a:lnTo>
                  <a:lnTo>
                    <a:pt x="56" y="131"/>
                  </a:lnTo>
                  <a:lnTo>
                    <a:pt x="57" y="131"/>
                  </a:lnTo>
                  <a:lnTo>
                    <a:pt x="59" y="134"/>
                  </a:lnTo>
                  <a:lnTo>
                    <a:pt x="54" y="135"/>
                  </a:lnTo>
                  <a:lnTo>
                    <a:pt x="54" y="135"/>
                  </a:lnTo>
                  <a:lnTo>
                    <a:pt x="55" y="136"/>
                  </a:lnTo>
                  <a:lnTo>
                    <a:pt x="56" y="136"/>
                  </a:lnTo>
                  <a:lnTo>
                    <a:pt x="57" y="140"/>
                  </a:lnTo>
                  <a:lnTo>
                    <a:pt x="60" y="137"/>
                  </a:lnTo>
                  <a:lnTo>
                    <a:pt x="62" y="138"/>
                  </a:lnTo>
                  <a:lnTo>
                    <a:pt x="68" y="142"/>
                  </a:lnTo>
                  <a:lnTo>
                    <a:pt x="69" y="143"/>
                  </a:lnTo>
                  <a:lnTo>
                    <a:pt x="70" y="143"/>
                  </a:lnTo>
                  <a:lnTo>
                    <a:pt x="73" y="144"/>
                  </a:lnTo>
                  <a:lnTo>
                    <a:pt x="76" y="148"/>
                  </a:lnTo>
                  <a:lnTo>
                    <a:pt x="79" y="148"/>
                  </a:lnTo>
                  <a:lnTo>
                    <a:pt x="80" y="148"/>
                  </a:lnTo>
                  <a:lnTo>
                    <a:pt x="81" y="149"/>
                  </a:lnTo>
                  <a:lnTo>
                    <a:pt x="81" y="151"/>
                  </a:lnTo>
                  <a:lnTo>
                    <a:pt x="83" y="154"/>
                  </a:lnTo>
                  <a:lnTo>
                    <a:pt x="84" y="155"/>
                  </a:lnTo>
                  <a:lnTo>
                    <a:pt x="86" y="156"/>
                  </a:lnTo>
                  <a:lnTo>
                    <a:pt x="87" y="157"/>
                  </a:lnTo>
                  <a:lnTo>
                    <a:pt x="87" y="157"/>
                  </a:lnTo>
                  <a:lnTo>
                    <a:pt x="87" y="158"/>
                  </a:lnTo>
                  <a:lnTo>
                    <a:pt x="89" y="160"/>
                  </a:lnTo>
                  <a:lnTo>
                    <a:pt x="89" y="161"/>
                  </a:lnTo>
                  <a:lnTo>
                    <a:pt x="90" y="162"/>
                  </a:lnTo>
                  <a:lnTo>
                    <a:pt x="89" y="170"/>
                  </a:lnTo>
                  <a:lnTo>
                    <a:pt x="90" y="178"/>
                  </a:lnTo>
                  <a:lnTo>
                    <a:pt x="95" y="178"/>
                  </a:lnTo>
                  <a:lnTo>
                    <a:pt x="97" y="189"/>
                  </a:lnTo>
                  <a:lnTo>
                    <a:pt x="99" y="189"/>
                  </a:lnTo>
                  <a:lnTo>
                    <a:pt x="100" y="190"/>
                  </a:lnTo>
                  <a:lnTo>
                    <a:pt x="101" y="191"/>
                  </a:lnTo>
                  <a:lnTo>
                    <a:pt x="102" y="191"/>
                  </a:lnTo>
                  <a:lnTo>
                    <a:pt x="104" y="195"/>
                  </a:lnTo>
                  <a:lnTo>
                    <a:pt x="104" y="195"/>
                  </a:lnTo>
                  <a:lnTo>
                    <a:pt x="104" y="196"/>
                  </a:lnTo>
                  <a:lnTo>
                    <a:pt x="104" y="197"/>
                  </a:lnTo>
                  <a:lnTo>
                    <a:pt x="106" y="198"/>
                  </a:lnTo>
                  <a:lnTo>
                    <a:pt x="108" y="200"/>
                  </a:lnTo>
                  <a:lnTo>
                    <a:pt x="108" y="200"/>
                  </a:lnTo>
                  <a:lnTo>
                    <a:pt x="108" y="200"/>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15" name="Iraq">
              <a:extLst>
                <a:ext uri="{FF2B5EF4-FFF2-40B4-BE49-F238E27FC236}">
                  <a16:creationId xmlns:a16="http://schemas.microsoft.com/office/drawing/2014/main" id="{9D882B0A-FB37-0B48-802C-CE6A4650EACD}"/>
                </a:ext>
              </a:extLst>
            </p:cNvPr>
            <p:cNvSpPr>
              <a:spLocks/>
            </p:cNvSpPr>
            <p:nvPr/>
          </p:nvSpPr>
          <p:spPr bwMode="auto">
            <a:xfrm>
              <a:off x="7336240" y="2868286"/>
              <a:ext cx="259515" cy="256599"/>
            </a:xfrm>
            <a:custGeom>
              <a:avLst/>
              <a:gdLst>
                <a:gd name="T0" fmla="*/ 36 w 178"/>
                <a:gd name="T1" fmla="*/ 16 h 176"/>
                <a:gd name="T2" fmla="*/ 38 w 178"/>
                <a:gd name="T3" fmla="*/ 35 h 176"/>
                <a:gd name="T4" fmla="*/ 38 w 178"/>
                <a:gd name="T5" fmla="*/ 53 h 176"/>
                <a:gd name="T6" fmla="*/ 11 w 178"/>
                <a:gd name="T7" fmla="*/ 106 h 176"/>
                <a:gd name="T8" fmla="*/ 82 w 178"/>
                <a:gd name="T9" fmla="*/ 142 h 176"/>
                <a:gd name="T10" fmla="*/ 112 w 178"/>
                <a:gd name="T11" fmla="*/ 167 h 176"/>
                <a:gd name="T12" fmla="*/ 147 w 178"/>
                <a:gd name="T13" fmla="*/ 166 h 176"/>
                <a:gd name="T14" fmla="*/ 157 w 178"/>
                <a:gd name="T15" fmla="*/ 149 h 176"/>
                <a:gd name="T16" fmla="*/ 171 w 178"/>
                <a:gd name="T17" fmla="*/ 150 h 176"/>
                <a:gd name="T18" fmla="*/ 178 w 178"/>
                <a:gd name="T19" fmla="*/ 153 h 176"/>
                <a:gd name="T20" fmla="*/ 174 w 178"/>
                <a:gd name="T21" fmla="*/ 149 h 176"/>
                <a:gd name="T22" fmla="*/ 172 w 178"/>
                <a:gd name="T23" fmla="*/ 143 h 176"/>
                <a:gd name="T24" fmla="*/ 167 w 178"/>
                <a:gd name="T25" fmla="*/ 141 h 176"/>
                <a:gd name="T26" fmla="*/ 160 w 178"/>
                <a:gd name="T27" fmla="*/ 114 h 176"/>
                <a:gd name="T28" fmla="*/ 157 w 178"/>
                <a:gd name="T29" fmla="*/ 109 h 176"/>
                <a:gd name="T30" fmla="*/ 153 w 178"/>
                <a:gd name="T31" fmla="*/ 106 h 176"/>
                <a:gd name="T32" fmla="*/ 149 w 178"/>
                <a:gd name="T33" fmla="*/ 100 h 176"/>
                <a:gd name="T34" fmla="*/ 139 w 178"/>
                <a:gd name="T35" fmla="*/ 95 h 176"/>
                <a:gd name="T36" fmla="*/ 127 w 178"/>
                <a:gd name="T37" fmla="*/ 92 h 176"/>
                <a:gd name="T38" fmla="*/ 124 w 178"/>
                <a:gd name="T39" fmla="*/ 87 h 176"/>
                <a:gd name="T40" fmla="*/ 124 w 178"/>
                <a:gd name="T41" fmla="*/ 81 h 176"/>
                <a:gd name="T42" fmla="*/ 120 w 178"/>
                <a:gd name="T43" fmla="*/ 77 h 176"/>
                <a:gd name="T44" fmla="*/ 119 w 178"/>
                <a:gd name="T45" fmla="*/ 76 h 176"/>
                <a:gd name="T46" fmla="*/ 117 w 178"/>
                <a:gd name="T47" fmla="*/ 73 h 176"/>
                <a:gd name="T48" fmla="*/ 113 w 178"/>
                <a:gd name="T49" fmla="*/ 68 h 176"/>
                <a:gd name="T50" fmla="*/ 113 w 178"/>
                <a:gd name="T51" fmla="*/ 63 h 176"/>
                <a:gd name="T52" fmla="*/ 110 w 178"/>
                <a:gd name="T53" fmla="*/ 60 h 176"/>
                <a:gd name="T54" fmla="*/ 112 w 178"/>
                <a:gd name="T55" fmla="*/ 56 h 176"/>
                <a:gd name="T56" fmla="*/ 114 w 178"/>
                <a:gd name="T57" fmla="*/ 56 h 176"/>
                <a:gd name="T58" fmla="*/ 114 w 178"/>
                <a:gd name="T59" fmla="*/ 53 h 176"/>
                <a:gd name="T60" fmla="*/ 117 w 178"/>
                <a:gd name="T61" fmla="*/ 50 h 176"/>
                <a:gd name="T62" fmla="*/ 117 w 178"/>
                <a:gd name="T63" fmla="*/ 47 h 176"/>
                <a:gd name="T64" fmla="*/ 120 w 178"/>
                <a:gd name="T65" fmla="*/ 46 h 176"/>
                <a:gd name="T66" fmla="*/ 119 w 178"/>
                <a:gd name="T67" fmla="*/ 41 h 176"/>
                <a:gd name="T68" fmla="*/ 117 w 178"/>
                <a:gd name="T69" fmla="*/ 37 h 176"/>
                <a:gd name="T70" fmla="*/ 118 w 178"/>
                <a:gd name="T71" fmla="*/ 34 h 176"/>
                <a:gd name="T72" fmla="*/ 120 w 178"/>
                <a:gd name="T73" fmla="*/ 30 h 176"/>
                <a:gd name="T74" fmla="*/ 118 w 178"/>
                <a:gd name="T75" fmla="*/ 30 h 176"/>
                <a:gd name="T76" fmla="*/ 112 w 178"/>
                <a:gd name="T77" fmla="*/ 30 h 176"/>
                <a:gd name="T78" fmla="*/ 105 w 178"/>
                <a:gd name="T79" fmla="*/ 28 h 176"/>
                <a:gd name="T80" fmla="*/ 103 w 178"/>
                <a:gd name="T81" fmla="*/ 22 h 176"/>
                <a:gd name="T82" fmla="*/ 100 w 178"/>
                <a:gd name="T83" fmla="*/ 19 h 176"/>
                <a:gd name="T84" fmla="*/ 96 w 178"/>
                <a:gd name="T85" fmla="*/ 16 h 176"/>
                <a:gd name="T86" fmla="*/ 96 w 178"/>
                <a:gd name="T87" fmla="*/ 14 h 176"/>
                <a:gd name="T88" fmla="*/ 93 w 178"/>
                <a:gd name="T89" fmla="*/ 10 h 176"/>
                <a:gd name="T90" fmla="*/ 94 w 178"/>
                <a:gd name="T91" fmla="*/ 6 h 176"/>
                <a:gd name="T92" fmla="*/ 84 w 178"/>
                <a:gd name="T93" fmla="*/ 6 h 176"/>
                <a:gd name="T94" fmla="*/ 77 w 178"/>
                <a:gd name="T95" fmla="*/ 1 h 176"/>
                <a:gd name="T96" fmla="*/ 69 w 178"/>
                <a:gd name="T97" fmla="*/ 1 h 176"/>
                <a:gd name="T98" fmla="*/ 58 w 178"/>
                <a:gd name="T99" fmla="*/ 1 h 176"/>
                <a:gd name="T100" fmla="*/ 51 w 178"/>
                <a:gd name="T101" fmla="*/ 5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78" h="176">
                  <a:moveTo>
                    <a:pt x="51" y="5"/>
                  </a:moveTo>
                  <a:lnTo>
                    <a:pt x="52" y="8"/>
                  </a:lnTo>
                  <a:lnTo>
                    <a:pt x="43" y="15"/>
                  </a:lnTo>
                  <a:lnTo>
                    <a:pt x="36" y="16"/>
                  </a:lnTo>
                  <a:lnTo>
                    <a:pt x="33" y="21"/>
                  </a:lnTo>
                  <a:lnTo>
                    <a:pt x="33" y="27"/>
                  </a:lnTo>
                  <a:lnTo>
                    <a:pt x="37" y="30"/>
                  </a:lnTo>
                  <a:lnTo>
                    <a:pt x="38" y="35"/>
                  </a:lnTo>
                  <a:lnTo>
                    <a:pt x="36" y="37"/>
                  </a:lnTo>
                  <a:lnTo>
                    <a:pt x="36" y="40"/>
                  </a:lnTo>
                  <a:lnTo>
                    <a:pt x="37" y="43"/>
                  </a:lnTo>
                  <a:lnTo>
                    <a:pt x="38" y="53"/>
                  </a:lnTo>
                  <a:lnTo>
                    <a:pt x="36" y="56"/>
                  </a:lnTo>
                  <a:lnTo>
                    <a:pt x="34" y="60"/>
                  </a:lnTo>
                  <a:lnTo>
                    <a:pt x="0" y="81"/>
                  </a:lnTo>
                  <a:lnTo>
                    <a:pt x="11" y="106"/>
                  </a:lnTo>
                  <a:lnTo>
                    <a:pt x="23" y="108"/>
                  </a:lnTo>
                  <a:lnTo>
                    <a:pt x="50" y="123"/>
                  </a:lnTo>
                  <a:lnTo>
                    <a:pt x="78" y="136"/>
                  </a:lnTo>
                  <a:lnTo>
                    <a:pt x="82" y="142"/>
                  </a:lnTo>
                  <a:lnTo>
                    <a:pt x="92" y="142"/>
                  </a:lnTo>
                  <a:lnTo>
                    <a:pt x="92" y="149"/>
                  </a:lnTo>
                  <a:lnTo>
                    <a:pt x="91" y="159"/>
                  </a:lnTo>
                  <a:lnTo>
                    <a:pt x="112" y="167"/>
                  </a:lnTo>
                  <a:lnTo>
                    <a:pt x="127" y="176"/>
                  </a:lnTo>
                  <a:lnTo>
                    <a:pt x="145" y="170"/>
                  </a:lnTo>
                  <a:lnTo>
                    <a:pt x="146" y="168"/>
                  </a:lnTo>
                  <a:lnTo>
                    <a:pt x="147" y="166"/>
                  </a:lnTo>
                  <a:lnTo>
                    <a:pt x="150" y="159"/>
                  </a:lnTo>
                  <a:lnTo>
                    <a:pt x="153" y="152"/>
                  </a:lnTo>
                  <a:lnTo>
                    <a:pt x="153" y="150"/>
                  </a:lnTo>
                  <a:lnTo>
                    <a:pt x="157" y="149"/>
                  </a:lnTo>
                  <a:lnTo>
                    <a:pt x="163" y="149"/>
                  </a:lnTo>
                  <a:lnTo>
                    <a:pt x="166" y="152"/>
                  </a:lnTo>
                  <a:lnTo>
                    <a:pt x="170" y="149"/>
                  </a:lnTo>
                  <a:lnTo>
                    <a:pt x="171" y="150"/>
                  </a:lnTo>
                  <a:lnTo>
                    <a:pt x="172" y="150"/>
                  </a:lnTo>
                  <a:lnTo>
                    <a:pt x="174" y="152"/>
                  </a:lnTo>
                  <a:lnTo>
                    <a:pt x="176" y="153"/>
                  </a:lnTo>
                  <a:lnTo>
                    <a:pt x="178" y="153"/>
                  </a:lnTo>
                  <a:lnTo>
                    <a:pt x="178" y="152"/>
                  </a:lnTo>
                  <a:lnTo>
                    <a:pt x="178" y="152"/>
                  </a:lnTo>
                  <a:lnTo>
                    <a:pt x="176" y="150"/>
                  </a:lnTo>
                  <a:lnTo>
                    <a:pt x="174" y="149"/>
                  </a:lnTo>
                  <a:lnTo>
                    <a:pt x="174" y="148"/>
                  </a:lnTo>
                  <a:lnTo>
                    <a:pt x="174" y="147"/>
                  </a:lnTo>
                  <a:lnTo>
                    <a:pt x="174" y="147"/>
                  </a:lnTo>
                  <a:lnTo>
                    <a:pt x="172" y="143"/>
                  </a:lnTo>
                  <a:lnTo>
                    <a:pt x="171" y="143"/>
                  </a:lnTo>
                  <a:lnTo>
                    <a:pt x="170" y="142"/>
                  </a:lnTo>
                  <a:lnTo>
                    <a:pt x="169" y="141"/>
                  </a:lnTo>
                  <a:lnTo>
                    <a:pt x="167" y="141"/>
                  </a:lnTo>
                  <a:lnTo>
                    <a:pt x="165" y="130"/>
                  </a:lnTo>
                  <a:lnTo>
                    <a:pt x="160" y="130"/>
                  </a:lnTo>
                  <a:lnTo>
                    <a:pt x="159" y="122"/>
                  </a:lnTo>
                  <a:lnTo>
                    <a:pt x="160" y="114"/>
                  </a:lnTo>
                  <a:lnTo>
                    <a:pt x="159" y="113"/>
                  </a:lnTo>
                  <a:lnTo>
                    <a:pt x="159" y="112"/>
                  </a:lnTo>
                  <a:lnTo>
                    <a:pt x="157" y="110"/>
                  </a:lnTo>
                  <a:lnTo>
                    <a:pt x="157" y="109"/>
                  </a:lnTo>
                  <a:lnTo>
                    <a:pt x="157" y="109"/>
                  </a:lnTo>
                  <a:lnTo>
                    <a:pt x="156" y="108"/>
                  </a:lnTo>
                  <a:lnTo>
                    <a:pt x="154" y="107"/>
                  </a:lnTo>
                  <a:lnTo>
                    <a:pt x="153" y="106"/>
                  </a:lnTo>
                  <a:lnTo>
                    <a:pt x="151" y="103"/>
                  </a:lnTo>
                  <a:lnTo>
                    <a:pt x="151" y="101"/>
                  </a:lnTo>
                  <a:lnTo>
                    <a:pt x="150" y="100"/>
                  </a:lnTo>
                  <a:lnTo>
                    <a:pt x="149" y="100"/>
                  </a:lnTo>
                  <a:lnTo>
                    <a:pt x="146" y="100"/>
                  </a:lnTo>
                  <a:lnTo>
                    <a:pt x="143" y="96"/>
                  </a:lnTo>
                  <a:lnTo>
                    <a:pt x="140" y="95"/>
                  </a:lnTo>
                  <a:lnTo>
                    <a:pt x="139" y="95"/>
                  </a:lnTo>
                  <a:lnTo>
                    <a:pt x="138" y="94"/>
                  </a:lnTo>
                  <a:lnTo>
                    <a:pt x="132" y="90"/>
                  </a:lnTo>
                  <a:lnTo>
                    <a:pt x="130" y="89"/>
                  </a:lnTo>
                  <a:lnTo>
                    <a:pt x="127" y="92"/>
                  </a:lnTo>
                  <a:lnTo>
                    <a:pt x="126" y="88"/>
                  </a:lnTo>
                  <a:lnTo>
                    <a:pt x="125" y="88"/>
                  </a:lnTo>
                  <a:lnTo>
                    <a:pt x="124" y="87"/>
                  </a:lnTo>
                  <a:lnTo>
                    <a:pt x="124" y="87"/>
                  </a:lnTo>
                  <a:lnTo>
                    <a:pt x="129" y="86"/>
                  </a:lnTo>
                  <a:lnTo>
                    <a:pt x="127" y="83"/>
                  </a:lnTo>
                  <a:lnTo>
                    <a:pt x="126" y="83"/>
                  </a:lnTo>
                  <a:lnTo>
                    <a:pt x="124" y="81"/>
                  </a:lnTo>
                  <a:lnTo>
                    <a:pt x="123" y="80"/>
                  </a:lnTo>
                  <a:lnTo>
                    <a:pt x="123" y="79"/>
                  </a:lnTo>
                  <a:lnTo>
                    <a:pt x="120" y="79"/>
                  </a:lnTo>
                  <a:lnTo>
                    <a:pt x="120" y="77"/>
                  </a:lnTo>
                  <a:lnTo>
                    <a:pt x="123" y="77"/>
                  </a:lnTo>
                  <a:lnTo>
                    <a:pt x="122" y="76"/>
                  </a:lnTo>
                  <a:lnTo>
                    <a:pt x="120" y="76"/>
                  </a:lnTo>
                  <a:lnTo>
                    <a:pt x="119" y="76"/>
                  </a:lnTo>
                  <a:lnTo>
                    <a:pt x="118" y="76"/>
                  </a:lnTo>
                  <a:lnTo>
                    <a:pt x="118" y="75"/>
                  </a:lnTo>
                  <a:lnTo>
                    <a:pt x="117" y="74"/>
                  </a:lnTo>
                  <a:lnTo>
                    <a:pt x="117" y="73"/>
                  </a:lnTo>
                  <a:lnTo>
                    <a:pt x="116" y="73"/>
                  </a:lnTo>
                  <a:lnTo>
                    <a:pt x="113" y="69"/>
                  </a:lnTo>
                  <a:lnTo>
                    <a:pt x="112" y="69"/>
                  </a:lnTo>
                  <a:lnTo>
                    <a:pt x="113" y="68"/>
                  </a:lnTo>
                  <a:lnTo>
                    <a:pt x="113" y="67"/>
                  </a:lnTo>
                  <a:lnTo>
                    <a:pt x="114" y="66"/>
                  </a:lnTo>
                  <a:lnTo>
                    <a:pt x="113" y="65"/>
                  </a:lnTo>
                  <a:lnTo>
                    <a:pt x="113" y="63"/>
                  </a:lnTo>
                  <a:lnTo>
                    <a:pt x="113" y="62"/>
                  </a:lnTo>
                  <a:lnTo>
                    <a:pt x="112" y="61"/>
                  </a:lnTo>
                  <a:lnTo>
                    <a:pt x="112" y="61"/>
                  </a:lnTo>
                  <a:lnTo>
                    <a:pt x="110" y="60"/>
                  </a:lnTo>
                  <a:lnTo>
                    <a:pt x="113" y="60"/>
                  </a:lnTo>
                  <a:lnTo>
                    <a:pt x="112" y="59"/>
                  </a:lnTo>
                  <a:lnTo>
                    <a:pt x="112" y="56"/>
                  </a:lnTo>
                  <a:lnTo>
                    <a:pt x="112" y="56"/>
                  </a:lnTo>
                  <a:lnTo>
                    <a:pt x="113" y="56"/>
                  </a:lnTo>
                  <a:lnTo>
                    <a:pt x="114" y="56"/>
                  </a:lnTo>
                  <a:lnTo>
                    <a:pt x="114" y="57"/>
                  </a:lnTo>
                  <a:lnTo>
                    <a:pt x="114" y="56"/>
                  </a:lnTo>
                  <a:lnTo>
                    <a:pt x="114" y="56"/>
                  </a:lnTo>
                  <a:lnTo>
                    <a:pt x="114" y="55"/>
                  </a:lnTo>
                  <a:lnTo>
                    <a:pt x="114" y="54"/>
                  </a:lnTo>
                  <a:lnTo>
                    <a:pt x="114" y="53"/>
                  </a:lnTo>
                  <a:lnTo>
                    <a:pt x="114" y="52"/>
                  </a:lnTo>
                  <a:lnTo>
                    <a:pt x="116" y="52"/>
                  </a:lnTo>
                  <a:lnTo>
                    <a:pt x="116" y="49"/>
                  </a:lnTo>
                  <a:lnTo>
                    <a:pt x="117" y="50"/>
                  </a:lnTo>
                  <a:lnTo>
                    <a:pt x="117" y="49"/>
                  </a:lnTo>
                  <a:lnTo>
                    <a:pt x="118" y="49"/>
                  </a:lnTo>
                  <a:lnTo>
                    <a:pt x="116" y="48"/>
                  </a:lnTo>
                  <a:lnTo>
                    <a:pt x="117" y="47"/>
                  </a:lnTo>
                  <a:lnTo>
                    <a:pt x="117" y="46"/>
                  </a:lnTo>
                  <a:lnTo>
                    <a:pt x="118" y="47"/>
                  </a:lnTo>
                  <a:lnTo>
                    <a:pt x="120" y="47"/>
                  </a:lnTo>
                  <a:lnTo>
                    <a:pt x="120" y="46"/>
                  </a:lnTo>
                  <a:lnTo>
                    <a:pt x="120" y="45"/>
                  </a:lnTo>
                  <a:lnTo>
                    <a:pt x="123" y="43"/>
                  </a:lnTo>
                  <a:lnTo>
                    <a:pt x="120" y="43"/>
                  </a:lnTo>
                  <a:lnTo>
                    <a:pt x="119" y="41"/>
                  </a:lnTo>
                  <a:lnTo>
                    <a:pt x="119" y="41"/>
                  </a:lnTo>
                  <a:lnTo>
                    <a:pt x="117" y="40"/>
                  </a:lnTo>
                  <a:lnTo>
                    <a:pt x="117" y="37"/>
                  </a:lnTo>
                  <a:lnTo>
                    <a:pt x="117" y="37"/>
                  </a:lnTo>
                  <a:lnTo>
                    <a:pt x="116" y="36"/>
                  </a:lnTo>
                  <a:lnTo>
                    <a:pt x="116" y="34"/>
                  </a:lnTo>
                  <a:lnTo>
                    <a:pt x="116" y="34"/>
                  </a:lnTo>
                  <a:lnTo>
                    <a:pt x="118" y="34"/>
                  </a:lnTo>
                  <a:lnTo>
                    <a:pt x="120" y="33"/>
                  </a:lnTo>
                  <a:lnTo>
                    <a:pt x="120" y="33"/>
                  </a:lnTo>
                  <a:lnTo>
                    <a:pt x="122" y="33"/>
                  </a:lnTo>
                  <a:lnTo>
                    <a:pt x="120" y="30"/>
                  </a:lnTo>
                  <a:lnTo>
                    <a:pt x="120" y="30"/>
                  </a:lnTo>
                  <a:lnTo>
                    <a:pt x="119" y="33"/>
                  </a:lnTo>
                  <a:lnTo>
                    <a:pt x="118" y="30"/>
                  </a:lnTo>
                  <a:lnTo>
                    <a:pt x="118" y="30"/>
                  </a:lnTo>
                  <a:lnTo>
                    <a:pt x="117" y="30"/>
                  </a:lnTo>
                  <a:lnTo>
                    <a:pt x="114" y="30"/>
                  </a:lnTo>
                  <a:lnTo>
                    <a:pt x="113" y="30"/>
                  </a:lnTo>
                  <a:lnTo>
                    <a:pt x="112" y="30"/>
                  </a:lnTo>
                  <a:lnTo>
                    <a:pt x="109" y="28"/>
                  </a:lnTo>
                  <a:lnTo>
                    <a:pt x="106" y="27"/>
                  </a:lnTo>
                  <a:lnTo>
                    <a:pt x="105" y="28"/>
                  </a:lnTo>
                  <a:lnTo>
                    <a:pt x="105" y="28"/>
                  </a:lnTo>
                  <a:lnTo>
                    <a:pt x="104" y="27"/>
                  </a:lnTo>
                  <a:lnTo>
                    <a:pt x="105" y="26"/>
                  </a:lnTo>
                  <a:lnTo>
                    <a:pt x="103" y="25"/>
                  </a:lnTo>
                  <a:lnTo>
                    <a:pt x="103" y="22"/>
                  </a:lnTo>
                  <a:lnTo>
                    <a:pt x="102" y="22"/>
                  </a:lnTo>
                  <a:lnTo>
                    <a:pt x="102" y="22"/>
                  </a:lnTo>
                  <a:lnTo>
                    <a:pt x="102" y="20"/>
                  </a:lnTo>
                  <a:lnTo>
                    <a:pt x="100" y="19"/>
                  </a:lnTo>
                  <a:lnTo>
                    <a:pt x="98" y="19"/>
                  </a:lnTo>
                  <a:lnTo>
                    <a:pt x="98" y="17"/>
                  </a:lnTo>
                  <a:lnTo>
                    <a:pt x="97" y="16"/>
                  </a:lnTo>
                  <a:lnTo>
                    <a:pt x="96" y="16"/>
                  </a:lnTo>
                  <a:lnTo>
                    <a:pt x="96" y="15"/>
                  </a:lnTo>
                  <a:lnTo>
                    <a:pt x="97" y="14"/>
                  </a:lnTo>
                  <a:lnTo>
                    <a:pt x="97" y="13"/>
                  </a:lnTo>
                  <a:lnTo>
                    <a:pt x="96" y="14"/>
                  </a:lnTo>
                  <a:lnTo>
                    <a:pt x="94" y="12"/>
                  </a:lnTo>
                  <a:lnTo>
                    <a:pt x="93" y="12"/>
                  </a:lnTo>
                  <a:lnTo>
                    <a:pt x="93" y="10"/>
                  </a:lnTo>
                  <a:lnTo>
                    <a:pt x="93" y="10"/>
                  </a:lnTo>
                  <a:lnTo>
                    <a:pt x="92" y="9"/>
                  </a:lnTo>
                  <a:lnTo>
                    <a:pt x="92" y="8"/>
                  </a:lnTo>
                  <a:lnTo>
                    <a:pt x="92" y="8"/>
                  </a:lnTo>
                  <a:lnTo>
                    <a:pt x="94" y="6"/>
                  </a:lnTo>
                  <a:lnTo>
                    <a:pt x="91" y="5"/>
                  </a:lnTo>
                  <a:lnTo>
                    <a:pt x="91" y="2"/>
                  </a:lnTo>
                  <a:lnTo>
                    <a:pt x="90" y="1"/>
                  </a:lnTo>
                  <a:lnTo>
                    <a:pt x="84" y="6"/>
                  </a:lnTo>
                  <a:lnTo>
                    <a:pt x="83" y="6"/>
                  </a:lnTo>
                  <a:lnTo>
                    <a:pt x="83" y="3"/>
                  </a:lnTo>
                  <a:lnTo>
                    <a:pt x="82" y="1"/>
                  </a:lnTo>
                  <a:lnTo>
                    <a:pt x="77" y="1"/>
                  </a:lnTo>
                  <a:lnTo>
                    <a:pt x="77" y="3"/>
                  </a:lnTo>
                  <a:lnTo>
                    <a:pt x="72" y="2"/>
                  </a:lnTo>
                  <a:lnTo>
                    <a:pt x="70" y="1"/>
                  </a:lnTo>
                  <a:lnTo>
                    <a:pt x="69" y="1"/>
                  </a:lnTo>
                  <a:lnTo>
                    <a:pt x="67" y="1"/>
                  </a:lnTo>
                  <a:lnTo>
                    <a:pt x="64" y="1"/>
                  </a:lnTo>
                  <a:lnTo>
                    <a:pt x="62" y="0"/>
                  </a:lnTo>
                  <a:lnTo>
                    <a:pt x="58" y="1"/>
                  </a:lnTo>
                  <a:lnTo>
                    <a:pt x="56" y="0"/>
                  </a:lnTo>
                  <a:lnTo>
                    <a:pt x="56" y="0"/>
                  </a:lnTo>
                  <a:lnTo>
                    <a:pt x="54" y="2"/>
                  </a:lnTo>
                  <a:lnTo>
                    <a:pt x="51" y="5"/>
                  </a:lnTo>
                  <a:lnTo>
                    <a:pt x="51" y="5"/>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16" name="Iceland">
              <a:extLst>
                <a:ext uri="{FF2B5EF4-FFF2-40B4-BE49-F238E27FC236}">
                  <a16:creationId xmlns:a16="http://schemas.microsoft.com/office/drawing/2014/main" id="{C22E400F-724A-B245-A0E9-006E964FD3F1}"/>
                </a:ext>
              </a:extLst>
            </p:cNvPr>
            <p:cNvSpPr>
              <a:spLocks/>
            </p:cNvSpPr>
            <p:nvPr/>
          </p:nvSpPr>
          <p:spPr bwMode="auto">
            <a:xfrm>
              <a:off x="5882666" y="2032880"/>
              <a:ext cx="212861" cy="84561"/>
            </a:xfrm>
            <a:custGeom>
              <a:avLst/>
              <a:gdLst>
                <a:gd name="T0" fmla="*/ 18 w 146"/>
                <a:gd name="T1" fmla="*/ 53 h 58"/>
                <a:gd name="T2" fmla="*/ 19 w 146"/>
                <a:gd name="T3" fmla="*/ 47 h 58"/>
                <a:gd name="T4" fmla="*/ 33 w 146"/>
                <a:gd name="T5" fmla="*/ 40 h 58"/>
                <a:gd name="T6" fmla="*/ 33 w 146"/>
                <a:gd name="T7" fmla="*/ 37 h 58"/>
                <a:gd name="T8" fmla="*/ 20 w 146"/>
                <a:gd name="T9" fmla="*/ 33 h 58"/>
                <a:gd name="T10" fmla="*/ 2 w 146"/>
                <a:gd name="T11" fmla="*/ 35 h 58"/>
                <a:gd name="T12" fmla="*/ 13 w 146"/>
                <a:gd name="T13" fmla="*/ 31 h 58"/>
                <a:gd name="T14" fmla="*/ 24 w 146"/>
                <a:gd name="T15" fmla="*/ 27 h 58"/>
                <a:gd name="T16" fmla="*/ 28 w 146"/>
                <a:gd name="T17" fmla="*/ 26 h 58"/>
                <a:gd name="T18" fmla="*/ 32 w 146"/>
                <a:gd name="T19" fmla="*/ 22 h 58"/>
                <a:gd name="T20" fmla="*/ 31 w 146"/>
                <a:gd name="T21" fmla="*/ 19 h 58"/>
                <a:gd name="T22" fmla="*/ 26 w 146"/>
                <a:gd name="T23" fmla="*/ 19 h 58"/>
                <a:gd name="T24" fmla="*/ 24 w 146"/>
                <a:gd name="T25" fmla="*/ 20 h 58"/>
                <a:gd name="T26" fmla="*/ 18 w 146"/>
                <a:gd name="T27" fmla="*/ 19 h 58"/>
                <a:gd name="T28" fmla="*/ 13 w 146"/>
                <a:gd name="T29" fmla="*/ 19 h 58"/>
                <a:gd name="T30" fmla="*/ 8 w 146"/>
                <a:gd name="T31" fmla="*/ 21 h 58"/>
                <a:gd name="T32" fmla="*/ 5 w 146"/>
                <a:gd name="T33" fmla="*/ 19 h 58"/>
                <a:gd name="T34" fmla="*/ 8 w 146"/>
                <a:gd name="T35" fmla="*/ 15 h 58"/>
                <a:gd name="T36" fmla="*/ 12 w 146"/>
                <a:gd name="T37" fmla="*/ 15 h 58"/>
                <a:gd name="T38" fmla="*/ 13 w 146"/>
                <a:gd name="T39" fmla="*/ 10 h 58"/>
                <a:gd name="T40" fmla="*/ 21 w 146"/>
                <a:gd name="T41" fmla="*/ 12 h 58"/>
                <a:gd name="T42" fmla="*/ 24 w 146"/>
                <a:gd name="T43" fmla="*/ 7 h 58"/>
                <a:gd name="T44" fmla="*/ 24 w 146"/>
                <a:gd name="T45" fmla="*/ 2 h 58"/>
                <a:gd name="T46" fmla="*/ 29 w 146"/>
                <a:gd name="T47" fmla="*/ 4 h 58"/>
                <a:gd name="T48" fmla="*/ 33 w 146"/>
                <a:gd name="T49" fmla="*/ 8 h 58"/>
                <a:gd name="T50" fmla="*/ 41 w 146"/>
                <a:gd name="T51" fmla="*/ 13 h 58"/>
                <a:gd name="T52" fmla="*/ 39 w 146"/>
                <a:gd name="T53" fmla="*/ 21 h 58"/>
                <a:gd name="T54" fmla="*/ 48 w 146"/>
                <a:gd name="T55" fmla="*/ 17 h 58"/>
                <a:gd name="T56" fmla="*/ 58 w 146"/>
                <a:gd name="T57" fmla="*/ 14 h 58"/>
                <a:gd name="T58" fmla="*/ 61 w 146"/>
                <a:gd name="T59" fmla="*/ 14 h 58"/>
                <a:gd name="T60" fmla="*/ 68 w 146"/>
                <a:gd name="T61" fmla="*/ 12 h 58"/>
                <a:gd name="T62" fmla="*/ 84 w 146"/>
                <a:gd name="T63" fmla="*/ 13 h 58"/>
                <a:gd name="T64" fmla="*/ 86 w 146"/>
                <a:gd name="T65" fmla="*/ 11 h 58"/>
                <a:gd name="T66" fmla="*/ 100 w 146"/>
                <a:gd name="T67" fmla="*/ 12 h 58"/>
                <a:gd name="T68" fmla="*/ 108 w 146"/>
                <a:gd name="T69" fmla="*/ 7 h 58"/>
                <a:gd name="T70" fmla="*/ 113 w 146"/>
                <a:gd name="T71" fmla="*/ 1 h 58"/>
                <a:gd name="T72" fmla="*/ 125 w 146"/>
                <a:gd name="T73" fmla="*/ 7 h 58"/>
                <a:gd name="T74" fmla="*/ 134 w 146"/>
                <a:gd name="T75" fmla="*/ 6 h 58"/>
                <a:gd name="T76" fmla="*/ 132 w 146"/>
                <a:gd name="T77" fmla="*/ 12 h 58"/>
                <a:gd name="T78" fmla="*/ 136 w 146"/>
                <a:gd name="T79" fmla="*/ 19 h 58"/>
                <a:gd name="T80" fmla="*/ 142 w 146"/>
                <a:gd name="T81" fmla="*/ 20 h 58"/>
                <a:gd name="T82" fmla="*/ 143 w 146"/>
                <a:gd name="T83" fmla="*/ 26 h 58"/>
                <a:gd name="T84" fmla="*/ 139 w 146"/>
                <a:gd name="T85" fmla="*/ 27 h 58"/>
                <a:gd name="T86" fmla="*/ 140 w 146"/>
                <a:gd name="T87" fmla="*/ 33 h 58"/>
                <a:gd name="T88" fmla="*/ 133 w 146"/>
                <a:gd name="T89" fmla="*/ 37 h 58"/>
                <a:gd name="T90" fmla="*/ 128 w 146"/>
                <a:gd name="T91" fmla="*/ 41 h 58"/>
                <a:gd name="T92" fmla="*/ 119 w 146"/>
                <a:gd name="T93" fmla="*/ 42 h 58"/>
                <a:gd name="T94" fmla="*/ 106 w 146"/>
                <a:gd name="T95" fmla="*/ 47 h 58"/>
                <a:gd name="T96" fmla="*/ 94 w 146"/>
                <a:gd name="T97" fmla="*/ 52 h 58"/>
                <a:gd name="T98" fmla="*/ 89 w 146"/>
                <a:gd name="T99" fmla="*/ 53 h 58"/>
                <a:gd name="T100" fmla="*/ 81 w 146"/>
                <a:gd name="T101" fmla="*/ 55 h 58"/>
                <a:gd name="T102" fmla="*/ 76 w 146"/>
                <a:gd name="T103" fmla="*/ 58 h 58"/>
                <a:gd name="T104" fmla="*/ 68 w 146"/>
                <a:gd name="T105" fmla="*/ 57 h 58"/>
                <a:gd name="T106" fmla="*/ 59 w 146"/>
                <a:gd name="T107" fmla="*/ 55 h 58"/>
                <a:gd name="T108" fmla="*/ 42 w 146"/>
                <a:gd name="T109" fmla="*/ 51 h 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46" h="58">
                  <a:moveTo>
                    <a:pt x="35" y="50"/>
                  </a:moveTo>
                  <a:lnTo>
                    <a:pt x="28" y="51"/>
                  </a:lnTo>
                  <a:lnTo>
                    <a:pt x="27" y="51"/>
                  </a:lnTo>
                  <a:lnTo>
                    <a:pt x="21" y="52"/>
                  </a:lnTo>
                  <a:lnTo>
                    <a:pt x="18" y="53"/>
                  </a:lnTo>
                  <a:lnTo>
                    <a:pt x="15" y="52"/>
                  </a:lnTo>
                  <a:lnTo>
                    <a:pt x="14" y="51"/>
                  </a:lnTo>
                  <a:lnTo>
                    <a:pt x="14" y="50"/>
                  </a:lnTo>
                  <a:lnTo>
                    <a:pt x="18" y="50"/>
                  </a:lnTo>
                  <a:lnTo>
                    <a:pt x="19" y="47"/>
                  </a:lnTo>
                  <a:lnTo>
                    <a:pt x="22" y="46"/>
                  </a:lnTo>
                  <a:lnTo>
                    <a:pt x="25" y="47"/>
                  </a:lnTo>
                  <a:lnTo>
                    <a:pt x="28" y="45"/>
                  </a:lnTo>
                  <a:lnTo>
                    <a:pt x="31" y="42"/>
                  </a:lnTo>
                  <a:lnTo>
                    <a:pt x="33" y="40"/>
                  </a:lnTo>
                  <a:lnTo>
                    <a:pt x="32" y="40"/>
                  </a:lnTo>
                  <a:lnTo>
                    <a:pt x="28" y="41"/>
                  </a:lnTo>
                  <a:lnTo>
                    <a:pt x="31" y="39"/>
                  </a:lnTo>
                  <a:lnTo>
                    <a:pt x="34" y="37"/>
                  </a:lnTo>
                  <a:lnTo>
                    <a:pt x="33" y="37"/>
                  </a:lnTo>
                  <a:lnTo>
                    <a:pt x="28" y="38"/>
                  </a:lnTo>
                  <a:lnTo>
                    <a:pt x="25" y="37"/>
                  </a:lnTo>
                  <a:lnTo>
                    <a:pt x="25" y="34"/>
                  </a:lnTo>
                  <a:lnTo>
                    <a:pt x="21" y="34"/>
                  </a:lnTo>
                  <a:lnTo>
                    <a:pt x="20" y="33"/>
                  </a:lnTo>
                  <a:lnTo>
                    <a:pt x="15" y="33"/>
                  </a:lnTo>
                  <a:lnTo>
                    <a:pt x="13" y="32"/>
                  </a:lnTo>
                  <a:lnTo>
                    <a:pt x="11" y="33"/>
                  </a:lnTo>
                  <a:lnTo>
                    <a:pt x="8" y="33"/>
                  </a:lnTo>
                  <a:lnTo>
                    <a:pt x="2" y="35"/>
                  </a:lnTo>
                  <a:lnTo>
                    <a:pt x="1" y="34"/>
                  </a:lnTo>
                  <a:lnTo>
                    <a:pt x="0" y="31"/>
                  </a:lnTo>
                  <a:lnTo>
                    <a:pt x="7" y="31"/>
                  </a:lnTo>
                  <a:lnTo>
                    <a:pt x="7" y="32"/>
                  </a:lnTo>
                  <a:lnTo>
                    <a:pt x="13" y="31"/>
                  </a:lnTo>
                  <a:lnTo>
                    <a:pt x="14" y="30"/>
                  </a:lnTo>
                  <a:lnTo>
                    <a:pt x="15" y="30"/>
                  </a:lnTo>
                  <a:lnTo>
                    <a:pt x="18" y="30"/>
                  </a:lnTo>
                  <a:lnTo>
                    <a:pt x="21" y="28"/>
                  </a:lnTo>
                  <a:lnTo>
                    <a:pt x="24" y="27"/>
                  </a:lnTo>
                  <a:lnTo>
                    <a:pt x="27" y="30"/>
                  </a:lnTo>
                  <a:lnTo>
                    <a:pt x="29" y="28"/>
                  </a:lnTo>
                  <a:lnTo>
                    <a:pt x="32" y="27"/>
                  </a:lnTo>
                  <a:lnTo>
                    <a:pt x="31" y="27"/>
                  </a:lnTo>
                  <a:lnTo>
                    <a:pt x="28" y="26"/>
                  </a:lnTo>
                  <a:lnTo>
                    <a:pt x="26" y="26"/>
                  </a:lnTo>
                  <a:lnTo>
                    <a:pt x="24" y="24"/>
                  </a:lnTo>
                  <a:lnTo>
                    <a:pt x="27" y="24"/>
                  </a:lnTo>
                  <a:lnTo>
                    <a:pt x="29" y="24"/>
                  </a:lnTo>
                  <a:lnTo>
                    <a:pt x="32" y="22"/>
                  </a:lnTo>
                  <a:lnTo>
                    <a:pt x="34" y="21"/>
                  </a:lnTo>
                  <a:lnTo>
                    <a:pt x="32" y="19"/>
                  </a:lnTo>
                  <a:lnTo>
                    <a:pt x="31" y="20"/>
                  </a:lnTo>
                  <a:lnTo>
                    <a:pt x="29" y="20"/>
                  </a:lnTo>
                  <a:lnTo>
                    <a:pt x="31" y="19"/>
                  </a:lnTo>
                  <a:lnTo>
                    <a:pt x="29" y="20"/>
                  </a:lnTo>
                  <a:lnTo>
                    <a:pt x="28" y="20"/>
                  </a:lnTo>
                  <a:lnTo>
                    <a:pt x="27" y="18"/>
                  </a:lnTo>
                  <a:lnTo>
                    <a:pt x="27" y="19"/>
                  </a:lnTo>
                  <a:lnTo>
                    <a:pt x="26" y="19"/>
                  </a:lnTo>
                  <a:lnTo>
                    <a:pt x="25" y="20"/>
                  </a:lnTo>
                  <a:lnTo>
                    <a:pt x="25" y="18"/>
                  </a:lnTo>
                  <a:lnTo>
                    <a:pt x="24" y="18"/>
                  </a:lnTo>
                  <a:lnTo>
                    <a:pt x="24" y="19"/>
                  </a:lnTo>
                  <a:lnTo>
                    <a:pt x="24" y="20"/>
                  </a:lnTo>
                  <a:lnTo>
                    <a:pt x="22" y="20"/>
                  </a:lnTo>
                  <a:lnTo>
                    <a:pt x="22" y="19"/>
                  </a:lnTo>
                  <a:lnTo>
                    <a:pt x="22" y="18"/>
                  </a:lnTo>
                  <a:lnTo>
                    <a:pt x="20" y="19"/>
                  </a:lnTo>
                  <a:lnTo>
                    <a:pt x="18" y="19"/>
                  </a:lnTo>
                  <a:lnTo>
                    <a:pt x="16" y="19"/>
                  </a:lnTo>
                  <a:lnTo>
                    <a:pt x="14" y="21"/>
                  </a:lnTo>
                  <a:lnTo>
                    <a:pt x="13" y="21"/>
                  </a:lnTo>
                  <a:lnTo>
                    <a:pt x="14" y="19"/>
                  </a:lnTo>
                  <a:lnTo>
                    <a:pt x="13" y="19"/>
                  </a:lnTo>
                  <a:lnTo>
                    <a:pt x="13" y="19"/>
                  </a:lnTo>
                  <a:lnTo>
                    <a:pt x="12" y="21"/>
                  </a:lnTo>
                  <a:lnTo>
                    <a:pt x="11" y="20"/>
                  </a:lnTo>
                  <a:lnTo>
                    <a:pt x="9" y="21"/>
                  </a:lnTo>
                  <a:lnTo>
                    <a:pt x="8" y="21"/>
                  </a:lnTo>
                  <a:lnTo>
                    <a:pt x="6" y="20"/>
                  </a:lnTo>
                  <a:lnTo>
                    <a:pt x="4" y="21"/>
                  </a:lnTo>
                  <a:lnTo>
                    <a:pt x="0" y="19"/>
                  </a:lnTo>
                  <a:lnTo>
                    <a:pt x="1" y="19"/>
                  </a:lnTo>
                  <a:lnTo>
                    <a:pt x="5" y="19"/>
                  </a:lnTo>
                  <a:lnTo>
                    <a:pt x="5" y="19"/>
                  </a:lnTo>
                  <a:lnTo>
                    <a:pt x="8" y="19"/>
                  </a:lnTo>
                  <a:lnTo>
                    <a:pt x="6" y="19"/>
                  </a:lnTo>
                  <a:lnTo>
                    <a:pt x="6" y="17"/>
                  </a:lnTo>
                  <a:lnTo>
                    <a:pt x="8" y="15"/>
                  </a:lnTo>
                  <a:lnTo>
                    <a:pt x="11" y="18"/>
                  </a:lnTo>
                  <a:lnTo>
                    <a:pt x="12" y="18"/>
                  </a:lnTo>
                  <a:lnTo>
                    <a:pt x="12" y="17"/>
                  </a:lnTo>
                  <a:lnTo>
                    <a:pt x="14" y="17"/>
                  </a:lnTo>
                  <a:lnTo>
                    <a:pt x="12" y="15"/>
                  </a:lnTo>
                  <a:lnTo>
                    <a:pt x="11" y="14"/>
                  </a:lnTo>
                  <a:lnTo>
                    <a:pt x="14" y="13"/>
                  </a:lnTo>
                  <a:lnTo>
                    <a:pt x="12" y="12"/>
                  </a:lnTo>
                  <a:lnTo>
                    <a:pt x="12" y="11"/>
                  </a:lnTo>
                  <a:lnTo>
                    <a:pt x="13" y="10"/>
                  </a:lnTo>
                  <a:lnTo>
                    <a:pt x="15" y="8"/>
                  </a:lnTo>
                  <a:lnTo>
                    <a:pt x="15" y="11"/>
                  </a:lnTo>
                  <a:lnTo>
                    <a:pt x="18" y="8"/>
                  </a:lnTo>
                  <a:lnTo>
                    <a:pt x="19" y="10"/>
                  </a:lnTo>
                  <a:lnTo>
                    <a:pt x="21" y="12"/>
                  </a:lnTo>
                  <a:lnTo>
                    <a:pt x="24" y="12"/>
                  </a:lnTo>
                  <a:lnTo>
                    <a:pt x="26" y="13"/>
                  </a:lnTo>
                  <a:lnTo>
                    <a:pt x="27" y="12"/>
                  </a:lnTo>
                  <a:lnTo>
                    <a:pt x="26" y="10"/>
                  </a:lnTo>
                  <a:lnTo>
                    <a:pt x="24" y="7"/>
                  </a:lnTo>
                  <a:lnTo>
                    <a:pt x="27" y="6"/>
                  </a:lnTo>
                  <a:lnTo>
                    <a:pt x="27" y="6"/>
                  </a:lnTo>
                  <a:lnTo>
                    <a:pt x="22" y="5"/>
                  </a:lnTo>
                  <a:lnTo>
                    <a:pt x="20" y="4"/>
                  </a:lnTo>
                  <a:lnTo>
                    <a:pt x="24" y="2"/>
                  </a:lnTo>
                  <a:lnTo>
                    <a:pt x="28" y="4"/>
                  </a:lnTo>
                  <a:lnTo>
                    <a:pt x="27" y="4"/>
                  </a:lnTo>
                  <a:lnTo>
                    <a:pt x="27" y="0"/>
                  </a:lnTo>
                  <a:lnTo>
                    <a:pt x="28" y="2"/>
                  </a:lnTo>
                  <a:lnTo>
                    <a:pt x="29" y="4"/>
                  </a:lnTo>
                  <a:lnTo>
                    <a:pt x="31" y="5"/>
                  </a:lnTo>
                  <a:lnTo>
                    <a:pt x="32" y="6"/>
                  </a:lnTo>
                  <a:lnTo>
                    <a:pt x="33" y="6"/>
                  </a:lnTo>
                  <a:lnTo>
                    <a:pt x="35" y="7"/>
                  </a:lnTo>
                  <a:lnTo>
                    <a:pt x="33" y="8"/>
                  </a:lnTo>
                  <a:lnTo>
                    <a:pt x="36" y="8"/>
                  </a:lnTo>
                  <a:lnTo>
                    <a:pt x="39" y="10"/>
                  </a:lnTo>
                  <a:lnTo>
                    <a:pt x="39" y="12"/>
                  </a:lnTo>
                  <a:lnTo>
                    <a:pt x="41" y="12"/>
                  </a:lnTo>
                  <a:lnTo>
                    <a:pt x="41" y="13"/>
                  </a:lnTo>
                  <a:lnTo>
                    <a:pt x="41" y="14"/>
                  </a:lnTo>
                  <a:lnTo>
                    <a:pt x="40" y="15"/>
                  </a:lnTo>
                  <a:lnTo>
                    <a:pt x="39" y="17"/>
                  </a:lnTo>
                  <a:lnTo>
                    <a:pt x="40" y="19"/>
                  </a:lnTo>
                  <a:lnTo>
                    <a:pt x="39" y="21"/>
                  </a:lnTo>
                  <a:lnTo>
                    <a:pt x="42" y="22"/>
                  </a:lnTo>
                  <a:lnTo>
                    <a:pt x="44" y="24"/>
                  </a:lnTo>
                  <a:lnTo>
                    <a:pt x="46" y="21"/>
                  </a:lnTo>
                  <a:lnTo>
                    <a:pt x="48" y="21"/>
                  </a:lnTo>
                  <a:lnTo>
                    <a:pt x="48" y="17"/>
                  </a:lnTo>
                  <a:lnTo>
                    <a:pt x="49" y="19"/>
                  </a:lnTo>
                  <a:lnTo>
                    <a:pt x="51" y="17"/>
                  </a:lnTo>
                  <a:lnTo>
                    <a:pt x="53" y="19"/>
                  </a:lnTo>
                  <a:lnTo>
                    <a:pt x="55" y="15"/>
                  </a:lnTo>
                  <a:lnTo>
                    <a:pt x="58" y="14"/>
                  </a:lnTo>
                  <a:lnTo>
                    <a:pt x="58" y="11"/>
                  </a:lnTo>
                  <a:lnTo>
                    <a:pt x="60" y="11"/>
                  </a:lnTo>
                  <a:lnTo>
                    <a:pt x="61" y="11"/>
                  </a:lnTo>
                  <a:lnTo>
                    <a:pt x="61" y="12"/>
                  </a:lnTo>
                  <a:lnTo>
                    <a:pt x="61" y="14"/>
                  </a:lnTo>
                  <a:lnTo>
                    <a:pt x="65" y="18"/>
                  </a:lnTo>
                  <a:lnTo>
                    <a:pt x="67" y="15"/>
                  </a:lnTo>
                  <a:lnTo>
                    <a:pt x="66" y="14"/>
                  </a:lnTo>
                  <a:lnTo>
                    <a:pt x="71" y="13"/>
                  </a:lnTo>
                  <a:lnTo>
                    <a:pt x="68" y="12"/>
                  </a:lnTo>
                  <a:lnTo>
                    <a:pt x="69" y="10"/>
                  </a:lnTo>
                  <a:lnTo>
                    <a:pt x="73" y="10"/>
                  </a:lnTo>
                  <a:lnTo>
                    <a:pt x="78" y="10"/>
                  </a:lnTo>
                  <a:lnTo>
                    <a:pt x="79" y="10"/>
                  </a:lnTo>
                  <a:lnTo>
                    <a:pt x="84" y="13"/>
                  </a:lnTo>
                  <a:lnTo>
                    <a:pt x="85" y="14"/>
                  </a:lnTo>
                  <a:lnTo>
                    <a:pt x="85" y="17"/>
                  </a:lnTo>
                  <a:lnTo>
                    <a:pt x="86" y="15"/>
                  </a:lnTo>
                  <a:lnTo>
                    <a:pt x="85" y="12"/>
                  </a:lnTo>
                  <a:lnTo>
                    <a:pt x="86" y="11"/>
                  </a:lnTo>
                  <a:lnTo>
                    <a:pt x="88" y="10"/>
                  </a:lnTo>
                  <a:lnTo>
                    <a:pt x="93" y="12"/>
                  </a:lnTo>
                  <a:lnTo>
                    <a:pt x="96" y="11"/>
                  </a:lnTo>
                  <a:lnTo>
                    <a:pt x="99" y="12"/>
                  </a:lnTo>
                  <a:lnTo>
                    <a:pt x="100" y="12"/>
                  </a:lnTo>
                  <a:lnTo>
                    <a:pt x="100" y="11"/>
                  </a:lnTo>
                  <a:lnTo>
                    <a:pt x="102" y="10"/>
                  </a:lnTo>
                  <a:lnTo>
                    <a:pt x="106" y="10"/>
                  </a:lnTo>
                  <a:lnTo>
                    <a:pt x="107" y="8"/>
                  </a:lnTo>
                  <a:lnTo>
                    <a:pt x="108" y="7"/>
                  </a:lnTo>
                  <a:lnTo>
                    <a:pt x="109" y="6"/>
                  </a:lnTo>
                  <a:lnTo>
                    <a:pt x="109" y="4"/>
                  </a:lnTo>
                  <a:lnTo>
                    <a:pt x="111" y="4"/>
                  </a:lnTo>
                  <a:lnTo>
                    <a:pt x="111" y="1"/>
                  </a:lnTo>
                  <a:lnTo>
                    <a:pt x="113" y="1"/>
                  </a:lnTo>
                  <a:lnTo>
                    <a:pt x="114" y="2"/>
                  </a:lnTo>
                  <a:lnTo>
                    <a:pt x="116" y="5"/>
                  </a:lnTo>
                  <a:lnTo>
                    <a:pt x="119" y="5"/>
                  </a:lnTo>
                  <a:lnTo>
                    <a:pt x="122" y="7"/>
                  </a:lnTo>
                  <a:lnTo>
                    <a:pt x="125" y="7"/>
                  </a:lnTo>
                  <a:lnTo>
                    <a:pt x="127" y="6"/>
                  </a:lnTo>
                  <a:lnTo>
                    <a:pt x="133" y="5"/>
                  </a:lnTo>
                  <a:lnTo>
                    <a:pt x="135" y="5"/>
                  </a:lnTo>
                  <a:lnTo>
                    <a:pt x="134" y="5"/>
                  </a:lnTo>
                  <a:lnTo>
                    <a:pt x="134" y="6"/>
                  </a:lnTo>
                  <a:lnTo>
                    <a:pt x="132" y="6"/>
                  </a:lnTo>
                  <a:lnTo>
                    <a:pt x="129" y="8"/>
                  </a:lnTo>
                  <a:lnTo>
                    <a:pt x="132" y="11"/>
                  </a:lnTo>
                  <a:lnTo>
                    <a:pt x="128" y="14"/>
                  </a:lnTo>
                  <a:lnTo>
                    <a:pt x="132" y="12"/>
                  </a:lnTo>
                  <a:lnTo>
                    <a:pt x="132" y="13"/>
                  </a:lnTo>
                  <a:lnTo>
                    <a:pt x="132" y="15"/>
                  </a:lnTo>
                  <a:lnTo>
                    <a:pt x="134" y="15"/>
                  </a:lnTo>
                  <a:lnTo>
                    <a:pt x="136" y="18"/>
                  </a:lnTo>
                  <a:lnTo>
                    <a:pt x="136" y="19"/>
                  </a:lnTo>
                  <a:lnTo>
                    <a:pt x="139" y="19"/>
                  </a:lnTo>
                  <a:lnTo>
                    <a:pt x="138" y="17"/>
                  </a:lnTo>
                  <a:lnTo>
                    <a:pt x="139" y="18"/>
                  </a:lnTo>
                  <a:lnTo>
                    <a:pt x="141" y="18"/>
                  </a:lnTo>
                  <a:lnTo>
                    <a:pt x="142" y="20"/>
                  </a:lnTo>
                  <a:lnTo>
                    <a:pt x="145" y="20"/>
                  </a:lnTo>
                  <a:lnTo>
                    <a:pt x="143" y="24"/>
                  </a:lnTo>
                  <a:lnTo>
                    <a:pt x="143" y="25"/>
                  </a:lnTo>
                  <a:lnTo>
                    <a:pt x="143" y="25"/>
                  </a:lnTo>
                  <a:lnTo>
                    <a:pt x="143" y="26"/>
                  </a:lnTo>
                  <a:lnTo>
                    <a:pt x="145" y="26"/>
                  </a:lnTo>
                  <a:lnTo>
                    <a:pt x="146" y="27"/>
                  </a:lnTo>
                  <a:lnTo>
                    <a:pt x="143" y="28"/>
                  </a:lnTo>
                  <a:lnTo>
                    <a:pt x="141" y="28"/>
                  </a:lnTo>
                  <a:lnTo>
                    <a:pt x="139" y="27"/>
                  </a:lnTo>
                  <a:lnTo>
                    <a:pt x="140" y="28"/>
                  </a:lnTo>
                  <a:lnTo>
                    <a:pt x="141" y="30"/>
                  </a:lnTo>
                  <a:lnTo>
                    <a:pt x="142" y="31"/>
                  </a:lnTo>
                  <a:lnTo>
                    <a:pt x="141" y="32"/>
                  </a:lnTo>
                  <a:lnTo>
                    <a:pt x="140" y="33"/>
                  </a:lnTo>
                  <a:lnTo>
                    <a:pt x="136" y="34"/>
                  </a:lnTo>
                  <a:lnTo>
                    <a:pt x="132" y="31"/>
                  </a:lnTo>
                  <a:lnTo>
                    <a:pt x="135" y="34"/>
                  </a:lnTo>
                  <a:lnTo>
                    <a:pt x="134" y="34"/>
                  </a:lnTo>
                  <a:lnTo>
                    <a:pt x="133" y="37"/>
                  </a:lnTo>
                  <a:lnTo>
                    <a:pt x="132" y="39"/>
                  </a:lnTo>
                  <a:lnTo>
                    <a:pt x="132" y="38"/>
                  </a:lnTo>
                  <a:lnTo>
                    <a:pt x="131" y="40"/>
                  </a:lnTo>
                  <a:lnTo>
                    <a:pt x="128" y="40"/>
                  </a:lnTo>
                  <a:lnTo>
                    <a:pt x="128" y="41"/>
                  </a:lnTo>
                  <a:lnTo>
                    <a:pt x="127" y="41"/>
                  </a:lnTo>
                  <a:lnTo>
                    <a:pt x="123" y="39"/>
                  </a:lnTo>
                  <a:lnTo>
                    <a:pt x="123" y="41"/>
                  </a:lnTo>
                  <a:lnTo>
                    <a:pt x="121" y="41"/>
                  </a:lnTo>
                  <a:lnTo>
                    <a:pt x="119" y="42"/>
                  </a:lnTo>
                  <a:lnTo>
                    <a:pt x="116" y="42"/>
                  </a:lnTo>
                  <a:lnTo>
                    <a:pt x="116" y="46"/>
                  </a:lnTo>
                  <a:lnTo>
                    <a:pt x="113" y="45"/>
                  </a:lnTo>
                  <a:lnTo>
                    <a:pt x="108" y="46"/>
                  </a:lnTo>
                  <a:lnTo>
                    <a:pt x="106" y="47"/>
                  </a:lnTo>
                  <a:lnTo>
                    <a:pt x="105" y="48"/>
                  </a:lnTo>
                  <a:lnTo>
                    <a:pt x="100" y="50"/>
                  </a:lnTo>
                  <a:lnTo>
                    <a:pt x="96" y="50"/>
                  </a:lnTo>
                  <a:lnTo>
                    <a:pt x="94" y="52"/>
                  </a:lnTo>
                  <a:lnTo>
                    <a:pt x="94" y="52"/>
                  </a:lnTo>
                  <a:lnTo>
                    <a:pt x="94" y="53"/>
                  </a:lnTo>
                  <a:lnTo>
                    <a:pt x="93" y="52"/>
                  </a:lnTo>
                  <a:lnTo>
                    <a:pt x="91" y="53"/>
                  </a:lnTo>
                  <a:lnTo>
                    <a:pt x="89" y="52"/>
                  </a:lnTo>
                  <a:lnTo>
                    <a:pt x="89" y="53"/>
                  </a:lnTo>
                  <a:lnTo>
                    <a:pt x="88" y="53"/>
                  </a:lnTo>
                  <a:lnTo>
                    <a:pt x="87" y="54"/>
                  </a:lnTo>
                  <a:lnTo>
                    <a:pt x="85" y="53"/>
                  </a:lnTo>
                  <a:lnTo>
                    <a:pt x="84" y="55"/>
                  </a:lnTo>
                  <a:lnTo>
                    <a:pt x="81" y="55"/>
                  </a:lnTo>
                  <a:lnTo>
                    <a:pt x="80" y="58"/>
                  </a:lnTo>
                  <a:lnTo>
                    <a:pt x="80" y="55"/>
                  </a:lnTo>
                  <a:lnTo>
                    <a:pt x="78" y="53"/>
                  </a:lnTo>
                  <a:lnTo>
                    <a:pt x="79" y="57"/>
                  </a:lnTo>
                  <a:lnTo>
                    <a:pt x="76" y="58"/>
                  </a:lnTo>
                  <a:lnTo>
                    <a:pt x="75" y="57"/>
                  </a:lnTo>
                  <a:lnTo>
                    <a:pt x="75" y="58"/>
                  </a:lnTo>
                  <a:lnTo>
                    <a:pt x="73" y="57"/>
                  </a:lnTo>
                  <a:lnTo>
                    <a:pt x="72" y="58"/>
                  </a:lnTo>
                  <a:lnTo>
                    <a:pt x="68" y="57"/>
                  </a:lnTo>
                  <a:lnTo>
                    <a:pt x="67" y="58"/>
                  </a:lnTo>
                  <a:lnTo>
                    <a:pt x="65" y="57"/>
                  </a:lnTo>
                  <a:lnTo>
                    <a:pt x="62" y="55"/>
                  </a:lnTo>
                  <a:lnTo>
                    <a:pt x="61" y="57"/>
                  </a:lnTo>
                  <a:lnTo>
                    <a:pt x="59" y="55"/>
                  </a:lnTo>
                  <a:lnTo>
                    <a:pt x="54" y="53"/>
                  </a:lnTo>
                  <a:lnTo>
                    <a:pt x="52" y="55"/>
                  </a:lnTo>
                  <a:lnTo>
                    <a:pt x="46" y="53"/>
                  </a:lnTo>
                  <a:lnTo>
                    <a:pt x="42" y="52"/>
                  </a:lnTo>
                  <a:lnTo>
                    <a:pt x="42" y="51"/>
                  </a:lnTo>
                  <a:lnTo>
                    <a:pt x="39" y="50"/>
                  </a:lnTo>
                  <a:lnTo>
                    <a:pt x="35" y="50"/>
                  </a:lnTo>
                  <a:lnTo>
                    <a:pt x="35" y="50"/>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17" name="Honduras">
              <a:extLst>
                <a:ext uri="{FF2B5EF4-FFF2-40B4-BE49-F238E27FC236}">
                  <a16:creationId xmlns:a16="http://schemas.microsoft.com/office/drawing/2014/main" id="{F77A0CF3-9FC8-7042-A1C8-D060516C5F4A}"/>
                </a:ext>
              </a:extLst>
            </p:cNvPr>
            <p:cNvSpPr>
              <a:spLocks/>
            </p:cNvSpPr>
            <p:nvPr/>
          </p:nvSpPr>
          <p:spPr bwMode="auto">
            <a:xfrm>
              <a:off x="4022323" y="3506866"/>
              <a:ext cx="164748" cy="91851"/>
            </a:xfrm>
            <a:custGeom>
              <a:avLst/>
              <a:gdLst>
                <a:gd name="T0" fmla="*/ 103 w 113"/>
                <a:gd name="T1" fmla="*/ 13 h 63"/>
                <a:gd name="T2" fmla="*/ 107 w 113"/>
                <a:gd name="T3" fmla="*/ 16 h 63"/>
                <a:gd name="T4" fmla="*/ 105 w 113"/>
                <a:gd name="T5" fmla="*/ 18 h 63"/>
                <a:gd name="T6" fmla="*/ 106 w 113"/>
                <a:gd name="T7" fmla="*/ 17 h 63"/>
                <a:gd name="T8" fmla="*/ 102 w 113"/>
                <a:gd name="T9" fmla="*/ 16 h 63"/>
                <a:gd name="T10" fmla="*/ 97 w 113"/>
                <a:gd name="T11" fmla="*/ 13 h 63"/>
                <a:gd name="T12" fmla="*/ 99 w 113"/>
                <a:gd name="T13" fmla="*/ 16 h 63"/>
                <a:gd name="T14" fmla="*/ 96 w 113"/>
                <a:gd name="T15" fmla="*/ 13 h 63"/>
                <a:gd name="T16" fmla="*/ 94 w 113"/>
                <a:gd name="T17" fmla="*/ 10 h 63"/>
                <a:gd name="T18" fmla="*/ 96 w 113"/>
                <a:gd name="T19" fmla="*/ 11 h 63"/>
                <a:gd name="T20" fmla="*/ 102 w 113"/>
                <a:gd name="T21" fmla="*/ 13 h 63"/>
                <a:gd name="T22" fmla="*/ 88 w 113"/>
                <a:gd name="T23" fmla="*/ 4 h 63"/>
                <a:gd name="T24" fmla="*/ 89 w 113"/>
                <a:gd name="T25" fmla="*/ 5 h 63"/>
                <a:gd name="T26" fmla="*/ 88 w 113"/>
                <a:gd name="T27" fmla="*/ 4 h 63"/>
                <a:gd name="T28" fmla="*/ 72 w 113"/>
                <a:gd name="T29" fmla="*/ 4 h 63"/>
                <a:gd name="T30" fmla="*/ 63 w 113"/>
                <a:gd name="T31" fmla="*/ 0 h 63"/>
                <a:gd name="T32" fmla="*/ 60 w 113"/>
                <a:gd name="T33" fmla="*/ 4 h 63"/>
                <a:gd name="T34" fmla="*/ 46 w 113"/>
                <a:gd name="T35" fmla="*/ 6 h 63"/>
                <a:gd name="T36" fmla="*/ 34 w 113"/>
                <a:gd name="T37" fmla="*/ 3 h 63"/>
                <a:gd name="T38" fmla="*/ 28 w 113"/>
                <a:gd name="T39" fmla="*/ 4 h 63"/>
                <a:gd name="T40" fmla="*/ 25 w 113"/>
                <a:gd name="T41" fmla="*/ 8 h 63"/>
                <a:gd name="T42" fmla="*/ 14 w 113"/>
                <a:gd name="T43" fmla="*/ 15 h 63"/>
                <a:gd name="T44" fmla="*/ 5 w 113"/>
                <a:gd name="T45" fmla="*/ 23 h 63"/>
                <a:gd name="T46" fmla="*/ 3 w 113"/>
                <a:gd name="T47" fmla="*/ 30 h 63"/>
                <a:gd name="T48" fmla="*/ 0 w 113"/>
                <a:gd name="T49" fmla="*/ 33 h 63"/>
                <a:gd name="T50" fmla="*/ 9 w 113"/>
                <a:gd name="T51" fmla="*/ 39 h 63"/>
                <a:gd name="T52" fmla="*/ 14 w 113"/>
                <a:gd name="T53" fmla="*/ 43 h 63"/>
                <a:gd name="T54" fmla="*/ 19 w 113"/>
                <a:gd name="T55" fmla="*/ 44 h 63"/>
                <a:gd name="T56" fmla="*/ 22 w 113"/>
                <a:gd name="T57" fmla="*/ 43 h 63"/>
                <a:gd name="T58" fmla="*/ 25 w 113"/>
                <a:gd name="T59" fmla="*/ 44 h 63"/>
                <a:gd name="T60" fmla="*/ 28 w 113"/>
                <a:gd name="T61" fmla="*/ 49 h 63"/>
                <a:gd name="T62" fmla="*/ 27 w 113"/>
                <a:gd name="T63" fmla="*/ 53 h 63"/>
                <a:gd name="T64" fmla="*/ 27 w 113"/>
                <a:gd name="T65" fmla="*/ 56 h 63"/>
                <a:gd name="T66" fmla="*/ 29 w 113"/>
                <a:gd name="T67" fmla="*/ 56 h 63"/>
                <a:gd name="T68" fmla="*/ 33 w 113"/>
                <a:gd name="T69" fmla="*/ 56 h 63"/>
                <a:gd name="T70" fmla="*/ 32 w 113"/>
                <a:gd name="T71" fmla="*/ 60 h 63"/>
                <a:gd name="T72" fmla="*/ 34 w 113"/>
                <a:gd name="T73" fmla="*/ 63 h 63"/>
                <a:gd name="T74" fmla="*/ 41 w 113"/>
                <a:gd name="T75" fmla="*/ 60 h 63"/>
                <a:gd name="T76" fmla="*/ 45 w 113"/>
                <a:gd name="T77" fmla="*/ 57 h 63"/>
                <a:gd name="T78" fmla="*/ 52 w 113"/>
                <a:gd name="T79" fmla="*/ 48 h 63"/>
                <a:gd name="T80" fmla="*/ 59 w 113"/>
                <a:gd name="T81" fmla="*/ 43 h 63"/>
                <a:gd name="T82" fmla="*/ 62 w 113"/>
                <a:gd name="T83" fmla="*/ 45 h 63"/>
                <a:gd name="T84" fmla="*/ 68 w 113"/>
                <a:gd name="T85" fmla="*/ 42 h 63"/>
                <a:gd name="T86" fmla="*/ 70 w 113"/>
                <a:gd name="T87" fmla="*/ 37 h 63"/>
                <a:gd name="T88" fmla="*/ 75 w 113"/>
                <a:gd name="T89" fmla="*/ 35 h 63"/>
                <a:gd name="T90" fmla="*/ 77 w 113"/>
                <a:gd name="T91" fmla="*/ 31 h 63"/>
                <a:gd name="T92" fmla="*/ 77 w 113"/>
                <a:gd name="T93" fmla="*/ 29 h 63"/>
                <a:gd name="T94" fmla="*/ 83 w 113"/>
                <a:gd name="T95" fmla="*/ 26 h 63"/>
                <a:gd name="T96" fmla="*/ 87 w 113"/>
                <a:gd name="T97" fmla="*/ 29 h 63"/>
                <a:gd name="T98" fmla="*/ 92 w 113"/>
                <a:gd name="T99" fmla="*/ 29 h 63"/>
                <a:gd name="T100" fmla="*/ 95 w 113"/>
                <a:gd name="T101" fmla="*/ 28 h 63"/>
                <a:gd name="T102" fmla="*/ 99 w 113"/>
                <a:gd name="T103" fmla="*/ 26 h 63"/>
                <a:gd name="T104" fmla="*/ 102 w 113"/>
                <a:gd name="T105" fmla="*/ 25 h 63"/>
                <a:gd name="T106" fmla="*/ 106 w 113"/>
                <a:gd name="T107" fmla="*/ 23 h 63"/>
                <a:gd name="T108" fmla="*/ 106 w 113"/>
                <a:gd name="T109" fmla="*/ 23 h 63"/>
                <a:gd name="T110" fmla="*/ 109 w 113"/>
                <a:gd name="T111" fmla="*/ 22 h 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13" h="63">
                  <a:moveTo>
                    <a:pt x="113" y="22"/>
                  </a:moveTo>
                  <a:lnTo>
                    <a:pt x="109" y="19"/>
                  </a:lnTo>
                  <a:lnTo>
                    <a:pt x="109" y="17"/>
                  </a:lnTo>
                  <a:lnTo>
                    <a:pt x="103" y="13"/>
                  </a:lnTo>
                  <a:lnTo>
                    <a:pt x="103" y="15"/>
                  </a:lnTo>
                  <a:lnTo>
                    <a:pt x="105" y="16"/>
                  </a:lnTo>
                  <a:lnTo>
                    <a:pt x="105" y="16"/>
                  </a:lnTo>
                  <a:lnTo>
                    <a:pt x="107" y="16"/>
                  </a:lnTo>
                  <a:lnTo>
                    <a:pt x="107" y="17"/>
                  </a:lnTo>
                  <a:lnTo>
                    <a:pt x="105" y="18"/>
                  </a:lnTo>
                  <a:lnTo>
                    <a:pt x="105" y="18"/>
                  </a:lnTo>
                  <a:lnTo>
                    <a:pt x="105" y="18"/>
                  </a:lnTo>
                  <a:lnTo>
                    <a:pt x="105" y="18"/>
                  </a:lnTo>
                  <a:lnTo>
                    <a:pt x="105" y="17"/>
                  </a:lnTo>
                  <a:lnTo>
                    <a:pt x="106" y="18"/>
                  </a:lnTo>
                  <a:lnTo>
                    <a:pt x="106" y="17"/>
                  </a:lnTo>
                  <a:lnTo>
                    <a:pt x="106" y="16"/>
                  </a:lnTo>
                  <a:lnTo>
                    <a:pt x="105" y="16"/>
                  </a:lnTo>
                  <a:lnTo>
                    <a:pt x="102" y="18"/>
                  </a:lnTo>
                  <a:lnTo>
                    <a:pt x="102" y="16"/>
                  </a:lnTo>
                  <a:lnTo>
                    <a:pt x="101" y="16"/>
                  </a:lnTo>
                  <a:lnTo>
                    <a:pt x="101" y="16"/>
                  </a:lnTo>
                  <a:lnTo>
                    <a:pt x="99" y="13"/>
                  </a:lnTo>
                  <a:lnTo>
                    <a:pt x="97" y="13"/>
                  </a:lnTo>
                  <a:lnTo>
                    <a:pt x="101" y="17"/>
                  </a:lnTo>
                  <a:lnTo>
                    <a:pt x="99" y="17"/>
                  </a:lnTo>
                  <a:lnTo>
                    <a:pt x="99" y="16"/>
                  </a:lnTo>
                  <a:lnTo>
                    <a:pt x="99" y="16"/>
                  </a:lnTo>
                  <a:lnTo>
                    <a:pt x="97" y="16"/>
                  </a:lnTo>
                  <a:lnTo>
                    <a:pt x="97" y="15"/>
                  </a:lnTo>
                  <a:lnTo>
                    <a:pt x="96" y="15"/>
                  </a:lnTo>
                  <a:lnTo>
                    <a:pt x="96" y="13"/>
                  </a:lnTo>
                  <a:lnTo>
                    <a:pt x="96" y="12"/>
                  </a:lnTo>
                  <a:lnTo>
                    <a:pt x="95" y="11"/>
                  </a:lnTo>
                  <a:lnTo>
                    <a:pt x="95" y="11"/>
                  </a:lnTo>
                  <a:lnTo>
                    <a:pt x="94" y="10"/>
                  </a:lnTo>
                  <a:lnTo>
                    <a:pt x="96" y="10"/>
                  </a:lnTo>
                  <a:lnTo>
                    <a:pt x="96" y="11"/>
                  </a:lnTo>
                  <a:lnTo>
                    <a:pt x="96" y="11"/>
                  </a:lnTo>
                  <a:lnTo>
                    <a:pt x="96" y="11"/>
                  </a:lnTo>
                  <a:lnTo>
                    <a:pt x="96" y="11"/>
                  </a:lnTo>
                  <a:lnTo>
                    <a:pt x="100" y="11"/>
                  </a:lnTo>
                  <a:lnTo>
                    <a:pt x="100" y="12"/>
                  </a:lnTo>
                  <a:lnTo>
                    <a:pt x="102" y="13"/>
                  </a:lnTo>
                  <a:lnTo>
                    <a:pt x="102" y="13"/>
                  </a:lnTo>
                  <a:lnTo>
                    <a:pt x="101" y="12"/>
                  </a:lnTo>
                  <a:lnTo>
                    <a:pt x="94" y="4"/>
                  </a:lnTo>
                  <a:lnTo>
                    <a:pt x="88" y="4"/>
                  </a:lnTo>
                  <a:lnTo>
                    <a:pt x="92" y="5"/>
                  </a:lnTo>
                  <a:lnTo>
                    <a:pt x="90" y="5"/>
                  </a:lnTo>
                  <a:lnTo>
                    <a:pt x="89" y="5"/>
                  </a:lnTo>
                  <a:lnTo>
                    <a:pt x="89" y="5"/>
                  </a:lnTo>
                  <a:lnTo>
                    <a:pt x="88" y="5"/>
                  </a:lnTo>
                  <a:lnTo>
                    <a:pt x="88" y="5"/>
                  </a:lnTo>
                  <a:lnTo>
                    <a:pt x="87" y="5"/>
                  </a:lnTo>
                  <a:lnTo>
                    <a:pt x="88" y="4"/>
                  </a:lnTo>
                  <a:lnTo>
                    <a:pt x="82" y="2"/>
                  </a:lnTo>
                  <a:lnTo>
                    <a:pt x="81" y="2"/>
                  </a:lnTo>
                  <a:lnTo>
                    <a:pt x="77" y="3"/>
                  </a:lnTo>
                  <a:lnTo>
                    <a:pt x="72" y="4"/>
                  </a:lnTo>
                  <a:lnTo>
                    <a:pt x="69" y="3"/>
                  </a:lnTo>
                  <a:lnTo>
                    <a:pt x="69" y="2"/>
                  </a:lnTo>
                  <a:lnTo>
                    <a:pt x="67" y="2"/>
                  </a:lnTo>
                  <a:lnTo>
                    <a:pt x="63" y="0"/>
                  </a:lnTo>
                  <a:lnTo>
                    <a:pt x="62" y="2"/>
                  </a:lnTo>
                  <a:lnTo>
                    <a:pt x="66" y="2"/>
                  </a:lnTo>
                  <a:lnTo>
                    <a:pt x="63" y="3"/>
                  </a:lnTo>
                  <a:lnTo>
                    <a:pt x="60" y="4"/>
                  </a:lnTo>
                  <a:lnTo>
                    <a:pt x="56" y="6"/>
                  </a:lnTo>
                  <a:lnTo>
                    <a:pt x="54" y="5"/>
                  </a:lnTo>
                  <a:lnTo>
                    <a:pt x="49" y="5"/>
                  </a:lnTo>
                  <a:lnTo>
                    <a:pt x="46" y="6"/>
                  </a:lnTo>
                  <a:lnTo>
                    <a:pt x="39" y="4"/>
                  </a:lnTo>
                  <a:lnTo>
                    <a:pt x="37" y="5"/>
                  </a:lnTo>
                  <a:lnTo>
                    <a:pt x="35" y="5"/>
                  </a:lnTo>
                  <a:lnTo>
                    <a:pt x="34" y="3"/>
                  </a:lnTo>
                  <a:lnTo>
                    <a:pt x="35" y="3"/>
                  </a:lnTo>
                  <a:lnTo>
                    <a:pt x="34" y="4"/>
                  </a:lnTo>
                  <a:lnTo>
                    <a:pt x="33" y="3"/>
                  </a:lnTo>
                  <a:lnTo>
                    <a:pt x="28" y="4"/>
                  </a:lnTo>
                  <a:lnTo>
                    <a:pt x="28" y="4"/>
                  </a:lnTo>
                  <a:lnTo>
                    <a:pt x="27" y="5"/>
                  </a:lnTo>
                  <a:lnTo>
                    <a:pt x="26" y="5"/>
                  </a:lnTo>
                  <a:lnTo>
                    <a:pt x="25" y="8"/>
                  </a:lnTo>
                  <a:lnTo>
                    <a:pt x="23" y="6"/>
                  </a:lnTo>
                  <a:lnTo>
                    <a:pt x="22" y="8"/>
                  </a:lnTo>
                  <a:lnTo>
                    <a:pt x="21" y="8"/>
                  </a:lnTo>
                  <a:lnTo>
                    <a:pt x="14" y="15"/>
                  </a:lnTo>
                  <a:lnTo>
                    <a:pt x="8" y="19"/>
                  </a:lnTo>
                  <a:lnTo>
                    <a:pt x="5" y="20"/>
                  </a:lnTo>
                  <a:lnTo>
                    <a:pt x="3" y="22"/>
                  </a:lnTo>
                  <a:lnTo>
                    <a:pt x="5" y="23"/>
                  </a:lnTo>
                  <a:lnTo>
                    <a:pt x="3" y="24"/>
                  </a:lnTo>
                  <a:lnTo>
                    <a:pt x="3" y="26"/>
                  </a:lnTo>
                  <a:lnTo>
                    <a:pt x="5" y="28"/>
                  </a:lnTo>
                  <a:lnTo>
                    <a:pt x="3" y="30"/>
                  </a:lnTo>
                  <a:lnTo>
                    <a:pt x="2" y="30"/>
                  </a:lnTo>
                  <a:lnTo>
                    <a:pt x="2" y="32"/>
                  </a:lnTo>
                  <a:lnTo>
                    <a:pt x="0" y="32"/>
                  </a:lnTo>
                  <a:lnTo>
                    <a:pt x="0" y="33"/>
                  </a:lnTo>
                  <a:lnTo>
                    <a:pt x="6" y="36"/>
                  </a:lnTo>
                  <a:lnTo>
                    <a:pt x="6" y="38"/>
                  </a:lnTo>
                  <a:lnTo>
                    <a:pt x="8" y="38"/>
                  </a:lnTo>
                  <a:lnTo>
                    <a:pt x="9" y="39"/>
                  </a:lnTo>
                  <a:lnTo>
                    <a:pt x="10" y="40"/>
                  </a:lnTo>
                  <a:lnTo>
                    <a:pt x="10" y="42"/>
                  </a:lnTo>
                  <a:lnTo>
                    <a:pt x="13" y="43"/>
                  </a:lnTo>
                  <a:lnTo>
                    <a:pt x="14" y="43"/>
                  </a:lnTo>
                  <a:lnTo>
                    <a:pt x="14" y="45"/>
                  </a:lnTo>
                  <a:lnTo>
                    <a:pt x="16" y="45"/>
                  </a:lnTo>
                  <a:lnTo>
                    <a:pt x="16" y="44"/>
                  </a:lnTo>
                  <a:lnTo>
                    <a:pt x="19" y="44"/>
                  </a:lnTo>
                  <a:lnTo>
                    <a:pt x="19" y="43"/>
                  </a:lnTo>
                  <a:lnTo>
                    <a:pt x="20" y="43"/>
                  </a:lnTo>
                  <a:lnTo>
                    <a:pt x="20" y="43"/>
                  </a:lnTo>
                  <a:lnTo>
                    <a:pt x="22" y="43"/>
                  </a:lnTo>
                  <a:lnTo>
                    <a:pt x="23" y="45"/>
                  </a:lnTo>
                  <a:lnTo>
                    <a:pt x="23" y="44"/>
                  </a:lnTo>
                  <a:lnTo>
                    <a:pt x="25" y="44"/>
                  </a:lnTo>
                  <a:lnTo>
                    <a:pt x="25" y="44"/>
                  </a:lnTo>
                  <a:lnTo>
                    <a:pt x="27" y="44"/>
                  </a:lnTo>
                  <a:lnTo>
                    <a:pt x="28" y="46"/>
                  </a:lnTo>
                  <a:lnTo>
                    <a:pt x="27" y="48"/>
                  </a:lnTo>
                  <a:lnTo>
                    <a:pt x="28" y="49"/>
                  </a:lnTo>
                  <a:lnTo>
                    <a:pt x="26" y="52"/>
                  </a:lnTo>
                  <a:lnTo>
                    <a:pt x="27" y="52"/>
                  </a:lnTo>
                  <a:lnTo>
                    <a:pt x="27" y="52"/>
                  </a:lnTo>
                  <a:lnTo>
                    <a:pt x="27" y="53"/>
                  </a:lnTo>
                  <a:lnTo>
                    <a:pt x="26" y="53"/>
                  </a:lnTo>
                  <a:lnTo>
                    <a:pt x="25" y="55"/>
                  </a:lnTo>
                  <a:lnTo>
                    <a:pt x="26" y="55"/>
                  </a:lnTo>
                  <a:lnTo>
                    <a:pt x="27" y="56"/>
                  </a:lnTo>
                  <a:lnTo>
                    <a:pt x="28" y="55"/>
                  </a:lnTo>
                  <a:lnTo>
                    <a:pt x="29" y="53"/>
                  </a:lnTo>
                  <a:lnTo>
                    <a:pt x="29" y="55"/>
                  </a:lnTo>
                  <a:lnTo>
                    <a:pt x="29" y="56"/>
                  </a:lnTo>
                  <a:lnTo>
                    <a:pt x="32" y="56"/>
                  </a:lnTo>
                  <a:lnTo>
                    <a:pt x="32" y="55"/>
                  </a:lnTo>
                  <a:lnTo>
                    <a:pt x="33" y="55"/>
                  </a:lnTo>
                  <a:lnTo>
                    <a:pt x="33" y="56"/>
                  </a:lnTo>
                  <a:lnTo>
                    <a:pt x="32" y="56"/>
                  </a:lnTo>
                  <a:lnTo>
                    <a:pt x="30" y="57"/>
                  </a:lnTo>
                  <a:lnTo>
                    <a:pt x="32" y="57"/>
                  </a:lnTo>
                  <a:lnTo>
                    <a:pt x="32" y="60"/>
                  </a:lnTo>
                  <a:lnTo>
                    <a:pt x="34" y="60"/>
                  </a:lnTo>
                  <a:lnTo>
                    <a:pt x="33" y="62"/>
                  </a:lnTo>
                  <a:lnTo>
                    <a:pt x="34" y="62"/>
                  </a:lnTo>
                  <a:lnTo>
                    <a:pt x="34" y="63"/>
                  </a:lnTo>
                  <a:lnTo>
                    <a:pt x="39" y="63"/>
                  </a:lnTo>
                  <a:lnTo>
                    <a:pt x="41" y="60"/>
                  </a:lnTo>
                  <a:lnTo>
                    <a:pt x="41" y="60"/>
                  </a:lnTo>
                  <a:lnTo>
                    <a:pt x="41" y="60"/>
                  </a:lnTo>
                  <a:lnTo>
                    <a:pt x="41" y="59"/>
                  </a:lnTo>
                  <a:lnTo>
                    <a:pt x="41" y="58"/>
                  </a:lnTo>
                  <a:lnTo>
                    <a:pt x="43" y="57"/>
                  </a:lnTo>
                  <a:lnTo>
                    <a:pt x="45" y="57"/>
                  </a:lnTo>
                  <a:lnTo>
                    <a:pt x="46" y="57"/>
                  </a:lnTo>
                  <a:lnTo>
                    <a:pt x="45" y="48"/>
                  </a:lnTo>
                  <a:lnTo>
                    <a:pt x="49" y="46"/>
                  </a:lnTo>
                  <a:lnTo>
                    <a:pt x="52" y="48"/>
                  </a:lnTo>
                  <a:lnTo>
                    <a:pt x="53" y="48"/>
                  </a:lnTo>
                  <a:lnTo>
                    <a:pt x="57" y="42"/>
                  </a:lnTo>
                  <a:lnTo>
                    <a:pt x="59" y="40"/>
                  </a:lnTo>
                  <a:lnTo>
                    <a:pt x="59" y="43"/>
                  </a:lnTo>
                  <a:lnTo>
                    <a:pt x="61" y="44"/>
                  </a:lnTo>
                  <a:lnTo>
                    <a:pt x="62" y="44"/>
                  </a:lnTo>
                  <a:lnTo>
                    <a:pt x="62" y="45"/>
                  </a:lnTo>
                  <a:lnTo>
                    <a:pt x="62" y="45"/>
                  </a:lnTo>
                  <a:lnTo>
                    <a:pt x="63" y="45"/>
                  </a:lnTo>
                  <a:lnTo>
                    <a:pt x="63" y="43"/>
                  </a:lnTo>
                  <a:lnTo>
                    <a:pt x="65" y="43"/>
                  </a:lnTo>
                  <a:lnTo>
                    <a:pt x="68" y="42"/>
                  </a:lnTo>
                  <a:lnTo>
                    <a:pt x="68" y="40"/>
                  </a:lnTo>
                  <a:lnTo>
                    <a:pt x="69" y="40"/>
                  </a:lnTo>
                  <a:lnTo>
                    <a:pt x="70" y="39"/>
                  </a:lnTo>
                  <a:lnTo>
                    <a:pt x="70" y="37"/>
                  </a:lnTo>
                  <a:lnTo>
                    <a:pt x="72" y="37"/>
                  </a:lnTo>
                  <a:lnTo>
                    <a:pt x="73" y="36"/>
                  </a:lnTo>
                  <a:lnTo>
                    <a:pt x="74" y="36"/>
                  </a:lnTo>
                  <a:lnTo>
                    <a:pt x="75" y="35"/>
                  </a:lnTo>
                  <a:lnTo>
                    <a:pt x="74" y="35"/>
                  </a:lnTo>
                  <a:lnTo>
                    <a:pt x="76" y="31"/>
                  </a:lnTo>
                  <a:lnTo>
                    <a:pt x="75" y="30"/>
                  </a:lnTo>
                  <a:lnTo>
                    <a:pt x="77" y="31"/>
                  </a:lnTo>
                  <a:lnTo>
                    <a:pt x="77" y="30"/>
                  </a:lnTo>
                  <a:lnTo>
                    <a:pt x="77" y="30"/>
                  </a:lnTo>
                  <a:lnTo>
                    <a:pt x="77" y="29"/>
                  </a:lnTo>
                  <a:lnTo>
                    <a:pt x="77" y="29"/>
                  </a:lnTo>
                  <a:lnTo>
                    <a:pt x="82" y="25"/>
                  </a:lnTo>
                  <a:lnTo>
                    <a:pt x="83" y="26"/>
                  </a:lnTo>
                  <a:lnTo>
                    <a:pt x="82" y="26"/>
                  </a:lnTo>
                  <a:lnTo>
                    <a:pt x="83" y="26"/>
                  </a:lnTo>
                  <a:lnTo>
                    <a:pt x="83" y="28"/>
                  </a:lnTo>
                  <a:lnTo>
                    <a:pt x="86" y="29"/>
                  </a:lnTo>
                  <a:lnTo>
                    <a:pt x="87" y="29"/>
                  </a:lnTo>
                  <a:lnTo>
                    <a:pt x="87" y="29"/>
                  </a:lnTo>
                  <a:lnTo>
                    <a:pt x="89" y="29"/>
                  </a:lnTo>
                  <a:lnTo>
                    <a:pt x="90" y="28"/>
                  </a:lnTo>
                  <a:lnTo>
                    <a:pt x="90" y="29"/>
                  </a:lnTo>
                  <a:lnTo>
                    <a:pt x="92" y="29"/>
                  </a:lnTo>
                  <a:lnTo>
                    <a:pt x="92" y="28"/>
                  </a:lnTo>
                  <a:lnTo>
                    <a:pt x="93" y="26"/>
                  </a:lnTo>
                  <a:lnTo>
                    <a:pt x="93" y="28"/>
                  </a:lnTo>
                  <a:lnTo>
                    <a:pt x="95" y="28"/>
                  </a:lnTo>
                  <a:lnTo>
                    <a:pt x="95" y="26"/>
                  </a:lnTo>
                  <a:lnTo>
                    <a:pt x="95" y="26"/>
                  </a:lnTo>
                  <a:lnTo>
                    <a:pt x="97" y="26"/>
                  </a:lnTo>
                  <a:lnTo>
                    <a:pt x="99" y="26"/>
                  </a:lnTo>
                  <a:lnTo>
                    <a:pt x="99" y="26"/>
                  </a:lnTo>
                  <a:lnTo>
                    <a:pt x="99" y="26"/>
                  </a:lnTo>
                  <a:lnTo>
                    <a:pt x="101" y="25"/>
                  </a:lnTo>
                  <a:lnTo>
                    <a:pt x="102" y="25"/>
                  </a:lnTo>
                  <a:lnTo>
                    <a:pt x="102" y="25"/>
                  </a:lnTo>
                  <a:lnTo>
                    <a:pt x="102" y="24"/>
                  </a:lnTo>
                  <a:lnTo>
                    <a:pt x="103" y="25"/>
                  </a:lnTo>
                  <a:lnTo>
                    <a:pt x="106" y="23"/>
                  </a:lnTo>
                  <a:lnTo>
                    <a:pt x="105" y="23"/>
                  </a:lnTo>
                  <a:lnTo>
                    <a:pt x="106" y="23"/>
                  </a:lnTo>
                  <a:lnTo>
                    <a:pt x="106" y="23"/>
                  </a:lnTo>
                  <a:lnTo>
                    <a:pt x="106" y="23"/>
                  </a:lnTo>
                  <a:lnTo>
                    <a:pt x="106" y="22"/>
                  </a:lnTo>
                  <a:lnTo>
                    <a:pt x="107" y="22"/>
                  </a:lnTo>
                  <a:lnTo>
                    <a:pt x="108" y="22"/>
                  </a:lnTo>
                  <a:lnTo>
                    <a:pt x="109" y="22"/>
                  </a:lnTo>
                  <a:lnTo>
                    <a:pt x="113" y="22"/>
                  </a:lnTo>
                  <a:lnTo>
                    <a:pt x="113" y="22"/>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18" name="Haiti">
              <a:extLst>
                <a:ext uri="{FF2B5EF4-FFF2-40B4-BE49-F238E27FC236}">
                  <a16:creationId xmlns:a16="http://schemas.microsoft.com/office/drawing/2014/main" id="{74CBC684-3C2D-8A42-A3D4-99595A03FADA}"/>
                </a:ext>
              </a:extLst>
            </p:cNvPr>
            <p:cNvSpPr>
              <a:spLocks noEditPoints="1"/>
            </p:cNvSpPr>
            <p:nvPr/>
          </p:nvSpPr>
          <p:spPr bwMode="auto">
            <a:xfrm>
              <a:off x="4424717" y="3391688"/>
              <a:ext cx="74356" cy="55402"/>
            </a:xfrm>
            <a:custGeom>
              <a:avLst/>
              <a:gdLst>
                <a:gd name="T0" fmla="*/ 23 w 51"/>
                <a:gd name="T1" fmla="*/ 22 h 38"/>
                <a:gd name="T2" fmla="*/ 23 w 51"/>
                <a:gd name="T3" fmla="*/ 20 h 38"/>
                <a:gd name="T4" fmla="*/ 30 w 51"/>
                <a:gd name="T5" fmla="*/ 24 h 38"/>
                <a:gd name="T6" fmla="*/ 30 w 51"/>
                <a:gd name="T7" fmla="*/ 24 h 38"/>
                <a:gd name="T8" fmla="*/ 50 w 51"/>
                <a:gd name="T9" fmla="*/ 9 h 38"/>
                <a:gd name="T10" fmla="*/ 48 w 51"/>
                <a:gd name="T11" fmla="*/ 11 h 38"/>
                <a:gd name="T12" fmla="*/ 51 w 51"/>
                <a:gd name="T13" fmla="*/ 14 h 38"/>
                <a:gd name="T14" fmla="*/ 47 w 51"/>
                <a:gd name="T15" fmla="*/ 20 h 38"/>
                <a:gd name="T16" fmla="*/ 50 w 51"/>
                <a:gd name="T17" fmla="*/ 23 h 38"/>
                <a:gd name="T18" fmla="*/ 46 w 51"/>
                <a:gd name="T19" fmla="*/ 27 h 38"/>
                <a:gd name="T20" fmla="*/ 45 w 51"/>
                <a:gd name="T21" fmla="*/ 27 h 38"/>
                <a:gd name="T22" fmla="*/ 46 w 51"/>
                <a:gd name="T23" fmla="*/ 29 h 38"/>
                <a:gd name="T24" fmla="*/ 50 w 51"/>
                <a:gd name="T25" fmla="*/ 32 h 38"/>
                <a:gd name="T26" fmla="*/ 48 w 51"/>
                <a:gd name="T27" fmla="*/ 37 h 38"/>
                <a:gd name="T28" fmla="*/ 46 w 51"/>
                <a:gd name="T29" fmla="*/ 35 h 38"/>
                <a:gd name="T30" fmla="*/ 33 w 51"/>
                <a:gd name="T31" fmla="*/ 35 h 38"/>
                <a:gd name="T32" fmla="*/ 30 w 51"/>
                <a:gd name="T33" fmla="*/ 36 h 38"/>
                <a:gd name="T34" fmla="*/ 18 w 51"/>
                <a:gd name="T35" fmla="*/ 34 h 38"/>
                <a:gd name="T36" fmla="*/ 14 w 51"/>
                <a:gd name="T37" fmla="*/ 34 h 38"/>
                <a:gd name="T38" fmla="*/ 12 w 51"/>
                <a:gd name="T39" fmla="*/ 36 h 38"/>
                <a:gd name="T40" fmla="*/ 12 w 51"/>
                <a:gd name="T41" fmla="*/ 38 h 38"/>
                <a:gd name="T42" fmla="*/ 11 w 51"/>
                <a:gd name="T43" fmla="*/ 38 h 38"/>
                <a:gd name="T44" fmla="*/ 4 w 51"/>
                <a:gd name="T45" fmla="*/ 32 h 38"/>
                <a:gd name="T46" fmla="*/ 0 w 51"/>
                <a:gd name="T47" fmla="*/ 30 h 38"/>
                <a:gd name="T48" fmla="*/ 4 w 51"/>
                <a:gd name="T49" fmla="*/ 25 h 38"/>
                <a:gd name="T50" fmla="*/ 13 w 51"/>
                <a:gd name="T51" fmla="*/ 28 h 38"/>
                <a:gd name="T52" fmla="*/ 17 w 51"/>
                <a:gd name="T53" fmla="*/ 27 h 38"/>
                <a:gd name="T54" fmla="*/ 13 w 51"/>
                <a:gd name="T55" fmla="*/ 28 h 38"/>
                <a:gd name="T56" fmla="*/ 19 w 51"/>
                <a:gd name="T57" fmla="*/ 28 h 38"/>
                <a:gd name="T58" fmla="*/ 31 w 51"/>
                <a:gd name="T59" fmla="*/ 30 h 38"/>
                <a:gd name="T60" fmla="*/ 33 w 51"/>
                <a:gd name="T61" fmla="*/ 28 h 38"/>
                <a:gd name="T62" fmla="*/ 38 w 51"/>
                <a:gd name="T63" fmla="*/ 28 h 38"/>
                <a:gd name="T64" fmla="*/ 39 w 51"/>
                <a:gd name="T65" fmla="*/ 25 h 38"/>
                <a:gd name="T66" fmla="*/ 30 w 51"/>
                <a:gd name="T67" fmla="*/ 17 h 38"/>
                <a:gd name="T68" fmla="*/ 31 w 51"/>
                <a:gd name="T69" fmla="*/ 17 h 38"/>
                <a:gd name="T70" fmla="*/ 30 w 51"/>
                <a:gd name="T71" fmla="*/ 14 h 38"/>
                <a:gd name="T72" fmla="*/ 32 w 51"/>
                <a:gd name="T73" fmla="*/ 12 h 38"/>
                <a:gd name="T74" fmla="*/ 31 w 51"/>
                <a:gd name="T75" fmla="*/ 11 h 38"/>
                <a:gd name="T76" fmla="*/ 32 w 51"/>
                <a:gd name="T77" fmla="*/ 9 h 38"/>
                <a:gd name="T78" fmla="*/ 26 w 51"/>
                <a:gd name="T79" fmla="*/ 7 h 38"/>
                <a:gd name="T80" fmla="*/ 18 w 51"/>
                <a:gd name="T81" fmla="*/ 5 h 38"/>
                <a:gd name="T82" fmla="*/ 19 w 51"/>
                <a:gd name="T83" fmla="*/ 2 h 38"/>
                <a:gd name="T84" fmla="*/ 24 w 51"/>
                <a:gd name="T85" fmla="*/ 0 h 38"/>
                <a:gd name="T86" fmla="*/ 32 w 51"/>
                <a:gd name="T87" fmla="*/ 0 h 38"/>
                <a:gd name="T88" fmla="*/ 39 w 51"/>
                <a:gd name="T89" fmla="*/ 3 h 38"/>
                <a:gd name="T90" fmla="*/ 40 w 51"/>
                <a:gd name="T91" fmla="*/ 3 h 38"/>
                <a:gd name="T92" fmla="*/ 47 w 51"/>
                <a:gd name="T93" fmla="*/ 4 h 38"/>
                <a:gd name="T94" fmla="*/ 47 w 51"/>
                <a:gd name="T95" fmla="*/ 5 h 38"/>
                <a:gd name="T96" fmla="*/ 48 w 51"/>
                <a:gd name="T97" fmla="*/ 4 h 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1" h="38">
                  <a:moveTo>
                    <a:pt x="30" y="24"/>
                  </a:moveTo>
                  <a:lnTo>
                    <a:pt x="23" y="22"/>
                  </a:lnTo>
                  <a:lnTo>
                    <a:pt x="21" y="20"/>
                  </a:lnTo>
                  <a:lnTo>
                    <a:pt x="23" y="20"/>
                  </a:lnTo>
                  <a:lnTo>
                    <a:pt x="28" y="22"/>
                  </a:lnTo>
                  <a:lnTo>
                    <a:pt x="30" y="24"/>
                  </a:lnTo>
                  <a:lnTo>
                    <a:pt x="30" y="24"/>
                  </a:lnTo>
                  <a:lnTo>
                    <a:pt x="30" y="24"/>
                  </a:lnTo>
                  <a:close/>
                  <a:moveTo>
                    <a:pt x="48" y="4"/>
                  </a:moveTo>
                  <a:lnTo>
                    <a:pt x="50" y="9"/>
                  </a:lnTo>
                  <a:lnTo>
                    <a:pt x="50" y="11"/>
                  </a:lnTo>
                  <a:lnTo>
                    <a:pt x="48" y="11"/>
                  </a:lnTo>
                  <a:lnTo>
                    <a:pt x="50" y="14"/>
                  </a:lnTo>
                  <a:lnTo>
                    <a:pt x="51" y="14"/>
                  </a:lnTo>
                  <a:lnTo>
                    <a:pt x="51" y="16"/>
                  </a:lnTo>
                  <a:lnTo>
                    <a:pt x="47" y="20"/>
                  </a:lnTo>
                  <a:lnTo>
                    <a:pt x="48" y="20"/>
                  </a:lnTo>
                  <a:lnTo>
                    <a:pt x="50" y="23"/>
                  </a:lnTo>
                  <a:lnTo>
                    <a:pt x="50" y="24"/>
                  </a:lnTo>
                  <a:lnTo>
                    <a:pt x="46" y="27"/>
                  </a:lnTo>
                  <a:lnTo>
                    <a:pt x="45" y="27"/>
                  </a:lnTo>
                  <a:lnTo>
                    <a:pt x="45" y="27"/>
                  </a:lnTo>
                  <a:lnTo>
                    <a:pt x="45" y="28"/>
                  </a:lnTo>
                  <a:lnTo>
                    <a:pt x="46" y="29"/>
                  </a:lnTo>
                  <a:lnTo>
                    <a:pt x="46" y="30"/>
                  </a:lnTo>
                  <a:lnTo>
                    <a:pt x="50" y="32"/>
                  </a:lnTo>
                  <a:lnTo>
                    <a:pt x="48" y="35"/>
                  </a:lnTo>
                  <a:lnTo>
                    <a:pt x="48" y="37"/>
                  </a:lnTo>
                  <a:lnTo>
                    <a:pt x="48" y="37"/>
                  </a:lnTo>
                  <a:lnTo>
                    <a:pt x="46" y="35"/>
                  </a:lnTo>
                  <a:lnTo>
                    <a:pt x="43" y="34"/>
                  </a:lnTo>
                  <a:lnTo>
                    <a:pt x="33" y="35"/>
                  </a:lnTo>
                  <a:lnTo>
                    <a:pt x="31" y="35"/>
                  </a:lnTo>
                  <a:lnTo>
                    <a:pt x="30" y="36"/>
                  </a:lnTo>
                  <a:lnTo>
                    <a:pt x="20" y="34"/>
                  </a:lnTo>
                  <a:lnTo>
                    <a:pt x="18" y="34"/>
                  </a:lnTo>
                  <a:lnTo>
                    <a:pt x="16" y="35"/>
                  </a:lnTo>
                  <a:lnTo>
                    <a:pt x="14" y="34"/>
                  </a:lnTo>
                  <a:lnTo>
                    <a:pt x="13" y="35"/>
                  </a:lnTo>
                  <a:lnTo>
                    <a:pt x="12" y="36"/>
                  </a:lnTo>
                  <a:lnTo>
                    <a:pt x="11" y="36"/>
                  </a:lnTo>
                  <a:lnTo>
                    <a:pt x="12" y="38"/>
                  </a:lnTo>
                  <a:lnTo>
                    <a:pt x="12" y="38"/>
                  </a:lnTo>
                  <a:lnTo>
                    <a:pt x="11" y="38"/>
                  </a:lnTo>
                  <a:lnTo>
                    <a:pt x="6" y="34"/>
                  </a:lnTo>
                  <a:lnTo>
                    <a:pt x="4" y="32"/>
                  </a:lnTo>
                  <a:lnTo>
                    <a:pt x="1" y="32"/>
                  </a:lnTo>
                  <a:lnTo>
                    <a:pt x="0" y="30"/>
                  </a:lnTo>
                  <a:lnTo>
                    <a:pt x="0" y="27"/>
                  </a:lnTo>
                  <a:lnTo>
                    <a:pt x="4" y="25"/>
                  </a:lnTo>
                  <a:lnTo>
                    <a:pt x="6" y="25"/>
                  </a:lnTo>
                  <a:lnTo>
                    <a:pt x="13" y="28"/>
                  </a:lnTo>
                  <a:lnTo>
                    <a:pt x="16" y="27"/>
                  </a:lnTo>
                  <a:lnTo>
                    <a:pt x="17" y="27"/>
                  </a:lnTo>
                  <a:lnTo>
                    <a:pt x="16" y="28"/>
                  </a:lnTo>
                  <a:lnTo>
                    <a:pt x="13" y="28"/>
                  </a:lnTo>
                  <a:lnTo>
                    <a:pt x="14" y="29"/>
                  </a:lnTo>
                  <a:lnTo>
                    <a:pt x="19" y="28"/>
                  </a:lnTo>
                  <a:lnTo>
                    <a:pt x="28" y="30"/>
                  </a:lnTo>
                  <a:lnTo>
                    <a:pt x="31" y="30"/>
                  </a:lnTo>
                  <a:lnTo>
                    <a:pt x="31" y="30"/>
                  </a:lnTo>
                  <a:lnTo>
                    <a:pt x="33" y="28"/>
                  </a:lnTo>
                  <a:lnTo>
                    <a:pt x="37" y="28"/>
                  </a:lnTo>
                  <a:lnTo>
                    <a:pt x="38" y="28"/>
                  </a:lnTo>
                  <a:lnTo>
                    <a:pt x="38" y="28"/>
                  </a:lnTo>
                  <a:lnTo>
                    <a:pt x="39" y="25"/>
                  </a:lnTo>
                  <a:lnTo>
                    <a:pt x="34" y="23"/>
                  </a:lnTo>
                  <a:lnTo>
                    <a:pt x="30" y="17"/>
                  </a:lnTo>
                  <a:lnTo>
                    <a:pt x="30" y="17"/>
                  </a:lnTo>
                  <a:lnTo>
                    <a:pt x="31" y="17"/>
                  </a:lnTo>
                  <a:lnTo>
                    <a:pt x="32" y="16"/>
                  </a:lnTo>
                  <a:lnTo>
                    <a:pt x="30" y="14"/>
                  </a:lnTo>
                  <a:lnTo>
                    <a:pt x="31" y="12"/>
                  </a:lnTo>
                  <a:lnTo>
                    <a:pt x="32" y="12"/>
                  </a:lnTo>
                  <a:lnTo>
                    <a:pt x="31" y="11"/>
                  </a:lnTo>
                  <a:lnTo>
                    <a:pt x="31" y="11"/>
                  </a:lnTo>
                  <a:lnTo>
                    <a:pt x="32" y="10"/>
                  </a:lnTo>
                  <a:lnTo>
                    <a:pt x="32" y="9"/>
                  </a:lnTo>
                  <a:lnTo>
                    <a:pt x="31" y="9"/>
                  </a:lnTo>
                  <a:lnTo>
                    <a:pt x="26" y="7"/>
                  </a:lnTo>
                  <a:lnTo>
                    <a:pt x="19" y="5"/>
                  </a:lnTo>
                  <a:lnTo>
                    <a:pt x="18" y="5"/>
                  </a:lnTo>
                  <a:lnTo>
                    <a:pt x="18" y="4"/>
                  </a:lnTo>
                  <a:lnTo>
                    <a:pt x="19" y="2"/>
                  </a:lnTo>
                  <a:lnTo>
                    <a:pt x="23" y="1"/>
                  </a:lnTo>
                  <a:lnTo>
                    <a:pt x="24" y="0"/>
                  </a:lnTo>
                  <a:lnTo>
                    <a:pt x="30" y="0"/>
                  </a:lnTo>
                  <a:lnTo>
                    <a:pt x="32" y="0"/>
                  </a:lnTo>
                  <a:lnTo>
                    <a:pt x="37" y="2"/>
                  </a:lnTo>
                  <a:lnTo>
                    <a:pt x="39" y="3"/>
                  </a:lnTo>
                  <a:lnTo>
                    <a:pt x="40" y="3"/>
                  </a:lnTo>
                  <a:lnTo>
                    <a:pt x="40" y="3"/>
                  </a:lnTo>
                  <a:lnTo>
                    <a:pt x="45" y="4"/>
                  </a:lnTo>
                  <a:lnTo>
                    <a:pt x="47" y="4"/>
                  </a:lnTo>
                  <a:lnTo>
                    <a:pt x="46" y="5"/>
                  </a:lnTo>
                  <a:lnTo>
                    <a:pt x="47" y="5"/>
                  </a:lnTo>
                  <a:lnTo>
                    <a:pt x="47" y="4"/>
                  </a:lnTo>
                  <a:lnTo>
                    <a:pt x="48" y="4"/>
                  </a:lnTo>
                  <a:lnTo>
                    <a:pt x="48" y="4"/>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19" name="Guyana">
              <a:extLst>
                <a:ext uri="{FF2B5EF4-FFF2-40B4-BE49-F238E27FC236}">
                  <a16:creationId xmlns:a16="http://schemas.microsoft.com/office/drawing/2014/main" id="{83A0743D-FD71-464F-9957-28DD251DF69D}"/>
                </a:ext>
              </a:extLst>
            </p:cNvPr>
            <p:cNvSpPr>
              <a:spLocks/>
            </p:cNvSpPr>
            <p:nvPr/>
          </p:nvSpPr>
          <p:spPr bwMode="auto">
            <a:xfrm>
              <a:off x="4742550" y="3732848"/>
              <a:ext cx="126842" cy="218692"/>
            </a:xfrm>
            <a:custGeom>
              <a:avLst/>
              <a:gdLst>
                <a:gd name="T0" fmla="*/ 25 w 87"/>
                <a:gd name="T1" fmla="*/ 9 h 150"/>
                <a:gd name="T2" fmla="*/ 14 w 87"/>
                <a:gd name="T3" fmla="*/ 20 h 150"/>
                <a:gd name="T4" fmla="*/ 20 w 87"/>
                <a:gd name="T5" fmla="*/ 27 h 150"/>
                <a:gd name="T6" fmla="*/ 9 w 87"/>
                <a:gd name="T7" fmla="*/ 35 h 150"/>
                <a:gd name="T8" fmla="*/ 0 w 87"/>
                <a:gd name="T9" fmla="*/ 52 h 150"/>
                <a:gd name="T10" fmla="*/ 20 w 87"/>
                <a:gd name="T11" fmla="*/ 67 h 150"/>
                <a:gd name="T12" fmla="*/ 22 w 87"/>
                <a:gd name="T13" fmla="*/ 81 h 150"/>
                <a:gd name="T14" fmla="*/ 30 w 87"/>
                <a:gd name="T15" fmla="*/ 89 h 150"/>
                <a:gd name="T16" fmla="*/ 30 w 87"/>
                <a:gd name="T17" fmla="*/ 98 h 150"/>
                <a:gd name="T18" fmla="*/ 28 w 87"/>
                <a:gd name="T19" fmla="*/ 137 h 150"/>
                <a:gd name="T20" fmla="*/ 37 w 87"/>
                <a:gd name="T21" fmla="*/ 147 h 150"/>
                <a:gd name="T22" fmla="*/ 52 w 87"/>
                <a:gd name="T23" fmla="*/ 147 h 150"/>
                <a:gd name="T24" fmla="*/ 60 w 87"/>
                <a:gd name="T25" fmla="*/ 141 h 150"/>
                <a:gd name="T26" fmla="*/ 74 w 87"/>
                <a:gd name="T27" fmla="*/ 135 h 150"/>
                <a:gd name="T28" fmla="*/ 87 w 87"/>
                <a:gd name="T29" fmla="*/ 135 h 150"/>
                <a:gd name="T30" fmla="*/ 81 w 87"/>
                <a:gd name="T31" fmla="*/ 130 h 150"/>
                <a:gd name="T32" fmla="*/ 79 w 87"/>
                <a:gd name="T33" fmla="*/ 125 h 150"/>
                <a:gd name="T34" fmla="*/ 79 w 87"/>
                <a:gd name="T35" fmla="*/ 123 h 150"/>
                <a:gd name="T36" fmla="*/ 77 w 87"/>
                <a:gd name="T37" fmla="*/ 121 h 150"/>
                <a:gd name="T38" fmla="*/ 76 w 87"/>
                <a:gd name="T39" fmla="*/ 118 h 150"/>
                <a:gd name="T40" fmla="*/ 75 w 87"/>
                <a:gd name="T41" fmla="*/ 116 h 150"/>
                <a:gd name="T42" fmla="*/ 74 w 87"/>
                <a:gd name="T43" fmla="*/ 112 h 150"/>
                <a:gd name="T44" fmla="*/ 74 w 87"/>
                <a:gd name="T45" fmla="*/ 110 h 150"/>
                <a:gd name="T46" fmla="*/ 73 w 87"/>
                <a:gd name="T47" fmla="*/ 109 h 150"/>
                <a:gd name="T48" fmla="*/ 73 w 87"/>
                <a:gd name="T49" fmla="*/ 105 h 150"/>
                <a:gd name="T50" fmla="*/ 70 w 87"/>
                <a:gd name="T51" fmla="*/ 107 h 150"/>
                <a:gd name="T52" fmla="*/ 67 w 87"/>
                <a:gd name="T53" fmla="*/ 105 h 150"/>
                <a:gd name="T54" fmla="*/ 66 w 87"/>
                <a:gd name="T55" fmla="*/ 102 h 150"/>
                <a:gd name="T56" fmla="*/ 62 w 87"/>
                <a:gd name="T57" fmla="*/ 96 h 150"/>
                <a:gd name="T58" fmla="*/ 60 w 87"/>
                <a:gd name="T59" fmla="*/ 89 h 150"/>
                <a:gd name="T60" fmla="*/ 62 w 87"/>
                <a:gd name="T61" fmla="*/ 83 h 150"/>
                <a:gd name="T62" fmla="*/ 62 w 87"/>
                <a:gd name="T63" fmla="*/ 76 h 150"/>
                <a:gd name="T64" fmla="*/ 67 w 87"/>
                <a:gd name="T65" fmla="*/ 71 h 150"/>
                <a:gd name="T66" fmla="*/ 72 w 87"/>
                <a:gd name="T67" fmla="*/ 72 h 150"/>
                <a:gd name="T68" fmla="*/ 74 w 87"/>
                <a:gd name="T69" fmla="*/ 70 h 150"/>
                <a:gd name="T70" fmla="*/ 75 w 87"/>
                <a:gd name="T71" fmla="*/ 69 h 150"/>
                <a:gd name="T72" fmla="*/ 75 w 87"/>
                <a:gd name="T73" fmla="*/ 68 h 150"/>
                <a:gd name="T74" fmla="*/ 74 w 87"/>
                <a:gd name="T75" fmla="*/ 64 h 150"/>
                <a:gd name="T76" fmla="*/ 76 w 87"/>
                <a:gd name="T77" fmla="*/ 58 h 150"/>
                <a:gd name="T78" fmla="*/ 76 w 87"/>
                <a:gd name="T79" fmla="*/ 51 h 150"/>
                <a:gd name="T80" fmla="*/ 72 w 87"/>
                <a:gd name="T81" fmla="*/ 44 h 150"/>
                <a:gd name="T82" fmla="*/ 69 w 87"/>
                <a:gd name="T83" fmla="*/ 43 h 150"/>
                <a:gd name="T84" fmla="*/ 63 w 87"/>
                <a:gd name="T85" fmla="*/ 37 h 150"/>
                <a:gd name="T86" fmla="*/ 59 w 87"/>
                <a:gd name="T87" fmla="*/ 35 h 150"/>
                <a:gd name="T88" fmla="*/ 54 w 87"/>
                <a:gd name="T89" fmla="*/ 35 h 150"/>
                <a:gd name="T90" fmla="*/ 52 w 87"/>
                <a:gd name="T91" fmla="*/ 41 h 150"/>
                <a:gd name="T92" fmla="*/ 49 w 87"/>
                <a:gd name="T93" fmla="*/ 43 h 150"/>
                <a:gd name="T94" fmla="*/ 50 w 87"/>
                <a:gd name="T95" fmla="*/ 36 h 150"/>
                <a:gd name="T96" fmla="*/ 54 w 87"/>
                <a:gd name="T97" fmla="*/ 28 h 150"/>
                <a:gd name="T98" fmla="*/ 52 w 87"/>
                <a:gd name="T99" fmla="*/ 21 h 150"/>
                <a:gd name="T100" fmla="*/ 49 w 87"/>
                <a:gd name="T101" fmla="*/ 18 h 150"/>
                <a:gd name="T102" fmla="*/ 42 w 87"/>
                <a:gd name="T103" fmla="*/ 9 h 150"/>
                <a:gd name="T104" fmla="*/ 37 w 87"/>
                <a:gd name="T105" fmla="*/ 5 h 150"/>
                <a:gd name="T106" fmla="*/ 30 w 87"/>
                <a:gd name="T107" fmla="*/ 2 h 150"/>
                <a:gd name="T108" fmla="*/ 35 w 87"/>
                <a:gd name="T109" fmla="*/ 5 h 150"/>
                <a:gd name="T110" fmla="*/ 34 w 87"/>
                <a:gd name="T111" fmla="*/ 5 h 150"/>
                <a:gd name="T112" fmla="*/ 30 w 87"/>
                <a:gd name="T113" fmla="*/ 3 h 150"/>
                <a:gd name="T114" fmla="*/ 28 w 87"/>
                <a:gd name="T115" fmla="*/ 0 h 1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87" h="150">
                  <a:moveTo>
                    <a:pt x="28" y="0"/>
                  </a:moveTo>
                  <a:lnTo>
                    <a:pt x="30" y="4"/>
                  </a:lnTo>
                  <a:lnTo>
                    <a:pt x="28" y="5"/>
                  </a:lnTo>
                  <a:lnTo>
                    <a:pt x="25" y="9"/>
                  </a:lnTo>
                  <a:lnTo>
                    <a:pt x="22" y="11"/>
                  </a:lnTo>
                  <a:lnTo>
                    <a:pt x="17" y="14"/>
                  </a:lnTo>
                  <a:lnTo>
                    <a:pt x="16" y="17"/>
                  </a:lnTo>
                  <a:lnTo>
                    <a:pt x="14" y="20"/>
                  </a:lnTo>
                  <a:lnTo>
                    <a:pt x="14" y="23"/>
                  </a:lnTo>
                  <a:lnTo>
                    <a:pt x="14" y="25"/>
                  </a:lnTo>
                  <a:lnTo>
                    <a:pt x="16" y="28"/>
                  </a:lnTo>
                  <a:lnTo>
                    <a:pt x="20" y="27"/>
                  </a:lnTo>
                  <a:lnTo>
                    <a:pt x="21" y="30"/>
                  </a:lnTo>
                  <a:lnTo>
                    <a:pt x="19" y="32"/>
                  </a:lnTo>
                  <a:lnTo>
                    <a:pt x="14" y="35"/>
                  </a:lnTo>
                  <a:lnTo>
                    <a:pt x="9" y="35"/>
                  </a:lnTo>
                  <a:lnTo>
                    <a:pt x="6" y="36"/>
                  </a:lnTo>
                  <a:lnTo>
                    <a:pt x="5" y="43"/>
                  </a:lnTo>
                  <a:lnTo>
                    <a:pt x="2" y="49"/>
                  </a:lnTo>
                  <a:lnTo>
                    <a:pt x="0" y="52"/>
                  </a:lnTo>
                  <a:lnTo>
                    <a:pt x="12" y="68"/>
                  </a:lnTo>
                  <a:lnTo>
                    <a:pt x="13" y="68"/>
                  </a:lnTo>
                  <a:lnTo>
                    <a:pt x="17" y="68"/>
                  </a:lnTo>
                  <a:lnTo>
                    <a:pt x="20" y="67"/>
                  </a:lnTo>
                  <a:lnTo>
                    <a:pt x="22" y="68"/>
                  </a:lnTo>
                  <a:lnTo>
                    <a:pt x="23" y="69"/>
                  </a:lnTo>
                  <a:lnTo>
                    <a:pt x="25" y="78"/>
                  </a:lnTo>
                  <a:lnTo>
                    <a:pt x="22" y="81"/>
                  </a:lnTo>
                  <a:lnTo>
                    <a:pt x="26" y="82"/>
                  </a:lnTo>
                  <a:lnTo>
                    <a:pt x="28" y="83"/>
                  </a:lnTo>
                  <a:lnTo>
                    <a:pt x="29" y="87"/>
                  </a:lnTo>
                  <a:lnTo>
                    <a:pt x="30" y="89"/>
                  </a:lnTo>
                  <a:lnTo>
                    <a:pt x="30" y="91"/>
                  </a:lnTo>
                  <a:lnTo>
                    <a:pt x="33" y="94"/>
                  </a:lnTo>
                  <a:lnTo>
                    <a:pt x="32" y="96"/>
                  </a:lnTo>
                  <a:lnTo>
                    <a:pt x="30" y="98"/>
                  </a:lnTo>
                  <a:lnTo>
                    <a:pt x="27" y="105"/>
                  </a:lnTo>
                  <a:lnTo>
                    <a:pt x="25" y="119"/>
                  </a:lnTo>
                  <a:lnTo>
                    <a:pt x="25" y="125"/>
                  </a:lnTo>
                  <a:lnTo>
                    <a:pt x="28" y="137"/>
                  </a:lnTo>
                  <a:lnTo>
                    <a:pt x="30" y="137"/>
                  </a:lnTo>
                  <a:lnTo>
                    <a:pt x="33" y="139"/>
                  </a:lnTo>
                  <a:lnTo>
                    <a:pt x="35" y="143"/>
                  </a:lnTo>
                  <a:lnTo>
                    <a:pt x="37" y="147"/>
                  </a:lnTo>
                  <a:lnTo>
                    <a:pt x="43" y="149"/>
                  </a:lnTo>
                  <a:lnTo>
                    <a:pt x="45" y="150"/>
                  </a:lnTo>
                  <a:lnTo>
                    <a:pt x="47" y="148"/>
                  </a:lnTo>
                  <a:lnTo>
                    <a:pt x="52" y="147"/>
                  </a:lnTo>
                  <a:lnTo>
                    <a:pt x="53" y="144"/>
                  </a:lnTo>
                  <a:lnTo>
                    <a:pt x="54" y="142"/>
                  </a:lnTo>
                  <a:lnTo>
                    <a:pt x="57" y="143"/>
                  </a:lnTo>
                  <a:lnTo>
                    <a:pt x="60" y="141"/>
                  </a:lnTo>
                  <a:lnTo>
                    <a:pt x="62" y="141"/>
                  </a:lnTo>
                  <a:lnTo>
                    <a:pt x="68" y="139"/>
                  </a:lnTo>
                  <a:lnTo>
                    <a:pt x="70" y="135"/>
                  </a:lnTo>
                  <a:lnTo>
                    <a:pt x="74" y="135"/>
                  </a:lnTo>
                  <a:lnTo>
                    <a:pt x="77" y="135"/>
                  </a:lnTo>
                  <a:lnTo>
                    <a:pt x="82" y="136"/>
                  </a:lnTo>
                  <a:lnTo>
                    <a:pt x="86" y="135"/>
                  </a:lnTo>
                  <a:lnTo>
                    <a:pt x="87" y="135"/>
                  </a:lnTo>
                  <a:lnTo>
                    <a:pt x="87" y="135"/>
                  </a:lnTo>
                  <a:lnTo>
                    <a:pt x="86" y="134"/>
                  </a:lnTo>
                  <a:lnTo>
                    <a:pt x="83" y="132"/>
                  </a:lnTo>
                  <a:lnTo>
                    <a:pt x="81" y="130"/>
                  </a:lnTo>
                  <a:lnTo>
                    <a:pt x="81" y="128"/>
                  </a:lnTo>
                  <a:lnTo>
                    <a:pt x="80" y="128"/>
                  </a:lnTo>
                  <a:lnTo>
                    <a:pt x="80" y="127"/>
                  </a:lnTo>
                  <a:lnTo>
                    <a:pt x="79" y="125"/>
                  </a:lnTo>
                  <a:lnTo>
                    <a:pt x="79" y="124"/>
                  </a:lnTo>
                  <a:lnTo>
                    <a:pt x="79" y="124"/>
                  </a:lnTo>
                  <a:lnTo>
                    <a:pt x="79" y="123"/>
                  </a:lnTo>
                  <a:lnTo>
                    <a:pt x="79" y="123"/>
                  </a:lnTo>
                  <a:lnTo>
                    <a:pt x="77" y="123"/>
                  </a:lnTo>
                  <a:lnTo>
                    <a:pt x="77" y="122"/>
                  </a:lnTo>
                  <a:lnTo>
                    <a:pt x="77" y="121"/>
                  </a:lnTo>
                  <a:lnTo>
                    <a:pt x="77" y="121"/>
                  </a:lnTo>
                  <a:lnTo>
                    <a:pt x="77" y="121"/>
                  </a:lnTo>
                  <a:lnTo>
                    <a:pt x="77" y="119"/>
                  </a:lnTo>
                  <a:lnTo>
                    <a:pt x="76" y="118"/>
                  </a:lnTo>
                  <a:lnTo>
                    <a:pt x="76" y="118"/>
                  </a:lnTo>
                  <a:lnTo>
                    <a:pt x="76" y="118"/>
                  </a:lnTo>
                  <a:lnTo>
                    <a:pt x="76" y="116"/>
                  </a:lnTo>
                  <a:lnTo>
                    <a:pt x="75" y="117"/>
                  </a:lnTo>
                  <a:lnTo>
                    <a:pt x="75" y="116"/>
                  </a:lnTo>
                  <a:lnTo>
                    <a:pt x="74" y="115"/>
                  </a:lnTo>
                  <a:lnTo>
                    <a:pt x="75" y="114"/>
                  </a:lnTo>
                  <a:lnTo>
                    <a:pt x="74" y="114"/>
                  </a:lnTo>
                  <a:lnTo>
                    <a:pt x="74" y="112"/>
                  </a:lnTo>
                  <a:lnTo>
                    <a:pt x="75" y="112"/>
                  </a:lnTo>
                  <a:lnTo>
                    <a:pt x="74" y="111"/>
                  </a:lnTo>
                  <a:lnTo>
                    <a:pt x="74" y="111"/>
                  </a:lnTo>
                  <a:lnTo>
                    <a:pt x="74" y="110"/>
                  </a:lnTo>
                  <a:lnTo>
                    <a:pt x="74" y="110"/>
                  </a:lnTo>
                  <a:lnTo>
                    <a:pt x="73" y="110"/>
                  </a:lnTo>
                  <a:lnTo>
                    <a:pt x="74" y="110"/>
                  </a:lnTo>
                  <a:lnTo>
                    <a:pt x="73" y="109"/>
                  </a:lnTo>
                  <a:lnTo>
                    <a:pt x="73" y="108"/>
                  </a:lnTo>
                  <a:lnTo>
                    <a:pt x="73" y="108"/>
                  </a:lnTo>
                  <a:lnTo>
                    <a:pt x="73" y="107"/>
                  </a:lnTo>
                  <a:lnTo>
                    <a:pt x="73" y="105"/>
                  </a:lnTo>
                  <a:lnTo>
                    <a:pt x="72" y="105"/>
                  </a:lnTo>
                  <a:lnTo>
                    <a:pt x="70" y="105"/>
                  </a:lnTo>
                  <a:lnTo>
                    <a:pt x="70" y="105"/>
                  </a:lnTo>
                  <a:lnTo>
                    <a:pt x="70" y="107"/>
                  </a:lnTo>
                  <a:lnTo>
                    <a:pt x="69" y="105"/>
                  </a:lnTo>
                  <a:lnTo>
                    <a:pt x="68" y="105"/>
                  </a:lnTo>
                  <a:lnTo>
                    <a:pt x="67" y="105"/>
                  </a:lnTo>
                  <a:lnTo>
                    <a:pt x="67" y="105"/>
                  </a:lnTo>
                  <a:lnTo>
                    <a:pt x="66" y="105"/>
                  </a:lnTo>
                  <a:lnTo>
                    <a:pt x="67" y="103"/>
                  </a:lnTo>
                  <a:lnTo>
                    <a:pt x="67" y="102"/>
                  </a:lnTo>
                  <a:lnTo>
                    <a:pt x="66" y="102"/>
                  </a:lnTo>
                  <a:lnTo>
                    <a:pt x="65" y="101"/>
                  </a:lnTo>
                  <a:lnTo>
                    <a:pt x="63" y="99"/>
                  </a:lnTo>
                  <a:lnTo>
                    <a:pt x="63" y="97"/>
                  </a:lnTo>
                  <a:lnTo>
                    <a:pt x="62" y="96"/>
                  </a:lnTo>
                  <a:lnTo>
                    <a:pt x="61" y="95"/>
                  </a:lnTo>
                  <a:lnTo>
                    <a:pt x="60" y="94"/>
                  </a:lnTo>
                  <a:lnTo>
                    <a:pt x="60" y="92"/>
                  </a:lnTo>
                  <a:lnTo>
                    <a:pt x="60" y="89"/>
                  </a:lnTo>
                  <a:lnTo>
                    <a:pt x="60" y="88"/>
                  </a:lnTo>
                  <a:lnTo>
                    <a:pt x="62" y="87"/>
                  </a:lnTo>
                  <a:lnTo>
                    <a:pt x="62" y="84"/>
                  </a:lnTo>
                  <a:lnTo>
                    <a:pt x="62" y="83"/>
                  </a:lnTo>
                  <a:lnTo>
                    <a:pt x="63" y="78"/>
                  </a:lnTo>
                  <a:lnTo>
                    <a:pt x="63" y="77"/>
                  </a:lnTo>
                  <a:lnTo>
                    <a:pt x="62" y="76"/>
                  </a:lnTo>
                  <a:lnTo>
                    <a:pt x="62" y="76"/>
                  </a:lnTo>
                  <a:lnTo>
                    <a:pt x="65" y="74"/>
                  </a:lnTo>
                  <a:lnTo>
                    <a:pt x="65" y="74"/>
                  </a:lnTo>
                  <a:lnTo>
                    <a:pt x="66" y="72"/>
                  </a:lnTo>
                  <a:lnTo>
                    <a:pt x="67" y="71"/>
                  </a:lnTo>
                  <a:lnTo>
                    <a:pt x="68" y="71"/>
                  </a:lnTo>
                  <a:lnTo>
                    <a:pt x="70" y="71"/>
                  </a:lnTo>
                  <a:lnTo>
                    <a:pt x="70" y="72"/>
                  </a:lnTo>
                  <a:lnTo>
                    <a:pt x="72" y="72"/>
                  </a:lnTo>
                  <a:lnTo>
                    <a:pt x="73" y="71"/>
                  </a:lnTo>
                  <a:lnTo>
                    <a:pt x="74" y="71"/>
                  </a:lnTo>
                  <a:lnTo>
                    <a:pt x="74" y="71"/>
                  </a:lnTo>
                  <a:lnTo>
                    <a:pt x="74" y="70"/>
                  </a:lnTo>
                  <a:lnTo>
                    <a:pt x="74" y="69"/>
                  </a:lnTo>
                  <a:lnTo>
                    <a:pt x="74" y="68"/>
                  </a:lnTo>
                  <a:lnTo>
                    <a:pt x="74" y="69"/>
                  </a:lnTo>
                  <a:lnTo>
                    <a:pt x="75" y="69"/>
                  </a:lnTo>
                  <a:lnTo>
                    <a:pt x="76" y="69"/>
                  </a:lnTo>
                  <a:lnTo>
                    <a:pt x="75" y="67"/>
                  </a:lnTo>
                  <a:lnTo>
                    <a:pt x="74" y="67"/>
                  </a:lnTo>
                  <a:lnTo>
                    <a:pt x="75" y="68"/>
                  </a:lnTo>
                  <a:lnTo>
                    <a:pt x="74" y="68"/>
                  </a:lnTo>
                  <a:lnTo>
                    <a:pt x="74" y="65"/>
                  </a:lnTo>
                  <a:lnTo>
                    <a:pt x="73" y="65"/>
                  </a:lnTo>
                  <a:lnTo>
                    <a:pt x="74" y="64"/>
                  </a:lnTo>
                  <a:lnTo>
                    <a:pt x="74" y="64"/>
                  </a:lnTo>
                  <a:lnTo>
                    <a:pt x="75" y="62"/>
                  </a:lnTo>
                  <a:lnTo>
                    <a:pt x="76" y="60"/>
                  </a:lnTo>
                  <a:lnTo>
                    <a:pt x="76" y="58"/>
                  </a:lnTo>
                  <a:lnTo>
                    <a:pt x="76" y="56"/>
                  </a:lnTo>
                  <a:lnTo>
                    <a:pt x="76" y="55"/>
                  </a:lnTo>
                  <a:lnTo>
                    <a:pt x="77" y="52"/>
                  </a:lnTo>
                  <a:lnTo>
                    <a:pt x="76" y="51"/>
                  </a:lnTo>
                  <a:lnTo>
                    <a:pt x="76" y="49"/>
                  </a:lnTo>
                  <a:lnTo>
                    <a:pt x="76" y="48"/>
                  </a:lnTo>
                  <a:lnTo>
                    <a:pt x="74" y="45"/>
                  </a:lnTo>
                  <a:lnTo>
                    <a:pt x="72" y="44"/>
                  </a:lnTo>
                  <a:lnTo>
                    <a:pt x="70" y="44"/>
                  </a:lnTo>
                  <a:lnTo>
                    <a:pt x="70" y="45"/>
                  </a:lnTo>
                  <a:lnTo>
                    <a:pt x="70" y="45"/>
                  </a:lnTo>
                  <a:lnTo>
                    <a:pt x="69" y="43"/>
                  </a:lnTo>
                  <a:lnTo>
                    <a:pt x="68" y="42"/>
                  </a:lnTo>
                  <a:lnTo>
                    <a:pt x="67" y="41"/>
                  </a:lnTo>
                  <a:lnTo>
                    <a:pt x="65" y="38"/>
                  </a:lnTo>
                  <a:lnTo>
                    <a:pt x="63" y="37"/>
                  </a:lnTo>
                  <a:lnTo>
                    <a:pt x="62" y="35"/>
                  </a:lnTo>
                  <a:lnTo>
                    <a:pt x="61" y="35"/>
                  </a:lnTo>
                  <a:lnTo>
                    <a:pt x="60" y="35"/>
                  </a:lnTo>
                  <a:lnTo>
                    <a:pt x="59" y="35"/>
                  </a:lnTo>
                  <a:lnTo>
                    <a:pt x="57" y="34"/>
                  </a:lnTo>
                  <a:lnTo>
                    <a:pt x="56" y="34"/>
                  </a:lnTo>
                  <a:lnTo>
                    <a:pt x="55" y="34"/>
                  </a:lnTo>
                  <a:lnTo>
                    <a:pt x="54" y="35"/>
                  </a:lnTo>
                  <a:lnTo>
                    <a:pt x="53" y="36"/>
                  </a:lnTo>
                  <a:lnTo>
                    <a:pt x="52" y="37"/>
                  </a:lnTo>
                  <a:lnTo>
                    <a:pt x="52" y="38"/>
                  </a:lnTo>
                  <a:lnTo>
                    <a:pt x="52" y="41"/>
                  </a:lnTo>
                  <a:lnTo>
                    <a:pt x="50" y="43"/>
                  </a:lnTo>
                  <a:lnTo>
                    <a:pt x="50" y="43"/>
                  </a:lnTo>
                  <a:lnTo>
                    <a:pt x="50" y="44"/>
                  </a:lnTo>
                  <a:lnTo>
                    <a:pt x="49" y="43"/>
                  </a:lnTo>
                  <a:lnTo>
                    <a:pt x="50" y="41"/>
                  </a:lnTo>
                  <a:lnTo>
                    <a:pt x="50" y="40"/>
                  </a:lnTo>
                  <a:lnTo>
                    <a:pt x="50" y="37"/>
                  </a:lnTo>
                  <a:lnTo>
                    <a:pt x="50" y="36"/>
                  </a:lnTo>
                  <a:lnTo>
                    <a:pt x="52" y="35"/>
                  </a:lnTo>
                  <a:lnTo>
                    <a:pt x="53" y="32"/>
                  </a:lnTo>
                  <a:lnTo>
                    <a:pt x="53" y="30"/>
                  </a:lnTo>
                  <a:lnTo>
                    <a:pt x="54" y="28"/>
                  </a:lnTo>
                  <a:lnTo>
                    <a:pt x="54" y="27"/>
                  </a:lnTo>
                  <a:lnTo>
                    <a:pt x="54" y="24"/>
                  </a:lnTo>
                  <a:lnTo>
                    <a:pt x="54" y="23"/>
                  </a:lnTo>
                  <a:lnTo>
                    <a:pt x="52" y="21"/>
                  </a:lnTo>
                  <a:lnTo>
                    <a:pt x="50" y="18"/>
                  </a:lnTo>
                  <a:lnTo>
                    <a:pt x="49" y="17"/>
                  </a:lnTo>
                  <a:lnTo>
                    <a:pt x="49" y="18"/>
                  </a:lnTo>
                  <a:lnTo>
                    <a:pt x="49" y="18"/>
                  </a:lnTo>
                  <a:lnTo>
                    <a:pt x="48" y="16"/>
                  </a:lnTo>
                  <a:lnTo>
                    <a:pt x="43" y="10"/>
                  </a:lnTo>
                  <a:lnTo>
                    <a:pt x="43" y="10"/>
                  </a:lnTo>
                  <a:lnTo>
                    <a:pt x="42" y="9"/>
                  </a:lnTo>
                  <a:lnTo>
                    <a:pt x="42" y="10"/>
                  </a:lnTo>
                  <a:lnTo>
                    <a:pt x="42" y="9"/>
                  </a:lnTo>
                  <a:lnTo>
                    <a:pt x="39" y="7"/>
                  </a:lnTo>
                  <a:lnTo>
                    <a:pt x="37" y="5"/>
                  </a:lnTo>
                  <a:lnTo>
                    <a:pt x="34" y="2"/>
                  </a:lnTo>
                  <a:lnTo>
                    <a:pt x="33" y="2"/>
                  </a:lnTo>
                  <a:lnTo>
                    <a:pt x="32" y="2"/>
                  </a:lnTo>
                  <a:lnTo>
                    <a:pt x="30" y="2"/>
                  </a:lnTo>
                  <a:lnTo>
                    <a:pt x="30" y="2"/>
                  </a:lnTo>
                  <a:lnTo>
                    <a:pt x="30" y="3"/>
                  </a:lnTo>
                  <a:lnTo>
                    <a:pt x="34" y="5"/>
                  </a:lnTo>
                  <a:lnTo>
                    <a:pt x="35" y="5"/>
                  </a:lnTo>
                  <a:lnTo>
                    <a:pt x="36" y="7"/>
                  </a:lnTo>
                  <a:lnTo>
                    <a:pt x="37" y="8"/>
                  </a:lnTo>
                  <a:lnTo>
                    <a:pt x="35" y="5"/>
                  </a:lnTo>
                  <a:lnTo>
                    <a:pt x="34" y="5"/>
                  </a:lnTo>
                  <a:lnTo>
                    <a:pt x="33" y="5"/>
                  </a:lnTo>
                  <a:lnTo>
                    <a:pt x="33" y="4"/>
                  </a:lnTo>
                  <a:lnTo>
                    <a:pt x="32" y="4"/>
                  </a:lnTo>
                  <a:lnTo>
                    <a:pt x="30" y="3"/>
                  </a:lnTo>
                  <a:lnTo>
                    <a:pt x="29" y="2"/>
                  </a:lnTo>
                  <a:lnTo>
                    <a:pt x="28" y="0"/>
                  </a:lnTo>
                  <a:lnTo>
                    <a:pt x="28" y="0"/>
                  </a:lnTo>
                  <a:lnTo>
                    <a:pt x="28" y="0"/>
                  </a:lnTo>
                  <a:lnTo>
                    <a:pt x="28" y="0"/>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20" name="Equatorial Guinea">
              <a:extLst>
                <a:ext uri="{FF2B5EF4-FFF2-40B4-BE49-F238E27FC236}">
                  <a16:creationId xmlns:a16="http://schemas.microsoft.com/office/drawing/2014/main" id="{58D1DA65-C7AA-CD4F-91C8-38E24B370D22}"/>
                </a:ext>
              </a:extLst>
            </p:cNvPr>
            <p:cNvSpPr>
              <a:spLocks noEditPoints="1"/>
            </p:cNvSpPr>
            <p:nvPr/>
          </p:nvSpPr>
          <p:spPr bwMode="auto">
            <a:xfrm>
              <a:off x="6585397" y="3871354"/>
              <a:ext cx="77272" cy="86019"/>
            </a:xfrm>
            <a:custGeom>
              <a:avLst/>
              <a:gdLst>
                <a:gd name="T0" fmla="*/ 25 w 53"/>
                <a:gd name="T1" fmla="*/ 59 h 59"/>
                <a:gd name="T2" fmla="*/ 53 w 53"/>
                <a:gd name="T3" fmla="*/ 59 h 59"/>
                <a:gd name="T4" fmla="*/ 53 w 53"/>
                <a:gd name="T5" fmla="*/ 35 h 59"/>
                <a:gd name="T6" fmla="*/ 30 w 53"/>
                <a:gd name="T7" fmla="*/ 35 h 59"/>
                <a:gd name="T8" fmla="*/ 26 w 53"/>
                <a:gd name="T9" fmla="*/ 33 h 59"/>
                <a:gd name="T10" fmla="*/ 25 w 53"/>
                <a:gd name="T11" fmla="*/ 32 h 59"/>
                <a:gd name="T12" fmla="*/ 25 w 53"/>
                <a:gd name="T13" fmla="*/ 32 h 59"/>
                <a:gd name="T14" fmla="*/ 25 w 53"/>
                <a:gd name="T15" fmla="*/ 33 h 59"/>
                <a:gd name="T16" fmla="*/ 24 w 53"/>
                <a:gd name="T17" fmla="*/ 34 h 59"/>
                <a:gd name="T18" fmla="*/ 25 w 53"/>
                <a:gd name="T19" fmla="*/ 37 h 59"/>
                <a:gd name="T20" fmla="*/ 25 w 53"/>
                <a:gd name="T21" fmla="*/ 39 h 59"/>
                <a:gd name="T22" fmla="*/ 25 w 53"/>
                <a:gd name="T23" fmla="*/ 40 h 59"/>
                <a:gd name="T24" fmla="*/ 24 w 53"/>
                <a:gd name="T25" fmla="*/ 43 h 59"/>
                <a:gd name="T26" fmla="*/ 24 w 53"/>
                <a:gd name="T27" fmla="*/ 43 h 59"/>
                <a:gd name="T28" fmla="*/ 23 w 53"/>
                <a:gd name="T29" fmla="*/ 43 h 59"/>
                <a:gd name="T30" fmla="*/ 23 w 53"/>
                <a:gd name="T31" fmla="*/ 44 h 59"/>
                <a:gd name="T32" fmla="*/ 23 w 53"/>
                <a:gd name="T33" fmla="*/ 46 h 59"/>
                <a:gd name="T34" fmla="*/ 23 w 53"/>
                <a:gd name="T35" fmla="*/ 47 h 59"/>
                <a:gd name="T36" fmla="*/ 24 w 53"/>
                <a:gd name="T37" fmla="*/ 47 h 59"/>
                <a:gd name="T38" fmla="*/ 24 w 53"/>
                <a:gd name="T39" fmla="*/ 47 h 59"/>
                <a:gd name="T40" fmla="*/ 23 w 53"/>
                <a:gd name="T41" fmla="*/ 47 h 59"/>
                <a:gd name="T42" fmla="*/ 21 w 53"/>
                <a:gd name="T43" fmla="*/ 49 h 59"/>
                <a:gd name="T44" fmla="*/ 20 w 53"/>
                <a:gd name="T45" fmla="*/ 50 h 59"/>
                <a:gd name="T46" fmla="*/ 19 w 53"/>
                <a:gd name="T47" fmla="*/ 54 h 59"/>
                <a:gd name="T48" fmla="*/ 18 w 53"/>
                <a:gd name="T49" fmla="*/ 54 h 59"/>
                <a:gd name="T50" fmla="*/ 18 w 53"/>
                <a:gd name="T51" fmla="*/ 54 h 59"/>
                <a:gd name="T52" fmla="*/ 17 w 53"/>
                <a:gd name="T53" fmla="*/ 55 h 59"/>
                <a:gd name="T54" fmla="*/ 17 w 53"/>
                <a:gd name="T55" fmla="*/ 56 h 59"/>
                <a:gd name="T56" fmla="*/ 18 w 53"/>
                <a:gd name="T57" fmla="*/ 56 h 59"/>
                <a:gd name="T58" fmla="*/ 18 w 53"/>
                <a:gd name="T59" fmla="*/ 56 h 59"/>
                <a:gd name="T60" fmla="*/ 19 w 53"/>
                <a:gd name="T61" fmla="*/ 56 h 59"/>
                <a:gd name="T62" fmla="*/ 19 w 53"/>
                <a:gd name="T63" fmla="*/ 55 h 59"/>
                <a:gd name="T64" fmla="*/ 20 w 53"/>
                <a:gd name="T65" fmla="*/ 55 h 59"/>
                <a:gd name="T66" fmla="*/ 20 w 53"/>
                <a:gd name="T67" fmla="*/ 56 h 59"/>
                <a:gd name="T68" fmla="*/ 21 w 53"/>
                <a:gd name="T69" fmla="*/ 56 h 59"/>
                <a:gd name="T70" fmla="*/ 21 w 53"/>
                <a:gd name="T71" fmla="*/ 57 h 59"/>
                <a:gd name="T72" fmla="*/ 24 w 53"/>
                <a:gd name="T73" fmla="*/ 55 h 59"/>
                <a:gd name="T74" fmla="*/ 24 w 53"/>
                <a:gd name="T75" fmla="*/ 55 h 59"/>
                <a:gd name="T76" fmla="*/ 24 w 53"/>
                <a:gd name="T77" fmla="*/ 56 h 59"/>
                <a:gd name="T78" fmla="*/ 24 w 53"/>
                <a:gd name="T79" fmla="*/ 56 h 59"/>
                <a:gd name="T80" fmla="*/ 25 w 53"/>
                <a:gd name="T81" fmla="*/ 56 h 59"/>
                <a:gd name="T82" fmla="*/ 26 w 53"/>
                <a:gd name="T83" fmla="*/ 56 h 59"/>
                <a:gd name="T84" fmla="*/ 26 w 53"/>
                <a:gd name="T85" fmla="*/ 57 h 59"/>
                <a:gd name="T86" fmla="*/ 26 w 53"/>
                <a:gd name="T87" fmla="*/ 57 h 59"/>
                <a:gd name="T88" fmla="*/ 25 w 53"/>
                <a:gd name="T89" fmla="*/ 57 h 59"/>
                <a:gd name="T90" fmla="*/ 25 w 53"/>
                <a:gd name="T91" fmla="*/ 59 h 59"/>
                <a:gd name="T92" fmla="*/ 26 w 53"/>
                <a:gd name="T93" fmla="*/ 59 h 59"/>
                <a:gd name="T94" fmla="*/ 25 w 53"/>
                <a:gd name="T95" fmla="*/ 59 h 59"/>
                <a:gd name="T96" fmla="*/ 25 w 53"/>
                <a:gd name="T97" fmla="*/ 59 h 59"/>
                <a:gd name="T98" fmla="*/ 8 w 53"/>
                <a:gd name="T99" fmla="*/ 4 h 59"/>
                <a:gd name="T100" fmla="*/ 10 w 53"/>
                <a:gd name="T101" fmla="*/ 7 h 59"/>
                <a:gd name="T102" fmla="*/ 7 w 53"/>
                <a:gd name="T103" fmla="*/ 9 h 59"/>
                <a:gd name="T104" fmla="*/ 6 w 53"/>
                <a:gd name="T105" fmla="*/ 12 h 59"/>
                <a:gd name="T106" fmla="*/ 4 w 53"/>
                <a:gd name="T107" fmla="*/ 13 h 59"/>
                <a:gd name="T108" fmla="*/ 1 w 53"/>
                <a:gd name="T109" fmla="*/ 9 h 59"/>
                <a:gd name="T110" fmla="*/ 0 w 53"/>
                <a:gd name="T111" fmla="*/ 7 h 59"/>
                <a:gd name="T112" fmla="*/ 3 w 53"/>
                <a:gd name="T113" fmla="*/ 3 h 59"/>
                <a:gd name="T114" fmla="*/ 4 w 53"/>
                <a:gd name="T115" fmla="*/ 1 h 59"/>
                <a:gd name="T116" fmla="*/ 5 w 53"/>
                <a:gd name="T117" fmla="*/ 0 h 59"/>
                <a:gd name="T118" fmla="*/ 6 w 53"/>
                <a:gd name="T119" fmla="*/ 1 h 59"/>
                <a:gd name="T120" fmla="*/ 7 w 53"/>
                <a:gd name="T121" fmla="*/ 3 h 59"/>
                <a:gd name="T122" fmla="*/ 8 w 53"/>
                <a:gd name="T123" fmla="*/ 4 h 59"/>
                <a:gd name="T124" fmla="*/ 8 w 53"/>
                <a:gd name="T125" fmla="*/ 4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3" h="59">
                  <a:moveTo>
                    <a:pt x="25" y="59"/>
                  </a:moveTo>
                  <a:lnTo>
                    <a:pt x="53" y="59"/>
                  </a:lnTo>
                  <a:lnTo>
                    <a:pt x="53" y="35"/>
                  </a:lnTo>
                  <a:lnTo>
                    <a:pt x="30" y="35"/>
                  </a:lnTo>
                  <a:lnTo>
                    <a:pt x="26" y="33"/>
                  </a:lnTo>
                  <a:lnTo>
                    <a:pt x="25" y="32"/>
                  </a:lnTo>
                  <a:lnTo>
                    <a:pt x="25" y="32"/>
                  </a:lnTo>
                  <a:lnTo>
                    <a:pt x="25" y="33"/>
                  </a:lnTo>
                  <a:lnTo>
                    <a:pt x="24" y="34"/>
                  </a:lnTo>
                  <a:lnTo>
                    <a:pt x="25" y="37"/>
                  </a:lnTo>
                  <a:lnTo>
                    <a:pt x="25" y="39"/>
                  </a:lnTo>
                  <a:lnTo>
                    <a:pt x="25" y="40"/>
                  </a:lnTo>
                  <a:lnTo>
                    <a:pt x="24" y="43"/>
                  </a:lnTo>
                  <a:lnTo>
                    <a:pt x="24" y="43"/>
                  </a:lnTo>
                  <a:lnTo>
                    <a:pt x="23" y="43"/>
                  </a:lnTo>
                  <a:lnTo>
                    <a:pt x="23" y="44"/>
                  </a:lnTo>
                  <a:lnTo>
                    <a:pt x="23" y="46"/>
                  </a:lnTo>
                  <a:lnTo>
                    <a:pt x="23" y="47"/>
                  </a:lnTo>
                  <a:lnTo>
                    <a:pt x="24" y="47"/>
                  </a:lnTo>
                  <a:lnTo>
                    <a:pt x="24" y="47"/>
                  </a:lnTo>
                  <a:lnTo>
                    <a:pt x="23" y="47"/>
                  </a:lnTo>
                  <a:lnTo>
                    <a:pt x="21" y="49"/>
                  </a:lnTo>
                  <a:lnTo>
                    <a:pt x="20" y="50"/>
                  </a:lnTo>
                  <a:lnTo>
                    <a:pt x="19" y="54"/>
                  </a:lnTo>
                  <a:lnTo>
                    <a:pt x="18" y="54"/>
                  </a:lnTo>
                  <a:lnTo>
                    <a:pt x="18" y="54"/>
                  </a:lnTo>
                  <a:lnTo>
                    <a:pt x="17" y="55"/>
                  </a:lnTo>
                  <a:lnTo>
                    <a:pt x="17" y="56"/>
                  </a:lnTo>
                  <a:lnTo>
                    <a:pt x="18" y="56"/>
                  </a:lnTo>
                  <a:lnTo>
                    <a:pt x="18" y="56"/>
                  </a:lnTo>
                  <a:lnTo>
                    <a:pt x="19" y="56"/>
                  </a:lnTo>
                  <a:lnTo>
                    <a:pt x="19" y="55"/>
                  </a:lnTo>
                  <a:lnTo>
                    <a:pt x="20" y="55"/>
                  </a:lnTo>
                  <a:lnTo>
                    <a:pt x="20" y="56"/>
                  </a:lnTo>
                  <a:lnTo>
                    <a:pt x="21" y="56"/>
                  </a:lnTo>
                  <a:lnTo>
                    <a:pt x="21" y="57"/>
                  </a:lnTo>
                  <a:lnTo>
                    <a:pt x="24" y="55"/>
                  </a:lnTo>
                  <a:lnTo>
                    <a:pt x="24" y="55"/>
                  </a:lnTo>
                  <a:lnTo>
                    <a:pt x="24" y="56"/>
                  </a:lnTo>
                  <a:lnTo>
                    <a:pt x="24" y="56"/>
                  </a:lnTo>
                  <a:lnTo>
                    <a:pt x="25" y="56"/>
                  </a:lnTo>
                  <a:lnTo>
                    <a:pt x="26" y="56"/>
                  </a:lnTo>
                  <a:lnTo>
                    <a:pt x="26" y="57"/>
                  </a:lnTo>
                  <a:lnTo>
                    <a:pt x="26" y="57"/>
                  </a:lnTo>
                  <a:lnTo>
                    <a:pt x="25" y="57"/>
                  </a:lnTo>
                  <a:lnTo>
                    <a:pt x="25" y="59"/>
                  </a:lnTo>
                  <a:lnTo>
                    <a:pt x="26" y="59"/>
                  </a:lnTo>
                  <a:lnTo>
                    <a:pt x="25" y="59"/>
                  </a:lnTo>
                  <a:lnTo>
                    <a:pt x="25" y="59"/>
                  </a:lnTo>
                  <a:close/>
                  <a:moveTo>
                    <a:pt x="8" y="4"/>
                  </a:moveTo>
                  <a:lnTo>
                    <a:pt x="10" y="7"/>
                  </a:lnTo>
                  <a:lnTo>
                    <a:pt x="7" y="9"/>
                  </a:lnTo>
                  <a:lnTo>
                    <a:pt x="6" y="12"/>
                  </a:lnTo>
                  <a:lnTo>
                    <a:pt x="4" y="13"/>
                  </a:lnTo>
                  <a:lnTo>
                    <a:pt x="1" y="9"/>
                  </a:lnTo>
                  <a:lnTo>
                    <a:pt x="0" y="7"/>
                  </a:lnTo>
                  <a:lnTo>
                    <a:pt x="3" y="3"/>
                  </a:lnTo>
                  <a:lnTo>
                    <a:pt x="4" y="1"/>
                  </a:lnTo>
                  <a:lnTo>
                    <a:pt x="5" y="0"/>
                  </a:lnTo>
                  <a:lnTo>
                    <a:pt x="6" y="1"/>
                  </a:lnTo>
                  <a:lnTo>
                    <a:pt x="7" y="3"/>
                  </a:lnTo>
                  <a:lnTo>
                    <a:pt x="8" y="4"/>
                  </a:lnTo>
                  <a:lnTo>
                    <a:pt x="8" y="4"/>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21" name="Guinea-Bissau">
              <a:extLst>
                <a:ext uri="{FF2B5EF4-FFF2-40B4-BE49-F238E27FC236}">
                  <a16:creationId xmlns:a16="http://schemas.microsoft.com/office/drawing/2014/main" id="{B735C977-87D2-1C46-A8AE-4177A08BD33C}"/>
                </a:ext>
              </a:extLst>
            </p:cNvPr>
            <p:cNvSpPr>
              <a:spLocks/>
            </p:cNvSpPr>
            <p:nvPr/>
          </p:nvSpPr>
          <p:spPr bwMode="auto">
            <a:xfrm>
              <a:off x="5923489" y="3607465"/>
              <a:ext cx="78730" cy="51030"/>
            </a:xfrm>
            <a:custGeom>
              <a:avLst/>
              <a:gdLst>
                <a:gd name="T0" fmla="*/ 54 w 54"/>
                <a:gd name="T1" fmla="*/ 2 h 35"/>
                <a:gd name="T2" fmla="*/ 53 w 54"/>
                <a:gd name="T3" fmla="*/ 21 h 35"/>
                <a:gd name="T4" fmla="*/ 31 w 54"/>
                <a:gd name="T5" fmla="*/ 35 h 35"/>
                <a:gd name="T6" fmla="*/ 30 w 54"/>
                <a:gd name="T7" fmla="*/ 35 h 35"/>
                <a:gd name="T8" fmla="*/ 30 w 54"/>
                <a:gd name="T9" fmla="*/ 34 h 35"/>
                <a:gd name="T10" fmla="*/ 28 w 54"/>
                <a:gd name="T11" fmla="*/ 33 h 35"/>
                <a:gd name="T12" fmla="*/ 31 w 54"/>
                <a:gd name="T13" fmla="*/ 31 h 35"/>
                <a:gd name="T14" fmla="*/ 28 w 54"/>
                <a:gd name="T15" fmla="*/ 31 h 35"/>
                <a:gd name="T16" fmla="*/ 27 w 54"/>
                <a:gd name="T17" fmla="*/ 33 h 35"/>
                <a:gd name="T18" fmla="*/ 26 w 54"/>
                <a:gd name="T19" fmla="*/ 31 h 35"/>
                <a:gd name="T20" fmla="*/ 26 w 54"/>
                <a:gd name="T21" fmla="*/ 29 h 35"/>
                <a:gd name="T22" fmla="*/ 24 w 54"/>
                <a:gd name="T23" fmla="*/ 29 h 35"/>
                <a:gd name="T24" fmla="*/ 25 w 54"/>
                <a:gd name="T25" fmla="*/ 27 h 35"/>
                <a:gd name="T26" fmla="*/ 25 w 54"/>
                <a:gd name="T27" fmla="*/ 24 h 35"/>
                <a:gd name="T28" fmla="*/ 21 w 54"/>
                <a:gd name="T29" fmla="*/ 28 h 35"/>
                <a:gd name="T30" fmla="*/ 23 w 54"/>
                <a:gd name="T31" fmla="*/ 24 h 35"/>
                <a:gd name="T32" fmla="*/ 24 w 54"/>
                <a:gd name="T33" fmla="*/ 24 h 35"/>
                <a:gd name="T34" fmla="*/ 25 w 54"/>
                <a:gd name="T35" fmla="*/ 23 h 35"/>
                <a:gd name="T36" fmla="*/ 26 w 54"/>
                <a:gd name="T37" fmla="*/ 22 h 35"/>
                <a:gd name="T38" fmla="*/ 27 w 54"/>
                <a:gd name="T39" fmla="*/ 22 h 35"/>
                <a:gd name="T40" fmla="*/ 28 w 54"/>
                <a:gd name="T41" fmla="*/ 22 h 35"/>
                <a:gd name="T42" fmla="*/ 30 w 54"/>
                <a:gd name="T43" fmla="*/ 22 h 35"/>
                <a:gd name="T44" fmla="*/ 31 w 54"/>
                <a:gd name="T45" fmla="*/ 22 h 35"/>
                <a:gd name="T46" fmla="*/ 30 w 54"/>
                <a:gd name="T47" fmla="*/ 22 h 35"/>
                <a:gd name="T48" fmla="*/ 27 w 54"/>
                <a:gd name="T49" fmla="*/ 21 h 35"/>
                <a:gd name="T50" fmla="*/ 26 w 54"/>
                <a:gd name="T51" fmla="*/ 21 h 35"/>
                <a:gd name="T52" fmla="*/ 27 w 54"/>
                <a:gd name="T53" fmla="*/ 20 h 35"/>
                <a:gd name="T54" fmla="*/ 26 w 54"/>
                <a:gd name="T55" fmla="*/ 21 h 35"/>
                <a:gd name="T56" fmla="*/ 26 w 54"/>
                <a:gd name="T57" fmla="*/ 21 h 35"/>
                <a:gd name="T58" fmla="*/ 25 w 54"/>
                <a:gd name="T59" fmla="*/ 20 h 35"/>
                <a:gd name="T60" fmla="*/ 25 w 54"/>
                <a:gd name="T61" fmla="*/ 22 h 35"/>
                <a:gd name="T62" fmla="*/ 24 w 54"/>
                <a:gd name="T63" fmla="*/ 22 h 35"/>
                <a:gd name="T64" fmla="*/ 23 w 54"/>
                <a:gd name="T65" fmla="*/ 22 h 35"/>
                <a:gd name="T66" fmla="*/ 21 w 54"/>
                <a:gd name="T67" fmla="*/ 20 h 35"/>
                <a:gd name="T68" fmla="*/ 23 w 54"/>
                <a:gd name="T69" fmla="*/ 17 h 35"/>
                <a:gd name="T70" fmla="*/ 25 w 54"/>
                <a:gd name="T71" fmla="*/ 16 h 35"/>
                <a:gd name="T72" fmla="*/ 30 w 54"/>
                <a:gd name="T73" fmla="*/ 17 h 35"/>
                <a:gd name="T74" fmla="*/ 32 w 54"/>
                <a:gd name="T75" fmla="*/ 19 h 35"/>
                <a:gd name="T76" fmla="*/ 31 w 54"/>
                <a:gd name="T77" fmla="*/ 15 h 35"/>
                <a:gd name="T78" fmla="*/ 27 w 54"/>
                <a:gd name="T79" fmla="*/ 15 h 35"/>
                <a:gd name="T80" fmla="*/ 20 w 54"/>
                <a:gd name="T81" fmla="*/ 17 h 35"/>
                <a:gd name="T82" fmla="*/ 18 w 54"/>
                <a:gd name="T83" fmla="*/ 16 h 35"/>
                <a:gd name="T84" fmla="*/ 16 w 54"/>
                <a:gd name="T85" fmla="*/ 19 h 35"/>
                <a:gd name="T86" fmla="*/ 14 w 54"/>
                <a:gd name="T87" fmla="*/ 19 h 35"/>
                <a:gd name="T88" fmla="*/ 17 w 54"/>
                <a:gd name="T89" fmla="*/ 13 h 35"/>
                <a:gd name="T90" fmla="*/ 14 w 54"/>
                <a:gd name="T91" fmla="*/ 14 h 35"/>
                <a:gd name="T92" fmla="*/ 11 w 54"/>
                <a:gd name="T93" fmla="*/ 16 h 35"/>
                <a:gd name="T94" fmla="*/ 7 w 54"/>
                <a:gd name="T95" fmla="*/ 11 h 35"/>
                <a:gd name="T96" fmla="*/ 8 w 54"/>
                <a:gd name="T97" fmla="*/ 10 h 35"/>
                <a:gd name="T98" fmla="*/ 11 w 54"/>
                <a:gd name="T99" fmla="*/ 8 h 35"/>
                <a:gd name="T100" fmla="*/ 7 w 54"/>
                <a:gd name="T101" fmla="*/ 9 h 35"/>
                <a:gd name="T102" fmla="*/ 6 w 54"/>
                <a:gd name="T103" fmla="*/ 10 h 35"/>
                <a:gd name="T104" fmla="*/ 4 w 54"/>
                <a:gd name="T105" fmla="*/ 9 h 35"/>
                <a:gd name="T106" fmla="*/ 0 w 54"/>
                <a:gd name="T107" fmla="*/ 7 h 35"/>
                <a:gd name="T108" fmla="*/ 24 w 54"/>
                <a:gd name="T109" fmla="*/ 2 h 35"/>
                <a:gd name="T110" fmla="*/ 54 w 54"/>
                <a:gd name="T111" fmla="*/ 0 h 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4" h="35">
                  <a:moveTo>
                    <a:pt x="54" y="0"/>
                  </a:moveTo>
                  <a:lnTo>
                    <a:pt x="54" y="2"/>
                  </a:lnTo>
                  <a:lnTo>
                    <a:pt x="50" y="9"/>
                  </a:lnTo>
                  <a:lnTo>
                    <a:pt x="53" y="21"/>
                  </a:lnTo>
                  <a:lnTo>
                    <a:pt x="39" y="23"/>
                  </a:lnTo>
                  <a:lnTo>
                    <a:pt x="31" y="35"/>
                  </a:lnTo>
                  <a:lnTo>
                    <a:pt x="31" y="35"/>
                  </a:lnTo>
                  <a:lnTo>
                    <a:pt x="30" y="35"/>
                  </a:lnTo>
                  <a:lnTo>
                    <a:pt x="28" y="35"/>
                  </a:lnTo>
                  <a:lnTo>
                    <a:pt x="30" y="34"/>
                  </a:lnTo>
                  <a:lnTo>
                    <a:pt x="28" y="34"/>
                  </a:lnTo>
                  <a:lnTo>
                    <a:pt x="28" y="33"/>
                  </a:lnTo>
                  <a:lnTo>
                    <a:pt x="31" y="33"/>
                  </a:lnTo>
                  <a:lnTo>
                    <a:pt x="31" y="31"/>
                  </a:lnTo>
                  <a:lnTo>
                    <a:pt x="30" y="30"/>
                  </a:lnTo>
                  <a:lnTo>
                    <a:pt x="28" y="31"/>
                  </a:lnTo>
                  <a:lnTo>
                    <a:pt x="28" y="31"/>
                  </a:lnTo>
                  <a:lnTo>
                    <a:pt x="27" y="33"/>
                  </a:lnTo>
                  <a:lnTo>
                    <a:pt x="26" y="34"/>
                  </a:lnTo>
                  <a:lnTo>
                    <a:pt x="26" y="31"/>
                  </a:lnTo>
                  <a:lnTo>
                    <a:pt x="26" y="29"/>
                  </a:lnTo>
                  <a:lnTo>
                    <a:pt x="26" y="29"/>
                  </a:lnTo>
                  <a:lnTo>
                    <a:pt x="25" y="30"/>
                  </a:lnTo>
                  <a:lnTo>
                    <a:pt x="24" y="29"/>
                  </a:lnTo>
                  <a:lnTo>
                    <a:pt x="25" y="27"/>
                  </a:lnTo>
                  <a:lnTo>
                    <a:pt x="25" y="27"/>
                  </a:lnTo>
                  <a:lnTo>
                    <a:pt x="26" y="26"/>
                  </a:lnTo>
                  <a:lnTo>
                    <a:pt x="25" y="24"/>
                  </a:lnTo>
                  <a:lnTo>
                    <a:pt x="24" y="27"/>
                  </a:lnTo>
                  <a:lnTo>
                    <a:pt x="21" y="28"/>
                  </a:lnTo>
                  <a:lnTo>
                    <a:pt x="21" y="27"/>
                  </a:lnTo>
                  <a:lnTo>
                    <a:pt x="23" y="24"/>
                  </a:lnTo>
                  <a:lnTo>
                    <a:pt x="24" y="24"/>
                  </a:lnTo>
                  <a:lnTo>
                    <a:pt x="24" y="24"/>
                  </a:lnTo>
                  <a:lnTo>
                    <a:pt x="25" y="23"/>
                  </a:lnTo>
                  <a:lnTo>
                    <a:pt x="25" y="23"/>
                  </a:lnTo>
                  <a:lnTo>
                    <a:pt x="25" y="22"/>
                  </a:lnTo>
                  <a:lnTo>
                    <a:pt x="26" y="22"/>
                  </a:lnTo>
                  <a:lnTo>
                    <a:pt x="26" y="22"/>
                  </a:lnTo>
                  <a:lnTo>
                    <a:pt x="27" y="22"/>
                  </a:lnTo>
                  <a:lnTo>
                    <a:pt x="28" y="22"/>
                  </a:lnTo>
                  <a:lnTo>
                    <a:pt x="28" y="22"/>
                  </a:lnTo>
                  <a:lnTo>
                    <a:pt x="28" y="22"/>
                  </a:lnTo>
                  <a:lnTo>
                    <a:pt x="30" y="22"/>
                  </a:lnTo>
                  <a:lnTo>
                    <a:pt x="30" y="22"/>
                  </a:lnTo>
                  <a:lnTo>
                    <a:pt x="31" y="22"/>
                  </a:lnTo>
                  <a:lnTo>
                    <a:pt x="30" y="22"/>
                  </a:lnTo>
                  <a:lnTo>
                    <a:pt x="30" y="22"/>
                  </a:lnTo>
                  <a:lnTo>
                    <a:pt x="28" y="21"/>
                  </a:lnTo>
                  <a:lnTo>
                    <a:pt x="27" y="21"/>
                  </a:lnTo>
                  <a:lnTo>
                    <a:pt x="27" y="20"/>
                  </a:lnTo>
                  <a:lnTo>
                    <a:pt x="26" y="21"/>
                  </a:lnTo>
                  <a:lnTo>
                    <a:pt x="27" y="20"/>
                  </a:lnTo>
                  <a:lnTo>
                    <a:pt x="27" y="20"/>
                  </a:lnTo>
                  <a:lnTo>
                    <a:pt x="26" y="20"/>
                  </a:lnTo>
                  <a:lnTo>
                    <a:pt x="26" y="21"/>
                  </a:lnTo>
                  <a:lnTo>
                    <a:pt x="26" y="20"/>
                  </a:lnTo>
                  <a:lnTo>
                    <a:pt x="26" y="21"/>
                  </a:lnTo>
                  <a:lnTo>
                    <a:pt x="25" y="21"/>
                  </a:lnTo>
                  <a:lnTo>
                    <a:pt x="25" y="20"/>
                  </a:lnTo>
                  <a:lnTo>
                    <a:pt x="24" y="21"/>
                  </a:lnTo>
                  <a:lnTo>
                    <a:pt x="25" y="22"/>
                  </a:lnTo>
                  <a:lnTo>
                    <a:pt x="24" y="22"/>
                  </a:lnTo>
                  <a:lnTo>
                    <a:pt x="24" y="22"/>
                  </a:lnTo>
                  <a:lnTo>
                    <a:pt x="23" y="22"/>
                  </a:lnTo>
                  <a:lnTo>
                    <a:pt x="23" y="22"/>
                  </a:lnTo>
                  <a:lnTo>
                    <a:pt x="23" y="21"/>
                  </a:lnTo>
                  <a:lnTo>
                    <a:pt x="21" y="20"/>
                  </a:lnTo>
                  <a:lnTo>
                    <a:pt x="21" y="21"/>
                  </a:lnTo>
                  <a:lnTo>
                    <a:pt x="23" y="17"/>
                  </a:lnTo>
                  <a:lnTo>
                    <a:pt x="24" y="16"/>
                  </a:lnTo>
                  <a:lnTo>
                    <a:pt x="25" y="16"/>
                  </a:lnTo>
                  <a:lnTo>
                    <a:pt x="30" y="15"/>
                  </a:lnTo>
                  <a:lnTo>
                    <a:pt x="30" y="17"/>
                  </a:lnTo>
                  <a:lnTo>
                    <a:pt x="32" y="19"/>
                  </a:lnTo>
                  <a:lnTo>
                    <a:pt x="32" y="19"/>
                  </a:lnTo>
                  <a:lnTo>
                    <a:pt x="31" y="17"/>
                  </a:lnTo>
                  <a:lnTo>
                    <a:pt x="31" y="15"/>
                  </a:lnTo>
                  <a:lnTo>
                    <a:pt x="30" y="14"/>
                  </a:lnTo>
                  <a:lnTo>
                    <a:pt x="27" y="15"/>
                  </a:lnTo>
                  <a:lnTo>
                    <a:pt x="24" y="14"/>
                  </a:lnTo>
                  <a:lnTo>
                    <a:pt x="20" y="17"/>
                  </a:lnTo>
                  <a:lnTo>
                    <a:pt x="17" y="19"/>
                  </a:lnTo>
                  <a:lnTo>
                    <a:pt x="18" y="16"/>
                  </a:lnTo>
                  <a:lnTo>
                    <a:pt x="16" y="19"/>
                  </a:lnTo>
                  <a:lnTo>
                    <a:pt x="16" y="19"/>
                  </a:lnTo>
                  <a:lnTo>
                    <a:pt x="16" y="17"/>
                  </a:lnTo>
                  <a:lnTo>
                    <a:pt x="14" y="19"/>
                  </a:lnTo>
                  <a:lnTo>
                    <a:pt x="17" y="14"/>
                  </a:lnTo>
                  <a:lnTo>
                    <a:pt x="17" y="13"/>
                  </a:lnTo>
                  <a:lnTo>
                    <a:pt x="16" y="14"/>
                  </a:lnTo>
                  <a:lnTo>
                    <a:pt x="14" y="14"/>
                  </a:lnTo>
                  <a:lnTo>
                    <a:pt x="14" y="16"/>
                  </a:lnTo>
                  <a:lnTo>
                    <a:pt x="11" y="16"/>
                  </a:lnTo>
                  <a:lnTo>
                    <a:pt x="8" y="14"/>
                  </a:lnTo>
                  <a:lnTo>
                    <a:pt x="7" y="11"/>
                  </a:lnTo>
                  <a:lnTo>
                    <a:pt x="7" y="10"/>
                  </a:lnTo>
                  <a:lnTo>
                    <a:pt x="8" y="10"/>
                  </a:lnTo>
                  <a:lnTo>
                    <a:pt x="11" y="9"/>
                  </a:lnTo>
                  <a:lnTo>
                    <a:pt x="11" y="8"/>
                  </a:lnTo>
                  <a:lnTo>
                    <a:pt x="11" y="7"/>
                  </a:lnTo>
                  <a:lnTo>
                    <a:pt x="7" y="9"/>
                  </a:lnTo>
                  <a:lnTo>
                    <a:pt x="7" y="8"/>
                  </a:lnTo>
                  <a:lnTo>
                    <a:pt x="6" y="10"/>
                  </a:lnTo>
                  <a:lnTo>
                    <a:pt x="5" y="10"/>
                  </a:lnTo>
                  <a:lnTo>
                    <a:pt x="4" y="9"/>
                  </a:lnTo>
                  <a:lnTo>
                    <a:pt x="1" y="8"/>
                  </a:lnTo>
                  <a:lnTo>
                    <a:pt x="0" y="7"/>
                  </a:lnTo>
                  <a:lnTo>
                    <a:pt x="10" y="4"/>
                  </a:lnTo>
                  <a:lnTo>
                    <a:pt x="24" y="2"/>
                  </a:lnTo>
                  <a:lnTo>
                    <a:pt x="27" y="0"/>
                  </a:lnTo>
                  <a:lnTo>
                    <a:pt x="54" y="0"/>
                  </a:lnTo>
                  <a:lnTo>
                    <a:pt x="54" y="0"/>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22" name="Guinea">
              <a:extLst>
                <a:ext uri="{FF2B5EF4-FFF2-40B4-BE49-F238E27FC236}">
                  <a16:creationId xmlns:a16="http://schemas.microsoft.com/office/drawing/2014/main" id="{A1E7E0E5-892E-D94F-B38C-E6A9D0FA9ACA}"/>
                </a:ext>
              </a:extLst>
            </p:cNvPr>
            <p:cNvSpPr>
              <a:spLocks/>
            </p:cNvSpPr>
            <p:nvPr/>
          </p:nvSpPr>
          <p:spPr bwMode="auto">
            <a:xfrm>
              <a:off x="5968684" y="3607465"/>
              <a:ext cx="189533" cy="161833"/>
            </a:xfrm>
            <a:custGeom>
              <a:avLst/>
              <a:gdLst>
                <a:gd name="T0" fmla="*/ 122 w 130"/>
                <a:gd name="T1" fmla="*/ 47 h 111"/>
                <a:gd name="T2" fmla="*/ 120 w 130"/>
                <a:gd name="T3" fmla="*/ 34 h 111"/>
                <a:gd name="T4" fmla="*/ 116 w 130"/>
                <a:gd name="T5" fmla="*/ 30 h 111"/>
                <a:gd name="T6" fmla="*/ 119 w 130"/>
                <a:gd name="T7" fmla="*/ 26 h 111"/>
                <a:gd name="T8" fmla="*/ 112 w 130"/>
                <a:gd name="T9" fmla="*/ 21 h 111"/>
                <a:gd name="T10" fmla="*/ 109 w 130"/>
                <a:gd name="T11" fmla="*/ 7 h 111"/>
                <a:gd name="T12" fmla="*/ 102 w 130"/>
                <a:gd name="T13" fmla="*/ 1 h 111"/>
                <a:gd name="T14" fmla="*/ 102 w 130"/>
                <a:gd name="T15" fmla="*/ 9 h 111"/>
                <a:gd name="T16" fmla="*/ 96 w 130"/>
                <a:gd name="T17" fmla="*/ 14 h 111"/>
                <a:gd name="T18" fmla="*/ 84 w 130"/>
                <a:gd name="T19" fmla="*/ 10 h 111"/>
                <a:gd name="T20" fmla="*/ 77 w 130"/>
                <a:gd name="T21" fmla="*/ 16 h 111"/>
                <a:gd name="T22" fmla="*/ 70 w 130"/>
                <a:gd name="T23" fmla="*/ 11 h 111"/>
                <a:gd name="T24" fmla="*/ 64 w 130"/>
                <a:gd name="T25" fmla="*/ 8 h 111"/>
                <a:gd name="T26" fmla="*/ 53 w 130"/>
                <a:gd name="T27" fmla="*/ 6 h 111"/>
                <a:gd name="T28" fmla="*/ 30 w 130"/>
                <a:gd name="T29" fmla="*/ 0 h 111"/>
                <a:gd name="T30" fmla="*/ 19 w 130"/>
                <a:gd name="T31" fmla="*/ 9 h 111"/>
                <a:gd name="T32" fmla="*/ 0 w 130"/>
                <a:gd name="T33" fmla="*/ 35 h 111"/>
                <a:gd name="T34" fmla="*/ 0 w 130"/>
                <a:gd name="T35" fmla="*/ 38 h 111"/>
                <a:gd name="T36" fmla="*/ 2 w 130"/>
                <a:gd name="T37" fmla="*/ 34 h 111"/>
                <a:gd name="T38" fmla="*/ 3 w 130"/>
                <a:gd name="T39" fmla="*/ 35 h 111"/>
                <a:gd name="T40" fmla="*/ 5 w 130"/>
                <a:gd name="T41" fmla="*/ 36 h 111"/>
                <a:gd name="T42" fmla="*/ 6 w 130"/>
                <a:gd name="T43" fmla="*/ 40 h 111"/>
                <a:gd name="T44" fmla="*/ 7 w 130"/>
                <a:gd name="T45" fmla="*/ 41 h 111"/>
                <a:gd name="T46" fmla="*/ 6 w 130"/>
                <a:gd name="T47" fmla="*/ 44 h 111"/>
                <a:gd name="T48" fmla="*/ 8 w 130"/>
                <a:gd name="T49" fmla="*/ 47 h 111"/>
                <a:gd name="T50" fmla="*/ 10 w 130"/>
                <a:gd name="T51" fmla="*/ 50 h 111"/>
                <a:gd name="T52" fmla="*/ 14 w 130"/>
                <a:gd name="T53" fmla="*/ 51 h 111"/>
                <a:gd name="T54" fmla="*/ 15 w 130"/>
                <a:gd name="T55" fmla="*/ 53 h 111"/>
                <a:gd name="T56" fmla="*/ 16 w 130"/>
                <a:gd name="T57" fmla="*/ 53 h 111"/>
                <a:gd name="T58" fmla="*/ 21 w 130"/>
                <a:gd name="T59" fmla="*/ 58 h 111"/>
                <a:gd name="T60" fmla="*/ 23 w 130"/>
                <a:gd name="T61" fmla="*/ 56 h 111"/>
                <a:gd name="T62" fmla="*/ 25 w 130"/>
                <a:gd name="T63" fmla="*/ 60 h 111"/>
                <a:gd name="T64" fmla="*/ 25 w 130"/>
                <a:gd name="T65" fmla="*/ 66 h 111"/>
                <a:gd name="T66" fmla="*/ 28 w 130"/>
                <a:gd name="T67" fmla="*/ 67 h 111"/>
                <a:gd name="T68" fmla="*/ 29 w 130"/>
                <a:gd name="T69" fmla="*/ 71 h 111"/>
                <a:gd name="T70" fmla="*/ 33 w 130"/>
                <a:gd name="T71" fmla="*/ 70 h 111"/>
                <a:gd name="T72" fmla="*/ 30 w 130"/>
                <a:gd name="T73" fmla="*/ 74 h 111"/>
                <a:gd name="T74" fmla="*/ 32 w 130"/>
                <a:gd name="T75" fmla="*/ 75 h 111"/>
                <a:gd name="T76" fmla="*/ 36 w 130"/>
                <a:gd name="T77" fmla="*/ 69 h 111"/>
                <a:gd name="T78" fmla="*/ 44 w 130"/>
                <a:gd name="T79" fmla="*/ 57 h 111"/>
                <a:gd name="T80" fmla="*/ 56 w 130"/>
                <a:gd name="T81" fmla="*/ 55 h 111"/>
                <a:gd name="T82" fmla="*/ 74 w 130"/>
                <a:gd name="T83" fmla="*/ 63 h 111"/>
                <a:gd name="T84" fmla="*/ 80 w 130"/>
                <a:gd name="T85" fmla="*/ 74 h 111"/>
                <a:gd name="T86" fmla="*/ 80 w 130"/>
                <a:gd name="T87" fmla="*/ 89 h 111"/>
                <a:gd name="T88" fmla="*/ 84 w 130"/>
                <a:gd name="T89" fmla="*/ 86 h 111"/>
                <a:gd name="T90" fmla="*/ 94 w 130"/>
                <a:gd name="T91" fmla="*/ 86 h 111"/>
                <a:gd name="T92" fmla="*/ 96 w 130"/>
                <a:gd name="T93" fmla="*/ 88 h 111"/>
                <a:gd name="T94" fmla="*/ 100 w 130"/>
                <a:gd name="T95" fmla="*/ 95 h 111"/>
                <a:gd name="T96" fmla="*/ 100 w 130"/>
                <a:gd name="T97" fmla="*/ 109 h 111"/>
                <a:gd name="T98" fmla="*/ 109 w 130"/>
                <a:gd name="T99" fmla="*/ 111 h 111"/>
                <a:gd name="T100" fmla="*/ 116 w 130"/>
                <a:gd name="T101" fmla="*/ 102 h 111"/>
                <a:gd name="T102" fmla="*/ 119 w 130"/>
                <a:gd name="T103" fmla="*/ 103 h 111"/>
                <a:gd name="T104" fmla="*/ 122 w 130"/>
                <a:gd name="T105" fmla="*/ 87 h 111"/>
                <a:gd name="T106" fmla="*/ 130 w 130"/>
                <a:gd name="T107" fmla="*/ 74 h 111"/>
                <a:gd name="T108" fmla="*/ 123 w 130"/>
                <a:gd name="T109" fmla="*/ 54 h 111"/>
                <a:gd name="T110" fmla="*/ 128 w 130"/>
                <a:gd name="T111" fmla="*/ 49 h 1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0" h="111">
                  <a:moveTo>
                    <a:pt x="128" y="49"/>
                  </a:moveTo>
                  <a:lnTo>
                    <a:pt x="124" y="48"/>
                  </a:lnTo>
                  <a:lnTo>
                    <a:pt x="122" y="47"/>
                  </a:lnTo>
                  <a:lnTo>
                    <a:pt x="121" y="42"/>
                  </a:lnTo>
                  <a:lnTo>
                    <a:pt x="121" y="37"/>
                  </a:lnTo>
                  <a:lnTo>
                    <a:pt x="120" y="34"/>
                  </a:lnTo>
                  <a:lnTo>
                    <a:pt x="116" y="35"/>
                  </a:lnTo>
                  <a:lnTo>
                    <a:pt x="115" y="31"/>
                  </a:lnTo>
                  <a:lnTo>
                    <a:pt x="116" y="30"/>
                  </a:lnTo>
                  <a:lnTo>
                    <a:pt x="121" y="29"/>
                  </a:lnTo>
                  <a:lnTo>
                    <a:pt x="120" y="27"/>
                  </a:lnTo>
                  <a:lnTo>
                    <a:pt x="119" y="26"/>
                  </a:lnTo>
                  <a:lnTo>
                    <a:pt x="116" y="24"/>
                  </a:lnTo>
                  <a:lnTo>
                    <a:pt x="114" y="21"/>
                  </a:lnTo>
                  <a:lnTo>
                    <a:pt x="112" y="21"/>
                  </a:lnTo>
                  <a:lnTo>
                    <a:pt x="110" y="13"/>
                  </a:lnTo>
                  <a:lnTo>
                    <a:pt x="110" y="9"/>
                  </a:lnTo>
                  <a:lnTo>
                    <a:pt x="109" y="7"/>
                  </a:lnTo>
                  <a:lnTo>
                    <a:pt x="109" y="3"/>
                  </a:lnTo>
                  <a:lnTo>
                    <a:pt x="107" y="2"/>
                  </a:lnTo>
                  <a:lnTo>
                    <a:pt x="102" y="1"/>
                  </a:lnTo>
                  <a:lnTo>
                    <a:pt x="102" y="3"/>
                  </a:lnTo>
                  <a:lnTo>
                    <a:pt x="103" y="6"/>
                  </a:lnTo>
                  <a:lnTo>
                    <a:pt x="102" y="9"/>
                  </a:lnTo>
                  <a:lnTo>
                    <a:pt x="100" y="9"/>
                  </a:lnTo>
                  <a:lnTo>
                    <a:pt x="96" y="10"/>
                  </a:lnTo>
                  <a:lnTo>
                    <a:pt x="96" y="14"/>
                  </a:lnTo>
                  <a:lnTo>
                    <a:pt x="89" y="10"/>
                  </a:lnTo>
                  <a:lnTo>
                    <a:pt x="86" y="10"/>
                  </a:lnTo>
                  <a:lnTo>
                    <a:pt x="84" y="10"/>
                  </a:lnTo>
                  <a:lnTo>
                    <a:pt x="82" y="11"/>
                  </a:lnTo>
                  <a:lnTo>
                    <a:pt x="81" y="13"/>
                  </a:lnTo>
                  <a:lnTo>
                    <a:pt x="77" y="16"/>
                  </a:lnTo>
                  <a:lnTo>
                    <a:pt x="74" y="9"/>
                  </a:lnTo>
                  <a:lnTo>
                    <a:pt x="72" y="9"/>
                  </a:lnTo>
                  <a:lnTo>
                    <a:pt x="70" y="11"/>
                  </a:lnTo>
                  <a:lnTo>
                    <a:pt x="69" y="14"/>
                  </a:lnTo>
                  <a:lnTo>
                    <a:pt x="67" y="14"/>
                  </a:lnTo>
                  <a:lnTo>
                    <a:pt x="64" y="8"/>
                  </a:lnTo>
                  <a:lnTo>
                    <a:pt x="66" y="6"/>
                  </a:lnTo>
                  <a:lnTo>
                    <a:pt x="67" y="4"/>
                  </a:lnTo>
                  <a:lnTo>
                    <a:pt x="53" y="6"/>
                  </a:lnTo>
                  <a:lnTo>
                    <a:pt x="37" y="2"/>
                  </a:lnTo>
                  <a:lnTo>
                    <a:pt x="32" y="0"/>
                  </a:lnTo>
                  <a:lnTo>
                    <a:pt x="30" y="0"/>
                  </a:lnTo>
                  <a:lnTo>
                    <a:pt x="23" y="0"/>
                  </a:lnTo>
                  <a:lnTo>
                    <a:pt x="23" y="2"/>
                  </a:lnTo>
                  <a:lnTo>
                    <a:pt x="19" y="9"/>
                  </a:lnTo>
                  <a:lnTo>
                    <a:pt x="22" y="21"/>
                  </a:lnTo>
                  <a:lnTo>
                    <a:pt x="8" y="23"/>
                  </a:lnTo>
                  <a:lnTo>
                    <a:pt x="0" y="35"/>
                  </a:lnTo>
                  <a:lnTo>
                    <a:pt x="0" y="36"/>
                  </a:lnTo>
                  <a:lnTo>
                    <a:pt x="0" y="38"/>
                  </a:lnTo>
                  <a:lnTo>
                    <a:pt x="0" y="38"/>
                  </a:lnTo>
                  <a:lnTo>
                    <a:pt x="0" y="36"/>
                  </a:lnTo>
                  <a:lnTo>
                    <a:pt x="1" y="35"/>
                  </a:lnTo>
                  <a:lnTo>
                    <a:pt x="2" y="34"/>
                  </a:lnTo>
                  <a:lnTo>
                    <a:pt x="2" y="35"/>
                  </a:lnTo>
                  <a:lnTo>
                    <a:pt x="2" y="35"/>
                  </a:lnTo>
                  <a:lnTo>
                    <a:pt x="3" y="35"/>
                  </a:lnTo>
                  <a:lnTo>
                    <a:pt x="5" y="35"/>
                  </a:lnTo>
                  <a:lnTo>
                    <a:pt x="3" y="35"/>
                  </a:lnTo>
                  <a:lnTo>
                    <a:pt x="5" y="36"/>
                  </a:lnTo>
                  <a:lnTo>
                    <a:pt x="5" y="37"/>
                  </a:lnTo>
                  <a:lnTo>
                    <a:pt x="5" y="41"/>
                  </a:lnTo>
                  <a:lnTo>
                    <a:pt x="6" y="40"/>
                  </a:lnTo>
                  <a:lnTo>
                    <a:pt x="7" y="41"/>
                  </a:lnTo>
                  <a:lnTo>
                    <a:pt x="8" y="40"/>
                  </a:lnTo>
                  <a:lnTo>
                    <a:pt x="7" y="41"/>
                  </a:lnTo>
                  <a:lnTo>
                    <a:pt x="7" y="42"/>
                  </a:lnTo>
                  <a:lnTo>
                    <a:pt x="6" y="43"/>
                  </a:lnTo>
                  <a:lnTo>
                    <a:pt x="6" y="44"/>
                  </a:lnTo>
                  <a:lnTo>
                    <a:pt x="6" y="44"/>
                  </a:lnTo>
                  <a:lnTo>
                    <a:pt x="7" y="46"/>
                  </a:lnTo>
                  <a:lnTo>
                    <a:pt x="8" y="47"/>
                  </a:lnTo>
                  <a:lnTo>
                    <a:pt x="8" y="49"/>
                  </a:lnTo>
                  <a:lnTo>
                    <a:pt x="9" y="51"/>
                  </a:lnTo>
                  <a:lnTo>
                    <a:pt x="10" y="50"/>
                  </a:lnTo>
                  <a:lnTo>
                    <a:pt x="12" y="50"/>
                  </a:lnTo>
                  <a:lnTo>
                    <a:pt x="13" y="51"/>
                  </a:lnTo>
                  <a:lnTo>
                    <a:pt x="14" y="51"/>
                  </a:lnTo>
                  <a:lnTo>
                    <a:pt x="15" y="51"/>
                  </a:lnTo>
                  <a:lnTo>
                    <a:pt x="15" y="51"/>
                  </a:lnTo>
                  <a:lnTo>
                    <a:pt x="15" y="53"/>
                  </a:lnTo>
                  <a:lnTo>
                    <a:pt x="15" y="54"/>
                  </a:lnTo>
                  <a:lnTo>
                    <a:pt x="16" y="53"/>
                  </a:lnTo>
                  <a:lnTo>
                    <a:pt x="16" y="53"/>
                  </a:lnTo>
                  <a:lnTo>
                    <a:pt x="17" y="53"/>
                  </a:lnTo>
                  <a:lnTo>
                    <a:pt x="19" y="54"/>
                  </a:lnTo>
                  <a:lnTo>
                    <a:pt x="21" y="58"/>
                  </a:lnTo>
                  <a:lnTo>
                    <a:pt x="22" y="58"/>
                  </a:lnTo>
                  <a:lnTo>
                    <a:pt x="23" y="56"/>
                  </a:lnTo>
                  <a:lnTo>
                    <a:pt x="23" y="56"/>
                  </a:lnTo>
                  <a:lnTo>
                    <a:pt x="23" y="58"/>
                  </a:lnTo>
                  <a:lnTo>
                    <a:pt x="23" y="60"/>
                  </a:lnTo>
                  <a:lnTo>
                    <a:pt x="25" y="60"/>
                  </a:lnTo>
                  <a:lnTo>
                    <a:pt x="25" y="60"/>
                  </a:lnTo>
                  <a:lnTo>
                    <a:pt x="22" y="66"/>
                  </a:lnTo>
                  <a:lnTo>
                    <a:pt x="25" y="66"/>
                  </a:lnTo>
                  <a:lnTo>
                    <a:pt x="26" y="66"/>
                  </a:lnTo>
                  <a:lnTo>
                    <a:pt x="26" y="66"/>
                  </a:lnTo>
                  <a:lnTo>
                    <a:pt x="28" y="67"/>
                  </a:lnTo>
                  <a:lnTo>
                    <a:pt x="28" y="68"/>
                  </a:lnTo>
                  <a:lnTo>
                    <a:pt x="28" y="69"/>
                  </a:lnTo>
                  <a:lnTo>
                    <a:pt x="29" y="71"/>
                  </a:lnTo>
                  <a:lnTo>
                    <a:pt x="30" y="71"/>
                  </a:lnTo>
                  <a:lnTo>
                    <a:pt x="32" y="70"/>
                  </a:lnTo>
                  <a:lnTo>
                    <a:pt x="33" y="70"/>
                  </a:lnTo>
                  <a:lnTo>
                    <a:pt x="33" y="71"/>
                  </a:lnTo>
                  <a:lnTo>
                    <a:pt x="33" y="73"/>
                  </a:lnTo>
                  <a:lnTo>
                    <a:pt x="30" y="74"/>
                  </a:lnTo>
                  <a:lnTo>
                    <a:pt x="29" y="74"/>
                  </a:lnTo>
                  <a:lnTo>
                    <a:pt x="30" y="75"/>
                  </a:lnTo>
                  <a:lnTo>
                    <a:pt x="32" y="75"/>
                  </a:lnTo>
                  <a:lnTo>
                    <a:pt x="34" y="74"/>
                  </a:lnTo>
                  <a:lnTo>
                    <a:pt x="36" y="71"/>
                  </a:lnTo>
                  <a:lnTo>
                    <a:pt x="36" y="69"/>
                  </a:lnTo>
                  <a:lnTo>
                    <a:pt x="40" y="67"/>
                  </a:lnTo>
                  <a:lnTo>
                    <a:pt x="43" y="61"/>
                  </a:lnTo>
                  <a:lnTo>
                    <a:pt x="44" y="57"/>
                  </a:lnTo>
                  <a:lnTo>
                    <a:pt x="49" y="56"/>
                  </a:lnTo>
                  <a:lnTo>
                    <a:pt x="52" y="57"/>
                  </a:lnTo>
                  <a:lnTo>
                    <a:pt x="56" y="55"/>
                  </a:lnTo>
                  <a:lnTo>
                    <a:pt x="69" y="56"/>
                  </a:lnTo>
                  <a:lnTo>
                    <a:pt x="72" y="60"/>
                  </a:lnTo>
                  <a:lnTo>
                    <a:pt x="74" y="63"/>
                  </a:lnTo>
                  <a:lnTo>
                    <a:pt x="77" y="69"/>
                  </a:lnTo>
                  <a:lnTo>
                    <a:pt x="76" y="71"/>
                  </a:lnTo>
                  <a:lnTo>
                    <a:pt x="80" y="74"/>
                  </a:lnTo>
                  <a:lnTo>
                    <a:pt x="81" y="82"/>
                  </a:lnTo>
                  <a:lnTo>
                    <a:pt x="77" y="90"/>
                  </a:lnTo>
                  <a:lnTo>
                    <a:pt x="80" y="89"/>
                  </a:lnTo>
                  <a:lnTo>
                    <a:pt x="82" y="86"/>
                  </a:lnTo>
                  <a:lnTo>
                    <a:pt x="86" y="86"/>
                  </a:lnTo>
                  <a:lnTo>
                    <a:pt x="84" y="86"/>
                  </a:lnTo>
                  <a:lnTo>
                    <a:pt x="86" y="86"/>
                  </a:lnTo>
                  <a:lnTo>
                    <a:pt x="88" y="86"/>
                  </a:lnTo>
                  <a:lnTo>
                    <a:pt x="94" y="86"/>
                  </a:lnTo>
                  <a:lnTo>
                    <a:pt x="94" y="84"/>
                  </a:lnTo>
                  <a:lnTo>
                    <a:pt x="95" y="86"/>
                  </a:lnTo>
                  <a:lnTo>
                    <a:pt x="96" y="88"/>
                  </a:lnTo>
                  <a:lnTo>
                    <a:pt x="100" y="88"/>
                  </a:lnTo>
                  <a:lnTo>
                    <a:pt x="99" y="93"/>
                  </a:lnTo>
                  <a:lnTo>
                    <a:pt x="100" y="95"/>
                  </a:lnTo>
                  <a:lnTo>
                    <a:pt x="100" y="98"/>
                  </a:lnTo>
                  <a:lnTo>
                    <a:pt x="101" y="103"/>
                  </a:lnTo>
                  <a:lnTo>
                    <a:pt x="100" y="109"/>
                  </a:lnTo>
                  <a:lnTo>
                    <a:pt x="102" y="109"/>
                  </a:lnTo>
                  <a:lnTo>
                    <a:pt x="106" y="111"/>
                  </a:lnTo>
                  <a:lnTo>
                    <a:pt x="109" y="111"/>
                  </a:lnTo>
                  <a:lnTo>
                    <a:pt x="110" y="109"/>
                  </a:lnTo>
                  <a:lnTo>
                    <a:pt x="113" y="103"/>
                  </a:lnTo>
                  <a:lnTo>
                    <a:pt x="116" y="102"/>
                  </a:lnTo>
                  <a:lnTo>
                    <a:pt x="116" y="103"/>
                  </a:lnTo>
                  <a:lnTo>
                    <a:pt x="117" y="104"/>
                  </a:lnTo>
                  <a:lnTo>
                    <a:pt x="119" y="103"/>
                  </a:lnTo>
                  <a:lnTo>
                    <a:pt x="124" y="102"/>
                  </a:lnTo>
                  <a:lnTo>
                    <a:pt x="126" y="94"/>
                  </a:lnTo>
                  <a:lnTo>
                    <a:pt x="122" y="87"/>
                  </a:lnTo>
                  <a:lnTo>
                    <a:pt x="129" y="86"/>
                  </a:lnTo>
                  <a:lnTo>
                    <a:pt x="130" y="81"/>
                  </a:lnTo>
                  <a:lnTo>
                    <a:pt x="130" y="74"/>
                  </a:lnTo>
                  <a:lnTo>
                    <a:pt x="126" y="67"/>
                  </a:lnTo>
                  <a:lnTo>
                    <a:pt x="123" y="57"/>
                  </a:lnTo>
                  <a:lnTo>
                    <a:pt x="123" y="54"/>
                  </a:lnTo>
                  <a:lnTo>
                    <a:pt x="126" y="53"/>
                  </a:lnTo>
                  <a:lnTo>
                    <a:pt x="127" y="51"/>
                  </a:lnTo>
                  <a:lnTo>
                    <a:pt x="128" y="49"/>
                  </a:lnTo>
                  <a:lnTo>
                    <a:pt x="128" y="49"/>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23" name="Guatemala">
              <a:extLst>
                <a:ext uri="{FF2B5EF4-FFF2-40B4-BE49-F238E27FC236}">
                  <a16:creationId xmlns:a16="http://schemas.microsoft.com/office/drawing/2014/main" id="{EE86AB23-5D93-EC42-972A-29C674D2A558}"/>
                </a:ext>
              </a:extLst>
            </p:cNvPr>
            <p:cNvSpPr>
              <a:spLocks/>
            </p:cNvSpPr>
            <p:nvPr/>
          </p:nvSpPr>
          <p:spPr bwMode="auto">
            <a:xfrm>
              <a:off x="3946509" y="3454381"/>
              <a:ext cx="109346" cy="122468"/>
            </a:xfrm>
            <a:custGeom>
              <a:avLst/>
              <a:gdLst>
                <a:gd name="T0" fmla="*/ 2 w 75"/>
                <a:gd name="T1" fmla="*/ 65 h 84"/>
                <a:gd name="T2" fmla="*/ 1 w 75"/>
                <a:gd name="T3" fmla="*/ 61 h 84"/>
                <a:gd name="T4" fmla="*/ 5 w 75"/>
                <a:gd name="T5" fmla="*/ 56 h 84"/>
                <a:gd name="T6" fmla="*/ 13 w 75"/>
                <a:gd name="T7" fmla="*/ 35 h 84"/>
                <a:gd name="T8" fmla="*/ 37 w 75"/>
                <a:gd name="T9" fmla="*/ 35 h 84"/>
                <a:gd name="T10" fmla="*/ 37 w 75"/>
                <a:gd name="T11" fmla="*/ 32 h 84"/>
                <a:gd name="T12" fmla="*/ 38 w 75"/>
                <a:gd name="T13" fmla="*/ 28 h 84"/>
                <a:gd name="T14" fmla="*/ 33 w 75"/>
                <a:gd name="T15" fmla="*/ 26 h 84"/>
                <a:gd name="T16" fmla="*/ 32 w 75"/>
                <a:gd name="T17" fmla="*/ 20 h 84"/>
                <a:gd name="T18" fmla="*/ 28 w 75"/>
                <a:gd name="T19" fmla="*/ 19 h 84"/>
                <a:gd name="T20" fmla="*/ 24 w 75"/>
                <a:gd name="T21" fmla="*/ 13 h 84"/>
                <a:gd name="T22" fmla="*/ 21 w 75"/>
                <a:gd name="T23" fmla="*/ 11 h 84"/>
                <a:gd name="T24" fmla="*/ 31 w 75"/>
                <a:gd name="T25" fmla="*/ 0 h 84"/>
                <a:gd name="T26" fmla="*/ 58 w 75"/>
                <a:gd name="T27" fmla="*/ 39 h 84"/>
                <a:gd name="T28" fmla="*/ 67 w 75"/>
                <a:gd name="T29" fmla="*/ 42 h 84"/>
                <a:gd name="T30" fmla="*/ 68 w 75"/>
                <a:gd name="T31" fmla="*/ 41 h 84"/>
                <a:gd name="T32" fmla="*/ 71 w 75"/>
                <a:gd name="T33" fmla="*/ 40 h 84"/>
                <a:gd name="T34" fmla="*/ 68 w 75"/>
                <a:gd name="T35" fmla="*/ 38 h 84"/>
                <a:gd name="T36" fmla="*/ 74 w 75"/>
                <a:gd name="T37" fmla="*/ 44 h 84"/>
                <a:gd name="T38" fmla="*/ 66 w 75"/>
                <a:gd name="T39" fmla="*/ 51 h 84"/>
                <a:gd name="T40" fmla="*/ 57 w 75"/>
                <a:gd name="T41" fmla="*/ 56 h 84"/>
                <a:gd name="T42" fmla="*/ 57 w 75"/>
                <a:gd name="T43" fmla="*/ 59 h 84"/>
                <a:gd name="T44" fmla="*/ 55 w 75"/>
                <a:gd name="T45" fmla="*/ 62 h 84"/>
                <a:gd name="T46" fmla="*/ 55 w 75"/>
                <a:gd name="T47" fmla="*/ 66 h 84"/>
                <a:gd name="T48" fmla="*/ 54 w 75"/>
                <a:gd name="T49" fmla="*/ 68 h 84"/>
                <a:gd name="T50" fmla="*/ 52 w 75"/>
                <a:gd name="T51" fmla="*/ 69 h 84"/>
                <a:gd name="T52" fmla="*/ 48 w 75"/>
                <a:gd name="T53" fmla="*/ 71 h 84"/>
                <a:gd name="T54" fmla="*/ 48 w 75"/>
                <a:gd name="T55" fmla="*/ 69 h 84"/>
                <a:gd name="T56" fmla="*/ 48 w 75"/>
                <a:gd name="T57" fmla="*/ 73 h 84"/>
                <a:gd name="T58" fmla="*/ 46 w 75"/>
                <a:gd name="T59" fmla="*/ 73 h 84"/>
                <a:gd name="T60" fmla="*/ 44 w 75"/>
                <a:gd name="T61" fmla="*/ 76 h 84"/>
                <a:gd name="T62" fmla="*/ 42 w 75"/>
                <a:gd name="T63" fmla="*/ 76 h 84"/>
                <a:gd name="T64" fmla="*/ 37 w 75"/>
                <a:gd name="T65" fmla="*/ 84 h 84"/>
                <a:gd name="T66" fmla="*/ 20 w 75"/>
                <a:gd name="T67" fmla="*/ 80 h 84"/>
                <a:gd name="T68" fmla="*/ 7 w 75"/>
                <a:gd name="T69" fmla="*/ 74 h 84"/>
                <a:gd name="T70" fmla="*/ 0 w 75"/>
                <a:gd name="T71" fmla="*/ 67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75" h="84">
                  <a:moveTo>
                    <a:pt x="0" y="67"/>
                  </a:moveTo>
                  <a:lnTo>
                    <a:pt x="2" y="65"/>
                  </a:lnTo>
                  <a:lnTo>
                    <a:pt x="2" y="64"/>
                  </a:lnTo>
                  <a:lnTo>
                    <a:pt x="1" y="61"/>
                  </a:lnTo>
                  <a:lnTo>
                    <a:pt x="4" y="58"/>
                  </a:lnTo>
                  <a:lnTo>
                    <a:pt x="5" y="56"/>
                  </a:lnTo>
                  <a:lnTo>
                    <a:pt x="2" y="52"/>
                  </a:lnTo>
                  <a:lnTo>
                    <a:pt x="13" y="35"/>
                  </a:lnTo>
                  <a:lnTo>
                    <a:pt x="22" y="35"/>
                  </a:lnTo>
                  <a:lnTo>
                    <a:pt x="37" y="35"/>
                  </a:lnTo>
                  <a:lnTo>
                    <a:pt x="38" y="34"/>
                  </a:lnTo>
                  <a:lnTo>
                    <a:pt x="37" y="32"/>
                  </a:lnTo>
                  <a:lnTo>
                    <a:pt x="38" y="31"/>
                  </a:lnTo>
                  <a:lnTo>
                    <a:pt x="38" y="28"/>
                  </a:lnTo>
                  <a:lnTo>
                    <a:pt x="34" y="27"/>
                  </a:lnTo>
                  <a:lnTo>
                    <a:pt x="33" y="26"/>
                  </a:lnTo>
                  <a:lnTo>
                    <a:pt x="34" y="24"/>
                  </a:lnTo>
                  <a:lnTo>
                    <a:pt x="32" y="20"/>
                  </a:lnTo>
                  <a:lnTo>
                    <a:pt x="30" y="21"/>
                  </a:lnTo>
                  <a:lnTo>
                    <a:pt x="28" y="19"/>
                  </a:lnTo>
                  <a:lnTo>
                    <a:pt x="26" y="18"/>
                  </a:lnTo>
                  <a:lnTo>
                    <a:pt x="24" y="13"/>
                  </a:lnTo>
                  <a:lnTo>
                    <a:pt x="21" y="12"/>
                  </a:lnTo>
                  <a:lnTo>
                    <a:pt x="21" y="11"/>
                  </a:lnTo>
                  <a:lnTo>
                    <a:pt x="30" y="12"/>
                  </a:lnTo>
                  <a:lnTo>
                    <a:pt x="31" y="0"/>
                  </a:lnTo>
                  <a:lnTo>
                    <a:pt x="62" y="0"/>
                  </a:lnTo>
                  <a:lnTo>
                    <a:pt x="58" y="39"/>
                  </a:lnTo>
                  <a:lnTo>
                    <a:pt x="64" y="40"/>
                  </a:lnTo>
                  <a:lnTo>
                    <a:pt x="67" y="42"/>
                  </a:lnTo>
                  <a:lnTo>
                    <a:pt x="67" y="44"/>
                  </a:lnTo>
                  <a:lnTo>
                    <a:pt x="68" y="41"/>
                  </a:lnTo>
                  <a:lnTo>
                    <a:pt x="68" y="40"/>
                  </a:lnTo>
                  <a:lnTo>
                    <a:pt x="71" y="40"/>
                  </a:lnTo>
                  <a:lnTo>
                    <a:pt x="68" y="39"/>
                  </a:lnTo>
                  <a:lnTo>
                    <a:pt x="68" y="38"/>
                  </a:lnTo>
                  <a:lnTo>
                    <a:pt x="75" y="42"/>
                  </a:lnTo>
                  <a:lnTo>
                    <a:pt x="74" y="44"/>
                  </a:lnTo>
                  <a:lnTo>
                    <a:pt x="73" y="44"/>
                  </a:lnTo>
                  <a:lnTo>
                    <a:pt x="66" y="51"/>
                  </a:lnTo>
                  <a:lnTo>
                    <a:pt x="60" y="55"/>
                  </a:lnTo>
                  <a:lnTo>
                    <a:pt x="57" y="56"/>
                  </a:lnTo>
                  <a:lnTo>
                    <a:pt x="55" y="58"/>
                  </a:lnTo>
                  <a:lnTo>
                    <a:pt x="57" y="59"/>
                  </a:lnTo>
                  <a:lnTo>
                    <a:pt x="55" y="60"/>
                  </a:lnTo>
                  <a:lnTo>
                    <a:pt x="55" y="62"/>
                  </a:lnTo>
                  <a:lnTo>
                    <a:pt x="57" y="64"/>
                  </a:lnTo>
                  <a:lnTo>
                    <a:pt x="55" y="66"/>
                  </a:lnTo>
                  <a:lnTo>
                    <a:pt x="54" y="66"/>
                  </a:lnTo>
                  <a:lnTo>
                    <a:pt x="54" y="68"/>
                  </a:lnTo>
                  <a:lnTo>
                    <a:pt x="52" y="68"/>
                  </a:lnTo>
                  <a:lnTo>
                    <a:pt x="52" y="69"/>
                  </a:lnTo>
                  <a:lnTo>
                    <a:pt x="50" y="69"/>
                  </a:lnTo>
                  <a:lnTo>
                    <a:pt x="48" y="71"/>
                  </a:lnTo>
                  <a:lnTo>
                    <a:pt x="48" y="69"/>
                  </a:lnTo>
                  <a:lnTo>
                    <a:pt x="48" y="69"/>
                  </a:lnTo>
                  <a:lnTo>
                    <a:pt x="47" y="72"/>
                  </a:lnTo>
                  <a:lnTo>
                    <a:pt x="48" y="73"/>
                  </a:lnTo>
                  <a:lnTo>
                    <a:pt x="47" y="74"/>
                  </a:lnTo>
                  <a:lnTo>
                    <a:pt x="46" y="73"/>
                  </a:lnTo>
                  <a:lnTo>
                    <a:pt x="45" y="75"/>
                  </a:lnTo>
                  <a:lnTo>
                    <a:pt x="44" y="76"/>
                  </a:lnTo>
                  <a:lnTo>
                    <a:pt x="44" y="78"/>
                  </a:lnTo>
                  <a:lnTo>
                    <a:pt x="42" y="76"/>
                  </a:lnTo>
                  <a:lnTo>
                    <a:pt x="38" y="80"/>
                  </a:lnTo>
                  <a:lnTo>
                    <a:pt x="37" y="84"/>
                  </a:lnTo>
                  <a:lnTo>
                    <a:pt x="28" y="79"/>
                  </a:lnTo>
                  <a:lnTo>
                    <a:pt x="20" y="80"/>
                  </a:lnTo>
                  <a:lnTo>
                    <a:pt x="14" y="79"/>
                  </a:lnTo>
                  <a:lnTo>
                    <a:pt x="7" y="74"/>
                  </a:lnTo>
                  <a:lnTo>
                    <a:pt x="0" y="67"/>
                  </a:lnTo>
                  <a:lnTo>
                    <a:pt x="0" y="67"/>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24" name="Grenada">
              <a:extLst>
                <a:ext uri="{FF2B5EF4-FFF2-40B4-BE49-F238E27FC236}">
                  <a16:creationId xmlns:a16="http://schemas.microsoft.com/office/drawing/2014/main" id="{903A268E-DB8C-E141-94F3-B05EF2DDC658}"/>
                </a:ext>
              </a:extLst>
            </p:cNvPr>
            <p:cNvSpPr>
              <a:spLocks/>
            </p:cNvSpPr>
            <p:nvPr/>
          </p:nvSpPr>
          <p:spPr bwMode="auto">
            <a:xfrm>
              <a:off x="4741091" y="3616213"/>
              <a:ext cx="4374" cy="7290"/>
            </a:xfrm>
            <a:custGeom>
              <a:avLst/>
              <a:gdLst>
                <a:gd name="T0" fmla="*/ 0 w 3"/>
                <a:gd name="T1" fmla="*/ 4 h 5"/>
                <a:gd name="T2" fmla="*/ 0 w 3"/>
                <a:gd name="T3" fmla="*/ 4 h 5"/>
                <a:gd name="T4" fmla="*/ 0 w 3"/>
                <a:gd name="T5" fmla="*/ 4 h 5"/>
                <a:gd name="T6" fmla="*/ 0 w 3"/>
                <a:gd name="T7" fmla="*/ 4 h 5"/>
                <a:gd name="T8" fmla="*/ 0 w 3"/>
                <a:gd name="T9" fmla="*/ 4 h 5"/>
                <a:gd name="T10" fmla="*/ 0 w 3"/>
                <a:gd name="T11" fmla="*/ 4 h 5"/>
                <a:gd name="T12" fmla="*/ 1 w 3"/>
                <a:gd name="T13" fmla="*/ 4 h 5"/>
                <a:gd name="T14" fmla="*/ 1 w 3"/>
                <a:gd name="T15" fmla="*/ 4 h 5"/>
                <a:gd name="T16" fmla="*/ 0 w 3"/>
                <a:gd name="T17" fmla="*/ 3 h 5"/>
                <a:gd name="T18" fmla="*/ 0 w 3"/>
                <a:gd name="T19" fmla="*/ 3 h 5"/>
                <a:gd name="T20" fmla="*/ 0 w 3"/>
                <a:gd name="T21" fmla="*/ 3 h 5"/>
                <a:gd name="T22" fmla="*/ 1 w 3"/>
                <a:gd name="T23" fmla="*/ 3 h 5"/>
                <a:gd name="T24" fmla="*/ 1 w 3"/>
                <a:gd name="T25" fmla="*/ 2 h 5"/>
                <a:gd name="T26" fmla="*/ 1 w 3"/>
                <a:gd name="T27" fmla="*/ 2 h 5"/>
                <a:gd name="T28" fmla="*/ 1 w 3"/>
                <a:gd name="T29" fmla="*/ 2 h 5"/>
                <a:gd name="T30" fmla="*/ 1 w 3"/>
                <a:gd name="T31" fmla="*/ 2 h 5"/>
                <a:gd name="T32" fmla="*/ 1 w 3"/>
                <a:gd name="T33" fmla="*/ 1 h 5"/>
                <a:gd name="T34" fmla="*/ 1 w 3"/>
                <a:gd name="T35" fmla="*/ 1 h 5"/>
                <a:gd name="T36" fmla="*/ 1 w 3"/>
                <a:gd name="T37" fmla="*/ 1 h 5"/>
                <a:gd name="T38" fmla="*/ 1 w 3"/>
                <a:gd name="T39" fmla="*/ 1 h 5"/>
                <a:gd name="T40" fmla="*/ 2 w 3"/>
                <a:gd name="T41" fmla="*/ 1 h 5"/>
                <a:gd name="T42" fmla="*/ 2 w 3"/>
                <a:gd name="T43" fmla="*/ 0 h 5"/>
                <a:gd name="T44" fmla="*/ 2 w 3"/>
                <a:gd name="T45" fmla="*/ 0 h 5"/>
                <a:gd name="T46" fmla="*/ 2 w 3"/>
                <a:gd name="T47" fmla="*/ 0 h 5"/>
                <a:gd name="T48" fmla="*/ 2 w 3"/>
                <a:gd name="T49" fmla="*/ 0 h 5"/>
                <a:gd name="T50" fmla="*/ 3 w 3"/>
                <a:gd name="T51" fmla="*/ 1 h 5"/>
                <a:gd name="T52" fmla="*/ 3 w 3"/>
                <a:gd name="T53" fmla="*/ 1 h 5"/>
                <a:gd name="T54" fmla="*/ 3 w 3"/>
                <a:gd name="T55" fmla="*/ 1 h 5"/>
                <a:gd name="T56" fmla="*/ 3 w 3"/>
                <a:gd name="T57" fmla="*/ 1 h 5"/>
                <a:gd name="T58" fmla="*/ 3 w 3"/>
                <a:gd name="T59" fmla="*/ 2 h 5"/>
                <a:gd name="T60" fmla="*/ 3 w 3"/>
                <a:gd name="T61" fmla="*/ 2 h 5"/>
                <a:gd name="T62" fmla="*/ 3 w 3"/>
                <a:gd name="T63" fmla="*/ 2 h 5"/>
                <a:gd name="T64" fmla="*/ 3 w 3"/>
                <a:gd name="T65" fmla="*/ 3 h 5"/>
                <a:gd name="T66" fmla="*/ 2 w 3"/>
                <a:gd name="T67" fmla="*/ 3 h 5"/>
                <a:gd name="T68" fmla="*/ 2 w 3"/>
                <a:gd name="T69" fmla="*/ 3 h 5"/>
                <a:gd name="T70" fmla="*/ 3 w 3"/>
                <a:gd name="T71" fmla="*/ 3 h 5"/>
                <a:gd name="T72" fmla="*/ 2 w 3"/>
                <a:gd name="T73" fmla="*/ 3 h 5"/>
                <a:gd name="T74" fmla="*/ 2 w 3"/>
                <a:gd name="T75" fmla="*/ 4 h 5"/>
                <a:gd name="T76" fmla="*/ 2 w 3"/>
                <a:gd name="T77" fmla="*/ 4 h 5"/>
                <a:gd name="T78" fmla="*/ 2 w 3"/>
                <a:gd name="T79" fmla="*/ 4 h 5"/>
                <a:gd name="T80" fmla="*/ 2 w 3"/>
                <a:gd name="T81" fmla="*/ 4 h 5"/>
                <a:gd name="T82" fmla="*/ 2 w 3"/>
                <a:gd name="T83" fmla="*/ 4 h 5"/>
                <a:gd name="T84" fmla="*/ 2 w 3"/>
                <a:gd name="T85" fmla="*/ 4 h 5"/>
                <a:gd name="T86" fmla="*/ 1 w 3"/>
                <a:gd name="T87" fmla="*/ 4 h 5"/>
                <a:gd name="T88" fmla="*/ 1 w 3"/>
                <a:gd name="T89" fmla="*/ 5 h 5"/>
                <a:gd name="T90" fmla="*/ 1 w 3"/>
                <a:gd name="T91" fmla="*/ 4 h 5"/>
                <a:gd name="T92" fmla="*/ 1 w 3"/>
                <a:gd name="T93" fmla="*/ 4 h 5"/>
                <a:gd name="T94" fmla="*/ 1 w 3"/>
                <a:gd name="T95" fmla="*/ 5 h 5"/>
                <a:gd name="T96" fmla="*/ 0 w 3"/>
                <a:gd name="T97"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 h="5">
                  <a:moveTo>
                    <a:pt x="0" y="5"/>
                  </a:moveTo>
                  <a:lnTo>
                    <a:pt x="0" y="4"/>
                  </a:lnTo>
                  <a:lnTo>
                    <a:pt x="0" y="4"/>
                  </a:lnTo>
                  <a:lnTo>
                    <a:pt x="0" y="4"/>
                  </a:lnTo>
                  <a:lnTo>
                    <a:pt x="0" y="4"/>
                  </a:lnTo>
                  <a:lnTo>
                    <a:pt x="0" y="4"/>
                  </a:lnTo>
                  <a:lnTo>
                    <a:pt x="0" y="4"/>
                  </a:lnTo>
                  <a:lnTo>
                    <a:pt x="0" y="5"/>
                  </a:lnTo>
                  <a:lnTo>
                    <a:pt x="0" y="4"/>
                  </a:lnTo>
                  <a:lnTo>
                    <a:pt x="0" y="4"/>
                  </a:lnTo>
                  <a:lnTo>
                    <a:pt x="0" y="4"/>
                  </a:lnTo>
                  <a:lnTo>
                    <a:pt x="0" y="4"/>
                  </a:lnTo>
                  <a:lnTo>
                    <a:pt x="0" y="4"/>
                  </a:lnTo>
                  <a:lnTo>
                    <a:pt x="0" y="4"/>
                  </a:lnTo>
                  <a:lnTo>
                    <a:pt x="0" y="4"/>
                  </a:lnTo>
                  <a:lnTo>
                    <a:pt x="0" y="4"/>
                  </a:lnTo>
                  <a:lnTo>
                    <a:pt x="0" y="4"/>
                  </a:lnTo>
                  <a:lnTo>
                    <a:pt x="0" y="4"/>
                  </a:lnTo>
                  <a:lnTo>
                    <a:pt x="0" y="4"/>
                  </a:lnTo>
                  <a:lnTo>
                    <a:pt x="0" y="4"/>
                  </a:lnTo>
                  <a:lnTo>
                    <a:pt x="1" y="4"/>
                  </a:lnTo>
                  <a:lnTo>
                    <a:pt x="1" y="4"/>
                  </a:lnTo>
                  <a:lnTo>
                    <a:pt x="1" y="4"/>
                  </a:lnTo>
                  <a:lnTo>
                    <a:pt x="1" y="4"/>
                  </a:lnTo>
                  <a:lnTo>
                    <a:pt x="1" y="4"/>
                  </a:lnTo>
                  <a:lnTo>
                    <a:pt x="1" y="3"/>
                  </a:lnTo>
                  <a:lnTo>
                    <a:pt x="0" y="3"/>
                  </a:lnTo>
                  <a:lnTo>
                    <a:pt x="0" y="3"/>
                  </a:lnTo>
                  <a:lnTo>
                    <a:pt x="0" y="3"/>
                  </a:lnTo>
                  <a:lnTo>
                    <a:pt x="0" y="3"/>
                  </a:lnTo>
                  <a:lnTo>
                    <a:pt x="0" y="3"/>
                  </a:lnTo>
                  <a:lnTo>
                    <a:pt x="0" y="3"/>
                  </a:lnTo>
                  <a:lnTo>
                    <a:pt x="0" y="3"/>
                  </a:lnTo>
                  <a:lnTo>
                    <a:pt x="0" y="3"/>
                  </a:lnTo>
                  <a:lnTo>
                    <a:pt x="1" y="3"/>
                  </a:lnTo>
                  <a:lnTo>
                    <a:pt x="1" y="3"/>
                  </a:lnTo>
                  <a:lnTo>
                    <a:pt x="1" y="3"/>
                  </a:lnTo>
                  <a:lnTo>
                    <a:pt x="1" y="3"/>
                  </a:lnTo>
                  <a:lnTo>
                    <a:pt x="1" y="2"/>
                  </a:lnTo>
                  <a:lnTo>
                    <a:pt x="1" y="2"/>
                  </a:lnTo>
                  <a:lnTo>
                    <a:pt x="1" y="2"/>
                  </a:lnTo>
                  <a:lnTo>
                    <a:pt x="1" y="2"/>
                  </a:lnTo>
                  <a:lnTo>
                    <a:pt x="1" y="2"/>
                  </a:lnTo>
                  <a:lnTo>
                    <a:pt x="1" y="2"/>
                  </a:lnTo>
                  <a:lnTo>
                    <a:pt x="1" y="2"/>
                  </a:lnTo>
                  <a:lnTo>
                    <a:pt x="1" y="2"/>
                  </a:lnTo>
                  <a:lnTo>
                    <a:pt x="1" y="2"/>
                  </a:lnTo>
                  <a:lnTo>
                    <a:pt x="1" y="2"/>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1" y="1"/>
                  </a:lnTo>
                  <a:lnTo>
                    <a:pt x="2" y="1"/>
                  </a:lnTo>
                  <a:lnTo>
                    <a:pt x="2" y="1"/>
                  </a:lnTo>
                  <a:lnTo>
                    <a:pt x="2" y="0"/>
                  </a:lnTo>
                  <a:lnTo>
                    <a:pt x="2" y="0"/>
                  </a:lnTo>
                  <a:lnTo>
                    <a:pt x="2" y="0"/>
                  </a:lnTo>
                  <a:lnTo>
                    <a:pt x="2" y="0"/>
                  </a:lnTo>
                  <a:lnTo>
                    <a:pt x="2" y="0"/>
                  </a:lnTo>
                  <a:lnTo>
                    <a:pt x="2" y="0"/>
                  </a:lnTo>
                  <a:lnTo>
                    <a:pt x="2" y="0"/>
                  </a:lnTo>
                  <a:lnTo>
                    <a:pt x="2" y="0"/>
                  </a:lnTo>
                  <a:lnTo>
                    <a:pt x="2" y="0"/>
                  </a:lnTo>
                  <a:lnTo>
                    <a:pt x="2" y="0"/>
                  </a:lnTo>
                  <a:lnTo>
                    <a:pt x="2" y="0"/>
                  </a:lnTo>
                  <a:lnTo>
                    <a:pt x="2" y="0"/>
                  </a:lnTo>
                  <a:lnTo>
                    <a:pt x="3" y="0"/>
                  </a:lnTo>
                  <a:lnTo>
                    <a:pt x="3" y="0"/>
                  </a:lnTo>
                  <a:lnTo>
                    <a:pt x="3" y="1"/>
                  </a:lnTo>
                  <a:lnTo>
                    <a:pt x="3" y="1"/>
                  </a:lnTo>
                  <a:lnTo>
                    <a:pt x="3" y="1"/>
                  </a:lnTo>
                  <a:lnTo>
                    <a:pt x="3" y="1"/>
                  </a:lnTo>
                  <a:lnTo>
                    <a:pt x="3" y="1"/>
                  </a:lnTo>
                  <a:lnTo>
                    <a:pt x="3" y="1"/>
                  </a:lnTo>
                  <a:lnTo>
                    <a:pt x="3" y="1"/>
                  </a:lnTo>
                  <a:lnTo>
                    <a:pt x="3" y="1"/>
                  </a:lnTo>
                  <a:lnTo>
                    <a:pt x="3" y="1"/>
                  </a:lnTo>
                  <a:lnTo>
                    <a:pt x="3" y="1"/>
                  </a:lnTo>
                  <a:lnTo>
                    <a:pt x="3" y="1"/>
                  </a:lnTo>
                  <a:lnTo>
                    <a:pt x="3" y="2"/>
                  </a:lnTo>
                  <a:lnTo>
                    <a:pt x="3" y="2"/>
                  </a:lnTo>
                  <a:lnTo>
                    <a:pt x="3" y="2"/>
                  </a:lnTo>
                  <a:lnTo>
                    <a:pt x="3" y="2"/>
                  </a:lnTo>
                  <a:lnTo>
                    <a:pt x="3" y="2"/>
                  </a:lnTo>
                  <a:lnTo>
                    <a:pt x="3" y="2"/>
                  </a:lnTo>
                  <a:lnTo>
                    <a:pt x="3" y="2"/>
                  </a:lnTo>
                  <a:lnTo>
                    <a:pt x="3" y="2"/>
                  </a:lnTo>
                  <a:lnTo>
                    <a:pt x="3" y="2"/>
                  </a:lnTo>
                  <a:lnTo>
                    <a:pt x="3" y="2"/>
                  </a:lnTo>
                  <a:lnTo>
                    <a:pt x="3" y="3"/>
                  </a:lnTo>
                  <a:lnTo>
                    <a:pt x="3" y="3"/>
                  </a:lnTo>
                  <a:lnTo>
                    <a:pt x="2" y="3"/>
                  </a:lnTo>
                  <a:lnTo>
                    <a:pt x="2" y="3"/>
                  </a:lnTo>
                  <a:lnTo>
                    <a:pt x="2" y="3"/>
                  </a:lnTo>
                  <a:lnTo>
                    <a:pt x="2" y="3"/>
                  </a:lnTo>
                  <a:lnTo>
                    <a:pt x="2" y="3"/>
                  </a:lnTo>
                  <a:lnTo>
                    <a:pt x="2" y="3"/>
                  </a:lnTo>
                  <a:lnTo>
                    <a:pt x="3" y="3"/>
                  </a:lnTo>
                  <a:lnTo>
                    <a:pt x="3" y="3"/>
                  </a:lnTo>
                  <a:lnTo>
                    <a:pt x="3" y="3"/>
                  </a:lnTo>
                  <a:lnTo>
                    <a:pt x="3" y="3"/>
                  </a:lnTo>
                  <a:lnTo>
                    <a:pt x="2" y="3"/>
                  </a:lnTo>
                  <a:lnTo>
                    <a:pt x="2" y="3"/>
                  </a:lnTo>
                  <a:lnTo>
                    <a:pt x="2" y="3"/>
                  </a:lnTo>
                  <a:lnTo>
                    <a:pt x="2" y="4"/>
                  </a:lnTo>
                  <a:lnTo>
                    <a:pt x="2" y="4"/>
                  </a:lnTo>
                  <a:lnTo>
                    <a:pt x="2" y="4"/>
                  </a:lnTo>
                  <a:lnTo>
                    <a:pt x="2" y="4"/>
                  </a:lnTo>
                  <a:lnTo>
                    <a:pt x="2" y="4"/>
                  </a:lnTo>
                  <a:lnTo>
                    <a:pt x="2" y="4"/>
                  </a:lnTo>
                  <a:lnTo>
                    <a:pt x="2" y="4"/>
                  </a:lnTo>
                  <a:lnTo>
                    <a:pt x="2" y="4"/>
                  </a:lnTo>
                  <a:lnTo>
                    <a:pt x="2" y="4"/>
                  </a:lnTo>
                  <a:lnTo>
                    <a:pt x="2" y="4"/>
                  </a:lnTo>
                  <a:lnTo>
                    <a:pt x="2" y="4"/>
                  </a:lnTo>
                  <a:lnTo>
                    <a:pt x="2" y="4"/>
                  </a:lnTo>
                  <a:lnTo>
                    <a:pt x="2" y="4"/>
                  </a:lnTo>
                  <a:lnTo>
                    <a:pt x="2" y="4"/>
                  </a:lnTo>
                  <a:lnTo>
                    <a:pt x="2" y="4"/>
                  </a:lnTo>
                  <a:lnTo>
                    <a:pt x="2" y="4"/>
                  </a:lnTo>
                  <a:lnTo>
                    <a:pt x="1" y="4"/>
                  </a:lnTo>
                  <a:lnTo>
                    <a:pt x="1" y="4"/>
                  </a:lnTo>
                  <a:lnTo>
                    <a:pt x="1" y="4"/>
                  </a:lnTo>
                  <a:lnTo>
                    <a:pt x="1" y="4"/>
                  </a:lnTo>
                  <a:lnTo>
                    <a:pt x="1" y="5"/>
                  </a:lnTo>
                  <a:lnTo>
                    <a:pt x="1" y="5"/>
                  </a:lnTo>
                  <a:lnTo>
                    <a:pt x="1" y="4"/>
                  </a:lnTo>
                  <a:lnTo>
                    <a:pt x="1" y="4"/>
                  </a:lnTo>
                  <a:lnTo>
                    <a:pt x="1" y="4"/>
                  </a:lnTo>
                  <a:lnTo>
                    <a:pt x="1" y="4"/>
                  </a:lnTo>
                  <a:lnTo>
                    <a:pt x="1" y="4"/>
                  </a:lnTo>
                  <a:lnTo>
                    <a:pt x="1" y="4"/>
                  </a:lnTo>
                  <a:lnTo>
                    <a:pt x="1" y="4"/>
                  </a:lnTo>
                  <a:lnTo>
                    <a:pt x="1" y="4"/>
                  </a:lnTo>
                  <a:lnTo>
                    <a:pt x="1" y="5"/>
                  </a:lnTo>
                  <a:lnTo>
                    <a:pt x="1" y="5"/>
                  </a:lnTo>
                  <a:lnTo>
                    <a:pt x="0" y="5"/>
                  </a:lnTo>
                  <a:lnTo>
                    <a:pt x="0" y="5"/>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25" name="The Gambia">
              <a:extLst>
                <a:ext uri="{FF2B5EF4-FFF2-40B4-BE49-F238E27FC236}">
                  <a16:creationId xmlns:a16="http://schemas.microsoft.com/office/drawing/2014/main" id="{3A3443CC-569A-B944-BE64-2F0EB8D9558F}"/>
                </a:ext>
              </a:extLst>
            </p:cNvPr>
            <p:cNvSpPr>
              <a:spLocks/>
            </p:cNvSpPr>
            <p:nvPr/>
          </p:nvSpPr>
          <p:spPr bwMode="auto">
            <a:xfrm>
              <a:off x="5922030" y="3572475"/>
              <a:ext cx="78730" cy="24786"/>
            </a:xfrm>
            <a:custGeom>
              <a:avLst/>
              <a:gdLst>
                <a:gd name="T0" fmla="*/ 1 w 54"/>
                <a:gd name="T1" fmla="*/ 15 h 17"/>
                <a:gd name="T2" fmla="*/ 19 w 54"/>
                <a:gd name="T3" fmla="*/ 10 h 17"/>
                <a:gd name="T4" fmla="*/ 25 w 54"/>
                <a:gd name="T5" fmla="*/ 10 h 17"/>
                <a:gd name="T6" fmla="*/ 28 w 54"/>
                <a:gd name="T7" fmla="*/ 6 h 17"/>
                <a:gd name="T8" fmla="*/ 33 w 54"/>
                <a:gd name="T9" fmla="*/ 7 h 17"/>
                <a:gd name="T10" fmla="*/ 37 w 54"/>
                <a:gd name="T11" fmla="*/ 8 h 17"/>
                <a:gd name="T12" fmla="*/ 40 w 54"/>
                <a:gd name="T13" fmla="*/ 10 h 17"/>
                <a:gd name="T14" fmla="*/ 44 w 54"/>
                <a:gd name="T15" fmla="*/ 12 h 17"/>
                <a:gd name="T16" fmla="*/ 48 w 54"/>
                <a:gd name="T17" fmla="*/ 12 h 17"/>
                <a:gd name="T18" fmla="*/ 54 w 54"/>
                <a:gd name="T19" fmla="*/ 10 h 17"/>
                <a:gd name="T20" fmla="*/ 52 w 54"/>
                <a:gd name="T21" fmla="*/ 6 h 17"/>
                <a:gd name="T22" fmla="*/ 48 w 54"/>
                <a:gd name="T23" fmla="*/ 6 h 17"/>
                <a:gd name="T24" fmla="*/ 45 w 54"/>
                <a:gd name="T25" fmla="*/ 8 h 17"/>
                <a:gd name="T26" fmla="*/ 39 w 54"/>
                <a:gd name="T27" fmla="*/ 4 h 17"/>
                <a:gd name="T28" fmla="*/ 35 w 54"/>
                <a:gd name="T29" fmla="*/ 1 h 17"/>
                <a:gd name="T30" fmla="*/ 32 w 54"/>
                <a:gd name="T31" fmla="*/ 0 h 17"/>
                <a:gd name="T32" fmla="*/ 27 w 54"/>
                <a:gd name="T33" fmla="*/ 0 h 17"/>
                <a:gd name="T34" fmla="*/ 5 w 54"/>
                <a:gd name="T35" fmla="*/ 5 h 17"/>
                <a:gd name="T36" fmla="*/ 5 w 54"/>
                <a:gd name="T37" fmla="*/ 6 h 17"/>
                <a:gd name="T38" fmla="*/ 6 w 54"/>
                <a:gd name="T39" fmla="*/ 7 h 17"/>
                <a:gd name="T40" fmla="*/ 6 w 54"/>
                <a:gd name="T41" fmla="*/ 10 h 17"/>
                <a:gd name="T42" fmla="*/ 9 w 54"/>
                <a:gd name="T43" fmla="*/ 11 h 17"/>
                <a:gd name="T44" fmla="*/ 9 w 54"/>
                <a:gd name="T45" fmla="*/ 10 h 17"/>
                <a:gd name="T46" fmla="*/ 9 w 54"/>
                <a:gd name="T47" fmla="*/ 10 h 17"/>
                <a:gd name="T48" fmla="*/ 9 w 54"/>
                <a:gd name="T49" fmla="*/ 10 h 17"/>
                <a:gd name="T50" fmla="*/ 11 w 54"/>
                <a:gd name="T51" fmla="*/ 8 h 17"/>
                <a:gd name="T52" fmla="*/ 13 w 54"/>
                <a:gd name="T53" fmla="*/ 8 h 17"/>
                <a:gd name="T54" fmla="*/ 19 w 54"/>
                <a:gd name="T55" fmla="*/ 8 h 17"/>
                <a:gd name="T56" fmla="*/ 21 w 54"/>
                <a:gd name="T57" fmla="*/ 7 h 17"/>
                <a:gd name="T58" fmla="*/ 24 w 54"/>
                <a:gd name="T59" fmla="*/ 7 h 17"/>
                <a:gd name="T60" fmla="*/ 26 w 54"/>
                <a:gd name="T61" fmla="*/ 8 h 17"/>
                <a:gd name="T62" fmla="*/ 27 w 54"/>
                <a:gd name="T63" fmla="*/ 7 h 17"/>
                <a:gd name="T64" fmla="*/ 27 w 54"/>
                <a:gd name="T65" fmla="*/ 8 h 17"/>
                <a:gd name="T66" fmla="*/ 25 w 54"/>
                <a:gd name="T67" fmla="*/ 8 h 17"/>
                <a:gd name="T68" fmla="*/ 24 w 54"/>
                <a:gd name="T69" fmla="*/ 7 h 17"/>
                <a:gd name="T70" fmla="*/ 21 w 54"/>
                <a:gd name="T71" fmla="*/ 8 h 17"/>
                <a:gd name="T72" fmla="*/ 19 w 54"/>
                <a:gd name="T73" fmla="*/ 8 h 17"/>
                <a:gd name="T74" fmla="*/ 17 w 54"/>
                <a:gd name="T75" fmla="*/ 8 h 17"/>
                <a:gd name="T76" fmla="*/ 12 w 54"/>
                <a:gd name="T77" fmla="*/ 8 h 17"/>
                <a:gd name="T78" fmla="*/ 11 w 54"/>
                <a:gd name="T79" fmla="*/ 10 h 17"/>
                <a:gd name="T80" fmla="*/ 11 w 54"/>
                <a:gd name="T81" fmla="*/ 12 h 17"/>
                <a:gd name="T82" fmla="*/ 12 w 54"/>
                <a:gd name="T83" fmla="*/ 12 h 17"/>
                <a:gd name="T84" fmla="*/ 11 w 54"/>
                <a:gd name="T85" fmla="*/ 12 h 17"/>
                <a:gd name="T86" fmla="*/ 11 w 54"/>
                <a:gd name="T87" fmla="*/ 12 h 17"/>
                <a:gd name="T88" fmla="*/ 7 w 54"/>
                <a:gd name="T89" fmla="*/ 12 h 17"/>
                <a:gd name="T90" fmla="*/ 6 w 54"/>
                <a:gd name="T91" fmla="*/ 12 h 17"/>
                <a:gd name="T92" fmla="*/ 6 w 54"/>
                <a:gd name="T93" fmla="*/ 13 h 17"/>
                <a:gd name="T94" fmla="*/ 6 w 54"/>
                <a:gd name="T95" fmla="*/ 12 h 17"/>
                <a:gd name="T96" fmla="*/ 5 w 54"/>
                <a:gd name="T97" fmla="*/ 12 h 17"/>
                <a:gd name="T98" fmla="*/ 5 w 54"/>
                <a:gd name="T99" fmla="*/ 8 h 17"/>
                <a:gd name="T100" fmla="*/ 4 w 54"/>
                <a:gd name="T101" fmla="*/ 8 h 17"/>
                <a:gd name="T102" fmla="*/ 2 w 54"/>
                <a:gd name="T103" fmla="*/ 7 h 17"/>
                <a:gd name="T104" fmla="*/ 1 w 54"/>
                <a:gd name="T105" fmla="*/ 8 h 17"/>
                <a:gd name="T106" fmla="*/ 0 w 54"/>
                <a:gd name="T107" fmla="*/ 10 h 17"/>
                <a:gd name="T108" fmla="*/ 0 w 54"/>
                <a:gd name="T109" fmla="*/ 11 h 17"/>
                <a:gd name="T110" fmla="*/ 0 w 54"/>
                <a:gd name="T111" fmla="*/ 13 h 17"/>
                <a:gd name="T112" fmla="*/ 0 w 54"/>
                <a:gd name="T113" fmla="*/ 15 h 17"/>
                <a:gd name="T114" fmla="*/ 1 w 54"/>
                <a:gd name="T115" fmla="*/ 15 h 17"/>
                <a:gd name="T116" fmla="*/ 1 w 54"/>
                <a:gd name="T117" fmla="*/ 17 h 17"/>
                <a:gd name="T118" fmla="*/ 1 w 54"/>
                <a:gd name="T119" fmla="*/ 15 h 17"/>
                <a:gd name="T120" fmla="*/ 1 w 54"/>
                <a:gd name="T121" fmla="*/ 15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54" h="17">
                  <a:moveTo>
                    <a:pt x="1" y="15"/>
                  </a:moveTo>
                  <a:lnTo>
                    <a:pt x="19" y="10"/>
                  </a:lnTo>
                  <a:lnTo>
                    <a:pt x="25" y="10"/>
                  </a:lnTo>
                  <a:lnTo>
                    <a:pt x="28" y="6"/>
                  </a:lnTo>
                  <a:lnTo>
                    <a:pt x="33" y="7"/>
                  </a:lnTo>
                  <a:lnTo>
                    <a:pt x="37" y="8"/>
                  </a:lnTo>
                  <a:lnTo>
                    <a:pt x="40" y="10"/>
                  </a:lnTo>
                  <a:lnTo>
                    <a:pt x="44" y="12"/>
                  </a:lnTo>
                  <a:lnTo>
                    <a:pt x="48" y="12"/>
                  </a:lnTo>
                  <a:lnTo>
                    <a:pt x="54" y="10"/>
                  </a:lnTo>
                  <a:lnTo>
                    <a:pt x="52" y="6"/>
                  </a:lnTo>
                  <a:lnTo>
                    <a:pt x="48" y="6"/>
                  </a:lnTo>
                  <a:lnTo>
                    <a:pt x="45" y="8"/>
                  </a:lnTo>
                  <a:lnTo>
                    <a:pt x="39" y="4"/>
                  </a:lnTo>
                  <a:lnTo>
                    <a:pt x="35" y="1"/>
                  </a:lnTo>
                  <a:lnTo>
                    <a:pt x="32" y="0"/>
                  </a:lnTo>
                  <a:lnTo>
                    <a:pt x="27" y="0"/>
                  </a:lnTo>
                  <a:lnTo>
                    <a:pt x="5" y="5"/>
                  </a:lnTo>
                  <a:lnTo>
                    <a:pt x="5" y="6"/>
                  </a:lnTo>
                  <a:lnTo>
                    <a:pt x="6" y="7"/>
                  </a:lnTo>
                  <a:lnTo>
                    <a:pt x="6" y="10"/>
                  </a:lnTo>
                  <a:lnTo>
                    <a:pt x="9" y="11"/>
                  </a:lnTo>
                  <a:lnTo>
                    <a:pt x="9" y="10"/>
                  </a:lnTo>
                  <a:lnTo>
                    <a:pt x="9" y="10"/>
                  </a:lnTo>
                  <a:lnTo>
                    <a:pt x="9" y="10"/>
                  </a:lnTo>
                  <a:lnTo>
                    <a:pt x="11" y="8"/>
                  </a:lnTo>
                  <a:lnTo>
                    <a:pt x="13" y="8"/>
                  </a:lnTo>
                  <a:lnTo>
                    <a:pt x="19" y="8"/>
                  </a:lnTo>
                  <a:lnTo>
                    <a:pt x="21" y="7"/>
                  </a:lnTo>
                  <a:lnTo>
                    <a:pt x="24" y="7"/>
                  </a:lnTo>
                  <a:lnTo>
                    <a:pt x="26" y="8"/>
                  </a:lnTo>
                  <a:lnTo>
                    <a:pt x="27" y="7"/>
                  </a:lnTo>
                  <a:lnTo>
                    <a:pt x="27" y="8"/>
                  </a:lnTo>
                  <a:lnTo>
                    <a:pt x="25" y="8"/>
                  </a:lnTo>
                  <a:lnTo>
                    <a:pt x="24" y="7"/>
                  </a:lnTo>
                  <a:lnTo>
                    <a:pt x="21" y="8"/>
                  </a:lnTo>
                  <a:lnTo>
                    <a:pt x="19" y="8"/>
                  </a:lnTo>
                  <a:lnTo>
                    <a:pt x="17" y="8"/>
                  </a:lnTo>
                  <a:lnTo>
                    <a:pt x="12" y="8"/>
                  </a:lnTo>
                  <a:lnTo>
                    <a:pt x="11" y="10"/>
                  </a:lnTo>
                  <a:lnTo>
                    <a:pt x="11" y="12"/>
                  </a:lnTo>
                  <a:lnTo>
                    <a:pt x="12" y="12"/>
                  </a:lnTo>
                  <a:lnTo>
                    <a:pt x="11" y="12"/>
                  </a:lnTo>
                  <a:lnTo>
                    <a:pt x="11" y="12"/>
                  </a:lnTo>
                  <a:lnTo>
                    <a:pt x="7" y="12"/>
                  </a:lnTo>
                  <a:lnTo>
                    <a:pt x="6" y="12"/>
                  </a:lnTo>
                  <a:lnTo>
                    <a:pt x="6" y="13"/>
                  </a:lnTo>
                  <a:lnTo>
                    <a:pt x="6" y="12"/>
                  </a:lnTo>
                  <a:lnTo>
                    <a:pt x="5" y="12"/>
                  </a:lnTo>
                  <a:lnTo>
                    <a:pt x="5" y="8"/>
                  </a:lnTo>
                  <a:lnTo>
                    <a:pt x="4" y="8"/>
                  </a:lnTo>
                  <a:lnTo>
                    <a:pt x="2" y="7"/>
                  </a:lnTo>
                  <a:lnTo>
                    <a:pt x="1" y="8"/>
                  </a:lnTo>
                  <a:lnTo>
                    <a:pt x="0" y="10"/>
                  </a:lnTo>
                  <a:lnTo>
                    <a:pt x="0" y="11"/>
                  </a:lnTo>
                  <a:lnTo>
                    <a:pt x="0" y="13"/>
                  </a:lnTo>
                  <a:lnTo>
                    <a:pt x="0" y="15"/>
                  </a:lnTo>
                  <a:lnTo>
                    <a:pt x="1" y="15"/>
                  </a:lnTo>
                  <a:lnTo>
                    <a:pt x="1" y="17"/>
                  </a:lnTo>
                  <a:lnTo>
                    <a:pt x="1" y="15"/>
                  </a:lnTo>
                  <a:lnTo>
                    <a:pt x="1" y="15"/>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26" name="Gabon">
              <a:extLst>
                <a:ext uri="{FF2B5EF4-FFF2-40B4-BE49-F238E27FC236}">
                  <a16:creationId xmlns:a16="http://schemas.microsoft.com/office/drawing/2014/main" id="{251CAB53-3D2B-3746-B238-4F9966102FDD}"/>
                </a:ext>
              </a:extLst>
            </p:cNvPr>
            <p:cNvSpPr>
              <a:spLocks/>
            </p:cNvSpPr>
            <p:nvPr/>
          </p:nvSpPr>
          <p:spPr bwMode="auto">
            <a:xfrm>
              <a:off x="6592686" y="3918008"/>
              <a:ext cx="154543" cy="188075"/>
            </a:xfrm>
            <a:custGeom>
              <a:avLst/>
              <a:gdLst>
                <a:gd name="T0" fmla="*/ 38 w 106"/>
                <a:gd name="T1" fmla="*/ 119 h 129"/>
                <a:gd name="T2" fmla="*/ 34 w 106"/>
                <a:gd name="T3" fmla="*/ 111 h 129"/>
                <a:gd name="T4" fmla="*/ 21 w 106"/>
                <a:gd name="T5" fmla="*/ 102 h 129"/>
                <a:gd name="T6" fmla="*/ 21 w 106"/>
                <a:gd name="T7" fmla="*/ 98 h 129"/>
                <a:gd name="T8" fmla="*/ 23 w 106"/>
                <a:gd name="T9" fmla="*/ 102 h 129"/>
                <a:gd name="T10" fmla="*/ 27 w 106"/>
                <a:gd name="T11" fmla="*/ 100 h 129"/>
                <a:gd name="T12" fmla="*/ 25 w 106"/>
                <a:gd name="T13" fmla="*/ 98 h 129"/>
                <a:gd name="T14" fmla="*/ 21 w 106"/>
                <a:gd name="T15" fmla="*/ 97 h 129"/>
                <a:gd name="T16" fmla="*/ 19 w 106"/>
                <a:gd name="T17" fmla="*/ 96 h 129"/>
                <a:gd name="T18" fmla="*/ 18 w 106"/>
                <a:gd name="T19" fmla="*/ 97 h 129"/>
                <a:gd name="T20" fmla="*/ 13 w 106"/>
                <a:gd name="T21" fmla="*/ 90 h 129"/>
                <a:gd name="T22" fmla="*/ 13 w 106"/>
                <a:gd name="T23" fmla="*/ 85 h 129"/>
                <a:gd name="T24" fmla="*/ 16 w 106"/>
                <a:gd name="T25" fmla="*/ 89 h 129"/>
                <a:gd name="T26" fmla="*/ 13 w 106"/>
                <a:gd name="T27" fmla="*/ 85 h 129"/>
                <a:gd name="T28" fmla="*/ 8 w 106"/>
                <a:gd name="T29" fmla="*/ 76 h 129"/>
                <a:gd name="T30" fmla="*/ 12 w 106"/>
                <a:gd name="T31" fmla="*/ 81 h 129"/>
                <a:gd name="T32" fmla="*/ 14 w 106"/>
                <a:gd name="T33" fmla="*/ 80 h 129"/>
                <a:gd name="T34" fmla="*/ 11 w 106"/>
                <a:gd name="T35" fmla="*/ 77 h 129"/>
                <a:gd name="T36" fmla="*/ 11 w 106"/>
                <a:gd name="T37" fmla="*/ 75 h 129"/>
                <a:gd name="T38" fmla="*/ 6 w 106"/>
                <a:gd name="T39" fmla="*/ 74 h 129"/>
                <a:gd name="T40" fmla="*/ 6 w 106"/>
                <a:gd name="T41" fmla="*/ 70 h 129"/>
                <a:gd name="T42" fmla="*/ 3 w 106"/>
                <a:gd name="T43" fmla="*/ 67 h 129"/>
                <a:gd name="T44" fmla="*/ 0 w 106"/>
                <a:gd name="T45" fmla="*/ 61 h 129"/>
                <a:gd name="T46" fmla="*/ 2 w 106"/>
                <a:gd name="T47" fmla="*/ 62 h 129"/>
                <a:gd name="T48" fmla="*/ 3 w 106"/>
                <a:gd name="T49" fmla="*/ 62 h 129"/>
                <a:gd name="T50" fmla="*/ 6 w 106"/>
                <a:gd name="T51" fmla="*/ 64 h 129"/>
                <a:gd name="T52" fmla="*/ 8 w 106"/>
                <a:gd name="T53" fmla="*/ 61 h 129"/>
                <a:gd name="T54" fmla="*/ 12 w 106"/>
                <a:gd name="T55" fmla="*/ 50 h 129"/>
                <a:gd name="T56" fmla="*/ 13 w 106"/>
                <a:gd name="T57" fmla="*/ 42 h 129"/>
                <a:gd name="T58" fmla="*/ 15 w 106"/>
                <a:gd name="T59" fmla="*/ 44 h 129"/>
                <a:gd name="T60" fmla="*/ 20 w 106"/>
                <a:gd name="T61" fmla="*/ 44 h 129"/>
                <a:gd name="T62" fmla="*/ 16 w 106"/>
                <a:gd name="T63" fmla="*/ 42 h 129"/>
                <a:gd name="T64" fmla="*/ 13 w 106"/>
                <a:gd name="T65" fmla="*/ 38 h 129"/>
                <a:gd name="T66" fmla="*/ 13 w 106"/>
                <a:gd name="T67" fmla="*/ 34 h 129"/>
                <a:gd name="T68" fmla="*/ 16 w 106"/>
                <a:gd name="T69" fmla="*/ 36 h 129"/>
                <a:gd name="T70" fmla="*/ 19 w 106"/>
                <a:gd name="T71" fmla="*/ 25 h 129"/>
                <a:gd name="T72" fmla="*/ 54 w 106"/>
                <a:gd name="T73" fmla="*/ 0 h 129"/>
                <a:gd name="T74" fmla="*/ 75 w 106"/>
                <a:gd name="T75" fmla="*/ 1 h 129"/>
                <a:gd name="T76" fmla="*/ 82 w 106"/>
                <a:gd name="T77" fmla="*/ 7 h 129"/>
                <a:gd name="T78" fmla="*/ 82 w 106"/>
                <a:gd name="T79" fmla="*/ 16 h 129"/>
                <a:gd name="T80" fmla="*/ 89 w 106"/>
                <a:gd name="T81" fmla="*/ 20 h 129"/>
                <a:gd name="T82" fmla="*/ 103 w 106"/>
                <a:gd name="T83" fmla="*/ 25 h 129"/>
                <a:gd name="T84" fmla="*/ 98 w 106"/>
                <a:gd name="T85" fmla="*/ 38 h 129"/>
                <a:gd name="T86" fmla="*/ 95 w 106"/>
                <a:gd name="T87" fmla="*/ 49 h 129"/>
                <a:gd name="T88" fmla="*/ 101 w 106"/>
                <a:gd name="T89" fmla="*/ 55 h 129"/>
                <a:gd name="T90" fmla="*/ 105 w 106"/>
                <a:gd name="T91" fmla="*/ 75 h 129"/>
                <a:gd name="T92" fmla="*/ 106 w 106"/>
                <a:gd name="T93" fmla="*/ 82 h 129"/>
                <a:gd name="T94" fmla="*/ 101 w 106"/>
                <a:gd name="T95" fmla="*/ 96 h 129"/>
                <a:gd name="T96" fmla="*/ 94 w 106"/>
                <a:gd name="T97" fmla="*/ 95 h 129"/>
                <a:gd name="T98" fmla="*/ 81 w 106"/>
                <a:gd name="T99" fmla="*/ 96 h 129"/>
                <a:gd name="T100" fmla="*/ 76 w 106"/>
                <a:gd name="T101" fmla="*/ 91 h 129"/>
                <a:gd name="T102" fmla="*/ 69 w 106"/>
                <a:gd name="T103" fmla="*/ 87 h 129"/>
                <a:gd name="T104" fmla="*/ 62 w 106"/>
                <a:gd name="T105" fmla="*/ 97 h 129"/>
                <a:gd name="T106" fmla="*/ 53 w 106"/>
                <a:gd name="T107" fmla="*/ 103 h 129"/>
                <a:gd name="T108" fmla="*/ 60 w 106"/>
                <a:gd name="T109" fmla="*/ 116 h 129"/>
                <a:gd name="T110" fmla="*/ 59 w 106"/>
                <a:gd name="T111" fmla="*/ 123 h 129"/>
                <a:gd name="T112" fmla="*/ 51 w 106"/>
                <a:gd name="T113" fmla="*/ 118 h 129"/>
                <a:gd name="T114" fmla="*/ 47 w 106"/>
                <a:gd name="T115" fmla="*/ 124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06" h="129">
                  <a:moveTo>
                    <a:pt x="45" y="129"/>
                  </a:moveTo>
                  <a:lnTo>
                    <a:pt x="42" y="127"/>
                  </a:lnTo>
                  <a:lnTo>
                    <a:pt x="42" y="124"/>
                  </a:lnTo>
                  <a:lnTo>
                    <a:pt x="41" y="123"/>
                  </a:lnTo>
                  <a:lnTo>
                    <a:pt x="40" y="121"/>
                  </a:lnTo>
                  <a:lnTo>
                    <a:pt x="38" y="119"/>
                  </a:lnTo>
                  <a:lnTo>
                    <a:pt x="36" y="118"/>
                  </a:lnTo>
                  <a:lnTo>
                    <a:pt x="35" y="117"/>
                  </a:lnTo>
                  <a:lnTo>
                    <a:pt x="35" y="115"/>
                  </a:lnTo>
                  <a:lnTo>
                    <a:pt x="34" y="112"/>
                  </a:lnTo>
                  <a:lnTo>
                    <a:pt x="35" y="112"/>
                  </a:lnTo>
                  <a:lnTo>
                    <a:pt x="34" y="111"/>
                  </a:lnTo>
                  <a:lnTo>
                    <a:pt x="32" y="109"/>
                  </a:lnTo>
                  <a:lnTo>
                    <a:pt x="29" y="107"/>
                  </a:lnTo>
                  <a:lnTo>
                    <a:pt x="27" y="107"/>
                  </a:lnTo>
                  <a:lnTo>
                    <a:pt x="25" y="104"/>
                  </a:lnTo>
                  <a:lnTo>
                    <a:pt x="23" y="103"/>
                  </a:lnTo>
                  <a:lnTo>
                    <a:pt x="21" y="102"/>
                  </a:lnTo>
                  <a:lnTo>
                    <a:pt x="19" y="101"/>
                  </a:lnTo>
                  <a:lnTo>
                    <a:pt x="19" y="100"/>
                  </a:lnTo>
                  <a:lnTo>
                    <a:pt x="19" y="98"/>
                  </a:lnTo>
                  <a:lnTo>
                    <a:pt x="20" y="98"/>
                  </a:lnTo>
                  <a:lnTo>
                    <a:pt x="20" y="98"/>
                  </a:lnTo>
                  <a:lnTo>
                    <a:pt x="21" y="98"/>
                  </a:lnTo>
                  <a:lnTo>
                    <a:pt x="21" y="100"/>
                  </a:lnTo>
                  <a:lnTo>
                    <a:pt x="22" y="100"/>
                  </a:lnTo>
                  <a:lnTo>
                    <a:pt x="22" y="100"/>
                  </a:lnTo>
                  <a:lnTo>
                    <a:pt x="23" y="101"/>
                  </a:lnTo>
                  <a:lnTo>
                    <a:pt x="23" y="102"/>
                  </a:lnTo>
                  <a:lnTo>
                    <a:pt x="23" y="102"/>
                  </a:lnTo>
                  <a:lnTo>
                    <a:pt x="25" y="102"/>
                  </a:lnTo>
                  <a:lnTo>
                    <a:pt x="25" y="101"/>
                  </a:lnTo>
                  <a:lnTo>
                    <a:pt x="25" y="101"/>
                  </a:lnTo>
                  <a:lnTo>
                    <a:pt x="26" y="101"/>
                  </a:lnTo>
                  <a:lnTo>
                    <a:pt x="27" y="101"/>
                  </a:lnTo>
                  <a:lnTo>
                    <a:pt x="27" y="100"/>
                  </a:lnTo>
                  <a:lnTo>
                    <a:pt x="26" y="98"/>
                  </a:lnTo>
                  <a:lnTo>
                    <a:pt x="26" y="98"/>
                  </a:lnTo>
                  <a:lnTo>
                    <a:pt x="26" y="100"/>
                  </a:lnTo>
                  <a:lnTo>
                    <a:pt x="25" y="100"/>
                  </a:lnTo>
                  <a:lnTo>
                    <a:pt x="25" y="98"/>
                  </a:lnTo>
                  <a:lnTo>
                    <a:pt x="25" y="98"/>
                  </a:lnTo>
                  <a:lnTo>
                    <a:pt x="23" y="100"/>
                  </a:lnTo>
                  <a:lnTo>
                    <a:pt x="23" y="100"/>
                  </a:lnTo>
                  <a:lnTo>
                    <a:pt x="23" y="98"/>
                  </a:lnTo>
                  <a:lnTo>
                    <a:pt x="22" y="97"/>
                  </a:lnTo>
                  <a:lnTo>
                    <a:pt x="21" y="97"/>
                  </a:lnTo>
                  <a:lnTo>
                    <a:pt x="21" y="97"/>
                  </a:lnTo>
                  <a:lnTo>
                    <a:pt x="20" y="97"/>
                  </a:lnTo>
                  <a:lnTo>
                    <a:pt x="20" y="98"/>
                  </a:lnTo>
                  <a:lnTo>
                    <a:pt x="20" y="97"/>
                  </a:lnTo>
                  <a:lnTo>
                    <a:pt x="19" y="96"/>
                  </a:lnTo>
                  <a:lnTo>
                    <a:pt x="19" y="96"/>
                  </a:lnTo>
                  <a:lnTo>
                    <a:pt x="19" y="96"/>
                  </a:lnTo>
                  <a:lnTo>
                    <a:pt x="19" y="96"/>
                  </a:lnTo>
                  <a:lnTo>
                    <a:pt x="19" y="97"/>
                  </a:lnTo>
                  <a:lnTo>
                    <a:pt x="18" y="96"/>
                  </a:lnTo>
                  <a:lnTo>
                    <a:pt x="18" y="96"/>
                  </a:lnTo>
                  <a:lnTo>
                    <a:pt x="18" y="97"/>
                  </a:lnTo>
                  <a:lnTo>
                    <a:pt x="18" y="97"/>
                  </a:lnTo>
                  <a:lnTo>
                    <a:pt x="16" y="95"/>
                  </a:lnTo>
                  <a:lnTo>
                    <a:pt x="15" y="94"/>
                  </a:lnTo>
                  <a:lnTo>
                    <a:pt x="16" y="92"/>
                  </a:lnTo>
                  <a:lnTo>
                    <a:pt x="15" y="92"/>
                  </a:lnTo>
                  <a:lnTo>
                    <a:pt x="13" y="91"/>
                  </a:lnTo>
                  <a:lnTo>
                    <a:pt x="13" y="90"/>
                  </a:lnTo>
                  <a:lnTo>
                    <a:pt x="13" y="89"/>
                  </a:lnTo>
                  <a:lnTo>
                    <a:pt x="11" y="87"/>
                  </a:lnTo>
                  <a:lnTo>
                    <a:pt x="11" y="85"/>
                  </a:lnTo>
                  <a:lnTo>
                    <a:pt x="12" y="87"/>
                  </a:lnTo>
                  <a:lnTo>
                    <a:pt x="12" y="87"/>
                  </a:lnTo>
                  <a:lnTo>
                    <a:pt x="13" y="85"/>
                  </a:lnTo>
                  <a:lnTo>
                    <a:pt x="13" y="87"/>
                  </a:lnTo>
                  <a:lnTo>
                    <a:pt x="14" y="87"/>
                  </a:lnTo>
                  <a:lnTo>
                    <a:pt x="14" y="88"/>
                  </a:lnTo>
                  <a:lnTo>
                    <a:pt x="15" y="89"/>
                  </a:lnTo>
                  <a:lnTo>
                    <a:pt x="15" y="89"/>
                  </a:lnTo>
                  <a:lnTo>
                    <a:pt x="16" y="89"/>
                  </a:lnTo>
                  <a:lnTo>
                    <a:pt x="16" y="88"/>
                  </a:lnTo>
                  <a:lnTo>
                    <a:pt x="15" y="88"/>
                  </a:lnTo>
                  <a:lnTo>
                    <a:pt x="14" y="87"/>
                  </a:lnTo>
                  <a:lnTo>
                    <a:pt x="14" y="85"/>
                  </a:lnTo>
                  <a:lnTo>
                    <a:pt x="13" y="85"/>
                  </a:lnTo>
                  <a:lnTo>
                    <a:pt x="13" y="85"/>
                  </a:lnTo>
                  <a:lnTo>
                    <a:pt x="12" y="85"/>
                  </a:lnTo>
                  <a:lnTo>
                    <a:pt x="12" y="85"/>
                  </a:lnTo>
                  <a:lnTo>
                    <a:pt x="12" y="85"/>
                  </a:lnTo>
                  <a:lnTo>
                    <a:pt x="11" y="85"/>
                  </a:lnTo>
                  <a:lnTo>
                    <a:pt x="11" y="80"/>
                  </a:lnTo>
                  <a:lnTo>
                    <a:pt x="8" y="76"/>
                  </a:lnTo>
                  <a:lnTo>
                    <a:pt x="9" y="77"/>
                  </a:lnTo>
                  <a:lnTo>
                    <a:pt x="11" y="78"/>
                  </a:lnTo>
                  <a:lnTo>
                    <a:pt x="11" y="82"/>
                  </a:lnTo>
                  <a:lnTo>
                    <a:pt x="12" y="82"/>
                  </a:lnTo>
                  <a:lnTo>
                    <a:pt x="12" y="82"/>
                  </a:lnTo>
                  <a:lnTo>
                    <a:pt x="12" y="81"/>
                  </a:lnTo>
                  <a:lnTo>
                    <a:pt x="13" y="81"/>
                  </a:lnTo>
                  <a:lnTo>
                    <a:pt x="13" y="81"/>
                  </a:lnTo>
                  <a:lnTo>
                    <a:pt x="13" y="80"/>
                  </a:lnTo>
                  <a:lnTo>
                    <a:pt x="15" y="81"/>
                  </a:lnTo>
                  <a:lnTo>
                    <a:pt x="15" y="80"/>
                  </a:lnTo>
                  <a:lnTo>
                    <a:pt x="14" y="80"/>
                  </a:lnTo>
                  <a:lnTo>
                    <a:pt x="14" y="78"/>
                  </a:lnTo>
                  <a:lnTo>
                    <a:pt x="13" y="78"/>
                  </a:lnTo>
                  <a:lnTo>
                    <a:pt x="13" y="80"/>
                  </a:lnTo>
                  <a:lnTo>
                    <a:pt x="12" y="80"/>
                  </a:lnTo>
                  <a:lnTo>
                    <a:pt x="11" y="80"/>
                  </a:lnTo>
                  <a:lnTo>
                    <a:pt x="11" y="77"/>
                  </a:lnTo>
                  <a:lnTo>
                    <a:pt x="12" y="76"/>
                  </a:lnTo>
                  <a:lnTo>
                    <a:pt x="12" y="76"/>
                  </a:lnTo>
                  <a:lnTo>
                    <a:pt x="12" y="76"/>
                  </a:lnTo>
                  <a:lnTo>
                    <a:pt x="12" y="75"/>
                  </a:lnTo>
                  <a:lnTo>
                    <a:pt x="12" y="76"/>
                  </a:lnTo>
                  <a:lnTo>
                    <a:pt x="11" y="75"/>
                  </a:lnTo>
                  <a:lnTo>
                    <a:pt x="9" y="76"/>
                  </a:lnTo>
                  <a:lnTo>
                    <a:pt x="9" y="75"/>
                  </a:lnTo>
                  <a:lnTo>
                    <a:pt x="8" y="75"/>
                  </a:lnTo>
                  <a:lnTo>
                    <a:pt x="8" y="75"/>
                  </a:lnTo>
                  <a:lnTo>
                    <a:pt x="7" y="74"/>
                  </a:lnTo>
                  <a:lnTo>
                    <a:pt x="6" y="74"/>
                  </a:lnTo>
                  <a:lnTo>
                    <a:pt x="7" y="72"/>
                  </a:lnTo>
                  <a:lnTo>
                    <a:pt x="7" y="71"/>
                  </a:lnTo>
                  <a:lnTo>
                    <a:pt x="6" y="71"/>
                  </a:lnTo>
                  <a:lnTo>
                    <a:pt x="6" y="72"/>
                  </a:lnTo>
                  <a:lnTo>
                    <a:pt x="6" y="72"/>
                  </a:lnTo>
                  <a:lnTo>
                    <a:pt x="6" y="70"/>
                  </a:lnTo>
                  <a:lnTo>
                    <a:pt x="3" y="69"/>
                  </a:lnTo>
                  <a:lnTo>
                    <a:pt x="3" y="68"/>
                  </a:lnTo>
                  <a:lnTo>
                    <a:pt x="5" y="68"/>
                  </a:lnTo>
                  <a:lnTo>
                    <a:pt x="5" y="68"/>
                  </a:lnTo>
                  <a:lnTo>
                    <a:pt x="5" y="68"/>
                  </a:lnTo>
                  <a:lnTo>
                    <a:pt x="3" y="67"/>
                  </a:lnTo>
                  <a:lnTo>
                    <a:pt x="2" y="67"/>
                  </a:lnTo>
                  <a:lnTo>
                    <a:pt x="2" y="65"/>
                  </a:lnTo>
                  <a:lnTo>
                    <a:pt x="1" y="64"/>
                  </a:lnTo>
                  <a:lnTo>
                    <a:pt x="1" y="63"/>
                  </a:lnTo>
                  <a:lnTo>
                    <a:pt x="1" y="63"/>
                  </a:lnTo>
                  <a:lnTo>
                    <a:pt x="0" y="61"/>
                  </a:lnTo>
                  <a:lnTo>
                    <a:pt x="0" y="61"/>
                  </a:lnTo>
                  <a:lnTo>
                    <a:pt x="0" y="60"/>
                  </a:lnTo>
                  <a:lnTo>
                    <a:pt x="1" y="60"/>
                  </a:lnTo>
                  <a:lnTo>
                    <a:pt x="2" y="61"/>
                  </a:lnTo>
                  <a:lnTo>
                    <a:pt x="2" y="61"/>
                  </a:lnTo>
                  <a:lnTo>
                    <a:pt x="2" y="62"/>
                  </a:lnTo>
                  <a:lnTo>
                    <a:pt x="3" y="64"/>
                  </a:lnTo>
                  <a:lnTo>
                    <a:pt x="3" y="63"/>
                  </a:lnTo>
                  <a:lnTo>
                    <a:pt x="3" y="62"/>
                  </a:lnTo>
                  <a:lnTo>
                    <a:pt x="3" y="62"/>
                  </a:lnTo>
                  <a:lnTo>
                    <a:pt x="3" y="62"/>
                  </a:lnTo>
                  <a:lnTo>
                    <a:pt x="3" y="62"/>
                  </a:lnTo>
                  <a:lnTo>
                    <a:pt x="3" y="61"/>
                  </a:lnTo>
                  <a:lnTo>
                    <a:pt x="3" y="61"/>
                  </a:lnTo>
                  <a:lnTo>
                    <a:pt x="5" y="62"/>
                  </a:lnTo>
                  <a:lnTo>
                    <a:pt x="6" y="64"/>
                  </a:lnTo>
                  <a:lnTo>
                    <a:pt x="6" y="64"/>
                  </a:lnTo>
                  <a:lnTo>
                    <a:pt x="6" y="64"/>
                  </a:lnTo>
                  <a:lnTo>
                    <a:pt x="7" y="63"/>
                  </a:lnTo>
                  <a:lnTo>
                    <a:pt x="6" y="62"/>
                  </a:lnTo>
                  <a:lnTo>
                    <a:pt x="7" y="61"/>
                  </a:lnTo>
                  <a:lnTo>
                    <a:pt x="7" y="61"/>
                  </a:lnTo>
                  <a:lnTo>
                    <a:pt x="8" y="61"/>
                  </a:lnTo>
                  <a:lnTo>
                    <a:pt x="8" y="61"/>
                  </a:lnTo>
                  <a:lnTo>
                    <a:pt x="8" y="61"/>
                  </a:lnTo>
                  <a:lnTo>
                    <a:pt x="8" y="60"/>
                  </a:lnTo>
                  <a:lnTo>
                    <a:pt x="8" y="60"/>
                  </a:lnTo>
                  <a:lnTo>
                    <a:pt x="9" y="56"/>
                  </a:lnTo>
                  <a:lnTo>
                    <a:pt x="12" y="55"/>
                  </a:lnTo>
                  <a:lnTo>
                    <a:pt x="12" y="50"/>
                  </a:lnTo>
                  <a:lnTo>
                    <a:pt x="12" y="45"/>
                  </a:lnTo>
                  <a:lnTo>
                    <a:pt x="11" y="44"/>
                  </a:lnTo>
                  <a:lnTo>
                    <a:pt x="11" y="42"/>
                  </a:lnTo>
                  <a:lnTo>
                    <a:pt x="12" y="41"/>
                  </a:lnTo>
                  <a:lnTo>
                    <a:pt x="12" y="41"/>
                  </a:lnTo>
                  <a:lnTo>
                    <a:pt x="13" y="42"/>
                  </a:lnTo>
                  <a:lnTo>
                    <a:pt x="13" y="43"/>
                  </a:lnTo>
                  <a:lnTo>
                    <a:pt x="13" y="43"/>
                  </a:lnTo>
                  <a:lnTo>
                    <a:pt x="14" y="45"/>
                  </a:lnTo>
                  <a:lnTo>
                    <a:pt x="15" y="45"/>
                  </a:lnTo>
                  <a:lnTo>
                    <a:pt x="15" y="45"/>
                  </a:lnTo>
                  <a:lnTo>
                    <a:pt x="15" y="44"/>
                  </a:lnTo>
                  <a:lnTo>
                    <a:pt x="15" y="44"/>
                  </a:lnTo>
                  <a:lnTo>
                    <a:pt x="16" y="45"/>
                  </a:lnTo>
                  <a:lnTo>
                    <a:pt x="18" y="44"/>
                  </a:lnTo>
                  <a:lnTo>
                    <a:pt x="19" y="44"/>
                  </a:lnTo>
                  <a:lnTo>
                    <a:pt x="20" y="45"/>
                  </a:lnTo>
                  <a:lnTo>
                    <a:pt x="20" y="44"/>
                  </a:lnTo>
                  <a:lnTo>
                    <a:pt x="21" y="44"/>
                  </a:lnTo>
                  <a:lnTo>
                    <a:pt x="22" y="43"/>
                  </a:lnTo>
                  <a:lnTo>
                    <a:pt x="21" y="43"/>
                  </a:lnTo>
                  <a:lnTo>
                    <a:pt x="20" y="43"/>
                  </a:lnTo>
                  <a:lnTo>
                    <a:pt x="16" y="42"/>
                  </a:lnTo>
                  <a:lnTo>
                    <a:pt x="16" y="42"/>
                  </a:lnTo>
                  <a:lnTo>
                    <a:pt x="16" y="41"/>
                  </a:lnTo>
                  <a:lnTo>
                    <a:pt x="16" y="41"/>
                  </a:lnTo>
                  <a:lnTo>
                    <a:pt x="15" y="41"/>
                  </a:lnTo>
                  <a:lnTo>
                    <a:pt x="15" y="41"/>
                  </a:lnTo>
                  <a:lnTo>
                    <a:pt x="14" y="40"/>
                  </a:lnTo>
                  <a:lnTo>
                    <a:pt x="13" y="38"/>
                  </a:lnTo>
                  <a:lnTo>
                    <a:pt x="13" y="37"/>
                  </a:lnTo>
                  <a:lnTo>
                    <a:pt x="12" y="36"/>
                  </a:lnTo>
                  <a:lnTo>
                    <a:pt x="12" y="35"/>
                  </a:lnTo>
                  <a:lnTo>
                    <a:pt x="12" y="35"/>
                  </a:lnTo>
                  <a:lnTo>
                    <a:pt x="12" y="34"/>
                  </a:lnTo>
                  <a:lnTo>
                    <a:pt x="13" y="34"/>
                  </a:lnTo>
                  <a:lnTo>
                    <a:pt x="15" y="34"/>
                  </a:lnTo>
                  <a:lnTo>
                    <a:pt x="16" y="35"/>
                  </a:lnTo>
                  <a:lnTo>
                    <a:pt x="15" y="35"/>
                  </a:lnTo>
                  <a:lnTo>
                    <a:pt x="15" y="35"/>
                  </a:lnTo>
                  <a:lnTo>
                    <a:pt x="16" y="35"/>
                  </a:lnTo>
                  <a:lnTo>
                    <a:pt x="16" y="36"/>
                  </a:lnTo>
                  <a:lnTo>
                    <a:pt x="18" y="35"/>
                  </a:lnTo>
                  <a:lnTo>
                    <a:pt x="18" y="31"/>
                  </a:lnTo>
                  <a:lnTo>
                    <a:pt x="16" y="29"/>
                  </a:lnTo>
                  <a:lnTo>
                    <a:pt x="16" y="27"/>
                  </a:lnTo>
                  <a:lnTo>
                    <a:pt x="18" y="28"/>
                  </a:lnTo>
                  <a:lnTo>
                    <a:pt x="19" y="25"/>
                  </a:lnTo>
                  <a:lnTo>
                    <a:pt x="20" y="27"/>
                  </a:lnTo>
                  <a:lnTo>
                    <a:pt x="48" y="27"/>
                  </a:lnTo>
                  <a:lnTo>
                    <a:pt x="48" y="3"/>
                  </a:lnTo>
                  <a:lnTo>
                    <a:pt x="48" y="1"/>
                  </a:lnTo>
                  <a:lnTo>
                    <a:pt x="49" y="0"/>
                  </a:lnTo>
                  <a:lnTo>
                    <a:pt x="54" y="0"/>
                  </a:lnTo>
                  <a:lnTo>
                    <a:pt x="55" y="0"/>
                  </a:lnTo>
                  <a:lnTo>
                    <a:pt x="65" y="0"/>
                  </a:lnTo>
                  <a:lnTo>
                    <a:pt x="66" y="0"/>
                  </a:lnTo>
                  <a:lnTo>
                    <a:pt x="74" y="1"/>
                  </a:lnTo>
                  <a:lnTo>
                    <a:pt x="75" y="1"/>
                  </a:lnTo>
                  <a:lnTo>
                    <a:pt x="75" y="1"/>
                  </a:lnTo>
                  <a:lnTo>
                    <a:pt x="81" y="0"/>
                  </a:lnTo>
                  <a:lnTo>
                    <a:pt x="83" y="1"/>
                  </a:lnTo>
                  <a:lnTo>
                    <a:pt x="83" y="1"/>
                  </a:lnTo>
                  <a:lnTo>
                    <a:pt x="83" y="3"/>
                  </a:lnTo>
                  <a:lnTo>
                    <a:pt x="83" y="5"/>
                  </a:lnTo>
                  <a:lnTo>
                    <a:pt x="82" y="7"/>
                  </a:lnTo>
                  <a:lnTo>
                    <a:pt x="82" y="8"/>
                  </a:lnTo>
                  <a:lnTo>
                    <a:pt x="81" y="8"/>
                  </a:lnTo>
                  <a:lnTo>
                    <a:pt x="82" y="10"/>
                  </a:lnTo>
                  <a:lnTo>
                    <a:pt x="81" y="10"/>
                  </a:lnTo>
                  <a:lnTo>
                    <a:pt x="81" y="15"/>
                  </a:lnTo>
                  <a:lnTo>
                    <a:pt x="82" y="16"/>
                  </a:lnTo>
                  <a:lnTo>
                    <a:pt x="83" y="18"/>
                  </a:lnTo>
                  <a:lnTo>
                    <a:pt x="81" y="22"/>
                  </a:lnTo>
                  <a:lnTo>
                    <a:pt x="85" y="22"/>
                  </a:lnTo>
                  <a:lnTo>
                    <a:pt x="86" y="21"/>
                  </a:lnTo>
                  <a:lnTo>
                    <a:pt x="88" y="21"/>
                  </a:lnTo>
                  <a:lnTo>
                    <a:pt x="89" y="20"/>
                  </a:lnTo>
                  <a:lnTo>
                    <a:pt x="92" y="18"/>
                  </a:lnTo>
                  <a:lnTo>
                    <a:pt x="93" y="20"/>
                  </a:lnTo>
                  <a:lnTo>
                    <a:pt x="93" y="17"/>
                  </a:lnTo>
                  <a:lnTo>
                    <a:pt x="100" y="18"/>
                  </a:lnTo>
                  <a:lnTo>
                    <a:pt x="102" y="20"/>
                  </a:lnTo>
                  <a:lnTo>
                    <a:pt x="103" y="25"/>
                  </a:lnTo>
                  <a:lnTo>
                    <a:pt x="106" y="28"/>
                  </a:lnTo>
                  <a:lnTo>
                    <a:pt x="103" y="34"/>
                  </a:lnTo>
                  <a:lnTo>
                    <a:pt x="101" y="36"/>
                  </a:lnTo>
                  <a:lnTo>
                    <a:pt x="99" y="36"/>
                  </a:lnTo>
                  <a:lnTo>
                    <a:pt x="99" y="36"/>
                  </a:lnTo>
                  <a:lnTo>
                    <a:pt x="98" y="38"/>
                  </a:lnTo>
                  <a:lnTo>
                    <a:pt x="96" y="40"/>
                  </a:lnTo>
                  <a:lnTo>
                    <a:pt x="95" y="42"/>
                  </a:lnTo>
                  <a:lnTo>
                    <a:pt x="95" y="47"/>
                  </a:lnTo>
                  <a:lnTo>
                    <a:pt x="96" y="48"/>
                  </a:lnTo>
                  <a:lnTo>
                    <a:pt x="98" y="49"/>
                  </a:lnTo>
                  <a:lnTo>
                    <a:pt x="95" y="49"/>
                  </a:lnTo>
                  <a:lnTo>
                    <a:pt x="95" y="50"/>
                  </a:lnTo>
                  <a:lnTo>
                    <a:pt x="98" y="52"/>
                  </a:lnTo>
                  <a:lnTo>
                    <a:pt x="98" y="52"/>
                  </a:lnTo>
                  <a:lnTo>
                    <a:pt x="99" y="52"/>
                  </a:lnTo>
                  <a:lnTo>
                    <a:pt x="100" y="56"/>
                  </a:lnTo>
                  <a:lnTo>
                    <a:pt x="101" y="55"/>
                  </a:lnTo>
                  <a:lnTo>
                    <a:pt x="102" y="55"/>
                  </a:lnTo>
                  <a:lnTo>
                    <a:pt x="105" y="57"/>
                  </a:lnTo>
                  <a:lnTo>
                    <a:pt x="106" y="60"/>
                  </a:lnTo>
                  <a:lnTo>
                    <a:pt x="105" y="67"/>
                  </a:lnTo>
                  <a:lnTo>
                    <a:pt x="106" y="72"/>
                  </a:lnTo>
                  <a:lnTo>
                    <a:pt x="105" y="75"/>
                  </a:lnTo>
                  <a:lnTo>
                    <a:pt x="106" y="76"/>
                  </a:lnTo>
                  <a:lnTo>
                    <a:pt x="105" y="78"/>
                  </a:lnTo>
                  <a:lnTo>
                    <a:pt x="106" y="80"/>
                  </a:lnTo>
                  <a:lnTo>
                    <a:pt x="103" y="81"/>
                  </a:lnTo>
                  <a:lnTo>
                    <a:pt x="105" y="82"/>
                  </a:lnTo>
                  <a:lnTo>
                    <a:pt x="106" y="82"/>
                  </a:lnTo>
                  <a:lnTo>
                    <a:pt x="105" y="83"/>
                  </a:lnTo>
                  <a:lnTo>
                    <a:pt x="105" y="85"/>
                  </a:lnTo>
                  <a:lnTo>
                    <a:pt x="101" y="88"/>
                  </a:lnTo>
                  <a:lnTo>
                    <a:pt x="102" y="89"/>
                  </a:lnTo>
                  <a:lnTo>
                    <a:pt x="100" y="94"/>
                  </a:lnTo>
                  <a:lnTo>
                    <a:pt x="101" y="96"/>
                  </a:lnTo>
                  <a:lnTo>
                    <a:pt x="100" y="96"/>
                  </a:lnTo>
                  <a:lnTo>
                    <a:pt x="99" y="98"/>
                  </a:lnTo>
                  <a:lnTo>
                    <a:pt x="94" y="98"/>
                  </a:lnTo>
                  <a:lnTo>
                    <a:pt x="94" y="96"/>
                  </a:lnTo>
                  <a:lnTo>
                    <a:pt x="95" y="96"/>
                  </a:lnTo>
                  <a:lnTo>
                    <a:pt x="94" y="95"/>
                  </a:lnTo>
                  <a:lnTo>
                    <a:pt x="93" y="90"/>
                  </a:lnTo>
                  <a:lnTo>
                    <a:pt x="89" y="95"/>
                  </a:lnTo>
                  <a:lnTo>
                    <a:pt x="87" y="97"/>
                  </a:lnTo>
                  <a:lnTo>
                    <a:pt x="86" y="97"/>
                  </a:lnTo>
                  <a:lnTo>
                    <a:pt x="82" y="96"/>
                  </a:lnTo>
                  <a:lnTo>
                    <a:pt x="81" y="96"/>
                  </a:lnTo>
                  <a:lnTo>
                    <a:pt x="79" y="95"/>
                  </a:lnTo>
                  <a:lnTo>
                    <a:pt x="78" y="96"/>
                  </a:lnTo>
                  <a:lnTo>
                    <a:pt x="79" y="94"/>
                  </a:lnTo>
                  <a:lnTo>
                    <a:pt x="78" y="91"/>
                  </a:lnTo>
                  <a:lnTo>
                    <a:pt x="78" y="92"/>
                  </a:lnTo>
                  <a:lnTo>
                    <a:pt x="76" y="91"/>
                  </a:lnTo>
                  <a:lnTo>
                    <a:pt x="76" y="90"/>
                  </a:lnTo>
                  <a:lnTo>
                    <a:pt x="75" y="85"/>
                  </a:lnTo>
                  <a:lnTo>
                    <a:pt x="73" y="84"/>
                  </a:lnTo>
                  <a:lnTo>
                    <a:pt x="70" y="84"/>
                  </a:lnTo>
                  <a:lnTo>
                    <a:pt x="69" y="85"/>
                  </a:lnTo>
                  <a:lnTo>
                    <a:pt x="69" y="87"/>
                  </a:lnTo>
                  <a:lnTo>
                    <a:pt x="68" y="85"/>
                  </a:lnTo>
                  <a:lnTo>
                    <a:pt x="68" y="89"/>
                  </a:lnTo>
                  <a:lnTo>
                    <a:pt x="69" y="90"/>
                  </a:lnTo>
                  <a:lnTo>
                    <a:pt x="68" y="95"/>
                  </a:lnTo>
                  <a:lnTo>
                    <a:pt x="69" y="97"/>
                  </a:lnTo>
                  <a:lnTo>
                    <a:pt x="62" y="97"/>
                  </a:lnTo>
                  <a:lnTo>
                    <a:pt x="60" y="95"/>
                  </a:lnTo>
                  <a:lnTo>
                    <a:pt x="55" y="97"/>
                  </a:lnTo>
                  <a:lnTo>
                    <a:pt x="54" y="96"/>
                  </a:lnTo>
                  <a:lnTo>
                    <a:pt x="53" y="95"/>
                  </a:lnTo>
                  <a:lnTo>
                    <a:pt x="54" y="101"/>
                  </a:lnTo>
                  <a:lnTo>
                    <a:pt x="53" y="103"/>
                  </a:lnTo>
                  <a:lnTo>
                    <a:pt x="54" y="107"/>
                  </a:lnTo>
                  <a:lnTo>
                    <a:pt x="56" y="105"/>
                  </a:lnTo>
                  <a:lnTo>
                    <a:pt x="58" y="108"/>
                  </a:lnTo>
                  <a:lnTo>
                    <a:pt x="55" y="110"/>
                  </a:lnTo>
                  <a:lnTo>
                    <a:pt x="60" y="115"/>
                  </a:lnTo>
                  <a:lnTo>
                    <a:pt x="60" y="116"/>
                  </a:lnTo>
                  <a:lnTo>
                    <a:pt x="60" y="118"/>
                  </a:lnTo>
                  <a:lnTo>
                    <a:pt x="58" y="118"/>
                  </a:lnTo>
                  <a:lnTo>
                    <a:pt x="58" y="119"/>
                  </a:lnTo>
                  <a:lnTo>
                    <a:pt x="58" y="121"/>
                  </a:lnTo>
                  <a:lnTo>
                    <a:pt x="59" y="121"/>
                  </a:lnTo>
                  <a:lnTo>
                    <a:pt x="59" y="123"/>
                  </a:lnTo>
                  <a:lnTo>
                    <a:pt x="58" y="124"/>
                  </a:lnTo>
                  <a:lnTo>
                    <a:pt x="56" y="122"/>
                  </a:lnTo>
                  <a:lnTo>
                    <a:pt x="55" y="122"/>
                  </a:lnTo>
                  <a:lnTo>
                    <a:pt x="54" y="119"/>
                  </a:lnTo>
                  <a:lnTo>
                    <a:pt x="52" y="117"/>
                  </a:lnTo>
                  <a:lnTo>
                    <a:pt x="51" y="118"/>
                  </a:lnTo>
                  <a:lnTo>
                    <a:pt x="51" y="119"/>
                  </a:lnTo>
                  <a:lnTo>
                    <a:pt x="49" y="121"/>
                  </a:lnTo>
                  <a:lnTo>
                    <a:pt x="48" y="121"/>
                  </a:lnTo>
                  <a:lnTo>
                    <a:pt x="47" y="121"/>
                  </a:lnTo>
                  <a:lnTo>
                    <a:pt x="46" y="123"/>
                  </a:lnTo>
                  <a:lnTo>
                    <a:pt x="47" y="124"/>
                  </a:lnTo>
                  <a:lnTo>
                    <a:pt x="45" y="127"/>
                  </a:lnTo>
                  <a:lnTo>
                    <a:pt x="45" y="129"/>
                  </a:lnTo>
                  <a:lnTo>
                    <a:pt x="45" y="129"/>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27" name="Fiji">
              <a:extLst>
                <a:ext uri="{FF2B5EF4-FFF2-40B4-BE49-F238E27FC236}">
                  <a16:creationId xmlns:a16="http://schemas.microsoft.com/office/drawing/2014/main" id="{100CF084-5DB4-264A-B4AA-F379D5620E19}"/>
                </a:ext>
              </a:extLst>
            </p:cNvPr>
            <p:cNvSpPr>
              <a:spLocks noEditPoints="1"/>
            </p:cNvSpPr>
            <p:nvPr/>
          </p:nvSpPr>
          <p:spPr bwMode="auto">
            <a:xfrm>
              <a:off x="10951954" y="4467655"/>
              <a:ext cx="87477" cy="65608"/>
            </a:xfrm>
            <a:custGeom>
              <a:avLst/>
              <a:gdLst>
                <a:gd name="T0" fmla="*/ 43 w 60"/>
                <a:gd name="T1" fmla="*/ 6 h 45"/>
                <a:gd name="T2" fmla="*/ 46 w 60"/>
                <a:gd name="T3" fmla="*/ 6 h 45"/>
                <a:gd name="T4" fmla="*/ 48 w 60"/>
                <a:gd name="T5" fmla="*/ 5 h 45"/>
                <a:gd name="T6" fmla="*/ 50 w 60"/>
                <a:gd name="T7" fmla="*/ 4 h 45"/>
                <a:gd name="T8" fmla="*/ 54 w 60"/>
                <a:gd name="T9" fmla="*/ 1 h 45"/>
                <a:gd name="T10" fmla="*/ 56 w 60"/>
                <a:gd name="T11" fmla="*/ 0 h 45"/>
                <a:gd name="T12" fmla="*/ 59 w 60"/>
                <a:gd name="T13" fmla="*/ 0 h 45"/>
                <a:gd name="T14" fmla="*/ 60 w 60"/>
                <a:gd name="T15" fmla="*/ 1 h 45"/>
                <a:gd name="T16" fmla="*/ 60 w 60"/>
                <a:gd name="T17" fmla="*/ 2 h 45"/>
                <a:gd name="T18" fmla="*/ 59 w 60"/>
                <a:gd name="T19" fmla="*/ 5 h 45"/>
                <a:gd name="T20" fmla="*/ 59 w 60"/>
                <a:gd name="T21" fmla="*/ 8 h 45"/>
                <a:gd name="T22" fmla="*/ 59 w 60"/>
                <a:gd name="T23" fmla="*/ 12 h 45"/>
                <a:gd name="T24" fmla="*/ 55 w 60"/>
                <a:gd name="T25" fmla="*/ 14 h 45"/>
                <a:gd name="T26" fmla="*/ 50 w 60"/>
                <a:gd name="T27" fmla="*/ 14 h 45"/>
                <a:gd name="T28" fmla="*/ 47 w 60"/>
                <a:gd name="T29" fmla="*/ 14 h 45"/>
                <a:gd name="T30" fmla="*/ 41 w 60"/>
                <a:gd name="T31" fmla="*/ 14 h 45"/>
                <a:gd name="T32" fmla="*/ 39 w 60"/>
                <a:gd name="T33" fmla="*/ 18 h 45"/>
                <a:gd name="T34" fmla="*/ 35 w 60"/>
                <a:gd name="T35" fmla="*/ 17 h 45"/>
                <a:gd name="T36" fmla="*/ 31 w 60"/>
                <a:gd name="T37" fmla="*/ 14 h 45"/>
                <a:gd name="T38" fmla="*/ 31 w 60"/>
                <a:gd name="T39" fmla="*/ 13 h 45"/>
                <a:gd name="T40" fmla="*/ 35 w 60"/>
                <a:gd name="T41" fmla="*/ 9 h 45"/>
                <a:gd name="T42" fmla="*/ 39 w 60"/>
                <a:gd name="T43" fmla="*/ 6 h 45"/>
                <a:gd name="T44" fmla="*/ 41 w 60"/>
                <a:gd name="T45" fmla="*/ 6 h 45"/>
                <a:gd name="T46" fmla="*/ 23 w 60"/>
                <a:gd name="T47" fmla="*/ 27 h 45"/>
                <a:gd name="T48" fmla="*/ 27 w 60"/>
                <a:gd name="T49" fmla="*/ 27 h 45"/>
                <a:gd name="T50" fmla="*/ 28 w 60"/>
                <a:gd name="T51" fmla="*/ 31 h 45"/>
                <a:gd name="T52" fmla="*/ 29 w 60"/>
                <a:gd name="T53" fmla="*/ 34 h 45"/>
                <a:gd name="T54" fmla="*/ 28 w 60"/>
                <a:gd name="T55" fmla="*/ 39 h 45"/>
                <a:gd name="T56" fmla="*/ 27 w 60"/>
                <a:gd name="T57" fmla="*/ 42 h 45"/>
                <a:gd name="T58" fmla="*/ 23 w 60"/>
                <a:gd name="T59" fmla="*/ 42 h 45"/>
                <a:gd name="T60" fmla="*/ 20 w 60"/>
                <a:gd name="T61" fmla="*/ 44 h 45"/>
                <a:gd name="T62" fmla="*/ 16 w 60"/>
                <a:gd name="T63" fmla="*/ 44 h 45"/>
                <a:gd name="T64" fmla="*/ 10 w 60"/>
                <a:gd name="T65" fmla="*/ 44 h 45"/>
                <a:gd name="T66" fmla="*/ 7 w 60"/>
                <a:gd name="T67" fmla="*/ 44 h 45"/>
                <a:gd name="T68" fmla="*/ 4 w 60"/>
                <a:gd name="T69" fmla="*/ 44 h 45"/>
                <a:gd name="T70" fmla="*/ 2 w 60"/>
                <a:gd name="T71" fmla="*/ 41 h 45"/>
                <a:gd name="T72" fmla="*/ 1 w 60"/>
                <a:gd name="T73" fmla="*/ 39 h 45"/>
                <a:gd name="T74" fmla="*/ 3 w 60"/>
                <a:gd name="T75" fmla="*/ 36 h 45"/>
                <a:gd name="T76" fmla="*/ 3 w 60"/>
                <a:gd name="T77" fmla="*/ 33 h 45"/>
                <a:gd name="T78" fmla="*/ 6 w 60"/>
                <a:gd name="T79" fmla="*/ 33 h 45"/>
                <a:gd name="T80" fmla="*/ 8 w 60"/>
                <a:gd name="T81" fmla="*/ 29 h 45"/>
                <a:gd name="T82" fmla="*/ 10 w 60"/>
                <a:gd name="T83" fmla="*/ 27 h 45"/>
                <a:gd name="T84" fmla="*/ 14 w 60"/>
                <a:gd name="T85" fmla="*/ 26 h 45"/>
                <a:gd name="T86" fmla="*/ 19 w 60"/>
                <a:gd name="T87" fmla="*/ 25 h 45"/>
                <a:gd name="T88" fmla="*/ 22 w 60"/>
                <a:gd name="T89" fmla="*/ 26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0" h="45">
                  <a:moveTo>
                    <a:pt x="41" y="6"/>
                  </a:moveTo>
                  <a:lnTo>
                    <a:pt x="43" y="6"/>
                  </a:lnTo>
                  <a:lnTo>
                    <a:pt x="44" y="6"/>
                  </a:lnTo>
                  <a:lnTo>
                    <a:pt x="46" y="6"/>
                  </a:lnTo>
                  <a:lnTo>
                    <a:pt x="47" y="5"/>
                  </a:lnTo>
                  <a:lnTo>
                    <a:pt x="48" y="5"/>
                  </a:lnTo>
                  <a:lnTo>
                    <a:pt x="49" y="4"/>
                  </a:lnTo>
                  <a:lnTo>
                    <a:pt x="50" y="4"/>
                  </a:lnTo>
                  <a:lnTo>
                    <a:pt x="51" y="1"/>
                  </a:lnTo>
                  <a:lnTo>
                    <a:pt x="54" y="1"/>
                  </a:lnTo>
                  <a:lnTo>
                    <a:pt x="54" y="1"/>
                  </a:lnTo>
                  <a:lnTo>
                    <a:pt x="56" y="0"/>
                  </a:lnTo>
                  <a:lnTo>
                    <a:pt x="57" y="1"/>
                  </a:lnTo>
                  <a:lnTo>
                    <a:pt x="59" y="0"/>
                  </a:lnTo>
                  <a:lnTo>
                    <a:pt x="59" y="0"/>
                  </a:lnTo>
                  <a:lnTo>
                    <a:pt x="60" y="1"/>
                  </a:lnTo>
                  <a:lnTo>
                    <a:pt x="59" y="1"/>
                  </a:lnTo>
                  <a:lnTo>
                    <a:pt x="60" y="2"/>
                  </a:lnTo>
                  <a:lnTo>
                    <a:pt x="59" y="4"/>
                  </a:lnTo>
                  <a:lnTo>
                    <a:pt x="59" y="5"/>
                  </a:lnTo>
                  <a:lnTo>
                    <a:pt x="59" y="6"/>
                  </a:lnTo>
                  <a:lnTo>
                    <a:pt x="59" y="8"/>
                  </a:lnTo>
                  <a:lnTo>
                    <a:pt x="59" y="9"/>
                  </a:lnTo>
                  <a:lnTo>
                    <a:pt x="59" y="12"/>
                  </a:lnTo>
                  <a:lnTo>
                    <a:pt x="57" y="13"/>
                  </a:lnTo>
                  <a:lnTo>
                    <a:pt x="55" y="14"/>
                  </a:lnTo>
                  <a:lnTo>
                    <a:pt x="54" y="13"/>
                  </a:lnTo>
                  <a:lnTo>
                    <a:pt x="50" y="14"/>
                  </a:lnTo>
                  <a:lnTo>
                    <a:pt x="48" y="15"/>
                  </a:lnTo>
                  <a:lnTo>
                    <a:pt x="47" y="14"/>
                  </a:lnTo>
                  <a:lnTo>
                    <a:pt x="44" y="14"/>
                  </a:lnTo>
                  <a:lnTo>
                    <a:pt x="41" y="14"/>
                  </a:lnTo>
                  <a:lnTo>
                    <a:pt x="41" y="15"/>
                  </a:lnTo>
                  <a:lnTo>
                    <a:pt x="39" y="18"/>
                  </a:lnTo>
                  <a:lnTo>
                    <a:pt x="37" y="17"/>
                  </a:lnTo>
                  <a:lnTo>
                    <a:pt x="35" y="17"/>
                  </a:lnTo>
                  <a:lnTo>
                    <a:pt x="33" y="17"/>
                  </a:lnTo>
                  <a:lnTo>
                    <a:pt x="31" y="14"/>
                  </a:lnTo>
                  <a:lnTo>
                    <a:pt x="33" y="14"/>
                  </a:lnTo>
                  <a:lnTo>
                    <a:pt x="31" y="13"/>
                  </a:lnTo>
                  <a:lnTo>
                    <a:pt x="33" y="11"/>
                  </a:lnTo>
                  <a:lnTo>
                    <a:pt x="35" y="9"/>
                  </a:lnTo>
                  <a:lnTo>
                    <a:pt x="37" y="9"/>
                  </a:lnTo>
                  <a:lnTo>
                    <a:pt x="39" y="6"/>
                  </a:lnTo>
                  <a:lnTo>
                    <a:pt x="41" y="6"/>
                  </a:lnTo>
                  <a:lnTo>
                    <a:pt x="41" y="6"/>
                  </a:lnTo>
                  <a:close/>
                  <a:moveTo>
                    <a:pt x="22" y="26"/>
                  </a:moveTo>
                  <a:lnTo>
                    <a:pt x="23" y="27"/>
                  </a:lnTo>
                  <a:lnTo>
                    <a:pt x="26" y="27"/>
                  </a:lnTo>
                  <a:lnTo>
                    <a:pt x="27" y="27"/>
                  </a:lnTo>
                  <a:lnTo>
                    <a:pt x="27" y="28"/>
                  </a:lnTo>
                  <a:lnTo>
                    <a:pt x="28" y="31"/>
                  </a:lnTo>
                  <a:lnTo>
                    <a:pt x="29" y="32"/>
                  </a:lnTo>
                  <a:lnTo>
                    <a:pt x="29" y="34"/>
                  </a:lnTo>
                  <a:lnTo>
                    <a:pt x="28" y="36"/>
                  </a:lnTo>
                  <a:lnTo>
                    <a:pt x="28" y="39"/>
                  </a:lnTo>
                  <a:lnTo>
                    <a:pt x="28" y="40"/>
                  </a:lnTo>
                  <a:lnTo>
                    <a:pt x="27" y="42"/>
                  </a:lnTo>
                  <a:lnTo>
                    <a:pt x="24" y="42"/>
                  </a:lnTo>
                  <a:lnTo>
                    <a:pt x="23" y="42"/>
                  </a:lnTo>
                  <a:lnTo>
                    <a:pt x="21" y="44"/>
                  </a:lnTo>
                  <a:lnTo>
                    <a:pt x="20" y="44"/>
                  </a:lnTo>
                  <a:lnTo>
                    <a:pt x="17" y="45"/>
                  </a:lnTo>
                  <a:lnTo>
                    <a:pt x="16" y="44"/>
                  </a:lnTo>
                  <a:lnTo>
                    <a:pt x="13" y="45"/>
                  </a:lnTo>
                  <a:lnTo>
                    <a:pt x="10" y="44"/>
                  </a:lnTo>
                  <a:lnTo>
                    <a:pt x="9" y="44"/>
                  </a:lnTo>
                  <a:lnTo>
                    <a:pt x="7" y="44"/>
                  </a:lnTo>
                  <a:lnTo>
                    <a:pt x="6" y="44"/>
                  </a:lnTo>
                  <a:lnTo>
                    <a:pt x="4" y="44"/>
                  </a:lnTo>
                  <a:lnTo>
                    <a:pt x="4" y="42"/>
                  </a:lnTo>
                  <a:lnTo>
                    <a:pt x="2" y="41"/>
                  </a:lnTo>
                  <a:lnTo>
                    <a:pt x="0" y="40"/>
                  </a:lnTo>
                  <a:lnTo>
                    <a:pt x="1" y="39"/>
                  </a:lnTo>
                  <a:lnTo>
                    <a:pt x="1" y="38"/>
                  </a:lnTo>
                  <a:lnTo>
                    <a:pt x="3" y="36"/>
                  </a:lnTo>
                  <a:lnTo>
                    <a:pt x="2" y="34"/>
                  </a:lnTo>
                  <a:lnTo>
                    <a:pt x="3" y="33"/>
                  </a:lnTo>
                  <a:lnTo>
                    <a:pt x="6" y="33"/>
                  </a:lnTo>
                  <a:lnTo>
                    <a:pt x="6" y="33"/>
                  </a:lnTo>
                  <a:lnTo>
                    <a:pt x="7" y="31"/>
                  </a:lnTo>
                  <a:lnTo>
                    <a:pt x="8" y="29"/>
                  </a:lnTo>
                  <a:lnTo>
                    <a:pt x="9" y="27"/>
                  </a:lnTo>
                  <a:lnTo>
                    <a:pt x="10" y="27"/>
                  </a:lnTo>
                  <a:lnTo>
                    <a:pt x="11" y="26"/>
                  </a:lnTo>
                  <a:lnTo>
                    <a:pt x="14" y="26"/>
                  </a:lnTo>
                  <a:lnTo>
                    <a:pt x="17" y="26"/>
                  </a:lnTo>
                  <a:lnTo>
                    <a:pt x="19" y="25"/>
                  </a:lnTo>
                  <a:lnTo>
                    <a:pt x="22" y="26"/>
                  </a:lnTo>
                  <a:lnTo>
                    <a:pt x="22" y="26"/>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28" name="Eritrea">
              <a:extLst>
                <a:ext uri="{FF2B5EF4-FFF2-40B4-BE49-F238E27FC236}">
                  <a16:creationId xmlns:a16="http://schemas.microsoft.com/office/drawing/2014/main" id="{509D93DE-7230-3D4A-88FF-467349F9704F}"/>
                </a:ext>
              </a:extLst>
            </p:cNvPr>
            <p:cNvSpPr>
              <a:spLocks/>
            </p:cNvSpPr>
            <p:nvPr/>
          </p:nvSpPr>
          <p:spPr bwMode="auto">
            <a:xfrm>
              <a:off x="7317287" y="3445633"/>
              <a:ext cx="179329" cy="172037"/>
            </a:xfrm>
            <a:custGeom>
              <a:avLst/>
              <a:gdLst>
                <a:gd name="T0" fmla="*/ 37 w 123"/>
                <a:gd name="T1" fmla="*/ 4 h 118"/>
                <a:gd name="T2" fmla="*/ 39 w 123"/>
                <a:gd name="T3" fmla="*/ 8 h 118"/>
                <a:gd name="T4" fmla="*/ 40 w 123"/>
                <a:gd name="T5" fmla="*/ 8 h 118"/>
                <a:gd name="T6" fmla="*/ 45 w 123"/>
                <a:gd name="T7" fmla="*/ 18 h 118"/>
                <a:gd name="T8" fmla="*/ 46 w 123"/>
                <a:gd name="T9" fmla="*/ 26 h 118"/>
                <a:gd name="T10" fmla="*/ 47 w 123"/>
                <a:gd name="T11" fmla="*/ 31 h 118"/>
                <a:gd name="T12" fmla="*/ 53 w 123"/>
                <a:gd name="T13" fmla="*/ 47 h 118"/>
                <a:gd name="T14" fmla="*/ 55 w 123"/>
                <a:gd name="T15" fmla="*/ 50 h 118"/>
                <a:gd name="T16" fmla="*/ 56 w 123"/>
                <a:gd name="T17" fmla="*/ 52 h 118"/>
                <a:gd name="T18" fmla="*/ 59 w 123"/>
                <a:gd name="T19" fmla="*/ 60 h 118"/>
                <a:gd name="T20" fmla="*/ 62 w 123"/>
                <a:gd name="T21" fmla="*/ 60 h 118"/>
                <a:gd name="T22" fmla="*/ 62 w 123"/>
                <a:gd name="T23" fmla="*/ 52 h 118"/>
                <a:gd name="T24" fmla="*/ 65 w 123"/>
                <a:gd name="T25" fmla="*/ 58 h 118"/>
                <a:gd name="T26" fmla="*/ 67 w 123"/>
                <a:gd name="T27" fmla="*/ 62 h 118"/>
                <a:gd name="T28" fmla="*/ 71 w 123"/>
                <a:gd name="T29" fmla="*/ 62 h 118"/>
                <a:gd name="T30" fmla="*/ 73 w 123"/>
                <a:gd name="T31" fmla="*/ 62 h 118"/>
                <a:gd name="T32" fmla="*/ 75 w 123"/>
                <a:gd name="T33" fmla="*/ 62 h 118"/>
                <a:gd name="T34" fmla="*/ 77 w 123"/>
                <a:gd name="T35" fmla="*/ 65 h 118"/>
                <a:gd name="T36" fmla="*/ 78 w 123"/>
                <a:gd name="T37" fmla="*/ 68 h 118"/>
                <a:gd name="T38" fmla="*/ 79 w 123"/>
                <a:gd name="T39" fmla="*/ 70 h 118"/>
                <a:gd name="T40" fmla="*/ 86 w 123"/>
                <a:gd name="T41" fmla="*/ 72 h 118"/>
                <a:gd name="T42" fmla="*/ 92 w 123"/>
                <a:gd name="T43" fmla="*/ 81 h 118"/>
                <a:gd name="T44" fmla="*/ 98 w 123"/>
                <a:gd name="T45" fmla="*/ 86 h 118"/>
                <a:gd name="T46" fmla="*/ 103 w 123"/>
                <a:gd name="T47" fmla="*/ 90 h 118"/>
                <a:gd name="T48" fmla="*/ 106 w 123"/>
                <a:gd name="T49" fmla="*/ 92 h 118"/>
                <a:gd name="T50" fmla="*/ 106 w 123"/>
                <a:gd name="T51" fmla="*/ 92 h 118"/>
                <a:gd name="T52" fmla="*/ 111 w 123"/>
                <a:gd name="T53" fmla="*/ 99 h 118"/>
                <a:gd name="T54" fmla="*/ 116 w 123"/>
                <a:gd name="T55" fmla="*/ 104 h 118"/>
                <a:gd name="T56" fmla="*/ 117 w 123"/>
                <a:gd name="T57" fmla="*/ 107 h 118"/>
                <a:gd name="T58" fmla="*/ 120 w 123"/>
                <a:gd name="T59" fmla="*/ 108 h 118"/>
                <a:gd name="T60" fmla="*/ 123 w 123"/>
                <a:gd name="T61" fmla="*/ 110 h 118"/>
                <a:gd name="T62" fmla="*/ 118 w 123"/>
                <a:gd name="T63" fmla="*/ 115 h 118"/>
                <a:gd name="T64" fmla="*/ 109 w 123"/>
                <a:gd name="T65" fmla="*/ 114 h 118"/>
                <a:gd name="T66" fmla="*/ 102 w 123"/>
                <a:gd name="T67" fmla="*/ 107 h 118"/>
                <a:gd name="T68" fmla="*/ 90 w 123"/>
                <a:gd name="T69" fmla="*/ 94 h 118"/>
                <a:gd name="T70" fmla="*/ 78 w 123"/>
                <a:gd name="T71" fmla="*/ 80 h 118"/>
                <a:gd name="T72" fmla="*/ 67 w 123"/>
                <a:gd name="T73" fmla="*/ 74 h 118"/>
                <a:gd name="T74" fmla="*/ 62 w 123"/>
                <a:gd name="T75" fmla="*/ 74 h 118"/>
                <a:gd name="T76" fmla="*/ 58 w 123"/>
                <a:gd name="T77" fmla="*/ 74 h 118"/>
                <a:gd name="T78" fmla="*/ 56 w 123"/>
                <a:gd name="T79" fmla="*/ 73 h 118"/>
                <a:gd name="T80" fmla="*/ 51 w 123"/>
                <a:gd name="T81" fmla="*/ 74 h 118"/>
                <a:gd name="T82" fmla="*/ 49 w 123"/>
                <a:gd name="T83" fmla="*/ 71 h 118"/>
                <a:gd name="T84" fmla="*/ 45 w 123"/>
                <a:gd name="T85" fmla="*/ 74 h 118"/>
                <a:gd name="T86" fmla="*/ 42 w 123"/>
                <a:gd name="T87" fmla="*/ 74 h 118"/>
                <a:gd name="T88" fmla="*/ 36 w 123"/>
                <a:gd name="T89" fmla="*/ 74 h 118"/>
                <a:gd name="T90" fmla="*/ 32 w 123"/>
                <a:gd name="T91" fmla="*/ 71 h 118"/>
                <a:gd name="T92" fmla="*/ 27 w 123"/>
                <a:gd name="T93" fmla="*/ 66 h 118"/>
                <a:gd name="T94" fmla="*/ 24 w 123"/>
                <a:gd name="T95" fmla="*/ 80 h 118"/>
                <a:gd name="T96" fmla="*/ 20 w 123"/>
                <a:gd name="T97" fmla="*/ 81 h 118"/>
                <a:gd name="T98" fmla="*/ 18 w 123"/>
                <a:gd name="T99" fmla="*/ 77 h 118"/>
                <a:gd name="T100" fmla="*/ 13 w 123"/>
                <a:gd name="T101" fmla="*/ 77 h 118"/>
                <a:gd name="T102" fmla="*/ 10 w 123"/>
                <a:gd name="T103" fmla="*/ 78 h 118"/>
                <a:gd name="T104" fmla="*/ 4 w 123"/>
                <a:gd name="T105" fmla="*/ 79 h 118"/>
                <a:gd name="T106" fmla="*/ 4 w 123"/>
                <a:gd name="T107" fmla="*/ 54 h 118"/>
                <a:gd name="T108" fmla="*/ 9 w 123"/>
                <a:gd name="T109" fmla="*/ 37 h 118"/>
                <a:gd name="T110" fmla="*/ 7 w 123"/>
                <a:gd name="T111" fmla="*/ 30 h 118"/>
                <a:gd name="T112" fmla="*/ 9 w 123"/>
                <a:gd name="T113" fmla="*/ 22 h 118"/>
                <a:gd name="T114" fmla="*/ 12 w 123"/>
                <a:gd name="T115" fmla="*/ 21 h 118"/>
                <a:gd name="T116" fmla="*/ 17 w 123"/>
                <a:gd name="T117" fmla="*/ 15 h 118"/>
                <a:gd name="T118" fmla="*/ 25 w 123"/>
                <a:gd name="T119" fmla="*/ 13 h 118"/>
                <a:gd name="T120" fmla="*/ 31 w 123"/>
                <a:gd name="T121" fmla="*/ 12 h 118"/>
                <a:gd name="T122" fmla="*/ 37 w 123"/>
                <a:gd name="T123" fmla="*/ 0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23" h="118">
                  <a:moveTo>
                    <a:pt x="37" y="1"/>
                  </a:moveTo>
                  <a:lnTo>
                    <a:pt x="36" y="1"/>
                  </a:lnTo>
                  <a:lnTo>
                    <a:pt x="37" y="2"/>
                  </a:lnTo>
                  <a:lnTo>
                    <a:pt x="37" y="2"/>
                  </a:lnTo>
                  <a:lnTo>
                    <a:pt x="37" y="2"/>
                  </a:lnTo>
                  <a:lnTo>
                    <a:pt x="37" y="4"/>
                  </a:lnTo>
                  <a:lnTo>
                    <a:pt x="37" y="4"/>
                  </a:lnTo>
                  <a:lnTo>
                    <a:pt x="37" y="5"/>
                  </a:lnTo>
                  <a:lnTo>
                    <a:pt x="38" y="6"/>
                  </a:lnTo>
                  <a:lnTo>
                    <a:pt x="39" y="6"/>
                  </a:lnTo>
                  <a:lnTo>
                    <a:pt x="39" y="7"/>
                  </a:lnTo>
                  <a:lnTo>
                    <a:pt x="39" y="8"/>
                  </a:lnTo>
                  <a:lnTo>
                    <a:pt x="39" y="8"/>
                  </a:lnTo>
                  <a:lnTo>
                    <a:pt x="40" y="8"/>
                  </a:lnTo>
                  <a:lnTo>
                    <a:pt x="40" y="8"/>
                  </a:lnTo>
                  <a:lnTo>
                    <a:pt x="40" y="8"/>
                  </a:lnTo>
                  <a:lnTo>
                    <a:pt x="40" y="8"/>
                  </a:lnTo>
                  <a:lnTo>
                    <a:pt x="40" y="8"/>
                  </a:lnTo>
                  <a:lnTo>
                    <a:pt x="42" y="11"/>
                  </a:lnTo>
                  <a:lnTo>
                    <a:pt x="43" y="14"/>
                  </a:lnTo>
                  <a:lnTo>
                    <a:pt x="43" y="14"/>
                  </a:lnTo>
                  <a:lnTo>
                    <a:pt x="44" y="15"/>
                  </a:lnTo>
                  <a:lnTo>
                    <a:pt x="44" y="18"/>
                  </a:lnTo>
                  <a:lnTo>
                    <a:pt x="45" y="18"/>
                  </a:lnTo>
                  <a:lnTo>
                    <a:pt x="45" y="19"/>
                  </a:lnTo>
                  <a:lnTo>
                    <a:pt x="45" y="19"/>
                  </a:lnTo>
                  <a:lnTo>
                    <a:pt x="45" y="20"/>
                  </a:lnTo>
                  <a:lnTo>
                    <a:pt x="45" y="21"/>
                  </a:lnTo>
                  <a:lnTo>
                    <a:pt x="46" y="25"/>
                  </a:lnTo>
                  <a:lnTo>
                    <a:pt x="46" y="26"/>
                  </a:lnTo>
                  <a:lnTo>
                    <a:pt x="47" y="28"/>
                  </a:lnTo>
                  <a:lnTo>
                    <a:pt x="47" y="28"/>
                  </a:lnTo>
                  <a:lnTo>
                    <a:pt x="47" y="28"/>
                  </a:lnTo>
                  <a:lnTo>
                    <a:pt x="47" y="30"/>
                  </a:lnTo>
                  <a:lnTo>
                    <a:pt x="47" y="31"/>
                  </a:lnTo>
                  <a:lnTo>
                    <a:pt x="47" y="31"/>
                  </a:lnTo>
                  <a:lnTo>
                    <a:pt x="47" y="32"/>
                  </a:lnTo>
                  <a:lnTo>
                    <a:pt x="49" y="32"/>
                  </a:lnTo>
                  <a:lnTo>
                    <a:pt x="50" y="39"/>
                  </a:lnTo>
                  <a:lnTo>
                    <a:pt x="50" y="42"/>
                  </a:lnTo>
                  <a:lnTo>
                    <a:pt x="51" y="45"/>
                  </a:lnTo>
                  <a:lnTo>
                    <a:pt x="53" y="47"/>
                  </a:lnTo>
                  <a:lnTo>
                    <a:pt x="53" y="47"/>
                  </a:lnTo>
                  <a:lnTo>
                    <a:pt x="53" y="48"/>
                  </a:lnTo>
                  <a:lnTo>
                    <a:pt x="55" y="50"/>
                  </a:lnTo>
                  <a:lnTo>
                    <a:pt x="55" y="50"/>
                  </a:lnTo>
                  <a:lnTo>
                    <a:pt x="55" y="50"/>
                  </a:lnTo>
                  <a:lnTo>
                    <a:pt x="55" y="50"/>
                  </a:lnTo>
                  <a:lnTo>
                    <a:pt x="55" y="50"/>
                  </a:lnTo>
                  <a:lnTo>
                    <a:pt x="55" y="51"/>
                  </a:lnTo>
                  <a:lnTo>
                    <a:pt x="53" y="51"/>
                  </a:lnTo>
                  <a:lnTo>
                    <a:pt x="55" y="52"/>
                  </a:lnTo>
                  <a:lnTo>
                    <a:pt x="55" y="52"/>
                  </a:lnTo>
                  <a:lnTo>
                    <a:pt x="56" y="52"/>
                  </a:lnTo>
                  <a:lnTo>
                    <a:pt x="57" y="52"/>
                  </a:lnTo>
                  <a:lnTo>
                    <a:pt x="57" y="53"/>
                  </a:lnTo>
                  <a:lnTo>
                    <a:pt x="58" y="55"/>
                  </a:lnTo>
                  <a:lnTo>
                    <a:pt x="58" y="57"/>
                  </a:lnTo>
                  <a:lnTo>
                    <a:pt x="59" y="58"/>
                  </a:lnTo>
                  <a:lnTo>
                    <a:pt x="59" y="60"/>
                  </a:lnTo>
                  <a:lnTo>
                    <a:pt x="59" y="61"/>
                  </a:lnTo>
                  <a:lnTo>
                    <a:pt x="59" y="61"/>
                  </a:lnTo>
                  <a:lnTo>
                    <a:pt x="60" y="61"/>
                  </a:lnTo>
                  <a:lnTo>
                    <a:pt x="60" y="61"/>
                  </a:lnTo>
                  <a:lnTo>
                    <a:pt x="60" y="60"/>
                  </a:lnTo>
                  <a:lnTo>
                    <a:pt x="62" y="60"/>
                  </a:lnTo>
                  <a:lnTo>
                    <a:pt x="60" y="58"/>
                  </a:lnTo>
                  <a:lnTo>
                    <a:pt x="60" y="58"/>
                  </a:lnTo>
                  <a:lnTo>
                    <a:pt x="59" y="55"/>
                  </a:lnTo>
                  <a:lnTo>
                    <a:pt x="60" y="53"/>
                  </a:lnTo>
                  <a:lnTo>
                    <a:pt x="62" y="53"/>
                  </a:lnTo>
                  <a:lnTo>
                    <a:pt x="62" y="52"/>
                  </a:lnTo>
                  <a:lnTo>
                    <a:pt x="63" y="53"/>
                  </a:lnTo>
                  <a:lnTo>
                    <a:pt x="64" y="55"/>
                  </a:lnTo>
                  <a:lnTo>
                    <a:pt x="65" y="55"/>
                  </a:lnTo>
                  <a:lnTo>
                    <a:pt x="65" y="57"/>
                  </a:lnTo>
                  <a:lnTo>
                    <a:pt x="64" y="58"/>
                  </a:lnTo>
                  <a:lnTo>
                    <a:pt x="65" y="58"/>
                  </a:lnTo>
                  <a:lnTo>
                    <a:pt x="65" y="59"/>
                  </a:lnTo>
                  <a:lnTo>
                    <a:pt x="66" y="60"/>
                  </a:lnTo>
                  <a:lnTo>
                    <a:pt x="66" y="61"/>
                  </a:lnTo>
                  <a:lnTo>
                    <a:pt x="66" y="61"/>
                  </a:lnTo>
                  <a:lnTo>
                    <a:pt x="67" y="61"/>
                  </a:lnTo>
                  <a:lnTo>
                    <a:pt x="67" y="62"/>
                  </a:lnTo>
                  <a:lnTo>
                    <a:pt x="67" y="62"/>
                  </a:lnTo>
                  <a:lnTo>
                    <a:pt x="67" y="64"/>
                  </a:lnTo>
                  <a:lnTo>
                    <a:pt x="70" y="65"/>
                  </a:lnTo>
                  <a:lnTo>
                    <a:pt x="70" y="65"/>
                  </a:lnTo>
                  <a:lnTo>
                    <a:pt x="71" y="65"/>
                  </a:lnTo>
                  <a:lnTo>
                    <a:pt x="71" y="62"/>
                  </a:lnTo>
                  <a:lnTo>
                    <a:pt x="71" y="64"/>
                  </a:lnTo>
                  <a:lnTo>
                    <a:pt x="71" y="64"/>
                  </a:lnTo>
                  <a:lnTo>
                    <a:pt x="72" y="64"/>
                  </a:lnTo>
                  <a:lnTo>
                    <a:pt x="72" y="62"/>
                  </a:lnTo>
                  <a:lnTo>
                    <a:pt x="72" y="62"/>
                  </a:lnTo>
                  <a:lnTo>
                    <a:pt x="73" y="62"/>
                  </a:lnTo>
                  <a:lnTo>
                    <a:pt x="73" y="64"/>
                  </a:lnTo>
                  <a:lnTo>
                    <a:pt x="73" y="62"/>
                  </a:lnTo>
                  <a:lnTo>
                    <a:pt x="73" y="62"/>
                  </a:lnTo>
                  <a:lnTo>
                    <a:pt x="73" y="62"/>
                  </a:lnTo>
                  <a:lnTo>
                    <a:pt x="75" y="62"/>
                  </a:lnTo>
                  <a:lnTo>
                    <a:pt x="75" y="62"/>
                  </a:lnTo>
                  <a:lnTo>
                    <a:pt x="75" y="65"/>
                  </a:lnTo>
                  <a:lnTo>
                    <a:pt x="76" y="65"/>
                  </a:lnTo>
                  <a:lnTo>
                    <a:pt x="76" y="65"/>
                  </a:lnTo>
                  <a:lnTo>
                    <a:pt x="76" y="65"/>
                  </a:lnTo>
                  <a:lnTo>
                    <a:pt x="76" y="65"/>
                  </a:lnTo>
                  <a:lnTo>
                    <a:pt x="77" y="65"/>
                  </a:lnTo>
                  <a:lnTo>
                    <a:pt x="77" y="65"/>
                  </a:lnTo>
                  <a:lnTo>
                    <a:pt x="77" y="66"/>
                  </a:lnTo>
                  <a:lnTo>
                    <a:pt x="77" y="67"/>
                  </a:lnTo>
                  <a:lnTo>
                    <a:pt x="78" y="67"/>
                  </a:lnTo>
                  <a:lnTo>
                    <a:pt x="78" y="67"/>
                  </a:lnTo>
                  <a:lnTo>
                    <a:pt x="78" y="68"/>
                  </a:lnTo>
                  <a:lnTo>
                    <a:pt x="78" y="68"/>
                  </a:lnTo>
                  <a:lnTo>
                    <a:pt x="78" y="68"/>
                  </a:lnTo>
                  <a:lnTo>
                    <a:pt x="78" y="70"/>
                  </a:lnTo>
                  <a:lnTo>
                    <a:pt x="79" y="70"/>
                  </a:lnTo>
                  <a:lnTo>
                    <a:pt x="79" y="68"/>
                  </a:lnTo>
                  <a:lnTo>
                    <a:pt x="79" y="70"/>
                  </a:lnTo>
                  <a:lnTo>
                    <a:pt x="80" y="68"/>
                  </a:lnTo>
                  <a:lnTo>
                    <a:pt x="80" y="68"/>
                  </a:lnTo>
                  <a:lnTo>
                    <a:pt x="82" y="70"/>
                  </a:lnTo>
                  <a:lnTo>
                    <a:pt x="83" y="70"/>
                  </a:lnTo>
                  <a:lnTo>
                    <a:pt x="86" y="71"/>
                  </a:lnTo>
                  <a:lnTo>
                    <a:pt x="86" y="72"/>
                  </a:lnTo>
                  <a:lnTo>
                    <a:pt x="89" y="74"/>
                  </a:lnTo>
                  <a:lnTo>
                    <a:pt x="89" y="75"/>
                  </a:lnTo>
                  <a:lnTo>
                    <a:pt x="90" y="77"/>
                  </a:lnTo>
                  <a:lnTo>
                    <a:pt x="90" y="78"/>
                  </a:lnTo>
                  <a:lnTo>
                    <a:pt x="92" y="79"/>
                  </a:lnTo>
                  <a:lnTo>
                    <a:pt x="92" y="81"/>
                  </a:lnTo>
                  <a:lnTo>
                    <a:pt x="95" y="82"/>
                  </a:lnTo>
                  <a:lnTo>
                    <a:pt x="96" y="85"/>
                  </a:lnTo>
                  <a:lnTo>
                    <a:pt x="97" y="85"/>
                  </a:lnTo>
                  <a:lnTo>
                    <a:pt x="97" y="85"/>
                  </a:lnTo>
                  <a:lnTo>
                    <a:pt x="98" y="85"/>
                  </a:lnTo>
                  <a:lnTo>
                    <a:pt x="98" y="86"/>
                  </a:lnTo>
                  <a:lnTo>
                    <a:pt x="100" y="86"/>
                  </a:lnTo>
                  <a:lnTo>
                    <a:pt x="100" y="86"/>
                  </a:lnTo>
                  <a:lnTo>
                    <a:pt x="100" y="87"/>
                  </a:lnTo>
                  <a:lnTo>
                    <a:pt x="102" y="88"/>
                  </a:lnTo>
                  <a:lnTo>
                    <a:pt x="103" y="90"/>
                  </a:lnTo>
                  <a:lnTo>
                    <a:pt x="103" y="90"/>
                  </a:lnTo>
                  <a:lnTo>
                    <a:pt x="104" y="91"/>
                  </a:lnTo>
                  <a:lnTo>
                    <a:pt x="104" y="91"/>
                  </a:lnTo>
                  <a:lnTo>
                    <a:pt x="105" y="92"/>
                  </a:lnTo>
                  <a:lnTo>
                    <a:pt x="105" y="92"/>
                  </a:lnTo>
                  <a:lnTo>
                    <a:pt x="106" y="93"/>
                  </a:lnTo>
                  <a:lnTo>
                    <a:pt x="106" y="92"/>
                  </a:lnTo>
                  <a:lnTo>
                    <a:pt x="106" y="91"/>
                  </a:lnTo>
                  <a:lnTo>
                    <a:pt x="105" y="91"/>
                  </a:lnTo>
                  <a:lnTo>
                    <a:pt x="105" y="91"/>
                  </a:lnTo>
                  <a:lnTo>
                    <a:pt x="106" y="91"/>
                  </a:lnTo>
                  <a:lnTo>
                    <a:pt x="106" y="92"/>
                  </a:lnTo>
                  <a:lnTo>
                    <a:pt x="106" y="92"/>
                  </a:lnTo>
                  <a:lnTo>
                    <a:pt x="107" y="93"/>
                  </a:lnTo>
                  <a:lnTo>
                    <a:pt x="107" y="94"/>
                  </a:lnTo>
                  <a:lnTo>
                    <a:pt x="107" y="95"/>
                  </a:lnTo>
                  <a:lnTo>
                    <a:pt x="109" y="100"/>
                  </a:lnTo>
                  <a:lnTo>
                    <a:pt x="111" y="100"/>
                  </a:lnTo>
                  <a:lnTo>
                    <a:pt x="111" y="99"/>
                  </a:lnTo>
                  <a:lnTo>
                    <a:pt x="111" y="100"/>
                  </a:lnTo>
                  <a:lnTo>
                    <a:pt x="112" y="100"/>
                  </a:lnTo>
                  <a:lnTo>
                    <a:pt x="112" y="100"/>
                  </a:lnTo>
                  <a:lnTo>
                    <a:pt x="113" y="101"/>
                  </a:lnTo>
                  <a:lnTo>
                    <a:pt x="115" y="102"/>
                  </a:lnTo>
                  <a:lnTo>
                    <a:pt x="116" y="104"/>
                  </a:lnTo>
                  <a:lnTo>
                    <a:pt x="116" y="104"/>
                  </a:lnTo>
                  <a:lnTo>
                    <a:pt x="116" y="105"/>
                  </a:lnTo>
                  <a:lnTo>
                    <a:pt x="116" y="105"/>
                  </a:lnTo>
                  <a:lnTo>
                    <a:pt x="116" y="107"/>
                  </a:lnTo>
                  <a:lnTo>
                    <a:pt x="117" y="107"/>
                  </a:lnTo>
                  <a:lnTo>
                    <a:pt x="117" y="107"/>
                  </a:lnTo>
                  <a:lnTo>
                    <a:pt x="118" y="108"/>
                  </a:lnTo>
                  <a:lnTo>
                    <a:pt x="119" y="108"/>
                  </a:lnTo>
                  <a:lnTo>
                    <a:pt x="119" y="108"/>
                  </a:lnTo>
                  <a:lnTo>
                    <a:pt x="119" y="108"/>
                  </a:lnTo>
                  <a:lnTo>
                    <a:pt x="119" y="108"/>
                  </a:lnTo>
                  <a:lnTo>
                    <a:pt x="120" y="108"/>
                  </a:lnTo>
                  <a:lnTo>
                    <a:pt x="120" y="106"/>
                  </a:lnTo>
                  <a:lnTo>
                    <a:pt x="120" y="107"/>
                  </a:lnTo>
                  <a:lnTo>
                    <a:pt x="122" y="108"/>
                  </a:lnTo>
                  <a:lnTo>
                    <a:pt x="122" y="108"/>
                  </a:lnTo>
                  <a:lnTo>
                    <a:pt x="123" y="108"/>
                  </a:lnTo>
                  <a:lnTo>
                    <a:pt x="123" y="110"/>
                  </a:lnTo>
                  <a:lnTo>
                    <a:pt x="120" y="111"/>
                  </a:lnTo>
                  <a:lnTo>
                    <a:pt x="119" y="112"/>
                  </a:lnTo>
                  <a:lnTo>
                    <a:pt x="119" y="113"/>
                  </a:lnTo>
                  <a:lnTo>
                    <a:pt x="118" y="111"/>
                  </a:lnTo>
                  <a:lnTo>
                    <a:pt x="118" y="113"/>
                  </a:lnTo>
                  <a:lnTo>
                    <a:pt x="118" y="115"/>
                  </a:lnTo>
                  <a:lnTo>
                    <a:pt x="117" y="117"/>
                  </a:lnTo>
                  <a:lnTo>
                    <a:pt x="116" y="118"/>
                  </a:lnTo>
                  <a:lnTo>
                    <a:pt x="113" y="115"/>
                  </a:lnTo>
                  <a:lnTo>
                    <a:pt x="112" y="114"/>
                  </a:lnTo>
                  <a:lnTo>
                    <a:pt x="111" y="113"/>
                  </a:lnTo>
                  <a:lnTo>
                    <a:pt x="109" y="114"/>
                  </a:lnTo>
                  <a:lnTo>
                    <a:pt x="109" y="117"/>
                  </a:lnTo>
                  <a:lnTo>
                    <a:pt x="109" y="114"/>
                  </a:lnTo>
                  <a:lnTo>
                    <a:pt x="105" y="110"/>
                  </a:lnTo>
                  <a:lnTo>
                    <a:pt x="104" y="110"/>
                  </a:lnTo>
                  <a:lnTo>
                    <a:pt x="103" y="108"/>
                  </a:lnTo>
                  <a:lnTo>
                    <a:pt x="102" y="107"/>
                  </a:lnTo>
                  <a:lnTo>
                    <a:pt x="100" y="106"/>
                  </a:lnTo>
                  <a:lnTo>
                    <a:pt x="99" y="102"/>
                  </a:lnTo>
                  <a:lnTo>
                    <a:pt x="97" y="100"/>
                  </a:lnTo>
                  <a:lnTo>
                    <a:pt x="95" y="98"/>
                  </a:lnTo>
                  <a:lnTo>
                    <a:pt x="92" y="95"/>
                  </a:lnTo>
                  <a:lnTo>
                    <a:pt x="90" y="94"/>
                  </a:lnTo>
                  <a:lnTo>
                    <a:pt x="87" y="92"/>
                  </a:lnTo>
                  <a:lnTo>
                    <a:pt x="84" y="87"/>
                  </a:lnTo>
                  <a:lnTo>
                    <a:pt x="82" y="84"/>
                  </a:lnTo>
                  <a:lnTo>
                    <a:pt x="80" y="82"/>
                  </a:lnTo>
                  <a:lnTo>
                    <a:pt x="79" y="81"/>
                  </a:lnTo>
                  <a:lnTo>
                    <a:pt x="78" y="80"/>
                  </a:lnTo>
                  <a:lnTo>
                    <a:pt x="76" y="80"/>
                  </a:lnTo>
                  <a:lnTo>
                    <a:pt x="75" y="79"/>
                  </a:lnTo>
                  <a:lnTo>
                    <a:pt x="72" y="79"/>
                  </a:lnTo>
                  <a:lnTo>
                    <a:pt x="70" y="77"/>
                  </a:lnTo>
                  <a:lnTo>
                    <a:pt x="69" y="75"/>
                  </a:lnTo>
                  <a:lnTo>
                    <a:pt x="67" y="74"/>
                  </a:lnTo>
                  <a:lnTo>
                    <a:pt x="66" y="74"/>
                  </a:lnTo>
                  <a:lnTo>
                    <a:pt x="65" y="75"/>
                  </a:lnTo>
                  <a:lnTo>
                    <a:pt x="65" y="74"/>
                  </a:lnTo>
                  <a:lnTo>
                    <a:pt x="64" y="75"/>
                  </a:lnTo>
                  <a:lnTo>
                    <a:pt x="63" y="75"/>
                  </a:lnTo>
                  <a:lnTo>
                    <a:pt x="62" y="74"/>
                  </a:lnTo>
                  <a:lnTo>
                    <a:pt x="60" y="74"/>
                  </a:lnTo>
                  <a:lnTo>
                    <a:pt x="60" y="74"/>
                  </a:lnTo>
                  <a:lnTo>
                    <a:pt x="60" y="74"/>
                  </a:lnTo>
                  <a:lnTo>
                    <a:pt x="59" y="74"/>
                  </a:lnTo>
                  <a:lnTo>
                    <a:pt x="59" y="74"/>
                  </a:lnTo>
                  <a:lnTo>
                    <a:pt x="58" y="74"/>
                  </a:lnTo>
                  <a:lnTo>
                    <a:pt x="58" y="74"/>
                  </a:lnTo>
                  <a:lnTo>
                    <a:pt x="57" y="73"/>
                  </a:lnTo>
                  <a:lnTo>
                    <a:pt x="57" y="73"/>
                  </a:lnTo>
                  <a:lnTo>
                    <a:pt x="57" y="73"/>
                  </a:lnTo>
                  <a:lnTo>
                    <a:pt x="56" y="73"/>
                  </a:lnTo>
                  <a:lnTo>
                    <a:pt x="56" y="73"/>
                  </a:lnTo>
                  <a:lnTo>
                    <a:pt x="56" y="74"/>
                  </a:lnTo>
                  <a:lnTo>
                    <a:pt x="55" y="74"/>
                  </a:lnTo>
                  <a:lnTo>
                    <a:pt x="53" y="74"/>
                  </a:lnTo>
                  <a:lnTo>
                    <a:pt x="52" y="74"/>
                  </a:lnTo>
                  <a:lnTo>
                    <a:pt x="52" y="74"/>
                  </a:lnTo>
                  <a:lnTo>
                    <a:pt x="51" y="74"/>
                  </a:lnTo>
                  <a:lnTo>
                    <a:pt x="51" y="75"/>
                  </a:lnTo>
                  <a:lnTo>
                    <a:pt x="51" y="75"/>
                  </a:lnTo>
                  <a:lnTo>
                    <a:pt x="50" y="74"/>
                  </a:lnTo>
                  <a:lnTo>
                    <a:pt x="50" y="73"/>
                  </a:lnTo>
                  <a:lnTo>
                    <a:pt x="49" y="72"/>
                  </a:lnTo>
                  <a:lnTo>
                    <a:pt x="49" y="71"/>
                  </a:lnTo>
                  <a:lnTo>
                    <a:pt x="47" y="71"/>
                  </a:lnTo>
                  <a:lnTo>
                    <a:pt x="46" y="72"/>
                  </a:lnTo>
                  <a:lnTo>
                    <a:pt x="46" y="73"/>
                  </a:lnTo>
                  <a:lnTo>
                    <a:pt x="46" y="73"/>
                  </a:lnTo>
                  <a:lnTo>
                    <a:pt x="45" y="73"/>
                  </a:lnTo>
                  <a:lnTo>
                    <a:pt x="45" y="74"/>
                  </a:lnTo>
                  <a:lnTo>
                    <a:pt x="44" y="74"/>
                  </a:lnTo>
                  <a:lnTo>
                    <a:pt x="43" y="74"/>
                  </a:lnTo>
                  <a:lnTo>
                    <a:pt x="43" y="74"/>
                  </a:lnTo>
                  <a:lnTo>
                    <a:pt x="43" y="74"/>
                  </a:lnTo>
                  <a:lnTo>
                    <a:pt x="42" y="74"/>
                  </a:lnTo>
                  <a:lnTo>
                    <a:pt x="42" y="74"/>
                  </a:lnTo>
                  <a:lnTo>
                    <a:pt x="40" y="75"/>
                  </a:lnTo>
                  <a:lnTo>
                    <a:pt x="39" y="75"/>
                  </a:lnTo>
                  <a:lnTo>
                    <a:pt x="38" y="75"/>
                  </a:lnTo>
                  <a:lnTo>
                    <a:pt x="37" y="75"/>
                  </a:lnTo>
                  <a:lnTo>
                    <a:pt x="37" y="75"/>
                  </a:lnTo>
                  <a:lnTo>
                    <a:pt x="36" y="74"/>
                  </a:lnTo>
                  <a:lnTo>
                    <a:pt x="35" y="74"/>
                  </a:lnTo>
                  <a:lnTo>
                    <a:pt x="35" y="72"/>
                  </a:lnTo>
                  <a:lnTo>
                    <a:pt x="33" y="72"/>
                  </a:lnTo>
                  <a:lnTo>
                    <a:pt x="33" y="71"/>
                  </a:lnTo>
                  <a:lnTo>
                    <a:pt x="32" y="71"/>
                  </a:lnTo>
                  <a:lnTo>
                    <a:pt x="32" y="71"/>
                  </a:lnTo>
                  <a:lnTo>
                    <a:pt x="31" y="71"/>
                  </a:lnTo>
                  <a:lnTo>
                    <a:pt x="30" y="70"/>
                  </a:lnTo>
                  <a:lnTo>
                    <a:pt x="29" y="68"/>
                  </a:lnTo>
                  <a:lnTo>
                    <a:pt x="29" y="68"/>
                  </a:lnTo>
                  <a:lnTo>
                    <a:pt x="29" y="68"/>
                  </a:lnTo>
                  <a:lnTo>
                    <a:pt x="27" y="66"/>
                  </a:lnTo>
                  <a:lnTo>
                    <a:pt x="26" y="71"/>
                  </a:lnTo>
                  <a:lnTo>
                    <a:pt x="27" y="74"/>
                  </a:lnTo>
                  <a:lnTo>
                    <a:pt x="25" y="75"/>
                  </a:lnTo>
                  <a:lnTo>
                    <a:pt x="25" y="78"/>
                  </a:lnTo>
                  <a:lnTo>
                    <a:pt x="23" y="79"/>
                  </a:lnTo>
                  <a:lnTo>
                    <a:pt x="24" y="80"/>
                  </a:lnTo>
                  <a:lnTo>
                    <a:pt x="23" y="81"/>
                  </a:lnTo>
                  <a:lnTo>
                    <a:pt x="22" y="82"/>
                  </a:lnTo>
                  <a:lnTo>
                    <a:pt x="20" y="82"/>
                  </a:lnTo>
                  <a:lnTo>
                    <a:pt x="20" y="82"/>
                  </a:lnTo>
                  <a:lnTo>
                    <a:pt x="20" y="81"/>
                  </a:lnTo>
                  <a:lnTo>
                    <a:pt x="20" y="81"/>
                  </a:lnTo>
                  <a:lnTo>
                    <a:pt x="20" y="80"/>
                  </a:lnTo>
                  <a:lnTo>
                    <a:pt x="19" y="79"/>
                  </a:lnTo>
                  <a:lnTo>
                    <a:pt x="19" y="79"/>
                  </a:lnTo>
                  <a:lnTo>
                    <a:pt x="18" y="79"/>
                  </a:lnTo>
                  <a:lnTo>
                    <a:pt x="18" y="78"/>
                  </a:lnTo>
                  <a:lnTo>
                    <a:pt x="18" y="77"/>
                  </a:lnTo>
                  <a:lnTo>
                    <a:pt x="17" y="75"/>
                  </a:lnTo>
                  <a:lnTo>
                    <a:pt x="17" y="75"/>
                  </a:lnTo>
                  <a:lnTo>
                    <a:pt x="15" y="75"/>
                  </a:lnTo>
                  <a:lnTo>
                    <a:pt x="15" y="75"/>
                  </a:lnTo>
                  <a:lnTo>
                    <a:pt x="13" y="75"/>
                  </a:lnTo>
                  <a:lnTo>
                    <a:pt x="13" y="77"/>
                  </a:lnTo>
                  <a:lnTo>
                    <a:pt x="13" y="79"/>
                  </a:lnTo>
                  <a:lnTo>
                    <a:pt x="12" y="79"/>
                  </a:lnTo>
                  <a:lnTo>
                    <a:pt x="11" y="79"/>
                  </a:lnTo>
                  <a:lnTo>
                    <a:pt x="11" y="79"/>
                  </a:lnTo>
                  <a:lnTo>
                    <a:pt x="11" y="79"/>
                  </a:lnTo>
                  <a:lnTo>
                    <a:pt x="10" y="78"/>
                  </a:lnTo>
                  <a:lnTo>
                    <a:pt x="9" y="78"/>
                  </a:lnTo>
                  <a:lnTo>
                    <a:pt x="7" y="78"/>
                  </a:lnTo>
                  <a:lnTo>
                    <a:pt x="6" y="78"/>
                  </a:lnTo>
                  <a:lnTo>
                    <a:pt x="6" y="79"/>
                  </a:lnTo>
                  <a:lnTo>
                    <a:pt x="5" y="78"/>
                  </a:lnTo>
                  <a:lnTo>
                    <a:pt x="4" y="79"/>
                  </a:lnTo>
                  <a:lnTo>
                    <a:pt x="4" y="78"/>
                  </a:lnTo>
                  <a:lnTo>
                    <a:pt x="4" y="80"/>
                  </a:lnTo>
                  <a:lnTo>
                    <a:pt x="3" y="79"/>
                  </a:lnTo>
                  <a:lnTo>
                    <a:pt x="0" y="60"/>
                  </a:lnTo>
                  <a:lnTo>
                    <a:pt x="2" y="58"/>
                  </a:lnTo>
                  <a:lnTo>
                    <a:pt x="4" y="54"/>
                  </a:lnTo>
                  <a:lnTo>
                    <a:pt x="4" y="53"/>
                  </a:lnTo>
                  <a:lnTo>
                    <a:pt x="4" y="53"/>
                  </a:lnTo>
                  <a:lnTo>
                    <a:pt x="5" y="47"/>
                  </a:lnTo>
                  <a:lnTo>
                    <a:pt x="5" y="47"/>
                  </a:lnTo>
                  <a:lnTo>
                    <a:pt x="9" y="38"/>
                  </a:lnTo>
                  <a:lnTo>
                    <a:pt x="9" y="37"/>
                  </a:lnTo>
                  <a:lnTo>
                    <a:pt x="9" y="35"/>
                  </a:lnTo>
                  <a:lnTo>
                    <a:pt x="9" y="34"/>
                  </a:lnTo>
                  <a:lnTo>
                    <a:pt x="7" y="33"/>
                  </a:lnTo>
                  <a:lnTo>
                    <a:pt x="7" y="32"/>
                  </a:lnTo>
                  <a:lnTo>
                    <a:pt x="7" y="31"/>
                  </a:lnTo>
                  <a:lnTo>
                    <a:pt x="7" y="30"/>
                  </a:lnTo>
                  <a:lnTo>
                    <a:pt x="9" y="28"/>
                  </a:lnTo>
                  <a:lnTo>
                    <a:pt x="9" y="25"/>
                  </a:lnTo>
                  <a:lnTo>
                    <a:pt x="9" y="25"/>
                  </a:lnTo>
                  <a:lnTo>
                    <a:pt x="9" y="24"/>
                  </a:lnTo>
                  <a:lnTo>
                    <a:pt x="9" y="24"/>
                  </a:lnTo>
                  <a:lnTo>
                    <a:pt x="9" y="22"/>
                  </a:lnTo>
                  <a:lnTo>
                    <a:pt x="9" y="21"/>
                  </a:lnTo>
                  <a:lnTo>
                    <a:pt x="9" y="20"/>
                  </a:lnTo>
                  <a:lnTo>
                    <a:pt x="11" y="21"/>
                  </a:lnTo>
                  <a:lnTo>
                    <a:pt x="11" y="20"/>
                  </a:lnTo>
                  <a:lnTo>
                    <a:pt x="12" y="21"/>
                  </a:lnTo>
                  <a:lnTo>
                    <a:pt x="12" y="21"/>
                  </a:lnTo>
                  <a:lnTo>
                    <a:pt x="13" y="20"/>
                  </a:lnTo>
                  <a:lnTo>
                    <a:pt x="16" y="21"/>
                  </a:lnTo>
                  <a:lnTo>
                    <a:pt x="17" y="20"/>
                  </a:lnTo>
                  <a:lnTo>
                    <a:pt x="18" y="19"/>
                  </a:lnTo>
                  <a:lnTo>
                    <a:pt x="18" y="17"/>
                  </a:lnTo>
                  <a:lnTo>
                    <a:pt x="17" y="15"/>
                  </a:lnTo>
                  <a:lnTo>
                    <a:pt x="18" y="15"/>
                  </a:lnTo>
                  <a:lnTo>
                    <a:pt x="22" y="14"/>
                  </a:lnTo>
                  <a:lnTo>
                    <a:pt x="23" y="13"/>
                  </a:lnTo>
                  <a:lnTo>
                    <a:pt x="23" y="12"/>
                  </a:lnTo>
                  <a:lnTo>
                    <a:pt x="24" y="13"/>
                  </a:lnTo>
                  <a:lnTo>
                    <a:pt x="25" y="13"/>
                  </a:lnTo>
                  <a:lnTo>
                    <a:pt x="25" y="12"/>
                  </a:lnTo>
                  <a:lnTo>
                    <a:pt x="27" y="11"/>
                  </a:lnTo>
                  <a:lnTo>
                    <a:pt x="27" y="12"/>
                  </a:lnTo>
                  <a:lnTo>
                    <a:pt x="29" y="12"/>
                  </a:lnTo>
                  <a:lnTo>
                    <a:pt x="29" y="11"/>
                  </a:lnTo>
                  <a:lnTo>
                    <a:pt x="31" y="12"/>
                  </a:lnTo>
                  <a:lnTo>
                    <a:pt x="31" y="12"/>
                  </a:lnTo>
                  <a:lnTo>
                    <a:pt x="31" y="10"/>
                  </a:lnTo>
                  <a:lnTo>
                    <a:pt x="32" y="8"/>
                  </a:lnTo>
                  <a:lnTo>
                    <a:pt x="35" y="4"/>
                  </a:lnTo>
                  <a:lnTo>
                    <a:pt x="36" y="1"/>
                  </a:lnTo>
                  <a:lnTo>
                    <a:pt x="37" y="0"/>
                  </a:lnTo>
                  <a:lnTo>
                    <a:pt x="37" y="1"/>
                  </a:lnTo>
                  <a:lnTo>
                    <a:pt x="37" y="1"/>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29" name="Equador">
              <a:extLst>
                <a:ext uri="{FF2B5EF4-FFF2-40B4-BE49-F238E27FC236}">
                  <a16:creationId xmlns:a16="http://schemas.microsoft.com/office/drawing/2014/main" id="{521F6DED-C020-BC4F-A5B3-12D34482A8B8}"/>
                </a:ext>
              </a:extLst>
            </p:cNvPr>
            <p:cNvSpPr>
              <a:spLocks noEditPoints="1"/>
            </p:cNvSpPr>
            <p:nvPr/>
          </p:nvSpPr>
          <p:spPr bwMode="auto">
            <a:xfrm>
              <a:off x="3939219" y="3944252"/>
              <a:ext cx="434469" cy="192450"/>
            </a:xfrm>
            <a:custGeom>
              <a:avLst/>
              <a:gdLst>
                <a:gd name="T0" fmla="*/ 209 w 298"/>
                <a:gd name="T1" fmla="*/ 103 h 132"/>
                <a:gd name="T2" fmla="*/ 209 w 298"/>
                <a:gd name="T3" fmla="*/ 111 h 132"/>
                <a:gd name="T4" fmla="*/ 204 w 298"/>
                <a:gd name="T5" fmla="*/ 114 h 132"/>
                <a:gd name="T6" fmla="*/ 206 w 298"/>
                <a:gd name="T7" fmla="*/ 121 h 132"/>
                <a:gd name="T8" fmla="*/ 211 w 298"/>
                <a:gd name="T9" fmla="*/ 118 h 132"/>
                <a:gd name="T10" fmla="*/ 219 w 298"/>
                <a:gd name="T11" fmla="*/ 120 h 132"/>
                <a:gd name="T12" fmla="*/ 225 w 298"/>
                <a:gd name="T13" fmla="*/ 130 h 132"/>
                <a:gd name="T14" fmla="*/ 231 w 298"/>
                <a:gd name="T15" fmla="*/ 132 h 132"/>
                <a:gd name="T16" fmla="*/ 237 w 298"/>
                <a:gd name="T17" fmla="*/ 124 h 132"/>
                <a:gd name="T18" fmla="*/ 238 w 298"/>
                <a:gd name="T19" fmla="*/ 113 h 132"/>
                <a:gd name="T20" fmla="*/ 244 w 298"/>
                <a:gd name="T21" fmla="*/ 100 h 132"/>
                <a:gd name="T22" fmla="*/ 246 w 298"/>
                <a:gd name="T23" fmla="*/ 97 h 132"/>
                <a:gd name="T24" fmla="*/ 292 w 298"/>
                <a:gd name="T25" fmla="*/ 62 h 132"/>
                <a:gd name="T26" fmla="*/ 298 w 298"/>
                <a:gd name="T27" fmla="*/ 47 h 132"/>
                <a:gd name="T28" fmla="*/ 297 w 298"/>
                <a:gd name="T29" fmla="*/ 40 h 132"/>
                <a:gd name="T30" fmla="*/ 292 w 298"/>
                <a:gd name="T31" fmla="*/ 33 h 132"/>
                <a:gd name="T32" fmla="*/ 297 w 298"/>
                <a:gd name="T33" fmla="*/ 32 h 132"/>
                <a:gd name="T34" fmla="*/ 283 w 298"/>
                <a:gd name="T35" fmla="*/ 23 h 132"/>
                <a:gd name="T36" fmla="*/ 278 w 298"/>
                <a:gd name="T37" fmla="*/ 22 h 132"/>
                <a:gd name="T38" fmla="*/ 270 w 298"/>
                <a:gd name="T39" fmla="*/ 25 h 132"/>
                <a:gd name="T40" fmla="*/ 260 w 298"/>
                <a:gd name="T41" fmla="*/ 23 h 132"/>
                <a:gd name="T42" fmla="*/ 257 w 298"/>
                <a:gd name="T43" fmla="*/ 16 h 132"/>
                <a:gd name="T44" fmla="*/ 250 w 298"/>
                <a:gd name="T45" fmla="*/ 12 h 132"/>
                <a:gd name="T46" fmla="*/ 242 w 298"/>
                <a:gd name="T47" fmla="*/ 7 h 132"/>
                <a:gd name="T48" fmla="*/ 236 w 298"/>
                <a:gd name="T49" fmla="*/ 3 h 132"/>
                <a:gd name="T50" fmla="*/ 233 w 298"/>
                <a:gd name="T51" fmla="*/ 3 h 132"/>
                <a:gd name="T52" fmla="*/ 229 w 298"/>
                <a:gd name="T53" fmla="*/ 5 h 132"/>
                <a:gd name="T54" fmla="*/ 218 w 298"/>
                <a:gd name="T55" fmla="*/ 11 h 132"/>
                <a:gd name="T56" fmla="*/ 212 w 298"/>
                <a:gd name="T57" fmla="*/ 12 h 132"/>
                <a:gd name="T58" fmla="*/ 211 w 298"/>
                <a:gd name="T59" fmla="*/ 18 h 132"/>
                <a:gd name="T60" fmla="*/ 210 w 298"/>
                <a:gd name="T61" fmla="*/ 25 h 132"/>
                <a:gd name="T62" fmla="*/ 211 w 298"/>
                <a:gd name="T63" fmla="*/ 31 h 132"/>
                <a:gd name="T64" fmla="*/ 207 w 298"/>
                <a:gd name="T65" fmla="*/ 34 h 132"/>
                <a:gd name="T66" fmla="*/ 205 w 298"/>
                <a:gd name="T67" fmla="*/ 37 h 132"/>
                <a:gd name="T68" fmla="*/ 203 w 298"/>
                <a:gd name="T69" fmla="*/ 38 h 132"/>
                <a:gd name="T70" fmla="*/ 206 w 298"/>
                <a:gd name="T71" fmla="*/ 43 h 132"/>
                <a:gd name="T72" fmla="*/ 204 w 298"/>
                <a:gd name="T73" fmla="*/ 47 h 132"/>
                <a:gd name="T74" fmla="*/ 198 w 298"/>
                <a:gd name="T75" fmla="*/ 49 h 132"/>
                <a:gd name="T76" fmla="*/ 197 w 298"/>
                <a:gd name="T77" fmla="*/ 54 h 132"/>
                <a:gd name="T78" fmla="*/ 197 w 298"/>
                <a:gd name="T79" fmla="*/ 62 h 132"/>
                <a:gd name="T80" fmla="*/ 198 w 298"/>
                <a:gd name="T81" fmla="*/ 66 h 132"/>
                <a:gd name="T82" fmla="*/ 200 w 298"/>
                <a:gd name="T83" fmla="*/ 74 h 132"/>
                <a:gd name="T84" fmla="*/ 198 w 298"/>
                <a:gd name="T85" fmla="*/ 78 h 132"/>
                <a:gd name="T86" fmla="*/ 199 w 298"/>
                <a:gd name="T87" fmla="*/ 79 h 132"/>
                <a:gd name="T88" fmla="*/ 206 w 298"/>
                <a:gd name="T89" fmla="*/ 84 h 132"/>
                <a:gd name="T90" fmla="*/ 212 w 298"/>
                <a:gd name="T91" fmla="*/ 78 h 132"/>
                <a:gd name="T92" fmla="*/ 213 w 298"/>
                <a:gd name="T93" fmla="*/ 80 h 132"/>
                <a:gd name="T94" fmla="*/ 212 w 298"/>
                <a:gd name="T95" fmla="*/ 83 h 132"/>
                <a:gd name="T96" fmla="*/ 214 w 298"/>
                <a:gd name="T97" fmla="*/ 72 h 132"/>
                <a:gd name="T98" fmla="*/ 214 w 298"/>
                <a:gd name="T99" fmla="*/ 73 h 132"/>
                <a:gd name="T100" fmla="*/ 217 w 298"/>
                <a:gd name="T101" fmla="*/ 80 h 132"/>
                <a:gd name="T102" fmla="*/ 214 w 298"/>
                <a:gd name="T103" fmla="*/ 92 h 132"/>
                <a:gd name="T104" fmla="*/ 211 w 298"/>
                <a:gd name="T105" fmla="*/ 97 h 132"/>
                <a:gd name="T106" fmla="*/ 206 w 298"/>
                <a:gd name="T107" fmla="*/ 98 h 132"/>
                <a:gd name="T108" fmla="*/ 25 w 298"/>
                <a:gd name="T109" fmla="*/ 40 h 132"/>
                <a:gd name="T110" fmla="*/ 22 w 298"/>
                <a:gd name="T111" fmla="*/ 42 h 132"/>
                <a:gd name="T112" fmla="*/ 3 w 298"/>
                <a:gd name="T113" fmla="*/ 29 h 132"/>
                <a:gd name="T114" fmla="*/ 7 w 298"/>
                <a:gd name="T115" fmla="*/ 36 h 132"/>
                <a:gd name="T116" fmla="*/ 10 w 298"/>
                <a:gd name="T117" fmla="*/ 51 h 132"/>
                <a:gd name="T118" fmla="*/ 5 w 298"/>
                <a:gd name="T119" fmla="*/ 43 h 132"/>
                <a:gd name="T120" fmla="*/ 2 w 298"/>
                <a:gd name="T121" fmla="*/ 32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98" h="132">
                  <a:moveTo>
                    <a:pt x="206" y="99"/>
                  </a:moveTo>
                  <a:lnTo>
                    <a:pt x="207" y="100"/>
                  </a:lnTo>
                  <a:lnTo>
                    <a:pt x="209" y="101"/>
                  </a:lnTo>
                  <a:lnTo>
                    <a:pt x="209" y="103"/>
                  </a:lnTo>
                  <a:lnTo>
                    <a:pt x="209" y="105"/>
                  </a:lnTo>
                  <a:lnTo>
                    <a:pt x="209" y="107"/>
                  </a:lnTo>
                  <a:lnTo>
                    <a:pt x="209" y="109"/>
                  </a:lnTo>
                  <a:lnTo>
                    <a:pt x="209" y="111"/>
                  </a:lnTo>
                  <a:lnTo>
                    <a:pt x="207" y="111"/>
                  </a:lnTo>
                  <a:lnTo>
                    <a:pt x="206" y="111"/>
                  </a:lnTo>
                  <a:lnTo>
                    <a:pt x="204" y="112"/>
                  </a:lnTo>
                  <a:lnTo>
                    <a:pt x="204" y="114"/>
                  </a:lnTo>
                  <a:lnTo>
                    <a:pt x="205" y="116"/>
                  </a:lnTo>
                  <a:lnTo>
                    <a:pt x="206" y="116"/>
                  </a:lnTo>
                  <a:lnTo>
                    <a:pt x="204" y="120"/>
                  </a:lnTo>
                  <a:lnTo>
                    <a:pt x="206" y="121"/>
                  </a:lnTo>
                  <a:lnTo>
                    <a:pt x="206" y="120"/>
                  </a:lnTo>
                  <a:lnTo>
                    <a:pt x="209" y="120"/>
                  </a:lnTo>
                  <a:lnTo>
                    <a:pt x="211" y="118"/>
                  </a:lnTo>
                  <a:lnTo>
                    <a:pt x="211" y="118"/>
                  </a:lnTo>
                  <a:lnTo>
                    <a:pt x="213" y="120"/>
                  </a:lnTo>
                  <a:lnTo>
                    <a:pt x="216" y="120"/>
                  </a:lnTo>
                  <a:lnTo>
                    <a:pt x="217" y="121"/>
                  </a:lnTo>
                  <a:lnTo>
                    <a:pt x="219" y="120"/>
                  </a:lnTo>
                  <a:lnTo>
                    <a:pt x="222" y="123"/>
                  </a:lnTo>
                  <a:lnTo>
                    <a:pt x="222" y="123"/>
                  </a:lnTo>
                  <a:lnTo>
                    <a:pt x="223" y="129"/>
                  </a:lnTo>
                  <a:lnTo>
                    <a:pt x="225" y="130"/>
                  </a:lnTo>
                  <a:lnTo>
                    <a:pt x="226" y="132"/>
                  </a:lnTo>
                  <a:lnTo>
                    <a:pt x="229" y="132"/>
                  </a:lnTo>
                  <a:lnTo>
                    <a:pt x="230" y="132"/>
                  </a:lnTo>
                  <a:lnTo>
                    <a:pt x="231" y="132"/>
                  </a:lnTo>
                  <a:lnTo>
                    <a:pt x="232" y="130"/>
                  </a:lnTo>
                  <a:lnTo>
                    <a:pt x="233" y="129"/>
                  </a:lnTo>
                  <a:lnTo>
                    <a:pt x="233" y="126"/>
                  </a:lnTo>
                  <a:lnTo>
                    <a:pt x="237" y="124"/>
                  </a:lnTo>
                  <a:lnTo>
                    <a:pt x="237" y="121"/>
                  </a:lnTo>
                  <a:lnTo>
                    <a:pt x="237" y="120"/>
                  </a:lnTo>
                  <a:lnTo>
                    <a:pt x="237" y="117"/>
                  </a:lnTo>
                  <a:lnTo>
                    <a:pt x="238" y="113"/>
                  </a:lnTo>
                  <a:lnTo>
                    <a:pt x="239" y="110"/>
                  </a:lnTo>
                  <a:lnTo>
                    <a:pt x="242" y="106"/>
                  </a:lnTo>
                  <a:lnTo>
                    <a:pt x="242" y="101"/>
                  </a:lnTo>
                  <a:lnTo>
                    <a:pt x="244" y="100"/>
                  </a:lnTo>
                  <a:lnTo>
                    <a:pt x="244" y="101"/>
                  </a:lnTo>
                  <a:lnTo>
                    <a:pt x="245" y="100"/>
                  </a:lnTo>
                  <a:lnTo>
                    <a:pt x="245" y="99"/>
                  </a:lnTo>
                  <a:lnTo>
                    <a:pt x="246" y="97"/>
                  </a:lnTo>
                  <a:lnTo>
                    <a:pt x="247" y="96"/>
                  </a:lnTo>
                  <a:lnTo>
                    <a:pt x="251" y="91"/>
                  </a:lnTo>
                  <a:lnTo>
                    <a:pt x="283" y="73"/>
                  </a:lnTo>
                  <a:lnTo>
                    <a:pt x="292" y="62"/>
                  </a:lnTo>
                  <a:lnTo>
                    <a:pt x="294" y="49"/>
                  </a:lnTo>
                  <a:lnTo>
                    <a:pt x="297" y="50"/>
                  </a:lnTo>
                  <a:lnTo>
                    <a:pt x="298" y="50"/>
                  </a:lnTo>
                  <a:lnTo>
                    <a:pt x="298" y="47"/>
                  </a:lnTo>
                  <a:lnTo>
                    <a:pt x="297" y="46"/>
                  </a:lnTo>
                  <a:lnTo>
                    <a:pt x="297" y="44"/>
                  </a:lnTo>
                  <a:lnTo>
                    <a:pt x="298" y="43"/>
                  </a:lnTo>
                  <a:lnTo>
                    <a:pt x="297" y="40"/>
                  </a:lnTo>
                  <a:lnTo>
                    <a:pt x="297" y="40"/>
                  </a:lnTo>
                  <a:lnTo>
                    <a:pt x="296" y="39"/>
                  </a:lnTo>
                  <a:lnTo>
                    <a:pt x="294" y="37"/>
                  </a:lnTo>
                  <a:lnTo>
                    <a:pt x="292" y="33"/>
                  </a:lnTo>
                  <a:lnTo>
                    <a:pt x="291" y="32"/>
                  </a:lnTo>
                  <a:lnTo>
                    <a:pt x="294" y="33"/>
                  </a:lnTo>
                  <a:lnTo>
                    <a:pt x="296" y="33"/>
                  </a:lnTo>
                  <a:lnTo>
                    <a:pt x="297" y="32"/>
                  </a:lnTo>
                  <a:lnTo>
                    <a:pt x="294" y="31"/>
                  </a:lnTo>
                  <a:lnTo>
                    <a:pt x="289" y="29"/>
                  </a:lnTo>
                  <a:lnTo>
                    <a:pt x="286" y="27"/>
                  </a:lnTo>
                  <a:lnTo>
                    <a:pt x="283" y="23"/>
                  </a:lnTo>
                  <a:lnTo>
                    <a:pt x="282" y="23"/>
                  </a:lnTo>
                  <a:lnTo>
                    <a:pt x="282" y="22"/>
                  </a:lnTo>
                  <a:lnTo>
                    <a:pt x="278" y="20"/>
                  </a:lnTo>
                  <a:lnTo>
                    <a:pt x="278" y="22"/>
                  </a:lnTo>
                  <a:lnTo>
                    <a:pt x="277" y="25"/>
                  </a:lnTo>
                  <a:lnTo>
                    <a:pt x="273" y="25"/>
                  </a:lnTo>
                  <a:lnTo>
                    <a:pt x="271" y="24"/>
                  </a:lnTo>
                  <a:lnTo>
                    <a:pt x="270" y="25"/>
                  </a:lnTo>
                  <a:lnTo>
                    <a:pt x="267" y="25"/>
                  </a:lnTo>
                  <a:lnTo>
                    <a:pt x="265" y="24"/>
                  </a:lnTo>
                  <a:lnTo>
                    <a:pt x="264" y="23"/>
                  </a:lnTo>
                  <a:lnTo>
                    <a:pt x="260" y="23"/>
                  </a:lnTo>
                  <a:lnTo>
                    <a:pt x="258" y="22"/>
                  </a:lnTo>
                  <a:lnTo>
                    <a:pt x="258" y="18"/>
                  </a:lnTo>
                  <a:lnTo>
                    <a:pt x="258" y="17"/>
                  </a:lnTo>
                  <a:lnTo>
                    <a:pt x="257" y="16"/>
                  </a:lnTo>
                  <a:lnTo>
                    <a:pt x="254" y="14"/>
                  </a:lnTo>
                  <a:lnTo>
                    <a:pt x="254" y="12"/>
                  </a:lnTo>
                  <a:lnTo>
                    <a:pt x="253" y="12"/>
                  </a:lnTo>
                  <a:lnTo>
                    <a:pt x="250" y="12"/>
                  </a:lnTo>
                  <a:lnTo>
                    <a:pt x="249" y="11"/>
                  </a:lnTo>
                  <a:lnTo>
                    <a:pt x="247" y="11"/>
                  </a:lnTo>
                  <a:lnTo>
                    <a:pt x="244" y="10"/>
                  </a:lnTo>
                  <a:lnTo>
                    <a:pt x="242" y="7"/>
                  </a:lnTo>
                  <a:lnTo>
                    <a:pt x="238" y="4"/>
                  </a:lnTo>
                  <a:lnTo>
                    <a:pt x="237" y="4"/>
                  </a:lnTo>
                  <a:lnTo>
                    <a:pt x="237" y="4"/>
                  </a:lnTo>
                  <a:lnTo>
                    <a:pt x="236" y="3"/>
                  </a:lnTo>
                  <a:lnTo>
                    <a:pt x="233" y="0"/>
                  </a:lnTo>
                  <a:lnTo>
                    <a:pt x="233" y="2"/>
                  </a:lnTo>
                  <a:lnTo>
                    <a:pt x="232" y="3"/>
                  </a:lnTo>
                  <a:lnTo>
                    <a:pt x="233" y="3"/>
                  </a:lnTo>
                  <a:lnTo>
                    <a:pt x="232" y="4"/>
                  </a:lnTo>
                  <a:lnTo>
                    <a:pt x="231" y="4"/>
                  </a:lnTo>
                  <a:lnTo>
                    <a:pt x="231" y="6"/>
                  </a:lnTo>
                  <a:lnTo>
                    <a:pt x="229" y="5"/>
                  </a:lnTo>
                  <a:lnTo>
                    <a:pt x="227" y="6"/>
                  </a:lnTo>
                  <a:lnTo>
                    <a:pt x="223" y="7"/>
                  </a:lnTo>
                  <a:lnTo>
                    <a:pt x="219" y="10"/>
                  </a:lnTo>
                  <a:lnTo>
                    <a:pt x="218" y="11"/>
                  </a:lnTo>
                  <a:lnTo>
                    <a:pt x="218" y="12"/>
                  </a:lnTo>
                  <a:lnTo>
                    <a:pt x="218" y="11"/>
                  </a:lnTo>
                  <a:lnTo>
                    <a:pt x="216" y="10"/>
                  </a:lnTo>
                  <a:lnTo>
                    <a:pt x="212" y="12"/>
                  </a:lnTo>
                  <a:lnTo>
                    <a:pt x="210" y="12"/>
                  </a:lnTo>
                  <a:lnTo>
                    <a:pt x="210" y="16"/>
                  </a:lnTo>
                  <a:lnTo>
                    <a:pt x="210" y="17"/>
                  </a:lnTo>
                  <a:lnTo>
                    <a:pt x="211" y="18"/>
                  </a:lnTo>
                  <a:lnTo>
                    <a:pt x="211" y="20"/>
                  </a:lnTo>
                  <a:lnTo>
                    <a:pt x="211" y="23"/>
                  </a:lnTo>
                  <a:lnTo>
                    <a:pt x="211" y="23"/>
                  </a:lnTo>
                  <a:lnTo>
                    <a:pt x="210" y="25"/>
                  </a:lnTo>
                  <a:lnTo>
                    <a:pt x="210" y="29"/>
                  </a:lnTo>
                  <a:lnTo>
                    <a:pt x="211" y="29"/>
                  </a:lnTo>
                  <a:lnTo>
                    <a:pt x="213" y="30"/>
                  </a:lnTo>
                  <a:lnTo>
                    <a:pt x="211" y="31"/>
                  </a:lnTo>
                  <a:lnTo>
                    <a:pt x="211" y="32"/>
                  </a:lnTo>
                  <a:lnTo>
                    <a:pt x="210" y="32"/>
                  </a:lnTo>
                  <a:lnTo>
                    <a:pt x="209" y="33"/>
                  </a:lnTo>
                  <a:lnTo>
                    <a:pt x="207" y="34"/>
                  </a:lnTo>
                  <a:lnTo>
                    <a:pt x="207" y="34"/>
                  </a:lnTo>
                  <a:lnTo>
                    <a:pt x="206" y="36"/>
                  </a:lnTo>
                  <a:lnTo>
                    <a:pt x="205" y="36"/>
                  </a:lnTo>
                  <a:lnTo>
                    <a:pt x="205" y="37"/>
                  </a:lnTo>
                  <a:lnTo>
                    <a:pt x="204" y="37"/>
                  </a:lnTo>
                  <a:lnTo>
                    <a:pt x="204" y="36"/>
                  </a:lnTo>
                  <a:lnTo>
                    <a:pt x="203" y="37"/>
                  </a:lnTo>
                  <a:lnTo>
                    <a:pt x="203" y="38"/>
                  </a:lnTo>
                  <a:lnTo>
                    <a:pt x="203" y="39"/>
                  </a:lnTo>
                  <a:lnTo>
                    <a:pt x="205" y="40"/>
                  </a:lnTo>
                  <a:lnTo>
                    <a:pt x="206" y="40"/>
                  </a:lnTo>
                  <a:lnTo>
                    <a:pt x="206" y="43"/>
                  </a:lnTo>
                  <a:lnTo>
                    <a:pt x="204" y="43"/>
                  </a:lnTo>
                  <a:lnTo>
                    <a:pt x="204" y="42"/>
                  </a:lnTo>
                  <a:lnTo>
                    <a:pt x="205" y="46"/>
                  </a:lnTo>
                  <a:lnTo>
                    <a:pt x="204" y="47"/>
                  </a:lnTo>
                  <a:lnTo>
                    <a:pt x="202" y="46"/>
                  </a:lnTo>
                  <a:lnTo>
                    <a:pt x="200" y="47"/>
                  </a:lnTo>
                  <a:lnTo>
                    <a:pt x="199" y="49"/>
                  </a:lnTo>
                  <a:lnTo>
                    <a:pt x="198" y="49"/>
                  </a:lnTo>
                  <a:lnTo>
                    <a:pt x="197" y="49"/>
                  </a:lnTo>
                  <a:lnTo>
                    <a:pt x="194" y="51"/>
                  </a:lnTo>
                  <a:lnTo>
                    <a:pt x="196" y="53"/>
                  </a:lnTo>
                  <a:lnTo>
                    <a:pt x="197" y="54"/>
                  </a:lnTo>
                  <a:lnTo>
                    <a:pt x="198" y="54"/>
                  </a:lnTo>
                  <a:lnTo>
                    <a:pt x="197" y="58"/>
                  </a:lnTo>
                  <a:lnTo>
                    <a:pt x="197" y="60"/>
                  </a:lnTo>
                  <a:lnTo>
                    <a:pt x="197" y="62"/>
                  </a:lnTo>
                  <a:lnTo>
                    <a:pt x="198" y="62"/>
                  </a:lnTo>
                  <a:lnTo>
                    <a:pt x="199" y="63"/>
                  </a:lnTo>
                  <a:lnTo>
                    <a:pt x="199" y="65"/>
                  </a:lnTo>
                  <a:lnTo>
                    <a:pt x="198" y="66"/>
                  </a:lnTo>
                  <a:lnTo>
                    <a:pt x="199" y="67"/>
                  </a:lnTo>
                  <a:lnTo>
                    <a:pt x="199" y="70"/>
                  </a:lnTo>
                  <a:lnTo>
                    <a:pt x="200" y="72"/>
                  </a:lnTo>
                  <a:lnTo>
                    <a:pt x="200" y="74"/>
                  </a:lnTo>
                  <a:lnTo>
                    <a:pt x="194" y="74"/>
                  </a:lnTo>
                  <a:lnTo>
                    <a:pt x="196" y="77"/>
                  </a:lnTo>
                  <a:lnTo>
                    <a:pt x="194" y="77"/>
                  </a:lnTo>
                  <a:lnTo>
                    <a:pt x="198" y="78"/>
                  </a:lnTo>
                  <a:lnTo>
                    <a:pt x="197" y="76"/>
                  </a:lnTo>
                  <a:lnTo>
                    <a:pt x="198" y="76"/>
                  </a:lnTo>
                  <a:lnTo>
                    <a:pt x="200" y="77"/>
                  </a:lnTo>
                  <a:lnTo>
                    <a:pt x="199" y="79"/>
                  </a:lnTo>
                  <a:lnTo>
                    <a:pt x="204" y="84"/>
                  </a:lnTo>
                  <a:lnTo>
                    <a:pt x="206" y="85"/>
                  </a:lnTo>
                  <a:lnTo>
                    <a:pt x="207" y="85"/>
                  </a:lnTo>
                  <a:lnTo>
                    <a:pt x="206" y="84"/>
                  </a:lnTo>
                  <a:lnTo>
                    <a:pt x="207" y="84"/>
                  </a:lnTo>
                  <a:lnTo>
                    <a:pt x="209" y="83"/>
                  </a:lnTo>
                  <a:lnTo>
                    <a:pt x="211" y="78"/>
                  </a:lnTo>
                  <a:lnTo>
                    <a:pt x="212" y="78"/>
                  </a:lnTo>
                  <a:lnTo>
                    <a:pt x="212" y="78"/>
                  </a:lnTo>
                  <a:lnTo>
                    <a:pt x="211" y="80"/>
                  </a:lnTo>
                  <a:lnTo>
                    <a:pt x="212" y="80"/>
                  </a:lnTo>
                  <a:lnTo>
                    <a:pt x="213" y="80"/>
                  </a:lnTo>
                  <a:lnTo>
                    <a:pt x="212" y="80"/>
                  </a:lnTo>
                  <a:lnTo>
                    <a:pt x="211" y="82"/>
                  </a:lnTo>
                  <a:lnTo>
                    <a:pt x="211" y="83"/>
                  </a:lnTo>
                  <a:lnTo>
                    <a:pt x="212" y="83"/>
                  </a:lnTo>
                  <a:lnTo>
                    <a:pt x="213" y="83"/>
                  </a:lnTo>
                  <a:lnTo>
                    <a:pt x="214" y="77"/>
                  </a:lnTo>
                  <a:lnTo>
                    <a:pt x="213" y="76"/>
                  </a:lnTo>
                  <a:lnTo>
                    <a:pt x="214" y="72"/>
                  </a:lnTo>
                  <a:lnTo>
                    <a:pt x="214" y="71"/>
                  </a:lnTo>
                  <a:lnTo>
                    <a:pt x="216" y="71"/>
                  </a:lnTo>
                  <a:lnTo>
                    <a:pt x="214" y="72"/>
                  </a:lnTo>
                  <a:lnTo>
                    <a:pt x="214" y="73"/>
                  </a:lnTo>
                  <a:lnTo>
                    <a:pt x="214" y="76"/>
                  </a:lnTo>
                  <a:lnTo>
                    <a:pt x="214" y="77"/>
                  </a:lnTo>
                  <a:lnTo>
                    <a:pt x="214" y="79"/>
                  </a:lnTo>
                  <a:lnTo>
                    <a:pt x="217" y="80"/>
                  </a:lnTo>
                  <a:lnTo>
                    <a:pt x="217" y="83"/>
                  </a:lnTo>
                  <a:lnTo>
                    <a:pt x="216" y="86"/>
                  </a:lnTo>
                  <a:lnTo>
                    <a:pt x="214" y="90"/>
                  </a:lnTo>
                  <a:lnTo>
                    <a:pt x="214" y="92"/>
                  </a:lnTo>
                  <a:lnTo>
                    <a:pt x="213" y="96"/>
                  </a:lnTo>
                  <a:lnTo>
                    <a:pt x="212" y="97"/>
                  </a:lnTo>
                  <a:lnTo>
                    <a:pt x="211" y="96"/>
                  </a:lnTo>
                  <a:lnTo>
                    <a:pt x="211" y="97"/>
                  </a:lnTo>
                  <a:lnTo>
                    <a:pt x="207" y="98"/>
                  </a:lnTo>
                  <a:lnTo>
                    <a:pt x="206" y="98"/>
                  </a:lnTo>
                  <a:lnTo>
                    <a:pt x="206" y="99"/>
                  </a:lnTo>
                  <a:lnTo>
                    <a:pt x="206" y="98"/>
                  </a:lnTo>
                  <a:lnTo>
                    <a:pt x="206" y="99"/>
                  </a:lnTo>
                  <a:lnTo>
                    <a:pt x="206" y="99"/>
                  </a:lnTo>
                  <a:lnTo>
                    <a:pt x="206" y="99"/>
                  </a:lnTo>
                  <a:close/>
                  <a:moveTo>
                    <a:pt x="25" y="40"/>
                  </a:moveTo>
                  <a:lnTo>
                    <a:pt x="26" y="42"/>
                  </a:lnTo>
                  <a:lnTo>
                    <a:pt x="26" y="44"/>
                  </a:lnTo>
                  <a:lnTo>
                    <a:pt x="23" y="44"/>
                  </a:lnTo>
                  <a:lnTo>
                    <a:pt x="22" y="42"/>
                  </a:lnTo>
                  <a:lnTo>
                    <a:pt x="22" y="39"/>
                  </a:lnTo>
                  <a:lnTo>
                    <a:pt x="25" y="40"/>
                  </a:lnTo>
                  <a:lnTo>
                    <a:pt x="25" y="40"/>
                  </a:lnTo>
                  <a:close/>
                  <a:moveTo>
                    <a:pt x="3" y="29"/>
                  </a:moveTo>
                  <a:lnTo>
                    <a:pt x="5" y="30"/>
                  </a:lnTo>
                  <a:lnTo>
                    <a:pt x="5" y="32"/>
                  </a:lnTo>
                  <a:lnTo>
                    <a:pt x="6" y="32"/>
                  </a:lnTo>
                  <a:lnTo>
                    <a:pt x="7" y="36"/>
                  </a:lnTo>
                  <a:lnTo>
                    <a:pt x="9" y="39"/>
                  </a:lnTo>
                  <a:lnTo>
                    <a:pt x="11" y="42"/>
                  </a:lnTo>
                  <a:lnTo>
                    <a:pt x="9" y="45"/>
                  </a:lnTo>
                  <a:lnTo>
                    <a:pt x="10" y="51"/>
                  </a:lnTo>
                  <a:lnTo>
                    <a:pt x="7" y="53"/>
                  </a:lnTo>
                  <a:lnTo>
                    <a:pt x="6" y="49"/>
                  </a:lnTo>
                  <a:lnTo>
                    <a:pt x="5" y="47"/>
                  </a:lnTo>
                  <a:lnTo>
                    <a:pt x="5" y="43"/>
                  </a:lnTo>
                  <a:lnTo>
                    <a:pt x="0" y="40"/>
                  </a:lnTo>
                  <a:lnTo>
                    <a:pt x="0" y="37"/>
                  </a:lnTo>
                  <a:lnTo>
                    <a:pt x="0" y="33"/>
                  </a:lnTo>
                  <a:lnTo>
                    <a:pt x="2" y="32"/>
                  </a:lnTo>
                  <a:lnTo>
                    <a:pt x="3" y="29"/>
                  </a:lnTo>
                  <a:lnTo>
                    <a:pt x="3" y="29"/>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30" name="Dominican Republic">
              <a:extLst>
                <a:ext uri="{FF2B5EF4-FFF2-40B4-BE49-F238E27FC236}">
                  <a16:creationId xmlns:a16="http://schemas.microsoft.com/office/drawing/2014/main" id="{97D78D29-DFDB-F24B-AA9A-B2865816FCCA}"/>
                </a:ext>
              </a:extLst>
            </p:cNvPr>
            <p:cNvSpPr>
              <a:spLocks/>
            </p:cNvSpPr>
            <p:nvPr/>
          </p:nvSpPr>
          <p:spPr bwMode="auto">
            <a:xfrm>
              <a:off x="4490324" y="3391688"/>
              <a:ext cx="96225" cy="68524"/>
            </a:xfrm>
            <a:custGeom>
              <a:avLst/>
              <a:gdLst>
                <a:gd name="T0" fmla="*/ 6 w 66"/>
                <a:gd name="T1" fmla="*/ 14 h 47"/>
                <a:gd name="T2" fmla="*/ 3 w 66"/>
                <a:gd name="T3" fmla="*/ 11 h 47"/>
                <a:gd name="T4" fmla="*/ 5 w 66"/>
                <a:gd name="T5" fmla="*/ 9 h 47"/>
                <a:gd name="T6" fmla="*/ 5 w 66"/>
                <a:gd name="T7" fmla="*/ 4 h 47"/>
                <a:gd name="T8" fmla="*/ 3 w 66"/>
                <a:gd name="T9" fmla="*/ 3 h 47"/>
                <a:gd name="T10" fmla="*/ 8 w 66"/>
                <a:gd name="T11" fmla="*/ 1 h 47"/>
                <a:gd name="T12" fmla="*/ 16 w 66"/>
                <a:gd name="T13" fmla="*/ 0 h 47"/>
                <a:gd name="T14" fmla="*/ 20 w 66"/>
                <a:gd name="T15" fmla="*/ 1 h 47"/>
                <a:gd name="T16" fmla="*/ 27 w 66"/>
                <a:gd name="T17" fmla="*/ 3 h 47"/>
                <a:gd name="T18" fmla="*/ 33 w 66"/>
                <a:gd name="T19" fmla="*/ 7 h 47"/>
                <a:gd name="T20" fmla="*/ 38 w 66"/>
                <a:gd name="T21" fmla="*/ 5 h 47"/>
                <a:gd name="T22" fmla="*/ 38 w 66"/>
                <a:gd name="T23" fmla="*/ 9 h 47"/>
                <a:gd name="T24" fmla="*/ 48 w 66"/>
                <a:gd name="T25" fmla="*/ 11 h 47"/>
                <a:gd name="T26" fmla="*/ 49 w 66"/>
                <a:gd name="T27" fmla="*/ 12 h 47"/>
                <a:gd name="T28" fmla="*/ 49 w 66"/>
                <a:gd name="T29" fmla="*/ 15 h 47"/>
                <a:gd name="T30" fmla="*/ 42 w 66"/>
                <a:gd name="T31" fmla="*/ 16 h 47"/>
                <a:gd name="T32" fmla="*/ 46 w 66"/>
                <a:gd name="T33" fmla="*/ 16 h 47"/>
                <a:gd name="T34" fmla="*/ 51 w 66"/>
                <a:gd name="T35" fmla="*/ 18 h 47"/>
                <a:gd name="T36" fmla="*/ 55 w 66"/>
                <a:gd name="T37" fmla="*/ 18 h 47"/>
                <a:gd name="T38" fmla="*/ 65 w 66"/>
                <a:gd name="T39" fmla="*/ 25 h 47"/>
                <a:gd name="T40" fmla="*/ 63 w 66"/>
                <a:gd name="T41" fmla="*/ 31 h 47"/>
                <a:gd name="T42" fmla="*/ 61 w 66"/>
                <a:gd name="T43" fmla="*/ 31 h 47"/>
                <a:gd name="T44" fmla="*/ 58 w 66"/>
                <a:gd name="T45" fmla="*/ 35 h 47"/>
                <a:gd name="T46" fmla="*/ 54 w 66"/>
                <a:gd name="T47" fmla="*/ 30 h 47"/>
                <a:gd name="T48" fmla="*/ 48 w 66"/>
                <a:gd name="T49" fmla="*/ 30 h 47"/>
                <a:gd name="T50" fmla="*/ 42 w 66"/>
                <a:gd name="T51" fmla="*/ 30 h 47"/>
                <a:gd name="T52" fmla="*/ 38 w 66"/>
                <a:gd name="T53" fmla="*/ 29 h 47"/>
                <a:gd name="T54" fmla="*/ 33 w 66"/>
                <a:gd name="T55" fmla="*/ 34 h 47"/>
                <a:gd name="T56" fmla="*/ 25 w 66"/>
                <a:gd name="T57" fmla="*/ 30 h 47"/>
                <a:gd name="T58" fmla="*/ 22 w 66"/>
                <a:gd name="T59" fmla="*/ 30 h 47"/>
                <a:gd name="T60" fmla="*/ 22 w 66"/>
                <a:gd name="T61" fmla="*/ 31 h 47"/>
                <a:gd name="T62" fmla="*/ 19 w 66"/>
                <a:gd name="T63" fmla="*/ 34 h 47"/>
                <a:gd name="T64" fmla="*/ 16 w 66"/>
                <a:gd name="T65" fmla="*/ 32 h 47"/>
                <a:gd name="T66" fmla="*/ 15 w 66"/>
                <a:gd name="T67" fmla="*/ 34 h 47"/>
                <a:gd name="T68" fmla="*/ 13 w 66"/>
                <a:gd name="T69" fmla="*/ 42 h 47"/>
                <a:gd name="T70" fmla="*/ 9 w 66"/>
                <a:gd name="T71" fmla="*/ 47 h 47"/>
                <a:gd name="T72" fmla="*/ 6 w 66"/>
                <a:gd name="T73" fmla="*/ 43 h 47"/>
                <a:gd name="T74" fmla="*/ 6 w 66"/>
                <a:gd name="T75" fmla="*/ 39 h 47"/>
                <a:gd name="T76" fmla="*/ 3 w 66"/>
                <a:gd name="T77" fmla="*/ 37 h 47"/>
                <a:gd name="T78" fmla="*/ 5 w 66"/>
                <a:gd name="T79" fmla="*/ 32 h 47"/>
                <a:gd name="T80" fmla="*/ 1 w 66"/>
                <a:gd name="T81" fmla="*/ 29 h 47"/>
                <a:gd name="T82" fmla="*/ 0 w 66"/>
                <a:gd name="T83" fmla="*/ 27 h 47"/>
                <a:gd name="T84" fmla="*/ 1 w 66"/>
                <a:gd name="T85" fmla="*/ 27 h 47"/>
                <a:gd name="T86" fmla="*/ 5 w 66"/>
                <a:gd name="T87" fmla="*/ 23 h 47"/>
                <a:gd name="T88" fmla="*/ 2 w 66"/>
                <a:gd name="T89" fmla="*/ 20 h 47"/>
                <a:gd name="T90" fmla="*/ 6 w 66"/>
                <a:gd name="T91" fmla="*/ 16 h 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66" h="47">
                  <a:moveTo>
                    <a:pt x="6" y="16"/>
                  </a:moveTo>
                  <a:lnTo>
                    <a:pt x="6" y="14"/>
                  </a:lnTo>
                  <a:lnTo>
                    <a:pt x="5" y="14"/>
                  </a:lnTo>
                  <a:lnTo>
                    <a:pt x="3" y="11"/>
                  </a:lnTo>
                  <a:lnTo>
                    <a:pt x="5" y="11"/>
                  </a:lnTo>
                  <a:lnTo>
                    <a:pt x="5" y="9"/>
                  </a:lnTo>
                  <a:lnTo>
                    <a:pt x="3" y="4"/>
                  </a:lnTo>
                  <a:lnTo>
                    <a:pt x="5" y="4"/>
                  </a:lnTo>
                  <a:lnTo>
                    <a:pt x="5" y="3"/>
                  </a:lnTo>
                  <a:lnTo>
                    <a:pt x="3" y="3"/>
                  </a:lnTo>
                  <a:lnTo>
                    <a:pt x="7" y="1"/>
                  </a:lnTo>
                  <a:lnTo>
                    <a:pt x="8" y="1"/>
                  </a:lnTo>
                  <a:lnTo>
                    <a:pt x="13" y="2"/>
                  </a:lnTo>
                  <a:lnTo>
                    <a:pt x="16" y="0"/>
                  </a:lnTo>
                  <a:lnTo>
                    <a:pt x="18" y="1"/>
                  </a:lnTo>
                  <a:lnTo>
                    <a:pt x="20" y="1"/>
                  </a:lnTo>
                  <a:lnTo>
                    <a:pt x="23" y="3"/>
                  </a:lnTo>
                  <a:lnTo>
                    <a:pt x="27" y="3"/>
                  </a:lnTo>
                  <a:lnTo>
                    <a:pt x="31" y="5"/>
                  </a:lnTo>
                  <a:lnTo>
                    <a:pt x="33" y="7"/>
                  </a:lnTo>
                  <a:lnTo>
                    <a:pt x="35" y="5"/>
                  </a:lnTo>
                  <a:lnTo>
                    <a:pt x="38" y="5"/>
                  </a:lnTo>
                  <a:lnTo>
                    <a:pt x="38" y="7"/>
                  </a:lnTo>
                  <a:lnTo>
                    <a:pt x="38" y="9"/>
                  </a:lnTo>
                  <a:lnTo>
                    <a:pt x="40" y="12"/>
                  </a:lnTo>
                  <a:lnTo>
                    <a:pt x="48" y="11"/>
                  </a:lnTo>
                  <a:lnTo>
                    <a:pt x="49" y="11"/>
                  </a:lnTo>
                  <a:lnTo>
                    <a:pt x="49" y="12"/>
                  </a:lnTo>
                  <a:lnTo>
                    <a:pt x="51" y="12"/>
                  </a:lnTo>
                  <a:lnTo>
                    <a:pt x="49" y="15"/>
                  </a:lnTo>
                  <a:lnTo>
                    <a:pt x="42" y="14"/>
                  </a:lnTo>
                  <a:lnTo>
                    <a:pt x="42" y="16"/>
                  </a:lnTo>
                  <a:lnTo>
                    <a:pt x="42" y="17"/>
                  </a:lnTo>
                  <a:lnTo>
                    <a:pt x="46" y="16"/>
                  </a:lnTo>
                  <a:lnTo>
                    <a:pt x="49" y="18"/>
                  </a:lnTo>
                  <a:lnTo>
                    <a:pt x="51" y="18"/>
                  </a:lnTo>
                  <a:lnTo>
                    <a:pt x="53" y="18"/>
                  </a:lnTo>
                  <a:lnTo>
                    <a:pt x="55" y="18"/>
                  </a:lnTo>
                  <a:lnTo>
                    <a:pt x="60" y="21"/>
                  </a:lnTo>
                  <a:lnTo>
                    <a:pt x="65" y="25"/>
                  </a:lnTo>
                  <a:lnTo>
                    <a:pt x="66" y="27"/>
                  </a:lnTo>
                  <a:lnTo>
                    <a:pt x="63" y="31"/>
                  </a:lnTo>
                  <a:lnTo>
                    <a:pt x="62" y="31"/>
                  </a:lnTo>
                  <a:lnTo>
                    <a:pt x="61" y="31"/>
                  </a:lnTo>
                  <a:lnTo>
                    <a:pt x="60" y="35"/>
                  </a:lnTo>
                  <a:lnTo>
                    <a:pt x="58" y="35"/>
                  </a:lnTo>
                  <a:lnTo>
                    <a:pt x="56" y="31"/>
                  </a:lnTo>
                  <a:lnTo>
                    <a:pt x="54" y="30"/>
                  </a:lnTo>
                  <a:lnTo>
                    <a:pt x="53" y="31"/>
                  </a:lnTo>
                  <a:lnTo>
                    <a:pt x="48" y="30"/>
                  </a:lnTo>
                  <a:lnTo>
                    <a:pt x="48" y="30"/>
                  </a:lnTo>
                  <a:lnTo>
                    <a:pt x="42" y="30"/>
                  </a:lnTo>
                  <a:lnTo>
                    <a:pt x="41" y="29"/>
                  </a:lnTo>
                  <a:lnTo>
                    <a:pt x="38" y="29"/>
                  </a:lnTo>
                  <a:lnTo>
                    <a:pt x="35" y="30"/>
                  </a:lnTo>
                  <a:lnTo>
                    <a:pt x="33" y="34"/>
                  </a:lnTo>
                  <a:lnTo>
                    <a:pt x="26" y="35"/>
                  </a:lnTo>
                  <a:lnTo>
                    <a:pt x="25" y="30"/>
                  </a:lnTo>
                  <a:lnTo>
                    <a:pt x="23" y="30"/>
                  </a:lnTo>
                  <a:lnTo>
                    <a:pt x="22" y="30"/>
                  </a:lnTo>
                  <a:lnTo>
                    <a:pt x="22" y="31"/>
                  </a:lnTo>
                  <a:lnTo>
                    <a:pt x="22" y="31"/>
                  </a:lnTo>
                  <a:lnTo>
                    <a:pt x="20" y="31"/>
                  </a:lnTo>
                  <a:lnTo>
                    <a:pt x="19" y="34"/>
                  </a:lnTo>
                  <a:lnTo>
                    <a:pt x="19" y="34"/>
                  </a:lnTo>
                  <a:lnTo>
                    <a:pt x="16" y="32"/>
                  </a:lnTo>
                  <a:lnTo>
                    <a:pt x="16" y="32"/>
                  </a:lnTo>
                  <a:lnTo>
                    <a:pt x="15" y="34"/>
                  </a:lnTo>
                  <a:lnTo>
                    <a:pt x="16" y="36"/>
                  </a:lnTo>
                  <a:lnTo>
                    <a:pt x="13" y="42"/>
                  </a:lnTo>
                  <a:lnTo>
                    <a:pt x="11" y="47"/>
                  </a:lnTo>
                  <a:lnTo>
                    <a:pt x="9" y="47"/>
                  </a:lnTo>
                  <a:lnTo>
                    <a:pt x="8" y="44"/>
                  </a:lnTo>
                  <a:lnTo>
                    <a:pt x="6" y="43"/>
                  </a:lnTo>
                  <a:lnTo>
                    <a:pt x="6" y="42"/>
                  </a:lnTo>
                  <a:lnTo>
                    <a:pt x="6" y="39"/>
                  </a:lnTo>
                  <a:lnTo>
                    <a:pt x="3" y="37"/>
                  </a:lnTo>
                  <a:lnTo>
                    <a:pt x="3" y="37"/>
                  </a:lnTo>
                  <a:lnTo>
                    <a:pt x="3" y="35"/>
                  </a:lnTo>
                  <a:lnTo>
                    <a:pt x="5" y="32"/>
                  </a:lnTo>
                  <a:lnTo>
                    <a:pt x="1" y="30"/>
                  </a:lnTo>
                  <a:lnTo>
                    <a:pt x="1" y="29"/>
                  </a:lnTo>
                  <a:lnTo>
                    <a:pt x="0" y="28"/>
                  </a:lnTo>
                  <a:lnTo>
                    <a:pt x="0" y="27"/>
                  </a:lnTo>
                  <a:lnTo>
                    <a:pt x="0" y="27"/>
                  </a:lnTo>
                  <a:lnTo>
                    <a:pt x="1" y="27"/>
                  </a:lnTo>
                  <a:lnTo>
                    <a:pt x="5" y="24"/>
                  </a:lnTo>
                  <a:lnTo>
                    <a:pt x="5" y="23"/>
                  </a:lnTo>
                  <a:lnTo>
                    <a:pt x="3" y="20"/>
                  </a:lnTo>
                  <a:lnTo>
                    <a:pt x="2" y="20"/>
                  </a:lnTo>
                  <a:lnTo>
                    <a:pt x="6" y="16"/>
                  </a:lnTo>
                  <a:lnTo>
                    <a:pt x="6" y="16"/>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31" name="Dominica">
              <a:extLst>
                <a:ext uri="{FF2B5EF4-FFF2-40B4-BE49-F238E27FC236}">
                  <a16:creationId xmlns:a16="http://schemas.microsoft.com/office/drawing/2014/main" id="{57A302C4-71C5-A74B-8275-BF3AEE2D2621}"/>
                </a:ext>
              </a:extLst>
            </p:cNvPr>
            <p:cNvSpPr>
              <a:spLocks/>
            </p:cNvSpPr>
            <p:nvPr/>
          </p:nvSpPr>
          <p:spPr bwMode="auto">
            <a:xfrm>
              <a:off x="4757130" y="3514156"/>
              <a:ext cx="5833" cy="14579"/>
            </a:xfrm>
            <a:custGeom>
              <a:avLst/>
              <a:gdLst>
                <a:gd name="T0" fmla="*/ 3 w 4"/>
                <a:gd name="T1" fmla="*/ 10 h 10"/>
                <a:gd name="T2" fmla="*/ 3 w 4"/>
                <a:gd name="T3" fmla="*/ 8 h 10"/>
                <a:gd name="T4" fmla="*/ 2 w 4"/>
                <a:gd name="T5" fmla="*/ 5 h 10"/>
                <a:gd name="T6" fmla="*/ 0 w 4"/>
                <a:gd name="T7" fmla="*/ 3 h 10"/>
                <a:gd name="T8" fmla="*/ 0 w 4"/>
                <a:gd name="T9" fmla="*/ 0 h 10"/>
                <a:gd name="T10" fmla="*/ 4 w 4"/>
                <a:gd name="T11" fmla="*/ 1 h 10"/>
                <a:gd name="T12" fmla="*/ 4 w 4"/>
                <a:gd name="T13" fmla="*/ 6 h 10"/>
                <a:gd name="T14" fmla="*/ 4 w 4"/>
                <a:gd name="T15" fmla="*/ 8 h 10"/>
                <a:gd name="T16" fmla="*/ 3 w 4"/>
                <a:gd name="T17" fmla="*/ 10 h 10"/>
                <a:gd name="T18" fmla="*/ 3 w 4"/>
                <a:gd name="T19" fmla="*/ 10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4" h="10">
                  <a:moveTo>
                    <a:pt x="3" y="10"/>
                  </a:moveTo>
                  <a:lnTo>
                    <a:pt x="3" y="8"/>
                  </a:lnTo>
                  <a:lnTo>
                    <a:pt x="2" y="5"/>
                  </a:lnTo>
                  <a:lnTo>
                    <a:pt x="0" y="3"/>
                  </a:lnTo>
                  <a:lnTo>
                    <a:pt x="0" y="0"/>
                  </a:lnTo>
                  <a:lnTo>
                    <a:pt x="4" y="1"/>
                  </a:lnTo>
                  <a:lnTo>
                    <a:pt x="4" y="6"/>
                  </a:lnTo>
                  <a:lnTo>
                    <a:pt x="4" y="8"/>
                  </a:lnTo>
                  <a:lnTo>
                    <a:pt x="3" y="10"/>
                  </a:lnTo>
                  <a:lnTo>
                    <a:pt x="3" y="10"/>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32" name="Djibouti">
              <a:extLst>
                <a:ext uri="{FF2B5EF4-FFF2-40B4-BE49-F238E27FC236}">
                  <a16:creationId xmlns:a16="http://schemas.microsoft.com/office/drawing/2014/main" id="{1EA1414C-7A07-914C-8A94-45321B8AAE89}"/>
                </a:ext>
              </a:extLst>
            </p:cNvPr>
            <p:cNvSpPr>
              <a:spLocks/>
            </p:cNvSpPr>
            <p:nvPr/>
          </p:nvSpPr>
          <p:spPr bwMode="auto">
            <a:xfrm>
              <a:off x="7461624" y="3606008"/>
              <a:ext cx="43738" cy="53945"/>
            </a:xfrm>
            <a:custGeom>
              <a:avLst/>
              <a:gdLst>
                <a:gd name="T0" fmla="*/ 21 w 30"/>
                <a:gd name="T1" fmla="*/ 1 h 37"/>
                <a:gd name="T2" fmla="*/ 20 w 30"/>
                <a:gd name="T3" fmla="*/ 3 h 37"/>
                <a:gd name="T4" fmla="*/ 19 w 30"/>
                <a:gd name="T5" fmla="*/ 3 h 37"/>
                <a:gd name="T6" fmla="*/ 18 w 30"/>
                <a:gd name="T7" fmla="*/ 7 h 37"/>
                <a:gd name="T8" fmla="*/ 14 w 30"/>
                <a:gd name="T9" fmla="*/ 5 h 37"/>
                <a:gd name="T10" fmla="*/ 12 w 30"/>
                <a:gd name="T11" fmla="*/ 3 h 37"/>
                <a:gd name="T12" fmla="*/ 10 w 30"/>
                <a:gd name="T13" fmla="*/ 7 h 37"/>
                <a:gd name="T14" fmla="*/ 6 w 30"/>
                <a:gd name="T15" fmla="*/ 12 h 37"/>
                <a:gd name="T16" fmla="*/ 3 w 30"/>
                <a:gd name="T17" fmla="*/ 18 h 37"/>
                <a:gd name="T18" fmla="*/ 0 w 30"/>
                <a:gd name="T19" fmla="*/ 24 h 37"/>
                <a:gd name="T20" fmla="*/ 1 w 30"/>
                <a:gd name="T21" fmla="*/ 36 h 37"/>
                <a:gd name="T22" fmla="*/ 4 w 30"/>
                <a:gd name="T23" fmla="*/ 37 h 37"/>
                <a:gd name="T24" fmla="*/ 6 w 30"/>
                <a:gd name="T25" fmla="*/ 36 h 37"/>
                <a:gd name="T26" fmla="*/ 7 w 30"/>
                <a:gd name="T27" fmla="*/ 35 h 37"/>
                <a:gd name="T28" fmla="*/ 11 w 30"/>
                <a:gd name="T29" fmla="*/ 35 h 37"/>
                <a:gd name="T30" fmla="*/ 12 w 30"/>
                <a:gd name="T31" fmla="*/ 35 h 37"/>
                <a:gd name="T32" fmla="*/ 16 w 30"/>
                <a:gd name="T33" fmla="*/ 34 h 37"/>
                <a:gd name="T34" fmla="*/ 18 w 30"/>
                <a:gd name="T35" fmla="*/ 34 h 37"/>
                <a:gd name="T36" fmla="*/ 19 w 30"/>
                <a:gd name="T37" fmla="*/ 36 h 37"/>
                <a:gd name="T38" fmla="*/ 21 w 30"/>
                <a:gd name="T39" fmla="*/ 36 h 37"/>
                <a:gd name="T40" fmla="*/ 23 w 30"/>
                <a:gd name="T41" fmla="*/ 35 h 37"/>
                <a:gd name="T42" fmla="*/ 26 w 30"/>
                <a:gd name="T43" fmla="*/ 24 h 37"/>
                <a:gd name="T44" fmla="*/ 25 w 30"/>
                <a:gd name="T45" fmla="*/ 23 h 37"/>
                <a:gd name="T46" fmla="*/ 25 w 30"/>
                <a:gd name="T47" fmla="*/ 22 h 37"/>
                <a:gd name="T48" fmla="*/ 24 w 30"/>
                <a:gd name="T49" fmla="*/ 23 h 37"/>
                <a:gd name="T50" fmla="*/ 24 w 30"/>
                <a:gd name="T51" fmla="*/ 23 h 37"/>
                <a:gd name="T52" fmla="*/ 17 w 30"/>
                <a:gd name="T53" fmla="*/ 24 h 37"/>
                <a:gd name="T54" fmla="*/ 17 w 30"/>
                <a:gd name="T55" fmla="*/ 25 h 37"/>
                <a:gd name="T56" fmla="*/ 16 w 30"/>
                <a:gd name="T57" fmla="*/ 25 h 37"/>
                <a:gd name="T58" fmla="*/ 13 w 30"/>
                <a:gd name="T59" fmla="*/ 24 h 37"/>
                <a:gd name="T60" fmla="*/ 13 w 30"/>
                <a:gd name="T61" fmla="*/ 23 h 37"/>
                <a:gd name="T62" fmla="*/ 16 w 30"/>
                <a:gd name="T63" fmla="*/ 24 h 37"/>
                <a:gd name="T64" fmla="*/ 17 w 30"/>
                <a:gd name="T65" fmla="*/ 23 h 37"/>
                <a:gd name="T66" fmla="*/ 18 w 30"/>
                <a:gd name="T67" fmla="*/ 22 h 37"/>
                <a:gd name="T68" fmla="*/ 18 w 30"/>
                <a:gd name="T69" fmla="*/ 20 h 37"/>
                <a:gd name="T70" fmla="*/ 21 w 30"/>
                <a:gd name="T71" fmla="*/ 20 h 37"/>
                <a:gd name="T72" fmla="*/ 23 w 30"/>
                <a:gd name="T73" fmla="*/ 18 h 37"/>
                <a:gd name="T74" fmla="*/ 25 w 30"/>
                <a:gd name="T75" fmla="*/ 16 h 37"/>
                <a:gd name="T76" fmla="*/ 30 w 30"/>
                <a:gd name="T77" fmla="*/ 15 h 37"/>
                <a:gd name="T78" fmla="*/ 30 w 30"/>
                <a:gd name="T79" fmla="*/ 10 h 37"/>
                <a:gd name="T80" fmla="*/ 28 w 30"/>
                <a:gd name="T81" fmla="*/ 7 h 37"/>
                <a:gd name="T82" fmla="*/ 28 w 30"/>
                <a:gd name="T83" fmla="*/ 5 h 37"/>
                <a:gd name="T84" fmla="*/ 25 w 30"/>
                <a:gd name="T85" fmla="*/ 2 h 37"/>
                <a:gd name="T86" fmla="*/ 24 w 30"/>
                <a:gd name="T87" fmla="*/ 0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0" h="37">
                  <a:moveTo>
                    <a:pt x="24" y="0"/>
                  </a:moveTo>
                  <a:lnTo>
                    <a:pt x="21" y="1"/>
                  </a:lnTo>
                  <a:lnTo>
                    <a:pt x="20" y="2"/>
                  </a:lnTo>
                  <a:lnTo>
                    <a:pt x="20" y="3"/>
                  </a:lnTo>
                  <a:lnTo>
                    <a:pt x="19" y="1"/>
                  </a:lnTo>
                  <a:lnTo>
                    <a:pt x="19" y="3"/>
                  </a:lnTo>
                  <a:lnTo>
                    <a:pt x="19" y="5"/>
                  </a:lnTo>
                  <a:lnTo>
                    <a:pt x="18" y="7"/>
                  </a:lnTo>
                  <a:lnTo>
                    <a:pt x="17" y="8"/>
                  </a:lnTo>
                  <a:lnTo>
                    <a:pt x="14" y="5"/>
                  </a:lnTo>
                  <a:lnTo>
                    <a:pt x="13" y="4"/>
                  </a:lnTo>
                  <a:lnTo>
                    <a:pt x="12" y="3"/>
                  </a:lnTo>
                  <a:lnTo>
                    <a:pt x="10" y="4"/>
                  </a:lnTo>
                  <a:lnTo>
                    <a:pt x="10" y="7"/>
                  </a:lnTo>
                  <a:lnTo>
                    <a:pt x="10" y="9"/>
                  </a:lnTo>
                  <a:lnTo>
                    <a:pt x="6" y="12"/>
                  </a:lnTo>
                  <a:lnTo>
                    <a:pt x="5" y="16"/>
                  </a:lnTo>
                  <a:lnTo>
                    <a:pt x="3" y="18"/>
                  </a:lnTo>
                  <a:lnTo>
                    <a:pt x="1" y="20"/>
                  </a:lnTo>
                  <a:lnTo>
                    <a:pt x="0" y="24"/>
                  </a:lnTo>
                  <a:lnTo>
                    <a:pt x="0" y="30"/>
                  </a:lnTo>
                  <a:lnTo>
                    <a:pt x="1" y="36"/>
                  </a:lnTo>
                  <a:lnTo>
                    <a:pt x="4" y="36"/>
                  </a:lnTo>
                  <a:lnTo>
                    <a:pt x="4" y="37"/>
                  </a:lnTo>
                  <a:lnTo>
                    <a:pt x="4" y="36"/>
                  </a:lnTo>
                  <a:lnTo>
                    <a:pt x="6" y="36"/>
                  </a:lnTo>
                  <a:lnTo>
                    <a:pt x="6" y="36"/>
                  </a:lnTo>
                  <a:lnTo>
                    <a:pt x="7" y="35"/>
                  </a:lnTo>
                  <a:lnTo>
                    <a:pt x="10" y="36"/>
                  </a:lnTo>
                  <a:lnTo>
                    <a:pt x="11" y="35"/>
                  </a:lnTo>
                  <a:lnTo>
                    <a:pt x="12" y="35"/>
                  </a:lnTo>
                  <a:lnTo>
                    <a:pt x="12" y="35"/>
                  </a:lnTo>
                  <a:lnTo>
                    <a:pt x="13" y="34"/>
                  </a:lnTo>
                  <a:lnTo>
                    <a:pt x="16" y="34"/>
                  </a:lnTo>
                  <a:lnTo>
                    <a:pt x="17" y="34"/>
                  </a:lnTo>
                  <a:lnTo>
                    <a:pt x="18" y="34"/>
                  </a:lnTo>
                  <a:lnTo>
                    <a:pt x="19" y="35"/>
                  </a:lnTo>
                  <a:lnTo>
                    <a:pt x="19" y="36"/>
                  </a:lnTo>
                  <a:lnTo>
                    <a:pt x="20" y="35"/>
                  </a:lnTo>
                  <a:lnTo>
                    <a:pt x="21" y="36"/>
                  </a:lnTo>
                  <a:lnTo>
                    <a:pt x="21" y="35"/>
                  </a:lnTo>
                  <a:lnTo>
                    <a:pt x="23" y="35"/>
                  </a:lnTo>
                  <a:lnTo>
                    <a:pt x="27" y="25"/>
                  </a:lnTo>
                  <a:lnTo>
                    <a:pt x="26" y="24"/>
                  </a:lnTo>
                  <a:lnTo>
                    <a:pt x="26" y="24"/>
                  </a:lnTo>
                  <a:lnTo>
                    <a:pt x="25" y="23"/>
                  </a:lnTo>
                  <a:lnTo>
                    <a:pt x="25" y="23"/>
                  </a:lnTo>
                  <a:lnTo>
                    <a:pt x="25" y="22"/>
                  </a:lnTo>
                  <a:lnTo>
                    <a:pt x="24" y="23"/>
                  </a:lnTo>
                  <a:lnTo>
                    <a:pt x="24" y="23"/>
                  </a:lnTo>
                  <a:lnTo>
                    <a:pt x="24" y="23"/>
                  </a:lnTo>
                  <a:lnTo>
                    <a:pt x="24" y="23"/>
                  </a:lnTo>
                  <a:lnTo>
                    <a:pt x="19" y="23"/>
                  </a:lnTo>
                  <a:lnTo>
                    <a:pt x="17" y="24"/>
                  </a:lnTo>
                  <a:lnTo>
                    <a:pt x="17" y="24"/>
                  </a:lnTo>
                  <a:lnTo>
                    <a:pt x="17" y="25"/>
                  </a:lnTo>
                  <a:lnTo>
                    <a:pt x="17" y="25"/>
                  </a:lnTo>
                  <a:lnTo>
                    <a:pt x="16" y="25"/>
                  </a:lnTo>
                  <a:lnTo>
                    <a:pt x="16" y="25"/>
                  </a:lnTo>
                  <a:lnTo>
                    <a:pt x="13" y="24"/>
                  </a:lnTo>
                  <a:lnTo>
                    <a:pt x="14" y="24"/>
                  </a:lnTo>
                  <a:lnTo>
                    <a:pt x="13" y="23"/>
                  </a:lnTo>
                  <a:lnTo>
                    <a:pt x="14" y="23"/>
                  </a:lnTo>
                  <a:lnTo>
                    <a:pt x="16" y="24"/>
                  </a:lnTo>
                  <a:lnTo>
                    <a:pt x="17" y="23"/>
                  </a:lnTo>
                  <a:lnTo>
                    <a:pt x="17" y="23"/>
                  </a:lnTo>
                  <a:lnTo>
                    <a:pt x="17" y="22"/>
                  </a:lnTo>
                  <a:lnTo>
                    <a:pt x="18" y="22"/>
                  </a:lnTo>
                  <a:lnTo>
                    <a:pt x="18" y="21"/>
                  </a:lnTo>
                  <a:lnTo>
                    <a:pt x="18" y="20"/>
                  </a:lnTo>
                  <a:lnTo>
                    <a:pt x="20" y="20"/>
                  </a:lnTo>
                  <a:lnTo>
                    <a:pt x="21" y="20"/>
                  </a:lnTo>
                  <a:lnTo>
                    <a:pt x="21" y="18"/>
                  </a:lnTo>
                  <a:lnTo>
                    <a:pt x="23" y="18"/>
                  </a:lnTo>
                  <a:lnTo>
                    <a:pt x="24" y="18"/>
                  </a:lnTo>
                  <a:lnTo>
                    <a:pt x="25" y="16"/>
                  </a:lnTo>
                  <a:lnTo>
                    <a:pt x="28" y="15"/>
                  </a:lnTo>
                  <a:lnTo>
                    <a:pt x="30" y="15"/>
                  </a:lnTo>
                  <a:lnTo>
                    <a:pt x="30" y="12"/>
                  </a:lnTo>
                  <a:lnTo>
                    <a:pt x="30" y="10"/>
                  </a:lnTo>
                  <a:lnTo>
                    <a:pt x="28" y="9"/>
                  </a:lnTo>
                  <a:lnTo>
                    <a:pt x="28" y="7"/>
                  </a:lnTo>
                  <a:lnTo>
                    <a:pt x="28" y="5"/>
                  </a:lnTo>
                  <a:lnTo>
                    <a:pt x="28" y="5"/>
                  </a:lnTo>
                  <a:lnTo>
                    <a:pt x="27" y="5"/>
                  </a:lnTo>
                  <a:lnTo>
                    <a:pt x="25" y="2"/>
                  </a:lnTo>
                  <a:lnTo>
                    <a:pt x="24" y="0"/>
                  </a:lnTo>
                  <a:lnTo>
                    <a:pt x="24" y="0"/>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33" name="Cyprus">
              <a:extLst>
                <a:ext uri="{FF2B5EF4-FFF2-40B4-BE49-F238E27FC236}">
                  <a16:creationId xmlns:a16="http://schemas.microsoft.com/office/drawing/2014/main" id="{8DB2B13C-05B1-C946-AE29-4D6F1147FE70}"/>
                </a:ext>
              </a:extLst>
            </p:cNvPr>
            <p:cNvSpPr>
              <a:spLocks/>
            </p:cNvSpPr>
            <p:nvPr/>
          </p:nvSpPr>
          <p:spPr bwMode="auto">
            <a:xfrm>
              <a:off x="7165660" y="2917856"/>
              <a:ext cx="56860" cy="33534"/>
            </a:xfrm>
            <a:custGeom>
              <a:avLst/>
              <a:gdLst>
                <a:gd name="T0" fmla="*/ 39 w 39"/>
                <a:gd name="T1" fmla="*/ 1 h 23"/>
                <a:gd name="T2" fmla="*/ 36 w 39"/>
                <a:gd name="T3" fmla="*/ 3 h 23"/>
                <a:gd name="T4" fmla="*/ 32 w 39"/>
                <a:gd name="T5" fmla="*/ 6 h 23"/>
                <a:gd name="T6" fmla="*/ 29 w 39"/>
                <a:gd name="T7" fmla="*/ 7 h 23"/>
                <a:gd name="T8" fmla="*/ 28 w 39"/>
                <a:gd name="T9" fmla="*/ 9 h 23"/>
                <a:gd name="T10" fmla="*/ 30 w 39"/>
                <a:gd name="T11" fmla="*/ 13 h 23"/>
                <a:gd name="T12" fmla="*/ 32 w 39"/>
                <a:gd name="T13" fmla="*/ 15 h 23"/>
                <a:gd name="T14" fmla="*/ 30 w 39"/>
                <a:gd name="T15" fmla="*/ 15 h 23"/>
                <a:gd name="T16" fmla="*/ 29 w 39"/>
                <a:gd name="T17" fmla="*/ 15 h 23"/>
                <a:gd name="T18" fmla="*/ 28 w 39"/>
                <a:gd name="T19" fmla="*/ 15 h 23"/>
                <a:gd name="T20" fmla="*/ 27 w 39"/>
                <a:gd name="T21" fmla="*/ 15 h 23"/>
                <a:gd name="T22" fmla="*/ 24 w 39"/>
                <a:gd name="T23" fmla="*/ 15 h 23"/>
                <a:gd name="T24" fmla="*/ 24 w 39"/>
                <a:gd name="T25" fmla="*/ 16 h 23"/>
                <a:gd name="T26" fmla="*/ 24 w 39"/>
                <a:gd name="T27" fmla="*/ 18 h 23"/>
                <a:gd name="T28" fmla="*/ 22 w 39"/>
                <a:gd name="T29" fmla="*/ 19 h 23"/>
                <a:gd name="T30" fmla="*/ 20 w 39"/>
                <a:gd name="T31" fmla="*/ 20 h 23"/>
                <a:gd name="T32" fmla="*/ 19 w 39"/>
                <a:gd name="T33" fmla="*/ 20 h 23"/>
                <a:gd name="T34" fmla="*/ 16 w 39"/>
                <a:gd name="T35" fmla="*/ 21 h 23"/>
                <a:gd name="T36" fmla="*/ 14 w 39"/>
                <a:gd name="T37" fmla="*/ 22 h 23"/>
                <a:gd name="T38" fmla="*/ 14 w 39"/>
                <a:gd name="T39" fmla="*/ 22 h 23"/>
                <a:gd name="T40" fmla="*/ 13 w 39"/>
                <a:gd name="T41" fmla="*/ 22 h 23"/>
                <a:gd name="T42" fmla="*/ 12 w 39"/>
                <a:gd name="T43" fmla="*/ 21 h 23"/>
                <a:gd name="T44" fmla="*/ 9 w 39"/>
                <a:gd name="T45" fmla="*/ 21 h 23"/>
                <a:gd name="T46" fmla="*/ 6 w 39"/>
                <a:gd name="T47" fmla="*/ 20 h 23"/>
                <a:gd name="T48" fmla="*/ 3 w 39"/>
                <a:gd name="T49" fmla="*/ 18 h 23"/>
                <a:gd name="T50" fmla="*/ 2 w 39"/>
                <a:gd name="T51" fmla="*/ 16 h 23"/>
                <a:gd name="T52" fmla="*/ 1 w 39"/>
                <a:gd name="T53" fmla="*/ 14 h 23"/>
                <a:gd name="T54" fmla="*/ 1 w 39"/>
                <a:gd name="T55" fmla="*/ 12 h 23"/>
                <a:gd name="T56" fmla="*/ 3 w 39"/>
                <a:gd name="T57" fmla="*/ 14 h 23"/>
                <a:gd name="T58" fmla="*/ 4 w 39"/>
                <a:gd name="T59" fmla="*/ 11 h 23"/>
                <a:gd name="T60" fmla="*/ 6 w 39"/>
                <a:gd name="T61" fmla="*/ 11 h 23"/>
                <a:gd name="T62" fmla="*/ 7 w 39"/>
                <a:gd name="T63" fmla="*/ 11 h 23"/>
                <a:gd name="T64" fmla="*/ 9 w 39"/>
                <a:gd name="T65" fmla="*/ 12 h 23"/>
                <a:gd name="T66" fmla="*/ 12 w 39"/>
                <a:gd name="T67" fmla="*/ 11 h 23"/>
                <a:gd name="T68" fmla="*/ 12 w 39"/>
                <a:gd name="T69" fmla="*/ 7 h 23"/>
                <a:gd name="T70" fmla="*/ 10 w 39"/>
                <a:gd name="T71" fmla="*/ 6 h 23"/>
                <a:gd name="T72" fmla="*/ 12 w 39"/>
                <a:gd name="T73" fmla="*/ 7 h 23"/>
                <a:gd name="T74" fmla="*/ 15 w 39"/>
                <a:gd name="T75" fmla="*/ 7 h 23"/>
                <a:gd name="T76" fmla="*/ 20 w 39"/>
                <a:gd name="T77" fmla="*/ 8 h 23"/>
                <a:gd name="T78" fmla="*/ 26 w 39"/>
                <a:gd name="T79" fmla="*/ 6 h 23"/>
                <a:gd name="T80" fmla="*/ 28 w 39"/>
                <a:gd name="T81" fmla="*/ 6 h 23"/>
                <a:gd name="T82" fmla="*/ 32 w 39"/>
                <a:gd name="T83" fmla="*/ 3 h 23"/>
                <a:gd name="T84" fmla="*/ 34 w 39"/>
                <a:gd name="T85" fmla="*/ 2 h 23"/>
                <a:gd name="T86" fmla="*/ 35 w 39"/>
                <a:gd name="T87" fmla="*/ 1 h 23"/>
                <a:gd name="T88" fmla="*/ 37 w 39"/>
                <a:gd name="T89" fmla="*/ 1 h 23"/>
                <a:gd name="T90" fmla="*/ 39 w 39"/>
                <a:gd name="T91" fmla="*/ 0 h 23"/>
                <a:gd name="T92" fmla="*/ 39 w 39"/>
                <a:gd name="T93" fmla="*/ 1 h 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39" h="23">
                  <a:moveTo>
                    <a:pt x="39" y="1"/>
                  </a:moveTo>
                  <a:lnTo>
                    <a:pt x="39" y="1"/>
                  </a:lnTo>
                  <a:lnTo>
                    <a:pt x="36" y="2"/>
                  </a:lnTo>
                  <a:lnTo>
                    <a:pt x="36" y="3"/>
                  </a:lnTo>
                  <a:lnTo>
                    <a:pt x="32" y="6"/>
                  </a:lnTo>
                  <a:lnTo>
                    <a:pt x="32" y="6"/>
                  </a:lnTo>
                  <a:lnTo>
                    <a:pt x="30" y="7"/>
                  </a:lnTo>
                  <a:lnTo>
                    <a:pt x="29" y="7"/>
                  </a:lnTo>
                  <a:lnTo>
                    <a:pt x="29" y="8"/>
                  </a:lnTo>
                  <a:lnTo>
                    <a:pt x="28" y="9"/>
                  </a:lnTo>
                  <a:lnTo>
                    <a:pt x="28" y="11"/>
                  </a:lnTo>
                  <a:lnTo>
                    <a:pt x="30" y="13"/>
                  </a:lnTo>
                  <a:lnTo>
                    <a:pt x="30" y="13"/>
                  </a:lnTo>
                  <a:lnTo>
                    <a:pt x="32" y="15"/>
                  </a:lnTo>
                  <a:lnTo>
                    <a:pt x="32" y="15"/>
                  </a:lnTo>
                  <a:lnTo>
                    <a:pt x="30" y="15"/>
                  </a:lnTo>
                  <a:lnTo>
                    <a:pt x="30" y="15"/>
                  </a:lnTo>
                  <a:lnTo>
                    <a:pt x="29" y="15"/>
                  </a:lnTo>
                  <a:lnTo>
                    <a:pt x="28" y="15"/>
                  </a:lnTo>
                  <a:lnTo>
                    <a:pt x="28" y="15"/>
                  </a:lnTo>
                  <a:lnTo>
                    <a:pt x="28" y="15"/>
                  </a:lnTo>
                  <a:lnTo>
                    <a:pt x="27" y="15"/>
                  </a:lnTo>
                  <a:lnTo>
                    <a:pt x="27" y="15"/>
                  </a:lnTo>
                  <a:lnTo>
                    <a:pt x="24" y="15"/>
                  </a:lnTo>
                  <a:lnTo>
                    <a:pt x="24" y="15"/>
                  </a:lnTo>
                  <a:lnTo>
                    <a:pt x="24" y="16"/>
                  </a:lnTo>
                  <a:lnTo>
                    <a:pt x="24" y="18"/>
                  </a:lnTo>
                  <a:lnTo>
                    <a:pt x="24" y="18"/>
                  </a:lnTo>
                  <a:lnTo>
                    <a:pt x="23" y="19"/>
                  </a:lnTo>
                  <a:lnTo>
                    <a:pt x="22" y="19"/>
                  </a:lnTo>
                  <a:lnTo>
                    <a:pt x="21" y="19"/>
                  </a:lnTo>
                  <a:lnTo>
                    <a:pt x="20" y="20"/>
                  </a:lnTo>
                  <a:lnTo>
                    <a:pt x="19" y="20"/>
                  </a:lnTo>
                  <a:lnTo>
                    <a:pt x="19" y="20"/>
                  </a:lnTo>
                  <a:lnTo>
                    <a:pt x="17" y="20"/>
                  </a:lnTo>
                  <a:lnTo>
                    <a:pt x="16" y="21"/>
                  </a:lnTo>
                  <a:lnTo>
                    <a:pt x="15" y="21"/>
                  </a:lnTo>
                  <a:lnTo>
                    <a:pt x="14" y="22"/>
                  </a:lnTo>
                  <a:lnTo>
                    <a:pt x="15" y="23"/>
                  </a:lnTo>
                  <a:lnTo>
                    <a:pt x="14" y="22"/>
                  </a:lnTo>
                  <a:lnTo>
                    <a:pt x="13" y="23"/>
                  </a:lnTo>
                  <a:lnTo>
                    <a:pt x="13" y="22"/>
                  </a:lnTo>
                  <a:lnTo>
                    <a:pt x="13" y="21"/>
                  </a:lnTo>
                  <a:lnTo>
                    <a:pt x="12" y="21"/>
                  </a:lnTo>
                  <a:lnTo>
                    <a:pt x="10" y="21"/>
                  </a:lnTo>
                  <a:lnTo>
                    <a:pt x="9" y="21"/>
                  </a:lnTo>
                  <a:lnTo>
                    <a:pt x="8" y="21"/>
                  </a:lnTo>
                  <a:lnTo>
                    <a:pt x="6" y="20"/>
                  </a:lnTo>
                  <a:lnTo>
                    <a:pt x="3" y="19"/>
                  </a:lnTo>
                  <a:lnTo>
                    <a:pt x="3" y="18"/>
                  </a:lnTo>
                  <a:lnTo>
                    <a:pt x="2" y="18"/>
                  </a:lnTo>
                  <a:lnTo>
                    <a:pt x="2" y="16"/>
                  </a:lnTo>
                  <a:lnTo>
                    <a:pt x="1" y="15"/>
                  </a:lnTo>
                  <a:lnTo>
                    <a:pt x="1" y="14"/>
                  </a:lnTo>
                  <a:lnTo>
                    <a:pt x="0" y="13"/>
                  </a:lnTo>
                  <a:lnTo>
                    <a:pt x="1" y="12"/>
                  </a:lnTo>
                  <a:lnTo>
                    <a:pt x="2" y="14"/>
                  </a:lnTo>
                  <a:lnTo>
                    <a:pt x="3" y="14"/>
                  </a:lnTo>
                  <a:lnTo>
                    <a:pt x="4" y="13"/>
                  </a:lnTo>
                  <a:lnTo>
                    <a:pt x="4" y="11"/>
                  </a:lnTo>
                  <a:lnTo>
                    <a:pt x="4" y="11"/>
                  </a:lnTo>
                  <a:lnTo>
                    <a:pt x="6" y="11"/>
                  </a:lnTo>
                  <a:lnTo>
                    <a:pt x="6" y="11"/>
                  </a:lnTo>
                  <a:lnTo>
                    <a:pt x="7" y="11"/>
                  </a:lnTo>
                  <a:lnTo>
                    <a:pt x="8" y="11"/>
                  </a:lnTo>
                  <a:lnTo>
                    <a:pt x="9" y="12"/>
                  </a:lnTo>
                  <a:lnTo>
                    <a:pt x="10" y="11"/>
                  </a:lnTo>
                  <a:lnTo>
                    <a:pt x="12" y="11"/>
                  </a:lnTo>
                  <a:lnTo>
                    <a:pt x="12" y="8"/>
                  </a:lnTo>
                  <a:lnTo>
                    <a:pt x="12" y="7"/>
                  </a:lnTo>
                  <a:lnTo>
                    <a:pt x="10" y="7"/>
                  </a:lnTo>
                  <a:lnTo>
                    <a:pt x="10" y="6"/>
                  </a:lnTo>
                  <a:lnTo>
                    <a:pt x="12" y="6"/>
                  </a:lnTo>
                  <a:lnTo>
                    <a:pt x="12" y="7"/>
                  </a:lnTo>
                  <a:lnTo>
                    <a:pt x="14" y="7"/>
                  </a:lnTo>
                  <a:lnTo>
                    <a:pt x="15" y="7"/>
                  </a:lnTo>
                  <a:lnTo>
                    <a:pt x="17" y="7"/>
                  </a:lnTo>
                  <a:lnTo>
                    <a:pt x="20" y="8"/>
                  </a:lnTo>
                  <a:lnTo>
                    <a:pt x="23" y="7"/>
                  </a:lnTo>
                  <a:lnTo>
                    <a:pt x="26" y="6"/>
                  </a:lnTo>
                  <a:lnTo>
                    <a:pt x="27" y="6"/>
                  </a:lnTo>
                  <a:lnTo>
                    <a:pt x="28" y="6"/>
                  </a:lnTo>
                  <a:lnTo>
                    <a:pt x="29" y="6"/>
                  </a:lnTo>
                  <a:lnTo>
                    <a:pt x="32" y="3"/>
                  </a:lnTo>
                  <a:lnTo>
                    <a:pt x="33" y="3"/>
                  </a:lnTo>
                  <a:lnTo>
                    <a:pt x="34" y="2"/>
                  </a:lnTo>
                  <a:lnTo>
                    <a:pt x="34" y="2"/>
                  </a:lnTo>
                  <a:lnTo>
                    <a:pt x="35" y="1"/>
                  </a:lnTo>
                  <a:lnTo>
                    <a:pt x="36" y="1"/>
                  </a:lnTo>
                  <a:lnTo>
                    <a:pt x="37" y="1"/>
                  </a:lnTo>
                  <a:lnTo>
                    <a:pt x="37" y="0"/>
                  </a:lnTo>
                  <a:lnTo>
                    <a:pt x="39" y="0"/>
                  </a:lnTo>
                  <a:lnTo>
                    <a:pt x="39" y="0"/>
                  </a:lnTo>
                  <a:lnTo>
                    <a:pt x="39" y="1"/>
                  </a:lnTo>
                  <a:lnTo>
                    <a:pt x="39" y="1"/>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34" name="Cuba">
              <a:extLst>
                <a:ext uri="{FF2B5EF4-FFF2-40B4-BE49-F238E27FC236}">
                  <a16:creationId xmlns:a16="http://schemas.microsoft.com/office/drawing/2014/main" id="{FCC8BD07-CEB3-4144-A928-456D4EB69634}"/>
                </a:ext>
              </a:extLst>
            </p:cNvPr>
            <p:cNvSpPr>
              <a:spLocks noEditPoints="1"/>
            </p:cNvSpPr>
            <p:nvPr/>
          </p:nvSpPr>
          <p:spPr bwMode="auto">
            <a:xfrm>
              <a:off x="4159371" y="3295464"/>
              <a:ext cx="282842" cy="97683"/>
            </a:xfrm>
            <a:custGeom>
              <a:avLst/>
              <a:gdLst>
                <a:gd name="T0" fmla="*/ 35 w 194"/>
                <a:gd name="T1" fmla="*/ 31 h 67"/>
                <a:gd name="T2" fmla="*/ 35 w 194"/>
                <a:gd name="T3" fmla="*/ 24 h 67"/>
                <a:gd name="T4" fmla="*/ 43 w 194"/>
                <a:gd name="T5" fmla="*/ 31 h 67"/>
                <a:gd name="T6" fmla="*/ 1 w 194"/>
                <a:gd name="T7" fmla="*/ 26 h 67"/>
                <a:gd name="T8" fmla="*/ 12 w 194"/>
                <a:gd name="T9" fmla="*/ 23 h 67"/>
                <a:gd name="T10" fmla="*/ 19 w 194"/>
                <a:gd name="T11" fmla="*/ 15 h 67"/>
                <a:gd name="T12" fmla="*/ 32 w 194"/>
                <a:gd name="T13" fmla="*/ 3 h 67"/>
                <a:gd name="T14" fmla="*/ 42 w 194"/>
                <a:gd name="T15" fmla="*/ 2 h 67"/>
                <a:gd name="T16" fmla="*/ 61 w 194"/>
                <a:gd name="T17" fmla="*/ 0 h 67"/>
                <a:gd name="T18" fmla="*/ 67 w 194"/>
                <a:gd name="T19" fmla="*/ 0 h 67"/>
                <a:gd name="T20" fmla="*/ 69 w 194"/>
                <a:gd name="T21" fmla="*/ 1 h 67"/>
                <a:gd name="T22" fmla="*/ 78 w 194"/>
                <a:gd name="T23" fmla="*/ 0 h 67"/>
                <a:gd name="T24" fmla="*/ 86 w 194"/>
                <a:gd name="T25" fmla="*/ 4 h 67"/>
                <a:gd name="T26" fmla="*/ 94 w 194"/>
                <a:gd name="T27" fmla="*/ 7 h 67"/>
                <a:gd name="T28" fmla="*/ 101 w 194"/>
                <a:gd name="T29" fmla="*/ 11 h 67"/>
                <a:gd name="T30" fmla="*/ 122 w 194"/>
                <a:gd name="T31" fmla="*/ 10 h 67"/>
                <a:gd name="T32" fmla="*/ 121 w 194"/>
                <a:gd name="T33" fmla="*/ 20 h 67"/>
                <a:gd name="T34" fmla="*/ 127 w 194"/>
                <a:gd name="T35" fmla="*/ 23 h 67"/>
                <a:gd name="T36" fmla="*/ 135 w 194"/>
                <a:gd name="T37" fmla="*/ 30 h 67"/>
                <a:gd name="T38" fmla="*/ 128 w 194"/>
                <a:gd name="T39" fmla="*/ 17 h 67"/>
                <a:gd name="T40" fmla="*/ 140 w 194"/>
                <a:gd name="T41" fmla="*/ 30 h 67"/>
                <a:gd name="T42" fmla="*/ 136 w 194"/>
                <a:gd name="T43" fmla="*/ 31 h 67"/>
                <a:gd name="T44" fmla="*/ 140 w 194"/>
                <a:gd name="T45" fmla="*/ 31 h 67"/>
                <a:gd name="T46" fmla="*/ 145 w 194"/>
                <a:gd name="T47" fmla="*/ 36 h 67"/>
                <a:gd name="T48" fmla="*/ 148 w 194"/>
                <a:gd name="T49" fmla="*/ 36 h 67"/>
                <a:gd name="T50" fmla="*/ 149 w 194"/>
                <a:gd name="T51" fmla="*/ 37 h 67"/>
                <a:gd name="T52" fmla="*/ 152 w 194"/>
                <a:gd name="T53" fmla="*/ 38 h 67"/>
                <a:gd name="T54" fmla="*/ 158 w 194"/>
                <a:gd name="T55" fmla="*/ 41 h 67"/>
                <a:gd name="T56" fmla="*/ 166 w 194"/>
                <a:gd name="T57" fmla="*/ 46 h 67"/>
                <a:gd name="T58" fmla="*/ 168 w 194"/>
                <a:gd name="T59" fmla="*/ 48 h 67"/>
                <a:gd name="T60" fmla="*/ 167 w 194"/>
                <a:gd name="T61" fmla="*/ 48 h 67"/>
                <a:gd name="T62" fmla="*/ 172 w 194"/>
                <a:gd name="T63" fmla="*/ 49 h 67"/>
                <a:gd name="T64" fmla="*/ 172 w 194"/>
                <a:gd name="T65" fmla="*/ 49 h 67"/>
                <a:gd name="T66" fmla="*/ 182 w 194"/>
                <a:gd name="T67" fmla="*/ 51 h 67"/>
                <a:gd name="T68" fmla="*/ 192 w 194"/>
                <a:gd name="T69" fmla="*/ 57 h 67"/>
                <a:gd name="T70" fmla="*/ 185 w 194"/>
                <a:gd name="T71" fmla="*/ 64 h 67"/>
                <a:gd name="T72" fmla="*/ 175 w 194"/>
                <a:gd name="T73" fmla="*/ 64 h 67"/>
                <a:gd name="T74" fmla="*/ 172 w 194"/>
                <a:gd name="T75" fmla="*/ 66 h 67"/>
                <a:gd name="T76" fmla="*/ 150 w 194"/>
                <a:gd name="T77" fmla="*/ 64 h 67"/>
                <a:gd name="T78" fmla="*/ 136 w 194"/>
                <a:gd name="T79" fmla="*/ 66 h 67"/>
                <a:gd name="T80" fmla="*/ 132 w 194"/>
                <a:gd name="T81" fmla="*/ 62 h 67"/>
                <a:gd name="T82" fmla="*/ 141 w 194"/>
                <a:gd name="T83" fmla="*/ 54 h 67"/>
                <a:gd name="T84" fmla="*/ 128 w 194"/>
                <a:gd name="T85" fmla="*/ 49 h 67"/>
                <a:gd name="T86" fmla="*/ 116 w 194"/>
                <a:gd name="T87" fmla="*/ 43 h 67"/>
                <a:gd name="T88" fmla="*/ 113 w 194"/>
                <a:gd name="T89" fmla="*/ 33 h 67"/>
                <a:gd name="T90" fmla="*/ 101 w 194"/>
                <a:gd name="T91" fmla="*/ 31 h 67"/>
                <a:gd name="T92" fmla="*/ 88 w 194"/>
                <a:gd name="T93" fmla="*/ 29 h 67"/>
                <a:gd name="T94" fmla="*/ 81 w 194"/>
                <a:gd name="T95" fmla="*/ 22 h 67"/>
                <a:gd name="T96" fmla="*/ 80 w 194"/>
                <a:gd name="T97" fmla="*/ 22 h 67"/>
                <a:gd name="T98" fmla="*/ 67 w 194"/>
                <a:gd name="T99" fmla="*/ 17 h 67"/>
                <a:gd name="T100" fmla="*/ 63 w 194"/>
                <a:gd name="T101" fmla="*/ 21 h 67"/>
                <a:gd name="T102" fmla="*/ 51 w 194"/>
                <a:gd name="T103" fmla="*/ 16 h 67"/>
                <a:gd name="T104" fmla="*/ 59 w 194"/>
                <a:gd name="T105" fmla="*/ 13 h 67"/>
                <a:gd name="T106" fmla="*/ 43 w 194"/>
                <a:gd name="T107" fmla="*/ 9 h 67"/>
                <a:gd name="T108" fmla="*/ 32 w 194"/>
                <a:gd name="T109" fmla="*/ 16 h 67"/>
                <a:gd name="T110" fmla="*/ 23 w 194"/>
                <a:gd name="T111" fmla="*/ 20 h 67"/>
                <a:gd name="T112" fmla="*/ 18 w 194"/>
                <a:gd name="T113" fmla="*/ 24 h 67"/>
                <a:gd name="T114" fmla="*/ 8 w 194"/>
                <a:gd name="T115" fmla="*/ 28 h 67"/>
                <a:gd name="T116" fmla="*/ 5 w 194"/>
                <a:gd name="T117" fmla="*/ 26 h 67"/>
                <a:gd name="T118" fmla="*/ 0 w 194"/>
                <a:gd name="T119" fmla="*/ 24 h 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94" h="67">
                  <a:moveTo>
                    <a:pt x="38" y="35"/>
                  </a:moveTo>
                  <a:lnTo>
                    <a:pt x="34" y="34"/>
                  </a:lnTo>
                  <a:lnTo>
                    <a:pt x="33" y="31"/>
                  </a:lnTo>
                  <a:lnTo>
                    <a:pt x="35" y="31"/>
                  </a:lnTo>
                  <a:lnTo>
                    <a:pt x="35" y="31"/>
                  </a:lnTo>
                  <a:lnTo>
                    <a:pt x="36" y="31"/>
                  </a:lnTo>
                  <a:lnTo>
                    <a:pt x="36" y="29"/>
                  </a:lnTo>
                  <a:lnTo>
                    <a:pt x="36" y="28"/>
                  </a:lnTo>
                  <a:lnTo>
                    <a:pt x="38" y="27"/>
                  </a:lnTo>
                  <a:lnTo>
                    <a:pt x="35" y="24"/>
                  </a:lnTo>
                  <a:lnTo>
                    <a:pt x="38" y="24"/>
                  </a:lnTo>
                  <a:lnTo>
                    <a:pt x="40" y="26"/>
                  </a:lnTo>
                  <a:lnTo>
                    <a:pt x="41" y="28"/>
                  </a:lnTo>
                  <a:lnTo>
                    <a:pt x="42" y="28"/>
                  </a:lnTo>
                  <a:lnTo>
                    <a:pt x="43" y="31"/>
                  </a:lnTo>
                  <a:lnTo>
                    <a:pt x="41" y="33"/>
                  </a:lnTo>
                  <a:lnTo>
                    <a:pt x="38" y="35"/>
                  </a:lnTo>
                  <a:lnTo>
                    <a:pt x="38" y="35"/>
                  </a:lnTo>
                  <a:close/>
                  <a:moveTo>
                    <a:pt x="0" y="24"/>
                  </a:moveTo>
                  <a:lnTo>
                    <a:pt x="1" y="26"/>
                  </a:lnTo>
                  <a:lnTo>
                    <a:pt x="1" y="26"/>
                  </a:lnTo>
                  <a:lnTo>
                    <a:pt x="8" y="22"/>
                  </a:lnTo>
                  <a:lnTo>
                    <a:pt x="8" y="23"/>
                  </a:lnTo>
                  <a:lnTo>
                    <a:pt x="9" y="22"/>
                  </a:lnTo>
                  <a:lnTo>
                    <a:pt x="12" y="23"/>
                  </a:lnTo>
                  <a:lnTo>
                    <a:pt x="12" y="20"/>
                  </a:lnTo>
                  <a:lnTo>
                    <a:pt x="13" y="17"/>
                  </a:lnTo>
                  <a:lnTo>
                    <a:pt x="15" y="17"/>
                  </a:lnTo>
                  <a:lnTo>
                    <a:pt x="16" y="15"/>
                  </a:lnTo>
                  <a:lnTo>
                    <a:pt x="19" y="15"/>
                  </a:lnTo>
                  <a:lnTo>
                    <a:pt x="19" y="10"/>
                  </a:lnTo>
                  <a:lnTo>
                    <a:pt x="22" y="9"/>
                  </a:lnTo>
                  <a:lnTo>
                    <a:pt x="28" y="9"/>
                  </a:lnTo>
                  <a:lnTo>
                    <a:pt x="29" y="6"/>
                  </a:lnTo>
                  <a:lnTo>
                    <a:pt x="32" y="3"/>
                  </a:lnTo>
                  <a:lnTo>
                    <a:pt x="34" y="3"/>
                  </a:lnTo>
                  <a:lnTo>
                    <a:pt x="35" y="3"/>
                  </a:lnTo>
                  <a:lnTo>
                    <a:pt x="36" y="3"/>
                  </a:lnTo>
                  <a:lnTo>
                    <a:pt x="36" y="2"/>
                  </a:lnTo>
                  <a:lnTo>
                    <a:pt x="42" y="2"/>
                  </a:lnTo>
                  <a:lnTo>
                    <a:pt x="47" y="2"/>
                  </a:lnTo>
                  <a:lnTo>
                    <a:pt x="48" y="0"/>
                  </a:lnTo>
                  <a:lnTo>
                    <a:pt x="52" y="1"/>
                  </a:lnTo>
                  <a:lnTo>
                    <a:pt x="60" y="0"/>
                  </a:lnTo>
                  <a:lnTo>
                    <a:pt x="61" y="0"/>
                  </a:lnTo>
                  <a:lnTo>
                    <a:pt x="61" y="1"/>
                  </a:lnTo>
                  <a:lnTo>
                    <a:pt x="61" y="2"/>
                  </a:lnTo>
                  <a:lnTo>
                    <a:pt x="61" y="2"/>
                  </a:lnTo>
                  <a:lnTo>
                    <a:pt x="62" y="1"/>
                  </a:lnTo>
                  <a:lnTo>
                    <a:pt x="67" y="0"/>
                  </a:lnTo>
                  <a:lnTo>
                    <a:pt x="66" y="1"/>
                  </a:lnTo>
                  <a:lnTo>
                    <a:pt x="67" y="1"/>
                  </a:lnTo>
                  <a:lnTo>
                    <a:pt x="67" y="2"/>
                  </a:lnTo>
                  <a:lnTo>
                    <a:pt x="68" y="2"/>
                  </a:lnTo>
                  <a:lnTo>
                    <a:pt x="69" y="1"/>
                  </a:lnTo>
                  <a:lnTo>
                    <a:pt x="71" y="1"/>
                  </a:lnTo>
                  <a:lnTo>
                    <a:pt x="72" y="2"/>
                  </a:lnTo>
                  <a:lnTo>
                    <a:pt x="76" y="1"/>
                  </a:lnTo>
                  <a:lnTo>
                    <a:pt x="78" y="1"/>
                  </a:lnTo>
                  <a:lnTo>
                    <a:pt x="78" y="0"/>
                  </a:lnTo>
                  <a:lnTo>
                    <a:pt x="78" y="0"/>
                  </a:lnTo>
                  <a:lnTo>
                    <a:pt x="78" y="1"/>
                  </a:lnTo>
                  <a:lnTo>
                    <a:pt x="79" y="3"/>
                  </a:lnTo>
                  <a:lnTo>
                    <a:pt x="83" y="6"/>
                  </a:lnTo>
                  <a:lnTo>
                    <a:pt x="86" y="4"/>
                  </a:lnTo>
                  <a:lnTo>
                    <a:pt x="86" y="3"/>
                  </a:lnTo>
                  <a:lnTo>
                    <a:pt x="87" y="4"/>
                  </a:lnTo>
                  <a:lnTo>
                    <a:pt x="91" y="6"/>
                  </a:lnTo>
                  <a:lnTo>
                    <a:pt x="95" y="6"/>
                  </a:lnTo>
                  <a:lnTo>
                    <a:pt x="94" y="7"/>
                  </a:lnTo>
                  <a:lnTo>
                    <a:pt x="98" y="7"/>
                  </a:lnTo>
                  <a:lnTo>
                    <a:pt x="99" y="7"/>
                  </a:lnTo>
                  <a:lnTo>
                    <a:pt x="101" y="8"/>
                  </a:lnTo>
                  <a:lnTo>
                    <a:pt x="101" y="9"/>
                  </a:lnTo>
                  <a:lnTo>
                    <a:pt x="101" y="11"/>
                  </a:lnTo>
                  <a:lnTo>
                    <a:pt x="102" y="13"/>
                  </a:lnTo>
                  <a:lnTo>
                    <a:pt x="106" y="14"/>
                  </a:lnTo>
                  <a:lnTo>
                    <a:pt x="108" y="14"/>
                  </a:lnTo>
                  <a:lnTo>
                    <a:pt x="114" y="15"/>
                  </a:lnTo>
                  <a:lnTo>
                    <a:pt x="122" y="10"/>
                  </a:lnTo>
                  <a:lnTo>
                    <a:pt x="120" y="11"/>
                  </a:lnTo>
                  <a:lnTo>
                    <a:pt x="119" y="14"/>
                  </a:lnTo>
                  <a:lnTo>
                    <a:pt x="122" y="14"/>
                  </a:lnTo>
                  <a:lnTo>
                    <a:pt x="121" y="17"/>
                  </a:lnTo>
                  <a:lnTo>
                    <a:pt x="121" y="20"/>
                  </a:lnTo>
                  <a:lnTo>
                    <a:pt x="123" y="20"/>
                  </a:lnTo>
                  <a:lnTo>
                    <a:pt x="126" y="21"/>
                  </a:lnTo>
                  <a:lnTo>
                    <a:pt x="127" y="26"/>
                  </a:lnTo>
                  <a:lnTo>
                    <a:pt x="127" y="26"/>
                  </a:lnTo>
                  <a:lnTo>
                    <a:pt x="127" y="23"/>
                  </a:lnTo>
                  <a:lnTo>
                    <a:pt x="129" y="27"/>
                  </a:lnTo>
                  <a:lnTo>
                    <a:pt x="134" y="28"/>
                  </a:lnTo>
                  <a:lnTo>
                    <a:pt x="134" y="28"/>
                  </a:lnTo>
                  <a:lnTo>
                    <a:pt x="134" y="29"/>
                  </a:lnTo>
                  <a:lnTo>
                    <a:pt x="135" y="30"/>
                  </a:lnTo>
                  <a:lnTo>
                    <a:pt x="136" y="30"/>
                  </a:lnTo>
                  <a:lnTo>
                    <a:pt x="136" y="30"/>
                  </a:lnTo>
                  <a:lnTo>
                    <a:pt x="134" y="27"/>
                  </a:lnTo>
                  <a:lnTo>
                    <a:pt x="131" y="21"/>
                  </a:lnTo>
                  <a:lnTo>
                    <a:pt x="128" y="17"/>
                  </a:lnTo>
                  <a:lnTo>
                    <a:pt x="132" y="26"/>
                  </a:lnTo>
                  <a:lnTo>
                    <a:pt x="132" y="24"/>
                  </a:lnTo>
                  <a:lnTo>
                    <a:pt x="133" y="24"/>
                  </a:lnTo>
                  <a:lnTo>
                    <a:pt x="134" y="27"/>
                  </a:lnTo>
                  <a:lnTo>
                    <a:pt x="140" y="30"/>
                  </a:lnTo>
                  <a:lnTo>
                    <a:pt x="140" y="31"/>
                  </a:lnTo>
                  <a:lnTo>
                    <a:pt x="140" y="33"/>
                  </a:lnTo>
                  <a:lnTo>
                    <a:pt x="138" y="31"/>
                  </a:lnTo>
                  <a:lnTo>
                    <a:pt x="136" y="30"/>
                  </a:lnTo>
                  <a:lnTo>
                    <a:pt x="136" y="31"/>
                  </a:lnTo>
                  <a:lnTo>
                    <a:pt x="138" y="31"/>
                  </a:lnTo>
                  <a:lnTo>
                    <a:pt x="138" y="34"/>
                  </a:lnTo>
                  <a:lnTo>
                    <a:pt x="139" y="34"/>
                  </a:lnTo>
                  <a:lnTo>
                    <a:pt x="140" y="34"/>
                  </a:lnTo>
                  <a:lnTo>
                    <a:pt x="140" y="31"/>
                  </a:lnTo>
                  <a:lnTo>
                    <a:pt x="141" y="31"/>
                  </a:lnTo>
                  <a:lnTo>
                    <a:pt x="143" y="35"/>
                  </a:lnTo>
                  <a:lnTo>
                    <a:pt x="146" y="35"/>
                  </a:lnTo>
                  <a:lnTo>
                    <a:pt x="146" y="36"/>
                  </a:lnTo>
                  <a:lnTo>
                    <a:pt x="145" y="36"/>
                  </a:lnTo>
                  <a:lnTo>
                    <a:pt x="145" y="37"/>
                  </a:lnTo>
                  <a:lnTo>
                    <a:pt x="145" y="37"/>
                  </a:lnTo>
                  <a:lnTo>
                    <a:pt x="146" y="36"/>
                  </a:lnTo>
                  <a:lnTo>
                    <a:pt x="146" y="35"/>
                  </a:lnTo>
                  <a:lnTo>
                    <a:pt x="148" y="36"/>
                  </a:lnTo>
                  <a:lnTo>
                    <a:pt x="149" y="37"/>
                  </a:lnTo>
                  <a:lnTo>
                    <a:pt x="147" y="37"/>
                  </a:lnTo>
                  <a:lnTo>
                    <a:pt x="149" y="38"/>
                  </a:lnTo>
                  <a:lnTo>
                    <a:pt x="148" y="37"/>
                  </a:lnTo>
                  <a:lnTo>
                    <a:pt x="149" y="37"/>
                  </a:lnTo>
                  <a:lnTo>
                    <a:pt x="150" y="37"/>
                  </a:lnTo>
                  <a:lnTo>
                    <a:pt x="150" y="38"/>
                  </a:lnTo>
                  <a:lnTo>
                    <a:pt x="149" y="38"/>
                  </a:lnTo>
                  <a:lnTo>
                    <a:pt x="152" y="40"/>
                  </a:lnTo>
                  <a:lnTo>
                    <a:pt x="152" y="38"/>
                  </a:lnTo>
                  <a:lnTo>
                    <a:pt x="150" y="38"/>
                  </a:lnTo>
                  <a:lnTo>
                    <a:pt x="150" y="37"/>
                  </a:lnTo>
                  <a:lnTo>
                    <a:pt x="154" y="38"/>
                  </a:lnTo>
                  <a:lnTo>
                    <a:pt x="158" y="40"/>
                  </a:lnTo>
                  <a:lnTo>
                    <a:pt x="158" y="41"/>
                  </a:lnTo>
                  <a:lnTo>
                    <a:pt x="161" y="42"/>
                  </a:lnTo>
                  <a:lnTo>
                    <a:pt x="166" y="41"/>
                  </a:lnTo>
                  <a:lnTo>
                    <a:pt x="167" y="42"/>
                  </a:lnTo>
                  <a:lnTo>
                    <a:pt x="168" y="43"/>
                  </a:lnTo>
                  <a:lnTo>
                    <a:pt x="166" y="46"/>
                  </a:lnTo>
                  <a:lnTo>
                    <a:pt x="165" y="44"/>
                  </a:lnTo>
                  <a:lnTo>
                    <a:pt x="165" y="46"/>
                  </a:lnTo>
                  <a:lnTo>
                    <a:pt x="167" y="46"/>
                  </a:lnTo>
                  <a:lnTo>
                    <a:pt x="168" y="47"/>
                  </a:lnTo>
                  <a:lnTo>
                    <a:pt x="168" y="48"/>
                  </a:lnTo>
                  <a:lnTo>
                    <a:pt x="165" y="47"/>
                  </a:lnTo>
                  <a:lnTo>
                    <a:pt x="165" y="48"/>
                  </a:lnTo>
                  <a:lnTo>
                    <a:pt x="165" y="49"/>
                  </a:lnTo>
                  <a:lnTo>
                    <a:pt x="166" y="49"/>
                  </a:lnTo>
                  <a:lnTo>
                    <a:pt x="167" y="48"/>
                  </a:lnTo>
                  <a:lnTo>
                    <a:pt x="168" y="49"/>
                  </a:lnTo>
                  <a:lnTo>
                    <a:pt x="170" y="49"/>
                  </a:lnTo>
                  <a:lnTo>
                    <a:pt x="169" y="49"/>
                  </a:lnTo>
                  <a:lnTo>
                    <a:pt x="170" y="49"/>
                  </a:lnTo>
                  <a:lnTo>
                    <a:pt x="172" y="49"/>
                  </a:lnTo>
                  <a:lnTo>
                    <a:pt x="172" y="50"/>
                  </a:lnTo>
                  <a:lnTo>
                    <a:pt x="175" y="53"/>
                  </a:lnTo>
                  <a:lnTo>
                    <a:pt x="174" y="53"/>
                  </a:lnTo>
                  <a:lnTo>
                    <a:pt x="174" y="50"/>
                  </a:lnTo>
                  <a:lnTo>
                    <a:pt x="172" y="49"/>
                  </a:lnTo>
                  <a:lnTo>
                    <a:pt x="174" y="49"/>
                  </a:lnTo>
                  <a:lnTo>
                    <a:pt x="178" y="49"/>
                  </a:lnTo>
                  <a:lnTo>
                    <a:pt x="180" y="50"/>
                  </a:lnTo>
                  <a:lnTo>
                    <a:pt x="181" y="50"/>
                  </a:lnTo>
                  <a:lnTo>
                    <a:pt x="182" y="51"/>
                  </a:lnTo>
                  <a:lnTo>
                    <a:pt x="185" y="53"/>
                  </a:lnTo>
                  <a:lnTo>
                    <a:pt x="186" y="54"/>
                  </a:lnTo>
                  <a:lnTo>
                    <a:pt x="187" y="56"/>
                  </a:lnTo>
                  <a:lnTo>
                    <a:pt x="189" y="57"/>
                  </a:lnTo>
                  <a:lnTo>
                    <a:pt x="192" y="57"/>
                  </a:lnTo>
                  <a:lnTo>
                    <a:pt x="194" y="58"/>
                  </a:lnTo>
                  <a:lnTo>
                    <a:pt x="194" y="60"/>
                  </a:lnTo>
                  <a:lnTo>
                    <a:pt x="192" y="62"/>
                  </a:lnTo>
                  <a:lnTo>
                    <a:pt x="187" y="62"/>
                  </a:lnTo>
                  <a:lnTo>
                    <a:pt x="185" y="64"/>
                  </a:lnTo>
                  <a:lnTo>
                    <a:pt x="181" y="63"/>
                  </a:lnTo>
                  <a:lnTo>
                    <a:pt x="176" y="66"/>
                  </a:lnTo>
                  <a:lnTo>
                    <a:pt x="175" y="66"/>
                  </a:lnTo>
                  <a:lnTo>
                    <a:pt x="175" y="64"/>
                  </a:lnTo>
                  <a:lnTo>
                    <a:pt x="175" y="64"/>
                  </a:lnTo>
                  <a:lnTo>
                    <a:pt x="176" y="63"/>
                  </a:lnTo>
                  <a:lnTo>
                    <a:pt x="176" y="62"/>
                  </a:lnTo>
                  <a:lnTo>
                    <a:pt x="175" y="64"/>
                  </a:lnTo>
                  <a:lnTo>
                    <a:pt x="175" y="66"/>
                  </a:lnTo>
                  <a:lnTo>
                    <a:pt x="172" y="66"/>
                  </a:lnTo>
                  <a:lnTo>
                    <a:pt x="168" y="66"/>
                  </a:lnTo>
                  <a:lnTo>
                    <a:pt x="162" y="64"/>
                  </a:lnTo>
                  <a:lnTo>
                    <a:pt x="159" y="64"/>
                  </a:lnTo>
                  <a:lnTo>
                    <a:pt x="156" y="63"/>
                  </a:lnTo>
                  <a:lnTo>
                    <a:pt x="150" y="64"/>
                  </a:lnTo>
                  <a:lnTo>
                    <a:pt x="145" y="64"/>
                  </a:lnTo>
                  <a:lnTo>
                    <a:pt x="142" y="66"/>
                  </a:lnTo>
                  <a:lnTo>
                    <a:pt x="141" y="62"/>
                  </a:lnTo>
                  <a:lnTo>
                    <a:pt x="138" y="66"/>
                  </a:lnTo>
                  <a:lnTo>
                    <a:pt x="136" y="66"/>
                  </a:lnTo>
                  <a:lnTo>
                    <a:pt x="135" y="67"/>
                  </a:lnTo>
                  <a:lnTo>
                    <a:pt x="131" y="67"/>
                  </a:lnTo>
                  <a:lnTo>
                    <a:pt x="129" y="67"/>
                  </a:lnTo>
                  <a:lnTo>
                    <a:pt x="129" y="66"/>
                  </a:lnTo>
                  <a:lnTo>
                    <a:pt x="132" y="62"/>
                  </a:lnTo>
                  <a:lnTo>
                    <a:pt x="136" y="62"/>
                  </a:lnTo>
                  <a:lnTo>
                    <a:pt x="138" y="57"/>
                  </a:lnTo>
                  <a:lnTo>
                    <a:pt x="139" y="57"/>
                  </a:lnTo>
                  <a:lnTo>
                    <a:pt x="140" y="56"/>
                  </a:lnTo>
                  <a:lnTo>
                    <a:pt x="141" y="54"/>
                  </a:lnTo>
                  <a:lnTo>
                    <a:pt x="138" y="53"/>
                  </a:lnTo>
                  <a:lnTo>
                    <a:pt x="139" y="50"/>
                  </a:lnTo>
                  <a:lnTo>
                    <a:pt x="136" y="49"/>
                  </a:lnTo>
                  <a:lnTo>
                    <a:pt x="134" y="50"/>
                  </a:lnTo>
                  <a:lnTo>
                    <a:pt x="128" y="49"/>
                  </a:lnTo>
                  <a:lnTo>
                    <a:pt x="127" y="49"/>
                  </a:lnTo>
                  <a:lnTo>
                    <a:pt x="123" y="49"/>
                  </a:lnTo>
                  <a:lnTo>
                    <a:pt x="120" y="46"/>
                  </a:lnTo>
                  <a:lnTo>
                    <a:pt x="119" y="44"/>
                  </a:lnTo>
                  <a:lnTo>
                    <a:pt x="116" y="43"/>
                  </a:lnTo>
                  <a:lnTo>
                    <a:pt x="115" y="42"/>
                  </a:lnTo>
                  <a:lnTo>
                    <a:pt x="116" y="38"/>
                  </a:lnTo>
                  <a:lnTo>
                    <a:pt x="114" y="36"/>
                  </a:lnTo>
                  <a:lnTo>
                    <a:pt x="114" y="34"/>
                  </a:lnTo>
                  <a:lnTo>
                    <a:pt x="113" y="33"/>
                  </a:lnTo>
                  <a:lnTo>
                    <a:pt x="111" y="31"/>
                  </a:lnTo>
                  <a:lnTo>
                    <a:pt x="112" y="31"/>
                  </a:lnTo>
                  <a:lnTo>
                    <a:pt x="111" y="30"/>
                  </a:lnTo>
                  <a:lnTo>
                    <a:pt x="106" y="33"/>
                  </a:lnTo>
                  <a:lnTo>
                    <a:pt x="101" y="31"/>
                  </a:lnTo>
                  <a:lnTo>
                    <a:pt x="93" y="29"/>
                  </a:lnTo>
                  <a:lnTo>
                    <a:pt x="92" y="29"/>
                  </a:lnTo>
                  <a:lnTo>
                    <a:pt x="92" y="30"/>
                  </a:lnTo>
                  <a:lnTo>
                    <a:pt x="91" y="28"/>
                  </a:lnTo>
                  <a:lnTo>
                    <a:pt x="88" y="29"/>
                  </a:lnTo>
                  <a:lnTo>
                    <a:pt x="87" y="27"/>
                  </a:lnTo>
                  <a:lnTo>
                    <a:pt x="86" y="22"/>
                  </a:lnTo>
                  <a:lnTo>
                    <a:pt x="83" y="26"/>
                  </a:lnTo>
                  <a:lnTo>
                    <a:pt x="81" y="22"/>
                  </a:lnTo>
                  <a:lnTo>
                    <a:pt x="81" y="22"/>
                  </a:lnTo>
                  <a:lnTo>
                    <a:pt x="81" y="21"/>
                  </a:lnTo>
                  <a:lnTo>
                    <a:pt x="80" y="20"/>
                  </a:lnTo>
                  <a:lnTo>
                    <a:pt x="79" y="20"/>
                  </a:lnTo>
                  <a:lnTo>
                    <a:pt x="80" y="22"/>
                  </a:lnTo>
                  <a:lnTo>
                    <a:pt x="80" y="22"/>
                  </a:lnTo>
                  <a:lnTo>
                    <a:pt x="69" y="21"/>
                  </a:lnTo>
                  <a:lnTo>
                    <a:pt x="68" y="20"/>
                  </a:lnTo>
                  <a:lnTo>
                    <a:pt x="68" y="18"/>
                  </a:lnTo>
                  <a:lnTo>
                    <a:pt x="67" y="17"/>
                  </a:lnTo>
                  <a:lnTo>
                    <a:pt x="67" y="17"/>
                  </a:lnTo>
                  <a:lnTo>
                    <a:pt x="67" y="21"/>
                  </a:lnTo>
                  <a:lnTo>
                    <a:pt x="67" y="21"/>
                  </a:lnTo>
                  <a:lnTo>
                    <a:pt x="66" y="20"/>
                  </a:lnTo>
                  <a:lnTo>
                    <a:pt x="65" y="21"/>
                  </a:lnTo>
                  <a:lnTo>
                    <a:pt x="63" y="21"/>
                  </a:lnTo>
                  <a:lnTo>
                    <a:pt x="63" y="20"/>
                  </a:lnTo>
                  <a:lnTo>
                    <a:pt x="63" y="20"/>
                  </a:lnTo>
                  <a:lnTo>
                    <a:pt x="55" y="18"/>
                  </a:lnTo>
                  <a:lnTo>
                    <a:pt x="55" y="18"/>
                  </a:lnTo>
                  <a:lnTo>
                    <a:pt x="51" y="16"/>
                  </a:lnTo>
                  <a:lnTo>
                    <a:pt x="49" y="15"/>
                  </a:lnTo>
                  <a:lnTo>
                    <a:pt x="51" y="14"/>
                  </a:lnTo>
                  <a:lnTo>
                    <a:pt x="54" y="15"/>
                  </a:lnTo>
                  <a:lnTo>
                    <a:pt x="58" y="14"/>
                  </a:lnTo>
                  <a:lnTo>
                    <a:pt x="59" y="13"/>
                  </a:lnTo>
                  <a:lnTo>
                    <a:pt x="59" y="11"/>
                  </a:lnTo>
                  <a:lnTo>
                    <a:pt x="55" y="9"/>
                  </a:lnTo>
                  <a:lnTo>
                    <a:pt x="51" y="9"/>
                  </a:lnTo>
                  <a:lnTo>
                    <a:pt x="49" y="10"/>
                  </a:lnTo>
                  <a:lnTo>
                    <a:pt x="43" y="9"/>
                  </a:lnTo>
                  <a:lnTo>
                    <a:pt x="39" y="9"/>
                  </a:lnTo>
                  <a:lnTo>
                    <a:pt x="36" y="11"/>
                  </a:lnTo>
                  <a:lnTo>
                    <a:pt x="33" y="14"/>
                  </a:lnTo>
                  <a:lnTo>
                    <a:pt x="32" y="16"/>
                  </a:lnTo>
                  <a:lnTo>
                    <a:pt x="32" y="16"/>
                  </a:lnTo>
                  <a:lnTo>
                    <a:pt x="29" y="17"/>
                  </a:lnTo>
                  <a:lnTo>
                    <a:pt x="28" y="20"/>
                  </a:lnTo>
                  <a:lnTo>
                    <a:pt x="26" y="20"/>
                  </a:lnTo>
                  <a:lnTo>
                    <a:pt x="25" y="18"/>
                  </a:lnTo>
                  <a:lnTo>
                    <a:pt x="23" y="20"/>
                  </a:lnTo>
                  <a:lnTo>
                    <a:pt x="19" y="20"/>
                  </a:lnTo>
                  <a:lnTo>
                    <a:pt x="18" y="21"/>
                  </a:lnTo>
                  <a:lnTo>
                    <a:pt x="16" y="22"/>
                  </a:lnTo>
                  <a:lnTo>
                    <a:pt x="18" y="23"/>
                  </a:lnTo>
                  <a:lnTo>
                    <a:pt x="18" y="24"/>
                  </a:lnTo>
                  <a:lnTo>
                    <a:pt x="16" y="24"/>
                  </a:lnTo>
                  <a:lnTo>
                    <a:pt x="15" y="24"/>
                  </a:lnTo>
                  <a:lnTo>
                    <a:pt x="12" y="26"/>
                  </a:lnTo>
                  <a:lnTo>
                    <a:pt x="9" y="28"/>
                  </a:lnTo>
                  <a:lnTo>
                    <a:pt x="8" y="28"/>
                  </a:lnTo>
                  <a:lnTo>
                    <a:pt x="8" y="27"/>
                  </a:lnTo>
                  <a:lnTo>
                    <a:pt x="8" y="26"/>
                  </a:lnTo>
                  <a:lnTo>
                    <a:pt x="8" y="24"/>
                  </a:lnTo>
                  <a:lnTo>
                    <a:pt x="8" y="24"/>
                  </a:lnTo>
                  <a:lnTo>
                    <a:pt x="5" y="26"/>
                  </a:lnTo>
                  <a:lnTo>
                    <a:pt x="2" y="27"/>
                  </a:lnTo>
                  <a:lnTo>
                    <a:pt x="0" y="27"/>
                  </a:lnTo>
                  <a:lnTo>
                    <a:pt x="0" y="26"/>
                  </a:lnTo>
                  <a:lnTo>
                    <a:pt x="0" y="24"/>
                  </a:lnTo>
                  <a:lnTo>
                    <a:pt x="0" y="24"/>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35" name="Côte d'Ivoire">
              <a:extLst>
                <a:ext uri="{FF2B5EF4-FFF2-40B4-BE49-F238E27FC236}">
                  <a16:creationId xmlns:a16="http://schemas.microsoft.com/office/drawing/2014/main" id="{F1897DC0-F9E3-4649-ABA9-E24BB9FA9098}"/>
                </a:ext>
              </a:extLst>
            </p:cNvPr>
            <p:cNvSpPr>
              <a:spLocks/>
            </p:cNvSpPr>
            <p:nvPr/>
          </p:nvSpPr>
          <p:spPr bwMode="auto">
            <a:xfrm>
              <a:off x="6136348" y="3665782"/>
              <a:ext cx="161833" cy="193907"/>
            </a:xfrm>
            <a:custGeom>
              <a:avLst/>
              <a:gdLst>
                <a:gd name="T0" fmla="*/ 19 w 111"/>
                <a:gd name="T1" fmla="*/ 120 h 133"/>
                <a:gd name="T2" fmla="*/ 21 w 111"/>
                <a:gd name="T3" fmla="*/ 108 h 133"/>
                <a:gd name="T4" fmla="*/ 17 w 111"/>
                <a:gd name="T5" fmla="*/ 98 h 133"/>
                <a:gd name="T6" fmla="*/ 12 w 111"/>
                <a:gd name="T7" fmla="*/ 91 h 133"/>
                <a:gd name="T8" fmla="*/ 2 w 111"/>
                <a:gd name="T9" fmla="*/ 87 h 133"/>
                <a:gd name="T10" fmla="*/ 5 w 111"/>
                <a:gd name="T11" fmla="*/ 71 h 133"/>
                <a:gd name="T12" fmla="*/ 4 w 111"/>
                <a:gd name="T13" fmla="*/ 63 h 133"/>
                <a:gd name="T14" fmla="*/ 7 w 111"/>
                <a:gd name="T15" fmla="*/ 47 h 133"/>
                <a:gd name="T16" fmla="*/ 15 w 111"/>
                <a:gd name="T17" fmla="*/ 34 h 133"/>
                <a:gd name="T18" fmla="*/ 8 w 111"/>
                <a:gd name="T19" fmla="*/ 14 h 133"/>
                <a:gd name="T20" fmla="*/ 14 w 111"/>
                <a:gd name="T21" fmla="*/ 13 h 133"/>
                <a:gd name="T22" fmla="*/ 18 w 111"/>
                <a:gd name="T23" fmla="*/ 7 h 133"/>
                <a:gd name="T24" fmla="*/ 26 w 111"/>
                <a:gd name="T25" fmla="*/ 7 h 133"/>
                <a:gd name="T26" fmla="*/ 29 w 111"/>
                <a:gd name="T27" fmla="*/ 8 h 133"/>
                <a:gd name="T28" fmla="*/ 34 w 111"/>
                <a:gd name="T29" fmla="*/ 6 h 133"/>
                <a:gd name="T30" fmla="*/ 41 w 111"/>
                <a:gd name="T31" fmla="*/ 1 h 133"/>
                <a:gd name="T32" fmla="*/ 44 w 111"/>
                <a:gd name="T33" fmla="*/ 4 h 133"/>
                <a:gd name="T34" fmla="*/ 42 w 111"/>
                <a:gd name="T35" fmla="*/ 8 h 133"/>
                <a:gd name="T36" fmla="*/ 54 w 111"/>
                <a:gd name="T37" fmla="*/ 6 h 133"/>
                <a:gd name="T38" fmla="*/ 60 w 111"/>
                <a:gd name="T39" fmla="*/ 8 h 133"/>
                <a:gd name="T40" fmla="*/ 65 w 111"/>
                <a:gd name="T41" fmla="*/ 11 h 133"/>
                <a:gd name="T42" fmla="*/ 66 w 111"/>
                <a:gd name="T43" fmla="*/ 14 h 133"/>
                <a:gd name="T44" fmla="*/ 69 w 111"/>
                <a:gd name="T45" fmla="*/ 18 h 133"/>
                <a:gd name="T46" fmla="*/ 71 w 111"/>
                <a:gd name="T47" fmla="*/ 23 h 133"/>
                <a:gd name="T48" fmla="*/ 78 w 111"/>
                <a:gd name="T49" fmla="*/ 21 h 133"/>
                <a:gd name="T50" fmla="*/ 89 w 111"/>
                <a:gd name="T51" fmla="*/ 16 h 133"/>
                <a:gd name="T52" fmla="*/ 98 w 111"/>
                <a:gd name="T53" fmla="*/ 18 h 133"/>
                <a:gd name="T54" fmla="*/ 106 w 111"/>
                <a:gd name="T55" fmla="*/ 27 h 133"/>
                <a:gd name="T56" fmla="*/ 107 w 111"/>
                <a:gd name="T57" fmla="*/ 30 h 133"/>
                <a:gd name="T58" fmla="*/ 108 w 111"/>
                <a:gd name="T59" fmla="*/ 55 h 133"/>
                <a:gd name="T60" fmla="*/ 99 w 111"/>
                <a:gd name="T61" fmla="*/ 75 h 133"/>
                <a:gd name="T62" fmla="*/ 101 w 111"/>
                <a:gd name="T63" fmla="*/ 103 h 133"/>
                <a:gd name="T64" fmla="*/ 106 w 111"/>
                <a:gd name="T65" fmla="*/ 110 h 133"/>
                <a:gd name="T66" fmla="*/ 99 w 111"/>
                <a:gd name="T67" fmla="*/ 116 h 133"/>
                <a:gd name="T68" fmla="*/ 98 w 111"/>
                <a:gd name="T69" fmla="*/ 115 h 133"/>
                <a:gd name="T70" fmla="*/ 100 w 111"/>
                <a:gd name="T71" fmla="*/ 114 h 133"/>
                <a:gd name="T72" fmla="*/ 100 w 111"/>
                <a:gd name="T73" fmla="*/ 111 h 133"/>
                <a:gd name="T74" fmla="*/ 97 w 111"/>
                <a:gd name="T75" fmla="*/ 110 h 133"/>
                <a:gd name="T76" fmla="*/ 88 w 111"/>
                <a:gd name="T77" fmla="*/ 114 h 133"/>
                <a:gd name="T78" fmla="*/ 85 w 111"/>
                <a:gd name="T79" fmla="*/ 113 h 133"/>
                <a:gd name="T80" fmla="*/ 87 w 111"/>
                <a:gd name="T81" fmla="*/ 111 h 133"/>
                <a:gd name="T82" fmla="*/ 82 w 111"/>
                <a:gd name="T83" fmla="*/ 113 h 133"/>
                <a:gd name="T84" fmla="*/ 75 w 111"/>
                <a:gd name="T85" fmla="*/ 113 h 133"/>
                <a:gd name="T86" fmla="*/ 71 w 111"/>
                <a:gd name="T87" fmla="*/ 113 h 133"/>
                <a:gd name="T88" fmla="*/ 68 w 111"/>
                <a:gd name="T89" fmla="*/ 114 h 133"/>
                <a:gd name="T90" fmla="*/ 73 w 111"/>
                <a:gd name="T91" fmla="*/ 113 h 133"/>
                <a:gd name="T92" fmla="*/ 72 w 111"/>
                <a:gd name="T93" fmla="*/ 115 h 133"/>
                <a:gd name="T94" fmla="*/ 62 w 111"/>
                <a:gd name="T95" fmla="*/ 114 h 133"/>
                <a:gd name="T96" fmla="*/ 59 w 111"/>
                <a:gd name="T97" fmla="*/ 113 h 133"/>
                <a:gd name="T98" fmla="*/ 65 w 111"/>
                <a:gd name="T99" fmla="*/ 115 h 133"/>
                <a:gd name="T100" fmla="*/ 52 w 111"/>
                <a:gd name="T101" fmla="*/ 116 h 133"/>
                <a:gd name="T102" fmla="*/ 31 w 111"/>
                <a:gd name="T103" fmla="*/ 124 h 133"/>
                <a:gd name="T104" fmla="*/ 24 w 111"/>
                <a:gd name="T105" fmla="*/ 130 h 133"/>
                <a:gd name="T106" fmla="*/ 19 w 111"/>
                <a:gd name="T107" fmla="*/ 13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1" h="133">
                  <a:moveTo>
                    <a:pt x="19" y="131"/>
                  </a:moveTo>
                  <a:lnTo>
                    <a:pt x="19" y="123"/>
                  </a:lnTo>
                  <a:lnTo>
                    <a:pt x="19" y="120"/>
                  </a:lnTo>
                  <a:lnTo>
                    <a:pt x="20" y="115"/>
                  </a:lnTo>
                  <a:lnTo>
                    <a:pt x="21" y="113"/>
                  </a:lnTo>
                  <a:lnTo>
                    <a:pt x="21" y="108"/>
                  </a:lnTo>
                  <a:lnTo>
                    <a:pt x="21" y="104"/>
                  </a:lnTo>
                  <a:lnTo>
                    <a:pt x="20" y="100"/>
                  </a:lnTo>
                  <a:lnTo>
                    <a:pt x="17" y="98"/>
                  </a:lnTo>
                  <a:lnTo>
                    <a:pt x="15" y="98"/>
                  </a:lnTo>
                  <a:lnTo>
                    <a:pt x="13" y="95"/>
                  </a:lnTo>
                  <a:lnTo>
                    <a:pt x="12" y="91"/>
                  </a:lnTo>
                  <a:lnTo>
                    <a:pt x="8" y="91"/>
                  </a:lnTo>
                  <a:lnTo>
                    <a:pt x="4" y="90"/>
                  </a:lnTo>
                  <a:lnTo>
                    <a:pt x="2" y="87"/>
                  </a:lnTo>
                  <a:lnTo>
                    <a:pt x="0" y="87"/>
                  </a:lnTo>
                  <a:lnTo>
                    <a:pt x="6" y="76"/>
                  </a:lnTo>
                  <a:lnTo>
                    <a:pt x="5" y="71"/>
                  </a:lnTo>
                  <a:lnTo>
                    <a:pt x="4" y="67"/>
                  </a:lnTo>
                  <a:lnTo>
                    <a:pt x="2" y="64"/>
                  </a:lnTo>
                  <a:lnTo>
                    <a:pt x="4" y="63"/>
                  </a:lnTo>
                  <a:lnTo>
                    <a:pt x="9" y="62"/>
                  </a:lnTo>
                  <a:lnTo>
                    <a:pt x="11" y="54"/>
                  </a:lnTo>
                  <a:lnTo>
                    <a:pt x="7" y="47"/>
                  </a:lnTo>
                  <a:lnTo>
                    <a:pt x="14" y="46"/>
                  </a:lnTo>
                  <a:lnTo>
                    <a:pt x="15" y="41"/>
                  </a:lnTo>
                  <a:lnTo>
                    <a:pt x="15" y="34"/>
                  </a:lnTo>
                  <a:lnTo>
                    <a:pt x="11" y="27"/>
                  </a:lnTo>
                  <a:lnTo>
                    <a:pt x="8" y="17"/>
                  </a:lnTo>
                  <a:lnTo>
                    <a:pt x="8" y="14"/>
                  </a:lnTo>
                  <a:lnTo>
                    <a:pt x="11" y="13"/>
                  </a:lnTo>
                  <a:lnTo>
                    <a:pt x="12" y="11"/>
                  </a:lnTo>
                  <a:lnTo>
                    <a:pt x="14" y="13"/>
                  </a:lnTo>
                  <a:lnTo>
                    <a:pt x="14" y="10"/>
                  </a:lnTo>
                  <a:lnTo>
                    <a:pt x="15" y="7"/>
                  </a:lnTo>
                  <a:lnTo>
                    <a:pt x="18" y="7"/>
                  </a:lnTo>
                  <a:lnTo>
                    <a:pt x="20" y="7"/>
                  </a:lnTo>
                  <a:lnTo>
                    <a:pt x="22" y="8"/>
                  </a:lnTo>
                  <a:lnTo>
                    <a:pt x="26" y="7"/>
                  </a:lnTo>
                  <a:lnTo>
                    <a:pt x="27" y="10"/>
                  </a:lnTo>
                  <a:lnTo>
                    <a:pt x="29" y="13"/>
                  </a:lnTo>
                  <a:lnTo>
                    <a:pt x="29" y="8"/>
                  </a:lnTo>
                  <a:lnTo>
                    <a:pt x="34" y="8"/>
                  </a:lnTo>
                  <a:lnTo>
                    <a:pt x="35" y="6"/>
                  </a:lnTo>
                  <a:lnTo>
                    <a:pt x="34" y="6"/>
                  </a:lnTo>
                  <a:lnTo>
                    <a:pt x="34" y="2"/>
                  </a:lnTo>
                  <a:lnTo>
                    <a:pt x="40" y="2"/>
                  </a:lnTo>
                  <a:lnTo>
                    <a:pt x="41" y="1"/>
                  </a:lnTo>
                  <a:lnTo>
                    <a:pt x="44" y="0"/>
                  </a:lnTo>
                  <a:lnTo>
                    <a:pt x="44" y="2"/>
                  </a:lnTo>
                  <a:lnTo>
                    <a:pt x="44" y="4"/>
                  </a:lnTo>
                  <a:lnTo>
                    <a:pt x="45" y="6"/>
                  </a:lnTo>
                  <a:lnTo>
                    <a:pt x="45" y="7"/>
                  </a:lnTo>
                  <a:lnTo>
                    <a:pt x="42" y="8"/>
                  </a:lnTo>
                  <a:lnTo>
                    <a:pt x="47" y="11"/>
                  </a:lnTo>
                  <a:lnTo>
                    <a:pt x="49" y="9"/>
                  </a:lnTo>
                  <a:lnTo>
                    <a:pt x="54" y="6"/>
                  </a:lnTo>
                  <a:lnTo>
                    <a:pt x="55" y="6"/>
                  </a:lnTo>
                  <a:lnTo>
                    <a:pt x="57" y="8"/>
                  </a:lnTo>
                  <a:lnTo>
                    <a:pt x="60" y="8"/>
                  </a:lnTo>
                  <a:lnTo>
                    <a:pt x="62" y="8"/>
                  </a:lnTo>
                  <a:lnTo>
                    <a:pt x="64" y="9"/>
                  </a:lnTo>
                  <a:lnTo>
                    <a:pt x="65" y="11"/>
                  </a:lnTo>
                  <a:lnTo>
                    <a:pt x="66" y="13"/>
                  </a:lnTo>
                  <a:lnTo>
                    <a:pt x="66" y="13"/>
                  </a:lnTo>
                  <a:lnTo>
                    <a:pt x="66" y="14"/>
                  </a:lnTo>
                  <a:lnTo>
                    <a:pt x="66" y="16"/>
                  </a:lnTo>
                  <a:lnTo>
                    <a:pt x="66" y="17"/>
                  </a:lnTo>
                  <a:lnTo>
                    <a:pt x="69" y="18"/>
                  </a:lnTo>
                  <a:lnTo>
                    <a:pt x="68" y="21"/>
                  </a:lnTo>
                  <a:lnTo>
                    <a:pt x="69" y="21"/>
                  </a:lnTo>
                  <a:lnTo>
                    <a:pt x="71" y="23"/>
                  </a:lnTo>
                  <a:lnTo>
                    <a:pt x="73" y="23"/>
                  </a:lnTo>
                  <a:lnTo>
                    <a:pt x="75" y="23"/>
                  </a:lnTo>
                  <a:lnTo>
                    <a:pt x="78" y="21"/>
                  </a:lnTo>
                  <a:lnTo>
                    <a:pt x="81" y="18"/>
                  </a:lnTo>
                  <a:lnTo>
                    <a:pt x="84" y="17"/>
                  </a:lnTo>
                  <a:lnTo>
                    <a:pt x="89" y="16"/>
                  </a:lnTo>
                  <a:lnTo>
                    <a:pt x="91" y="16"/>
                  </a:lnTo>
                  <a:lnTo>
                    <a:pt x="97" y="17"/>
                  </a:lnTo>
                  <a:lnTo>
                    <a:pt x="98" y="18"/>
                  </a:lnTo>
                  <a:lnTo>
                    <a:pt x="101" y="21"/>
                  </a:lnTo>
                  <a:lnTo>
                    <a:pt x="105" y="23"/>
                  </a:lnTo>
                  <a:lnTo>
                    <a:pt x="106" y="27"/>
                  </a:lnTo>
                  <a:lnTo>
                    <a:pt x="107" y="26"/>
                  </a:lnTo>
                  <a:lnTo>
                    <a:pt x="107" y="28"/>
                  </a:lnTo>
                  <a:lnTo>
                    <a:pt x="107" y="30"/>
                  </a:lnTo>
                  <a:lnTo>
                    <a:pt x="106" y="34"/>
                  </a:lnTo>
                  <a:lnTo>
                    <a:pt x="111" y="51"/>
                  </a:lnTo>
                  <a:lnTo>
                    <a:pt x="108" y="55"/>
                  </a:lnTo>
                  <a:lnTo>
                    <a:pt x="106" y="56"/>
                  </a:lnTo>
                  <a:lnTo>
                    <a:pt x="102" y="71"/>
                  </a:lnTo>
                  <a:lnTo>
                    <a:pt x="99" y="75"/>
                  </a:lnTo>
                  <a:lnTo>
                    <a:pt x="98" y="82"/>
                  </a:lnTo>
                  <a:lnTo>
                    <a:pt x="98" y="91"/>
                  </a:lnTo>
                  <a:lnTo>
                    <a:pt x="101" y="103"/>
                  </a:lnTo>
                  <a:lnTo>
                    <a:pt x="102" y="104"/>
                  </a:lnTo>
                  <a:lnTo>
                    <a:pt x="106" y="106"/>
                  </a:lnTo>
                  <a:lnTo>
                    <a:pt x="106" y="110"/>
                  </a:lnTo>
                  <a:lnTo>
                    <a:pt x="106" y="113"/>
                  </a:lnTo>
                  <a:lnTo>
                    <a:pt x="99" y="115"/>
                  </a:lnTo>
                  <a:lnTo>
                    <a:pt x="99" y="116"/>
                  </a:lnTo>
                  <a:lnTo>
                    <a:pt x="98" y="116"/>
                  </a:lnTo>
                  <a:lnTo>
                    <a:pt x="97" y="115"/>
                  </a:lnTo>
                  <a:lnTo>
                    <a:pt x="98" y="115"/>
                  </a:lnTo>
                  <a:lnTo>
                    <a:pt x="100" y="115"/>
                  </a:lnTo>
                  <a:lnTo>
                    <a:pt x="100" y="114"/>
                  </a:lnTo>
                  <a:lnTo>
                    <a:pt x="100" y="114"/>
                  </a:lnTo>
                  <a:lnTo>
                    <a:pt x="101" y="113"/>
                  </a:lnTo>
                  <a:lnTo>
                    <a:pt x="100" y="113"/>
                  </a:lnTo>
                  <a:lnTo>
                    <a:pt x="100" y="111"/>
                  </a:lnTo>
                  <a:lnTo>
                    <a:pt x="99" y="110"/>
                  </a:lnTo>
                  <a:lnTo>
                    <a:pt x="98" y="110"/>
                  </a:lnTo>
                  <a:lnTo>
                    <a:pt x="97" y="110"/>
                  </a:lnTo>
                  <a:lnTo>
                    <a:pt x="95" y="114"/>
                  </a:lnTo>
                  <a:lnTo>
                    <a:pt x="91" y="114"/>
                  </a:lnTo>
                  <a:lnTo>
                    <a:pt x="88" y="114"/>
                  </a:lnTo>
                  <a:lnTo>
                    <a:pt x="88" y="114"/>
                  </a:lnTo>
                  <a:lnTo>
                    <a:pt x="85" y="113"/>
                  </a:lnTo>
                  <a:lnTo>
                    <a:pt x="85" y="113"/>
                  </a:lnTo>
                  <a:lnTo>
                    <a:pt x="87" y="113"/>
                  </a:lnTo>
                  <a:lnTo>
                    <a:pt x="88" y="113"/>
                  </a:lnTo>
                  <a:lnTo>
                    <a:pt x="87" y="111"/>
                  </a:lnTo>
                  <a:lnTo>
                    <a:pt x="85" y="110"/>
                  </a:lnTo>
                  <a:lnTo>
                    <a:pt x="84" y="111"/>
                  </a:lnTo>
                  <a:lnTo>
                    <a:pt x="82" y="113"/>
                  </a:lnTo>
                  <a:lnTo>
                    <a:pt x="79" y="113"/>
                  </a:lnTo>
                  <a:lnTo>
                    <a:pt x="77" y="113"/>
                  </a:lnTo>
                  <a:lnTo>
                    <a:pt x="75" y="113"/>
                  </a:lnTo>
                  <a:lnTo>
                    <a:pt x="73" y="111"/>
                  </a:lnTo>
                  <a:lnTo>
                    <a:pt x="71" y="113"/>
                  </a:lnTo>
                  <a:lnTo>
                    <a:pt x="71" y="113"/>
                  </a:lnTo>
                  <a:lnTo>
                    <a:pt x="71" y="113"/>
                  </a:lnTo>
                  <a:lnTo>
                    <a:pt x="69" y="113"/>
                  </a:lnTo>
                  <a:lnTo>
                    <a:pt x="68" y="114"/>
                  </a:lnTo>
                  <a:lnTo>
                    <a:pt x="71" y="114"/>
                  </a:lnTo>
                  <a:lnTo>
                    <a:pt x="72" y="113"/>
                  </a:lnTo>
                  <a:lnTo>
                    <a:pt x="73" y="113"/>
                  </a:lnTo>
                  <a:lnTo>
                    <a:pt x="80" y="113"/>
                  </a:lnTo>
                  <a:lnTo>
                    <a:pt x="80" y="114"/>
                  </a:lnTo>
                  <a:lnTo>
                    <a:pt x="72" y="115"/>
                  </a:lnTo>
                  <a:lnTo>
                    <a:pt x="68" y="115"/>
                  </a:lnTo>
                  <a:lnTo>
                    <a:pt x="66" y="114"/>
                  </a:lnTo>
                  <a:lnTo>
                    <a:pt x="62" y="114"/>
                  </a:lnTo>
                  <a:lnTo>
                    <a:pt x="61" y="113"/>
                  </a:lnTo>
                  <a:lnTo>
                    <a:pt x="60" y="113"/>
                  </a:lnTo>
                  <a:lnTo>
                    <a:pt x="59" y="113"/>
                  </a:lnTo>
                  <a:lnTo>
                    <a:pt x="59" y="115"/>
                  </a:lnTo>
                  <a:lnTo>
                    <a:pt x="61" y="114"/>
                  </a:lnTo>
                  <a:lnTo>
                    <a:pt x="65" y="115"/>
                  </a:lnTo>
                  <a:lnTo>
                    <a:pt x="64" y="115"/>
                  </a:lnTo>
                  <a:lnTo>
                    <a:pt x="54" y="115"/>
                  </a:lnTo>
                  <a:lnTo>
                    <a:pt x="52" y="116"/>
                  </a:lnTo>
                  <a:lnTo>
                    <a:pt x="49" y="117"/>
                  </a:lnTo>
                  <a:lnTo>
                    <a:pt x="34" y="122"/>
                  </a:lnTo>
                  <a:lnTo>
                    <a:pt x="31" y="124"/>
                  </a:lnTo>
                  <a:lnTo>
                    <a:pt x="27" y="126"/>
                  </a:lnTo>
                  <a:lnTo>
                    <a:pt x="25" y="128"/>
                  </a:lnTo>
                  <a:lnTo>
                    <a:pt x="24" y="130"/>
                  </a:lnTo>
                  <a:lnTo>
                    <a:pt x="22" y="131"/>
                  </a:lnTo>
                  <a:lnTo>
                    <a:pt x="21" y="131"/>
                  </a:lnTo>
                  <a:lnTo>
                    <a:pt x="19" y="133"/>
                  </a:lnTo>
                  <a:lnTo>
                    <a:pt x="19" y="131"/>
                  </a:lnTo>
                  <a:lnTo>
                    <a:pt x="19" y="131"/>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36" name="Republic of the Congo">
              <a:extLst>
                <a:ext uri="{FF2B5EF4-FFF2-40B4-BE49-F238E27FC236}">
                  <a16:creationId xmlns:a16="http://schemas.microsoft.com/office/drawing/2014/main" id="{663132B5-A4E4-7B4D-AE27-F60511064B5D}"/>
                </a:ext>
              </a:extLst>
            </p:cNvPr>
            <p:cNvSpPr>
              <a:spLocks/>
            </p:cNvSpPr>
            <p:nvPr/>
          </p:nvSpPr>
          <p:spPr bwMode="auto">
            <a:xfrm>
              <a:off x="6658294" y="3875728"/>
              <a:ext cx="198281" cy="260974"/>
            </a:xfrm>
            <a:custGeom>
              <a:avLst/>
              <a:gdLst>
                <a:gd name="T0" fmla="*/ 37 w 136"/>
                <a:gd name="T1" fmla="*/ 172 h 179"/>
                <a:gd name="T2" fmla="*/ 42 w 136"/>
                <a:gd name="T3" fmla="*/ 174 h 179"/>
                <a:gd name="T4" fmla="*/ 45 w 136"/>
                <a:gd name="T5" fmla="*/ 173 h 179"/>
                <a:gd name="T6" fmla="*/ 48 w 136"/>
                <a:gd name="T7" fmla="*/ 167 h 179"/>
                <a:gd name="T8" fmla="*/ 53 w 136"/>
                <a:gd name="T9" fmla="*/ 166 h 179"/>
                <a:gd name="T10" fmla="*/ 60 w 136"/>
                <a:gd name="T11" fmla="*/ 167 h 179"/>
                <a:gd name="T12" fmla="*/ 58 w 136"/>
                <a:gd name="T13" fmla="*/ 174 h 179"/>
                <a:gd name="T14" fmla="*/ 62 w 136"/>
                <a:gd name="T15" fmla="*/ 177 h 179"/>
                <a:gd name="T16" fmla="*/ 73 w 136"/>
                <a:gd name="T17" fmla="*/ 165 h 179"/>
                <a:gd name="T18" fmla="*/ 80 w 136"/>
                <a:gd name="T19" fmla="*/ 159 h 179"/>
                <a:gd name="T20" fmla="*/ 88 w 136"/>
                <a:gd name="T21" fmla="*/ 151 h 179"/>
                <a:gd name="T22" fmla="*/ 91 w 136"/>
                <a:gd name="T23" fmla="*/ 143 h 179"/>
                <a:gd name="T24" fmla="*/ 93 w 136"/>
                <a:gd name="T25" fmla="*/ 131 h 179"/>
                <a:gd name="T26" fmla="*/ 97 w 136"/>
                <a:gd name="T27" fmla="*/ 114 h 179"/>
                <a:gd name="T28" fmla="*/ 108 w 136"/>
                <a:gd name="T29" fmla="*/ 98 h 179"/>
                <a:gd name="T30" fmla="*/ 120 w 136"/>
                <a:gd name="T31" fmla="*/ 84 h 179"/>
                <a:gd name="T32" fmla="*/ 123 w 136"/>
                <a:gd name="T33" fmla="*/ 66 h 179"/>
                <a:gd name="T34" fmla="*/ 122 w 136"/>
                <a:gd name="T35" fmla="*/ 54 h 179"/>
                <a:gd name="T36" fmla="*/ 125 w 136"/>
                <a:gd name="T37" fmla="*/ 38 h 179"/>
                <a:gd name="T38" fmla="*/ 127 w 136"/>
                <a:gd name="T39" fmla="*/ 29 h 179"/>
                <a:gd name="T40" fmla="*/ 131 w 136"/>
                <a:gd name="T41" fmla="*/ 18 h 179"/>
                <a:gd name="T42" fmla="*/ 136 w 136"/>
                <a:gd name="T43" fmla="*/ 7 h 179"/>
                <a:gd name="T44" fmla="*/ 127 w 136"/>
                <a:gd name="T45" fmla="*/ 5 h 179"/>
                <a:gd name="T46" fmla="*/ 121 w 136"/>
                <a:gd name="T47" fmla="*/ 1 h 179"/>
                <a:gd name="T48" fmla="*/ 108 w 136"/>
                <a:gd name="T49" fmla="*/ 3 h 179"/>
                <a:gd name="T50" fmla="*/ 98 w 136"/>
                <a:gd name="T51" fmla="*/ 5 h 179"/>
                <a:gd name="T52" fmla="*/ 89 w 136"/>
                <a:gd name="T53" fmla="*/ 32 h 179"/>
                <a:gd name="T54" fmla="*/ 82 w 136"/>
                <a:gd name="T55" fmla="*/ 37 h 179"/>
                <a:gd name="T56" fmla="*/ 71 w 136"/>
                <a:gd name="T57" fmla="*/ 34 h 179"/>
                <a:gd name="T58" fmla="*/ 65 w 136"/>
                <a:gd name="T59" fmla="*/ 34 h 179"/>
                <a:gd name="T60" fmla="*/ 62 w 136"/>
                <a:gd name="T61" fmla="*/ 32 h 179"/>
                <a:gd name="T62" fmla="*/ 36 w 136"/>
                <a:gd name="T63" fmla="*/ 37 h 179"/>
                <a:gd name="T64" fmla="*/ 36 w 136"/>
                <a:gd name="T65" fmla="*/ 51 h 179"/>
                <a:gd name="T66" fmla="*/ 48 w 136"/>
                <a:gd name="T67" fmla="*/ 49 h 179"/>
                <a:gd name="T68" fmla="*/ 58 w 136"/>
                <a:gd name="T69" fmla="*/ 63 h 179"/>
                <a:gd name="T70" fmla="*/ 50 w 136"/>
                <a:gd name="T71" fmla="*/ 71 h 179"/>
                <a:gd name="T72" fmla="*/ 53 w 136"/>
                <a:gd name="T73" fmla="*/ 81 h 179"/>
                <a:gd name="T74" fmla="*/ 60 w 136"/>
                <a:gd name="T75" fmla="*/ 86 h 179"/>
                <a:gd name="T76" fmla="*/ 60 w 136"/>
                <a:gd name="T77" fmla="*/ 107 h 179"/>
                <a:gd name="T78" fmla="*/ 60 w 136"/>
                <a:gd name="T79" fmla="*/ 114 h 179"/>
                <a:gd name="T80" fmla="*/ 54 w 136"/>
                <a:gd name="T81" fmla="*/ 127 h 179"/>
                <a:gd name="T82" fmla="*/ 44 w 136"/>
                <a:gd name="T83" fmla="*/ 124 h 179"/>
                <a:gd name="T84" fmla="*/ 33 w 136"/>
                <a:gd name="T85" fmla="*/ 125 h 179"/>
                <a:gd name="T86" fmla="*/ 30 w 136"/>
                <a:gd name="T87" fmla="*/ 114 h 179"/>
                <a:gd name="T88" fmla="*/ 23 w 136"/>
                <a:gd name="T89" fmla="*/ 118 h 179"/>
                <a:gd name="T90" fmla="*/ 10 w 136"/>
                <a:gd name="T91" fmla="*/ 126 h 179"/>
                <a:gd name="T92" fmla="*/ 11 w 136"/>
                <a:gd name="T93" fmla="*/ 134 h 179"/>
                <a:gd name="T94" fmla="*/ 13 w 136"/>
                <a:gd name="T95" fmla="*/ 147 h 179"/>
                <a:gd name="T96" fmla="*/ 11 w 136"/>
                <a:gd name="T97" fmla="*/ 151 h 179"/>
                <a:gd name="T98" fmla="*/ 4 w 136"/>
                <a:gd name="T99" fmla="*/ 150 h 179"/>
                <a:gd name="T100" fmla="*/ 0 w 136"/>
                <a:gd name="T101" fmla="*/ 158 h 179"/>
                <a:gd name="T102" fmla="*/ 9 w 136"/>
                <a:gd name="T103" fmla="*/ 167 h 179"/>
                <a:gd name="T104" fmla="*/ 10 w 136"/>
                <a:gd name="T105" fmla="*/ 172 h 179"/>
                <a:gd name="T106" fmla="*/ 15 w 136"/>
                <a:gd name="T107" fmla="*/ 179 h 179"/>
                <a:gd name="T108" fmla="*/ 21 w 136"/>
                <a:gd name="T109" fmla="*/ 174 h 179"/>
                <a:gd name="T110" fmla="*/ 31 w 136"/>
                <a:gd name="T111" fmla="*/ 167 h 1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36" h="179">
                  <a:moveTo>
                    <a:pt x="35" y="171"/>
                  </a:moveTo>
                  <a:lnTo>
                    <a:pt x="35" y="170"/>
                  </a:lnTo>
                  <a:lnTo>
                    <a:pt x="35" y="170"/>
                  </a:lnTo>
                  <a:lnTo>
                    <a:pt x="35" y="170"/>
                  </a:lnTo>
                  <a:lnTo>
                    <a:pt x="37" y="171"/>
                  </a:lnTo>
                  <a:lnTo>
                    <a:pt x="37" y="172"/>
                  </a:lnTo>
                  <a:lnTo>
                    <a:pt x="38" y="174"/>
                  </a:lnTo>
                  <a:lnTo>
                    <a:pt x="40" y="174"/>
                  </a:lnTo>
                  <a:lnTo>
                    <a:pt x="40" y="176"/>
                  </a:lnTo>
                  <a:lnTo>
                    <a:pt x="41" y="177"/>
                  </a:lnTo>
                  <a:lnTo>
                    <a:pt x="41" y="176"/>
                  </a:lnTo>
                  <a:lnTo>
                    <a:pt x="42" y="174"/>
                  </a:lnTo>
                  <a:lnTo>
                    <a:pt x="42" y="174"/>
                  </a:lnTo>
                  <a:lnTo>
                    <a:pt x="43" y="174"/>
                  </a:lnTo>
                  <a:lnTo>
                    <a:pt x="43" y="174"/>
                  </a:lnTo>
                  <a:lnTo>
                    <a:pt x="44" y="174"/>
                  </a:lnTo>
                  <a:lnTo>
                    <a:pt x="44" y="173"/>
                  </a:lnTo>
                  <a:lnTo>
                    <a:pt x="45" y="173"/>
                  </a:lnTo>
                  <a:lnTo>
                    <a:pt x="45" y="173"/>
                  </a:lnTo>
                  <a:lnTo>
                    <a:pt x="47" y="173"/>
                  </a:lnTo>
                  <a:lnTo>
                    <a:pt x="47" y="172"/>
                  </a:lnTo>
                  <a:lnTo>
                    <a:pt x="47" y="168"/>
                  </a:lnTo>
                  <a:lnTo>
                    <a:pt x="47" y="167"/>
                  </a:lnTo>
                  <a:lnTo>
                    <a:pt x="48" y="167"/>
                  </a:lnTo>
                  <a:lnTo>
                    <a:pt x="49" y="167"/>
                  </a:lnTo>
                  <a:lnTo>
                    <a:pt x="49" y="168"/>
                  </a:lnTo>
                  <a:lnTo>
                    <a:pt x="50" y="168"/>
                  </a:lnTo>
                  <a:lnTo>
                    <a:pt x="51" y="167"/>
                  </a:lnTo>
                  <a:lnTo>
                    <a:pt x="51" y="167"/>
                  </a:lnTo>
                  <a:lnTo>
                    <a:pt x="53" y="166"/>
                  </a:lnTo>
                  <a:lnTo>
                    <a:pt x="55" y="166"/>
                  </a:lnTo>
                  <a:lnTo>
                    <a:pt x="57" y="165"/>
                  </a:lnTo>
                  <a:lnTo>
                    <a:pt x="58" y="164"/>
                  </a:lnTo>
                  <a:lnTo>
                    <a:pt x="58" y="165"/>
                  </a:lnTo>
                  <a:lnTo>
                    <a:pt x="60" y="166"/>
                  </a:lnTo>
                  <a:lnTo>
                    <a:pt x="60" y="167"/>
                  </a:lnTo>
                  <a:lnTo>
                    <a:pt x="60" y="168"/>
                  </a:lnTo>
                  <a:lnTo>
                    <a:pt x="58" y="168"/>
                  </a:lnTo>
                  <a:lnTo>
                    <a:pt x="58" y="170"/>
                  </a:lnTo>
                  <a:lnTo>
                    <a:pt x="58" y="171"/>
                  </a:lnTo>
                  <a:lnTo>
                    <a:pt x="60" y="172"/>
                  </a:lnTo>
                  <a:lnTo>
                    <a:pt x="58" y="174"/>
                  </a:lnTo>
                  <a:lnTo>
                    <a:pt x="60" y="174"/>
                  </a:lnTo>
                  <a:lnTo>
                    <a:pt x="58" y="176"/>
                  </a:lnTo>
                  <a:lnTo>
                    <a:pt x="58" y="177"/>
                  </a:lnTo>
                  <a:lnTo>
                    <a:pt x="60" y="176"/>
                  </a:lnTo>
                  <a:lnTo>
                    <a:pt x="61" y="176"/>
                  </a:lnTo>
                  <a:lnTo>
                    <a:pt x="62" y="177"/>
                  </a:lnTo>
                  <a:lnTo>
                    <a:pt x="63" y="178"/>
                  </a:lnTo>
                  <a:lnTo>
                    <a:pt x="67" y="176"/>
                  </a:lnTo>
                  <a:lnTo>
                    <a:pt x="68" y="172"/>
                  </a:lnTo>
                  <a:lnTo>
                    <a:pt x="70" y="170"/>
                  </a:lnTo>
                  <a:lnTo>
                    <a:pt x="71" y="168"/>
                  </a:lnTo>
                  <a:lnTo>
                    <a:pt x="73" y="165"/>
                  </a:lnTo>
                  <a:lnTo>
                    <a:pt x="75" y="165"/>
                  </a:lnTo>
                  <a:lnTo>
                    <a:pt x="77" y="165"/>
                  </a:lnTo>
                  <a:lnTo>
                    <a:pt x="77" y="164"/>
                  </a:lnTo>
                  <a:lnTo>
                    <a:pt x="78" y="164"/>
                  </a:lnTo>
                  <a:lnTo>
                    <a:pt x="78" y="160"/>
                  </a:lnTo>
                  <a:lnTo>
                    <a:pt x="80" y="159"/>
                  </a:lnTo>
                  <a:lnTo>
                    <a:pt x="82" y="158"/>
                  </a:lnTo>
                  <a:lnTo>
                    <a:pt x="84" y="158"/>
                  </a:lnTo>
                  <a:lnTo>
                    <a:pt x="85" y="157"/>
                  </a:lnTo>
                  <a:lnTo>
                    <a:pt x="87" y="156"/>
                  </a:lnTo>
                  <a:lnTo>
                    <a:pt x="88" y="152"/>
                  </a:lnTo>
                  <a:lnTo>
                    <a:pt x="88" y="151"/>
                  </a:lnTo>
                  <a:lnTo>
                    <a:pt x="89" y="150"/>
                  </a:lnTo>
                  <a:lnTo>
                    <a:pt x="90" y="147"/>
                  </a:lnTo>
                  <a:lnTo>
                    <a:pt x="91" y="146"/>
                  </a:lnTo>
                  <a:lnTo>
                    <a:pt x="93" y="145"/>
                  </a:lnTo>
                  <a:lnTo>
                    <a:pt x="91" y="144"/>
                  </a:lnTo>
                  <a:lnTo>
                    <a:pt x="91" y="143"/>
                  </a:lnTo>
                  <a:lnTo>
                    <a:pt x="91" y="141"/>
                  </a:lnTo>
                  <a:lnTo>
                    <a:pt x="91" y="141"/>
                  </a:lnTo>
                  <a:lnTo>
                    <a:pt x="91" y="138"/>
                  </a:lnTo>
                  <a:lnTo>
                    <a:pt x="91" y="136"/>
                  </a:lnTo>
                  <a:lnTo>
                    <a:pt x="91" y="132"/>
                  </a:lnTo>
                  <a:lnTo>
                    <a:pt x="93" y="131"/>
                  </a:lnTo>
                  <a:lnTo>
                    <a:pt x="91" y="125"/>
                  </a:lnTo>
                  <a:lnTo>
                    <a:pt x="91" y="123"/>
                  </a:lnTo>
                  <a:lnTo>
                    <a:pt x="91" y="120"/>
                  </a:lnTo>
                  <a:lnTo>
                    <a:pt x="93" y="119"/>
                  </a:lnTo>
                  <a:lnTo>
                    <a:pt x="95" y="117"/>
                  </a:lnTo>
                  <a:lnTo>
                    <a:pt x="97" y="114"/>
                  </a:lnTo>
                  <a:lnTo>
                    <a:pt x="100" y="110"/>
                  </a:lnTo>
                  <a:lnTo>
                    <a:pt x="102" y="105"/>
                  </a:lnTo>
                  <a:lnTo>
                    <a:pt x="102" y="103"/>
                  </a:lnTo>
                  <a:lnTo>
                    <a:pt x="103" y="101"/>
                  </a:lnTo>
                  <a:lnTo>
                    <a:pt x="105" y="99"/>
                  </a:lnTo>
                  <a:lnTo>
                    <a:pt x="108" y="98"/>
                  </a:lnTo>
                  <a:lnTo>
                    <a:pt x="110" y="97"/>
                  </a:lnTo>
                  <a:lnTo>
                    <a:pt x="111" y="97"/>
                  </a:lnTo>
                  <a:lnTo>
                    <a:pt x="116" y="92"/>
                  </a:lnTo>
                  <a:lnTo>
                    <a:pt x="118" y="89"/>
                  </a:lnTo>
                  <a:lnTo>
                    <a:pt x="120" y="87"/>
                  </a:lnTo>
                  <a:lnTo>
                    <a:pt x="120" y="84"/>
                  </a:lnTo>
                  <a:lnTo>
                    <a:pt x="120" y="81"/>
                  </a:lnTo>
                  <a:lnTo>
                    <a:pt x="120" y="79"/>
                  </a:lnTo>
                  <a:lnTo>
                    <a:pt x="121" y="73"/>
                  </a:lnTo>
                  <a:lnTo>
                    <a:pt x="121" y="71"/>
                  </a:lnTo>
                  <a:lnTo>
                    <a:pt x="123" y="69"/>
                  </a:lnTo>
                  <a:lnTo>
                    <a:pt x="123" y="66"/>
                  </a:lnTo>
                  <a:lnTo>
                    <a:pt x="123" y="66"/>
                  </a:lnTo>
                  <a:lnTo>
                    <a:pt x="122" y="64"/>
                  </a:lnTo>
                  <a:lnTo>
                    <a:pt x="122" y="61"/>
                  </a:lnTo>
                  <a:lnTo>
                    <a:pt x="122" y="59"/>
                  </a:lnTo>
                  <a:lnTo>
                    <a:pt x="122" y="56"/>
                  </a:lnTo>
                  <a:lnTo>
                    <a:pt x="122" y="54"/>
                  </a:lnTo>
                  <a:lnTo>
                    <a:pt x="123" y="52"/>
                  </a:lnTo>
                  <a:lnTo>
                    <a:pt x="124" y="50"/>
                  </a:lnTo>
                  <a:lnTo>
                    <a:pt x="124" y="49"/>
                  </a:lnTo>
                  <a:lnTo>
                    <a:pt x="125" y="45"/>
                  </a:lnTo>
                  <a:lnTo>
                    <a:pt x="125" y="40"/>
                  </a:lnTo>
                  <a:lnTo>
                    <a:pt x="125" y="38"/>
                  </a:lnTo>
                  <a:lnTo>
                    <a:pt x="125" y="37"/>
                  </a:lnTo>
                  <a:lnTo>
                    <a:pt x="125" y="34"/>
                  </a:lnTo>
                  <a:lnTo>
                    <a:pt x="125" y="32"/>
                  </a:lnTo>
                  <a:lnTo>
                    <a:pt x="125" y="30"/>
                  </a:lnTo>
                  <a:lnTo>
                    <a:pt x="125" y="29"/>
                  </a:lnTo>
                  <a:lnTo>
                    <a:pt x="127" y="29"/>
                  </a:lnTo>
                  <a:lnTo>
                    <a:pt x="128" y="26"/>
                  </a:lnTo>
                  <a:lnTo>
                    <a:pt x="128" y="25"/>
                  </a:lnTo>
                  <a:lnTo>
                    <a:pt x="130" y="24"/>
                  </a:lnTo>
                  <a:lnTo>
                    <a:pt x="130" y="23"/>
                  </a:lnTo>
                  <a:lnTo>
                    <a:pt x="131" y="20"/>
                  </a:lnTo>
                  <a:lnTo>
                    <a:pt x="131" y="18"/>
                  </a:lnTo>
                  <a:lnTo>
                    <a:pt x="133" y="14"/>
                  </a:lnTo>
                  <a:lnTo>
                    <a:pt x="134" y="13"/>
                  </a:lnTo>
                  <a:lnTo>
                    <a:pt x="135" y="11"/>
                  </a:lnTo>
                  <a:lnTo>
                    <a:pt x="136" y="10"/>
                  </a:lnTo>
                  <a:lnTo>
                    <a:pt x="136" y="9"/>
                  </a:lnTo>
                  <a:lnTo>
                    <a:pt x="136" y="7"/>
                  </a:lnTo>
                  <a:lnTo>
                    <a:pt x="136" y="5"/>
                  </a:lnTo>
                  <a:lnTo>
                    <a:pt x="135" y="5"/>
                  </a:lnTo>
                  <a:lnTo>
                    <a:pt x="133" y="1"/>
                  </a:lnTo>
                  <a:lnTo>
                    <a:pt x="131" y="3"/>
                  </a:lnTo>
                  <a:lnTo>
                    <a:pt x="129" y="3"/>
                  </a:lnTo>
                  <a:lnTo>
                    <a:pt x="127" y="5"/>
                  </a:lnTo>
                  <a:lnTo>
                    <a:pt x="127" y="4"/>
                  </a:lnTo>
                  <a:lnTo>
                    <a:pt x="125" y="3"/>
                  </a:lnTo>
                  <a:lnTo>
                    <a:pt x="123" y="4"/>
                  </a:lnTo>
                  <a:lnTo>
                    <a:pt x="123" y="3"/>
                  </a:lnTo>
                  <a:lnTo>
                    <a:pt x="122" y="4"/>
                  </a:lnTo>
                  <a:lnTo>
                    <a:pt x="121" y="1"/>
                  </a:lnTo>
                  <a:lnTo>
                    <a:pt x="117" y="1"/>
                  </a:lnTo>
                  <a:lnTo>
                    <a:pt x="115" y="0"/>
                  </a:lnTo>
                  <a:lnTo>
                    <a:pt x="111" y="1"/>
                  </a:lnTo>
                  <a:lnTo>
                    <a:pt x="110" y="1"/>
                  </a:lnTo>
                  <a:lnTo>
                    <a:pt x="110" y="3"/>
                  </a:lnTo>
                  <a:lnTo>
                    <a:pt x="108" y="3"/>
                  </a:lnTo>
                  <a:lnTo>
                    <a:pt x="105" y="4"/>
                  </a:lnTo>
                  <a:lnTo>
                    <a:pt x="103" y="3"/>
                  </a:lnTo>
                  <a:lnTo>
                    <a:pt x="103" y="4"/>
                  </a:lnTo>
                  <a:lnTo>
                    <a:pt x="102" y="4"/>
                  </a:lnTo>
                  <a:lnTo>
                    <a:pt x="101" y="4"/>
                  </a:lnTo>
                  <a:lnTo>
                    <a:pt x="98" y="5"/>
                  </a:lnTo>
                  <a:lnTo>
                    <a:pt x="96" y="11"/>
                  </a:lnTo>
                  <a:lnTo>
                    <a:pt x="96" y="17"/>
                  </a:lnTo>
                  <a:lnTo>
                    <a:pt x="91" y="30"/>
                  </a:lnTo>
                  <a:lnTo>
                    <a:pt x="91" y="32"/>
                  </a:lnTo>
                  <a:lnTo>
                    <a:pt x="90" y="31"/>
                  </a:lnTo>
                  <a:lnTo>
                    <a:pt x="89" y="32"/>
                  </a:lnTo>
                  <a:lnTo>
                    <a:pt x="89" y="36"/>
                  </a:lnTo>
                  <a:lnTo>
                    <a:pt x="91" y="40"/>
                  </a:lnTo>
                  <a:lnTo>
                    <a:pt x="89" y="43"/>
                  </a:lnTo>
                  <a:lnTo>
                    <a:pt x="88" y="40"/>
                  </a:lnTo>
                  <a:lnTo>
                    <a:pt x="85" y="39"/>
                  </a:lnTo>
                  <a:lnTo>
                    <a:pt x="82" y="37"/>
                  </a:lnTo>
                  <a:lnTo>
                    <a:pt x="78" y="36"/>
                  </a:lnTo>
                  <a:lnTo>
                    <a:pt x="76" y="37"/>
                  </a:lnTo>
                  <a:lnTo>
                    <a:pt x="74" y="34"/>
                  </a:lnTo>
                  <a:lnTo>
                    <a:pt x="73" y="34"/>
                  </a:lnTo>
                  <a:lnTo>
                    <a:pt x="73" y="36"/>
                  </a:lnTo>
                  <a:lnTo>
                    <a:pt x="71" y="34"/>
                  </a:lnTo>
                  <a:lnTo>
                    <a:pt x="71" y="36"/>
                  </a:lnTo>
                  <a:lnTo>
                    <a:pt x="69" y="34"/>
                  </a:lnTo>
                  <a:lnTo>
                    <a:pt x="69" y="36"/>
                  </a:lnTo>
                  <a:lnTo>
                    <a:pt x="68" y="36"/>
                  </a:lnTo>
                  <a:lnTo>
                    <a:pt x="67" y="33"/>
                  </a:lnTo>
                  <a:lnTo>
                    <a:pt x="65" y="34"/>
                  </a:lnTo>
                  <a:lnTo>
                    <a:pt x="65" y="33"/>
                  </a:lnTo>
                  <a:lnTo>
                    <a:pt x="64" y="33"/>
                  </a:lnTo>
                  <a:lnTo>
                    <a:pt x="64" y="32"/>
                  </a:lnTo>
                  <a:lnTo>
                    <a:pt x="64" y="33"/>
                  </a:lnTo>
                  <a:lnTo>
                    <a:pt x="62" y="31"/>
                  </a:lnTo>
                  <a:lnTo>
                    <a:pt x="62" y="32"/>
                  </a:lnTo>
                  <a:lnTo>
                    <a:pt x="57" y="32"/>
                  </a:lnTo>
                  <a:lnTo>
                    <a:pt x="38" y="32"/>
                  </a:lnTo>
                  <a:lnTo>
                    <a:pt x="38" y="34"/>
                  </a:lnTo>
                  <a:lnTo>
                    <a:pt x="37" y="36"/>
                  </a:lnTo>
                  <a:lnTo>
                    <a:pt x="37" y="37"/>
                  </a:lnTo>
                  <a:lnTo>
                    <a:pt x="36" y="37"/>
                  </a:lnTo>
                  <a:lnTo>
                    <a:pt x="37" y="39"/>
                  </a:lnTo>
                  <a:lnTo>
                    <a:pt x="36" y="39"/>
                  </a:lnTo>
                  <a:lnTo>
                    <a:pt x="36" y="44"/>
                  </a:lnTo>
                  <a:lnTo>
                    <a:pt x="37" y="45"/>
                  </a:lnTo>
                  <a:lnTo>
                    <a:pt x="38" y="47"/>
                  </a:lnTo>
                  <a:lnTo>
                    <a:pt x="36" y="51"/>
                  </a:lnTo>
                  <a:lnTo>
                    <a:pt x="40" y="51"/>
                  </a:lnTo>
                  <a:lnTo>
                    <a:pt x="41" y="50"/>
                  </a:lnTo>
                  <a:lnTo>
                    <a:pt x="43" y="50"/>
                  </a:lnTo>
                  <a:lnTo>
                    <a:pt x="44" y="49"/>
                  </a:lnTo>
                  <a:lnTo>
                    <a:pt x="47" y="47"/>
                  </a:lnTo>
                  <a:lnTo>
                    <a:pt x="48" y="49"/>
                  </a:lnTo>
                  <a:lnTo>
                    <a:pt x="48" y="46"/>
                  </a:lnTo>
                  <a:lnTo>
                    <a:pt x="55" y="47"/>
                  </a:lnTo>
                  <a:lnTo>
                    <a:pt x="57" y="49"/>
                  </a:lnTo>
                  <a:lnTo>
                    <a:pt x="58" y="54"/>
                  </a:lnTo>
                  <a:lnTo>
                    <a:pt x="61" y="57"/>
                  </a:lnTo>
                  <a:lnTo>
                    <a:pt x="58" y="63"/>
                  </a:lnTo>
                  <a:lnTo>
                    <a:pt x="56" y="65"/>
                  </a:lnTo>
                  <a:lnTo>
                    <a:pt x="54" y="65"/>
                  </a:lnTo>
                  <a:lnTo>
                    <a:pt x="54" y="65"/>
                  </a:lnTo>
                  <a:lnTo>
                    <a:pt x="53" y="67"/>
                  </a:lnTo>
                  <a:lnTo>
                    <a:pt x="51" y="69"/>
                  </a:lnTo>
                  <a:lnTo>
                    <a:pt x="50" y="71"/>
                  </a:lnTo>
                  <a:lnTo>
                    <a:pt x="50" y="76"/>
                  </a:lnTo>
                  <a:lnTo>
                    <a:pt x="51" y="77"/>
                  </a:lnTo>
                  <a:lnTo>
                    <a:pt x="53" y="78"/>
                  </a:lnTo>
                  <a:lnTo>
                    <a:pt x="50" y="78"/>
                  </a:lnTo>
                  <a:lnTo>
                    <a:pt x="50" y="79"/>
                  </a:lnTo>
                  <a:lnTo>
                    <a:pt x="53" y="81"/>
                  </a:lnTo>
                  <a:lnTo>
                    <a:pt x="53" y="81"/>
                  </a:lnTo>
                  <a:lnTo>
                    <a:pt x="54" y="81"/>
                  </a:lnTo>
                  <a:lnTo>
                    <a:pt x="55" y="85"/>
                  </a:lnTo>
                  <a:lnTo>
                    <a:pt x="56" y="84"/>
                  </a:lnTo>
                  <a:lnTo>
                    <a:pt x="57" y="84"/>
                  </a:lnTo>
                  <a:lnTo>
                    <a:pt x="60" y="86"/>
                  </a:lnTo>
                  <a:lnTo>
                    <a:pt x="61" y="89"/>
                  </a:lnTo>
                  <a:lnTo>
                    <a:pt x="60" y="96"/>
                  </a:lnTo>
                  <a:lnTo>
                    <a:pt x="61" y="101"/>
                  </a:lnTo>
                  <a:lnTo>
                    <a:pt x="60" y="104"/>
                  </a:lnTo>
                  <a:lnTo>
                    <a:pt x="61" y="105"/>
                  </a:lnTo>
                  <a:lnTo>
                    <a:pt x="60" y="107"/>
                  </a:lnTo>
                  <a:lnTo>
                    <a:pt x="61" y="109"/>
                  </a:lnTo>
                  <a:lnTo>
                    <a:pt x="58" y="110"/>
                  </a:lnTo>
                  <a:lnTo>
                    <a:pt x="60" y="111"/>
                  </a:lnTo>
                  <a:lnTo>
                    <a:pt x="61" y="111"/>
                  </a:lnTo>
                  <a:lnTo>
                    <a:pt x="60" y="112"/>
                  </a:lnTo>
                  <a:lnTo>
                    <a:pt x="60" y="114"/>
                  </a:lnTo>
                  <a:lnTo>
                    <a:pt x="56" y="117"/>
                  </a:lnTo>
                  <a:lnTo>
                    <a:pt x="57" y="118"/>
                  </a:lnTo>
                  <a:lnTo>
                    <a:pt x="55" y="123"/>
                  </a:lnTo>
                  <a:lnTo>
                    <a:pt x="56" y="125"/>
                  </a:lnTo>
                  <a:lnTo>
                    <a:pt x="55" y="125"/>
                  </a:lnTo>
                  <a:lnTo>
                    <a:pt x="54" y="127"/>
                  </a:lnTo>
                  <a:lnTo>
                    <a:pt x="49" y="127"/>
                  </a:lnTo>
                  <a:lnTo>
                    <a:pt x="49" y="125"/>
                  </a:lnTo>
                  <a:lnTo>
                    <a:pt x="50" y="125"/>
                  </a:lnTo>
                  <a:lnTo>
                    <a:pt x="49" y="124"/>
                  </a:lnTo>
                  <a:lnTo>
                    <a:pt x="48" y="119"/>
                  </a:lnTo>
                  <a:lnTo>
                    <a:pt x="44" y="124"/>
                  </a:lnTo>
                  <a:lnTo>
                    <a:pt x="42" y="126"/>
                  </a:lnTo>
                  <a:lnTo>
                    <a:pt x="41" y="126"/>
                  </a:lnTo>
                  <a:lnTo>
                    <a:pt x="37" y="125"/>
                  </a:lnTo>
                  <a:lnTo>
                    <a:pt x="36" y="125"/>
                  </a:lnTo>
                  <a:lnTo>
                    <a:pt x="34" y="124"/>
                  </a:lnTo>
                  <a:lnTo>
                    <a:pt x="33" y="125"/>
                  </a:lnTo>
                  <a:lnTo>
                    <a:pt x="34" y="123"/>
                  </a:lnTo>
                  <a:lnTo>
                    <a:pt x="33" y="120"/>
                  </a:lnTo>
                  <a:lnTo>
                    <a:pt x="33" y="121"/>
                  </a:lnTo>
                  <a:lnTo>
                    <a:pt x="31" y="120"/>
                  </a:lnTo>
                  <a:lnTo>
                    <a:pt x="31" y="119"/>
                  </a:lnTo>
                  <a:lnTo>
                    <a:pt x="30" y="114"/>
                  </a:lnTo>
                  <a:lnTo>
                    <a:pt x="28" y="113"/>
                  </a:lnTo>
                  <a:lnTo>
                    <a:pt x="25" y="113"/>
                  </a:lnTo>
                  <a:lnTo>
                    <a:pt x="24" y="114"/>
                  </a:lnTo>
                  <a:lnTo>
                    <a:pt x="24" y="116"/>
                  </a:lnTo>
                  <a:lnTo>
                    <a:pt x="23" y="114"/>
                  </a:lnTo>
                  <a:lnTo>
                    <a:pt x="23" y="118"/>
                  </a:lnTo>
                  <a:lnTo>
                    <a:pt x="24" y="119"/>
                  </a:lnTo>
                  <a:lnTo>
                    <a:pt x="23" y="124"/>
                  </a:lnTo>
                  <a:lnTo>
                    <a:pt x="24" y="126"/>
                  </a:lnTo>
                  <a:lnTo>
                    <a:pt x="17" y="126"/>
                  </a:lnTo>
                  <a:lnTo>
                    <a:pt x="15" y="124"/>
                  </a:lnTo>
                  <a:lnTo>
                    <a:pt x="10" y="126"/>
                  </a:lnTo>
                  <a:lnTo>
                    <a:pt x="9" y="125"/>
                  </a:lnTo>
                  <a:lnTo>
                    <a:pt x="8" y="124"/>
                  </a:lnTo>
                  <a:lnTo>
                    <a:pt x="9" y="130"/>
                  </a:lnTo>
                  <a:lnTo>
                    <a:pt x="8" y="132"/>
                  </a:lnTo>
                  <a:lnTo>
                    <a:pt x="9" y="136"/>
                  </a:lnTo>
                  <a:lnTo>
                    <a:pt x="11" y="134"/>
                  </a:lnTo>
                  <a:lnTo>
                    <a:pt x="13" y="137"/>
                  </a:lnTo>
                  <a:lnTo>
                    <a:pt x="10" y="139"/>
                  </a:lnTo>
                  <a:lnTo>
                    <a:pt x="15" y="144"/>
                  </a:lnTo>
                  <a:lnTo>
                    <a:pt x="15" y="145"/>
                  </a:lnTo>
                  <a:lnTo>
                    <a:pt x="15" y="147"/>
                  </a:lnTo>
                  <a:lnTo>
                    <a:pt x="13" y="147"/>
                  </a:lnTo>
                  <a:lnTo>
                    <a:pt x="13" y="148"/>
                  </a:lnTo>
                  <a:lnTo>
                    <a:pt x="13" y="150"/>
                  </a:lnTo>
                  <a:lnTo>
                    <a:pt x="14" y="150"/>
                  </a:lnTo>
                  <a:lnTo>
                    <a:pt x="14" y="152"/>
                  </a:lnTo>
                  <a:lnTo>
                    <a:pt x="13" y="153"/>
                  </a:lnTo>
                  <a:lnTo>
                    <a:pt x="11" y="151"/>
                  </a:lnTo>
                  <a:lnTo>
                    <a:pt x="10" y="151"/>
                  </a:lnTo>
                  <a:lnTo>
                    <a:pt x="9" y="148"/>
                  </a:lnTo>
                  <a:lnTo>
                    <a:pt x="7" y="146"/>
                  </a:lnTo>
                  <a:lnTo>
                    <a:pt x="6" y="147"/>
                  </a:lnTo>
                  <a:lnTo>
                    <a:pt x="6" y="148"/>
                  </a:lnTo>
                  <a:lnTo>
                    <a:pt x="4" y="150"/>
                  </a:lnTo>
                  <a:lnTo>
                    <a:pt x="3" y="150"/>
                  </a:lnTo>
                  <a:lnTo>
                    <a:pt x="2" y="150"/>
                  </a:lnTo>
                  <a:lnTo>
                    <a:pt x="1" y="152"/>
                  </a:lnTo>
                  <a:lnTo>
                    <a:pt x="2" y="153"/>
                  </a:lnTo>
                  <a:lnTo>
                    <a:pt x="0" y="156"/>
                  </a:lnTo>
                  <a:lnTo>
                    <a:pt x="0" y="158"/>
                  </a:lnTo>
                  <a:lnTo>
                    <a:pt x="3" y="160"/>
                  </a:lnTo>
                  <a:lnTo>
                    <a:pt x="4" y="163"/>
                  </a:lnTo>
                  <a:lnTo>
                    <a:pt x="6" y="164"/>
                  </a:lnTo>
                  <a:lnTo>
                    <a:pt x="7" y="165"/>
                  </a:lnTo>
                  <a:lnTo>
                    <a:pt x="8" y="166"/>
                  </a:lnTo>
                  <a:lnTo>
                    <a:pt x="9" y="167"/>
                  </a:lnTo>
                  <a:lnTo>
                    <a:pt x="10" y="166"/>
                  </a:lnTo>
                  <a:lnTo>
                    <a:pt x="10" y="167"/>
                  </a:lnTo>
                  <a:lnTo>
                    <a:pt x="10" y="170"/>
                  </a:lnTo>
                  <a:lnTo>
                    <a:pt x="11" y="171"/>
                  </a:lnTo>
                  <a:lnTo>
                    <a:pt x="10" y="171"/>
                  </a:lnTo>
                  <a:lnTo>
                    <a:pt x="10" y="172"/>
                  </a:lnTo>
                  <a:lnTo>
                    <a:pt x="10" y="173"/>
                  </a:lnTo>
                  <a:lnTo>
                    <a:pt x="11" y="173"/>
                  </a:lnTo>
                  <a:lnTo>
                    <a:pt x="11" y="174"/>
                  </a:lnTo>
                  <a:lnTo>
                    <a:pt x="13" y="176"/>
                  </a:lnTo>
                  <a:lnTo>
                    <a:pt x="13" y="177"/>
                  </a:lnTo>
                  <a:lnTo>
                    <a:pt x="15" y="179"/>
                  </a:lnTo>
                  <a:lnTo>
                    <a:pt x="16" y="178"/>
                  </a:lnTo>
                  <a:lnTo>
                    <a:pt x="18" y="177"/>
                  </a:lnTo>
                  <a:lnTo>
                    <a:pt x="18" y="176"/>
                  </a:lnTo>
                  <a:lnTo>
                    <a:pt x="20" y="174"/>
                  </a:lnTo>
                  <a:lnTo>
                    <a:pt x="20" y="174"/>
                  </a:lnTo>
                  <a:lnTo>
                    <a:pt x="21" y="174"/>
                  </a:lnTo>
                  <a:lnTo>
                    <a:pt x="22" y="171"/>
                  </a:lnTo>
                  <a:lnTo>
                    <a:pt x="27" y="170"/>
                  </a:lnTo>
                  <a:lnTo>
                    <a:pt x="28" y="168"/>
                  </a:lnTo>
                  <a:lnTo>
                    <a:pt x="29" y="166"/>
                  </a:lnTo>
                  <a:lnTo>
                    <a:pt x="29" y="167"/>
                  </a:lnTo>
                  <a:lnTo>
                    <a:pt x="31" y="167"/>
                  </a:lnTo>
                  <a:lnTo>
                    <a:pt x="31" y="168"/>
                  </a:lnTo>
                  <a:lnTo>
                    <a:pt x="34" y="171"/>
                  </a:lnTo>
                  <a:lnTo>
                    <a:pt x="35" y="171"/>
                  </a:lnTo>
                  <a:lnTo>
                    <a:pt x="35" y="171"/>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37" name="Democratic Republic of the Congo">
              <a:extLst>
                <a:ext uri="{FF2B5EF4-FFF2-40B4-BE49-F238E27FC236}">
                  <a16:creationId xmlns:a16="http://schemas.microsoft.com/office/drawing/2014/main" id="{D70C48BD-8F47-B242-BE5C-01C814624BFA}"/>
                </a:ext>
              </a:extLst>
            </p:cNvPr>
            <p:cNvSpPr>
              <a:spLocks/>
            </p:cNvSpPr>
            <p:nvPr/>
          </p:nvSpPr>
          <p:spPr bwMode="auto">
            <a:xfrm>
              <a:off x="6684537" y="3826157"/>
              <a:ext cx="505909" cy="564227"/>
            </a:xfrm>
            <a:custGeom>
              <a:avLst/>
              <a:gdLst>
                <a:gd name="T0" fmla="*/ 25 w 347"/>
                <a:gd name="T1" fmla="*/ 208 h 387"/>
                <a:gd name="T2" fmla="*/ 33 w 347"/>
                <a:gd name="T3" fmla="*/ 201 h 387"/>
                <a:gd name="T4" fmla="*/ 40 w 347"/>
                <a:gd name="T5" fmla="*/ 208 h 387"/>
                <a:gd name="T6" fmla="*/ 59 w 347"/>
                <a:gd name="T7" fmla="*/ 199 h 387"/>
                <a:gd name="T8" fmla="*/ 75 w 347"/>
                <a:gd name="T9" fmla="*/ 179 h 387"/>
                <a:gd name="T10" fmla="*/ 79 w 347"/>
                <a:gd name="T11" fmla="*/ 148 h 387"/>
                <a:gd name="T12" fmla="*/ 102 w 347"/>
                <a:gd name="T13" fmla="*/ 113 h 387"/>
                <a:gd name="T14" fmla="*/ 107 w 347"/>
                <a:gd name="T15" fmla="*/ 79 h 387"/>
                <a:gd name="T16" fmla="*/ 113 w 347"/>
                <a:gd name="T17" fmla="*/ 52 h 387"/>
                <a:gd name="T18" fmla="*/ 116 w 347"/>
                <a:gd name="T19" fmla="*/ 21 h 387"/>
                <a:gd name="T20" fmla="*/ 125 w 347"/>
                <a:gd name="T21" fmla="*/ 10 h 387"/>
                <a:gd name="T22" fmla="*/ 144 w 347"/>
                <a:gd name="T23" fmla="*/ 10 h 387"/>
                <a:gd name="T24" fmla="*/ 163 w 347"/>
                <a:gd name="T25" fmla="*/ 21 h 387"/>
                <a:gd name="T26" fmla="*/ 178 w 347"/>
                <a:gd name="T27" fmla="*/ 23 h 387"/>
                <a:gd name="T28" fmla="*/ 191 w 347"/>
                <a:gd name="T29" fmla="*/ 17 h 387"/>
                <a:gd name="T30" fmla="*/ 197 w 347"/>
                <a:gd name="T31" fmla="*/ 13 h 387"/>
                <a:gd name="T32" fmla="*/ 210 w 347"/>
                <a:gd name="T33" fmla="*/ 12 h 387"/>
                <a:gd name="T34" fmla="*/ 219 w 347"/>
                <a:gd name="T35" fmla="*/ 8 h 387"/>
                <a:gd name="T36" fmla="*/ 225 w 347"/>
                <a:gd name="T37" fmla="*/ 6 h 387"/>
                <a:gd name="T38" fmla="*/ 234 w 347"/>
                <a:gd name="T39" fmla="*/ 7 h 387"/>
                <a:gd name="T40" fmla="*/ 240 w 347"/>
                <a:gd name="T41" fmla="*/ 0 h 387"/>
                <a:gd name="T42" fmla="*/ 246 w 347"/>
                <a:gd name="T43" fmla="*/ 3 h 387"/>
                <a:gd name="T44" fmla="*/ 251 w 347"/>
                <a:gd name="T45" fmla="*/ 3 h 387"/>
                <a:gd name="T46" fmla="*/ 256 w 347"/>
                <a:gd name="T47" fmla="*/ 5 h 387"/>
                <a:gd name="T48" fmla="*/ 263 w 347"/>
                <a:gd name="T49" fmla="*/ 6 h 387"/>
                <a:gd name="T50" fmla="*/ 279 w 347"/>
                <a:gd name="T51" fmla="*/ 8 h 387"/>
                <a:gd name="T52" fmla="*/ 291 w 347"/>
                <a:gd name="T53" fmla="*/ 19 h 387"/>
                <a:gd name="T54" fmla="*/ 307 w 347"/>
                <a:gd name="T55" fmla="*/ 18 h 387"/>
                <a:gd name="T56" fmla="*/ 325 w 347"/>
                <a:gd name="T57" fmla="*/ 25 h 387"/>
                <a:gd name="T58" fmla="*/ 338 w 347"/>
                <a:gd name="T59" fmla="*/ 35 h 387"/>
                <a:gd name="T60" fmla="*/ 339 w 347"/>
                <a:gd name="T61" fmla="*/ 51 h 387"/>
                <a:gd name="T62" fmla="*/ 345 w 347"/>
                <a:gd name="T63" fmla="*/ 63 h 387"/>
                <a:gd name="T64" fmla="*/ 323 w 347"/>
                <a:gd name="T65" fmla="*/ 93 h 387"/>
                <a:gd name="T66" fmla="*/ 318 w 347"/>
                <a:gd name="T67" fmla="*/ 124 h 387"/>
                <a:gd name="T68" fmla="*/ 304 w 347"/>
                <a:gd name="T69" fmla="*/ 165 h 387"/>
                <a:gd name="T70" fmla="*/ 311 w 347"/>
                <a:gd name="T71" fmla="*/ 208 h 387"/>
                <a:gd name="T72" fmla="*/ 317 w 347"/>
                <a:gd name="T73" fmla="*/ 245 h 387"/>
                <a:gd name="T74" fmla="*/ 302 w 347"/>
                <a:gd name="T75" fmla="*/ 293 h 387"/>
                <a:gd name="T76" fmla="*/ 292 w 347"/>
                <a:gd name="T77" fmla="*/ 346 h 387"/>
                <a:gd name="T78" fmla="*/ 310 w 347"/>
                <a:gd name="T79" fmla="*/ 367 h 387"/>
                <a:gd name="T80" fmla="*/ 317 w 347"/>
                <a:gd name="T81" fmla="*/ 386 h 387"/>
                <a:gd name="T82" fmla="*/ 304 w 347"/>
                <a:gd name="T83" fmla="*/ 386 h 387"/>
                <a:gd name="T84" fmla="*/ 292 w 347"/>
                <a:gd name="T85" fmla="*/ 367 h 387"/>
                <a:gd name="T86" fmla="*/ 277 w 347"/>
                <a:gd name="T87" fmla="*/ 359 h 387"/>
                <a:gd name="T88" fmla="*/ 260 w 347"/>
                <a:gd name="T89" fmla="*/ 355 h 387"/>
                <a:gd name="T90" fmla="*/ 238 w 347"/>
                <a:gd name="T91" fmla="*/ 349 h 387"/>
                <a:gd name="T92" fmla="*/ 219 w 347"/>
                <a:gd name="T93" fmla="*/ 346 h 387"/>
                <a:gd name="T94" fmla="*/ 209 w 347"/>
                <a:gd name="T95" fmla="*/ 337 h 387"/>
                <a:gd name="T96" fmla="*/ 183 w 347"/>
                <a:gd name="T97" fmla="*/ 340 h 387"/>
                <a:gd name="T98" fmla="*/ 183 w 347"/>
                <a:gd name="T99" fmla="*/ 324 h 387"/>
                <a:gd name="T100" fmla="*/ 173 w 347"/>
                <a:gd name="T101" fmla="*/ 304 h 387"/>
                <a:gd name="T102" fmla="*/ 175 w 347"/>
                <a:gd name="T103" fmla="*/ 277 h 387"/>
                <a:gd name="T104" fmla="*/ 152 w 347"/>
                <a:gd name="T105" fmla="*/ 258 h 387"/>
                <a:gd name="T106" fmla="*/ 131 w 347"/>
                <a:gd name="T107" fmla="*/ 268 h 387"/>
                <a:gd name="T108" fmla="*/ 106 w 347"/>
                <a:gd name="T109" fmla="*/ 277 h 387"/>
                <a:gd name="T110" fmla="*/ 95 w 347"/>
                <a:gd name="T111" fmla="*/ 273 h 387"/>
                <a:gd name="T112" fmla="*/ 90 w 347"/>
                <a:gd name="T113" fmla="*/ 262 h 387"/>
                <a:gd name="T114" fmla="*/ 86 w 347"/>
                <a:gd name="T115" fmla="*/ 252 h 387"/>
                <a:gd name="T116" fmla="*/ 82 w 347"/>
                <a:gd name="T117" fmla="*/ 237 h 387"/>
                <a:gd name="T118" fmla="*/ 42 w 347"/>
                <a:gd name="T119" fmla="*/ 232 h 387"/>
                <a:gd name="T120" fmla="*/ 15 w 347"/>
                <a:gd name="T121" fmla="*/ 230 h 387"/>
                <a:gd name="T122" fmla="*/ 3 w 347"/>
                <a:gd name="T123" fmla="*/ 233 h 387"/>
                <a:gd name="T124" fmla="*/ 11 w 347"/>
                <a:gd name="T125" fmla="*/ 208 h 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47" h="387">
                  <a:moveTo>
                    <a:pt x="17" y="205"/>
                  </a:moveTo>
                  <a:lnTo>
                    <a:pt x="17" y="204"/>
                  </a:lnTo>
                  <a:lnTo>
                    <a:pt x="17" y="204"/>
                  </a:lnTo>
                  <a:lnTo>
                    <a:pt x="17" y="204"/>
                  </a:lnTo>
                  <a:lnTo>
                    <a:pt x="19" y="205"/>
                  </a:lnTo>
                  <a:lnTo>
                    <a:pt x="19" y="206"/>
                  </a:lnTo>
                  <a:lnTo>
                    <a:pt x="20" y="208"/>
                  </a:lnTo>
                  <a:lnTo>
                    <a:pt x="22" y="208"/>
                  </a:lnTo>
                  <a:lnTo>
                    <a:pt x="22" y="210"/>
                  </a:lnTo>
                  <a:lnTo>
                    <a:pt x="23" y="211"/>
                  </a:lnTo>
                  <a:lnTo>
                    <a:pt x="23" y="210"/>
                  </a:lnTo>
                  <a:lnTo>
                    <a:pt x="24" y="208"/>
                  </a:lnTo>
                  <a:lnTo>
                    <a:pt x="24" y="208"/>
                  </a:lnTo>
                  <a:lnTo>
                    <a:pt x="25" y="208"/>
                  </a:lnTo>
                  <a:lnTo>
                    <a:pt x="25" y="208"/>
                  </a:lnTo>
                  <a:lnTo>
                    <a:pt x="26" y="208"/>
                  </a:lnTo>
                  <a:lnTo>
                    <a:pt x="26" y="207"/>
                  </a:lnTo>
                  <a:lnTo>
                    <a:pt x="27" y="207"/>
                  </a:lnTo>
                  <a:lnTo>
                    <a:pt x="27" y="207"/>
                  </a:lnTo>
                  <a:lnTo>
                    <a:pt x="29" y="207"/>
                  </a:lnTo>
                  <a:lnTo>
                    <a:pt x="29" y="206"/>
                  </a:lnTo>
                  <a:lnTo>
                    <a:pt x="29" y="202"/>
                  </a:lnTo>
                  <a:lnTo>
                    <a:pt x="29" y="201"/>
                  </a:lnTo>
                  <a:lnTo>
                    <a:pt x="30" y="201"/>
                  </a:lnTo>
                  <a:lnTo>
                    <a:pt x="31" y="201"/>
                  </a:lnTo>
                  <a:lnTo>
                    <a:pt x="31" y="202"/>
                  </a:lnTo>
                  <a:lnTo>
                    <a:pt x="32" y="202"/>
                  </a:lnTo>
                  <a:lnTo>
                    <a:pt x="33" y="201"/>
                  </a:lnTo>
                  <a:lnTo>
                    <a:pt x="33" y="201"/>
                  </a:lnTo>
                  <a:lnTo>
                    <a:pt x="35" y="200"/>
                  </a:lnTo>
                  <a:lnTo>
                    <a:pt x="37" y="200"/>
                  </a:lnTo>
                  <a:lnTo>
                    <a:pt x="39" y="199"/>
                  </a:lnTo>
                  <a:lnTo>
                    <a:pt x="40" y="198"/>
                  </a:lnTo>
                  <a:lnTo>
                    <a:pt x="40" y="199"/>
                  </a:lnTo>
                  <a:lnTo>
                    <a:pt x="42" y="200"/>
                  </a:lnTo>
                  <a:lnTo>
                    <a:pt x="42" y="201"/>
                  </a:lnTo>
                  <a:lnTo>
                    <a:pt x="42" y="202"/>
                  </a:lnTo>
                  <a:lnTo>
                    <a:pt x="40" y="202"/>
                  </a:lnTo>
                  <a:lnTo>
                    <a:pt x="40" y="204"/>
                  </a:lnTo>
                  <a:lnTo>
                    <a:pt x="40" y="205"/>
                  </a:lnTo>
                  <a:lnTo>
                    <a:pt x="42" y="206"/>
                  </a:lnTo>
                  <a:lnTo>
                    <a:pt x="40" y="208"/>
                  </a:lnTo>
                  <a:lnTo>
                    <a:pt x="42" y="208"/>
                  </a:lnTo>
                  <a:lnTo>
                    <a:pt x="40" y="210"/>
                  </a:lnTo>
                  <a:lnTo>
                    <a:pt x="40" y="211"/>
                  </a:lnTo>
                  <a:lnTo>
                    <a:pt x="42" y="210"/>
                  </a:lnTo>
                  <a:lnTo>
                    <a:pt x="43" y="210"/>
                  </a:lnTo>
                  <a:lnTo>
                    <a:pt x="44" y="211"/>
                  </a:lnTo>
                  <a:lnTo>
                    <a:pt x="45" y="212"/>
                  </a:lnTo>
                  <a:lnTo>
                    <a:pt x="49" y="210"/>
                  </a:lnTo>
                  <a:lnTo>
                    <a:pt x="50" y="206"/>
                  </a:lnTo>
                  <a:lnTo>
                    <a:pt x="52" y="204"/>
                  </a:lnTo>
                  <a:lnTo>
                    <a:pt x="53" y="202"/>
                  </a:lnTo>
                  <a:lnTo>
                    <a:pt x="55" y="199"/>
                  </a:lnTo>
                  <a:lnTo>
                    <a:pt x="57" y="199"/>
                  </a:lnTo>
                  <a:lnTo>
                    <a:pt x="59" y="199"/>
                  </a:lnTo>
                  <a:lnTo>
                    <a:pt x="59" y="198"/>
                  </a:lnTo>
                  <a:lnTo>
                    <a:pt x="60" y="198"/>
                  </a:lnTo>
                  <a:lnTo>
                    <a:pt x="60" y="194"/>
                  </a:lnTo>
                  <a:lnTo>
                    <a:pt x="62" y="193"/>
                  </a:lnTo>
                  <a:lnTo>
                    <a:pt x="64" y="192"/>
                  </a:lnTo>
                  <a:lnTo>
                    <a:pt x="66" y="192"/>
                  </a:lnTo>
                  <a:lnTo>
                    <a:pt x="67" y="191"/>
                  </a:lnTo>
                  <a:lnTo>
                    <a:pt x="69" y="190"/>
                  </a:lnTo>
                  <a:lnTo>
                    <a:pt x="70" y="186"/>
                  </a:lnTo>
                  <a:lnTo>
                    <a:pt x="70" y="185"/>
                  </a:lnTo>
                  <a:lnTo>
                    <a:pt x="71" y="184"/>
                  </a:lnTo>
                  <a:lnTo>
                    <a:pt x="72" y="181"/>
                  </a:lnTo>
                  <a:lnTo>
                    <a:pt x="73" y="180"/>
                  </a:lnTo>
                  <a:lnTo>
                    <a:pt x="75" y="179"/>
                  </a:lnTo>
                  <a:lnTo>
                    <a:pt x="73" y="178"/>
                  </a:lnTo>
                  <a:lnTo>
                    <a:pt x="73" y="177"/>
                  </a:lnTo>
                  <a:lnTo>
                    <a:pt x="73" y="175"/>
                  </a:lnTo>
                  <a:lnTo>
                    <a:pt x="73" y="175"/>
                  </a:lnTo>
                  <a:lnTo>
                    <a:pt x="73" y="172"/>
                  </a:lnTo>
                  <a:lnTo>
                    <a:pt x="73" y="170"/>
                  </a:lnTo>
                  <a:lnTo>
                    <a:pt x="73" y="166"/>
                  </a:lnTo>
                  <a:lnTo>
                    <a:pt x="75" y="165"/>
                  </a:lnTo>
                  <a:lnTo>
                    <a:pt x="73" y="159"/>
                  </a:lnTo>
                  <a:lnTo>
                    <a:pt x="73" y="157"/>
                  </a:lnTo>
                  <a:lnTo>
                    <a:pt x="73" y="154"/>
                  </a:lnTo>
                  <a:lnTo>
                    <a:pt x="75" y="153"/>
                  </a:lnTo>
                  <a:lnTo>
                    <a:pt x="77" y="151"/>
                  </a:lnTo>
                  <a:lnTo>
                    <a:pt x="79" y="148"/>
                  </a:lnTo>
                  <a:lnTo>
                    <a:pt x="82" y="144"/>
                  </a:lnTo>
                  <a:lnTo>
                    <a:pt x="84" y="139"/>
                  </a:lnTo>
                  <a:lnTo>
                    <a:pt x="84" y="137"/>
                  </a:lnTo>
                  <a:lnTo>
                    <a:pt x="85" y="135"/>
                  </a:lnTo>
                  <a:lnTo>
                    <a:pt x="87" y="133"/>
                  </a:lnTo>
                  <a:lnTo>
                    <a:pt x="90" y="132"/>
                  </a:lnTo>
                  <a:lnTo>
                    <a:pt x="92" y="131"/>
                  </a:lnTo>
                  <a:lnTo>
                    <a:pt x="93" y="131"/>
                  </a:lnTo>
                  <a:lnTo>
                    <a:pt x="98" y="126"/>
                  </a:lnTo>
                  <a:lnTo>
                    <a:pt x="100" y="123"/>
                  </a:lnTo>
                  <a:lnTo>
                    <a:pt x="102" y="121"/>
                  </a:lnTo>
                  <a:lnTo>
                    <a:pt x="102" y="118"/>
                  </a:lnTo>
                  <a:lnTo>
                    <a:pt x="102" y="115"/>
                  </a:lnTo>
                  <a:lnTo>
                    <a:pt x="102" y="113"/>
                  </a:lnTo>
                  <a:lnTo>
                    <a:pt x="103" y="107"/>
                  </a:lnTo>
                  <a:lnTo>
                    <a:pt x="103" y="105"/>
                  </a:lnTo>
                  <a:lnTo>
                    <a:pt x="105" y="103"/>
                  </a:lnTo>
                  <a:lnTo>
                    <a:pt x="105" y="100"/>
                  </a:lnTo>
                  <a:lnTo>
                    <a:pt x="105" y="100"/>
                  </a:lnTo>
                  <a:lnTo>
                    <a:pt x="104" y="98"/>
                  </a:lnTo>
                  <a:lnTo>
                    <a:pt x="104" y="95"/>
                  </a:lnTo>
                  <a:lnTo>
                    <a:pt x="104" y="93"/>
                  </a:lnTo>
                  <a:lnTo>
                    <a:pt x="104" y="90"/>
                  </a:lnTo>
                  <a:lnTo>
                    <a:pt x="104" y="88"/>
                  </a:lnTo>
                  <a:lnTo>
                    <a:pt x="105" y="86"/>
                  </a:lnTo>
                  <a:lnTo>
                    <a:pt x="106" y="84"/>
                  </a:lnTo>
                  <a:lnTo>
                    <a:pt x="106" y="83"/>
                  </a:lnTo>
                  <a:lnTo>
                    <a:pt x="107" y="79"/>
                  </a:lnTo>
                  <a:lnTo>
                    <a:pt x="107" y="74"/>
                  </a:lnTo>
                  <a:lnTo>
                    <a:pt x="107" y="72"/>
                  </a:lnTo>
                  <a:lnTo>
                    <a:pt x="107" y="71"/>
                  </a:lnTo>
                  <a:lnTo>
                    <a:pt x="107" y="68"/>
                  </a:lnTo>
                  <a:lnTo>
                    <a:pt x="107" y="66"/>
                  </a:lnTo>
                  <a:lnTo>
                    <a:pt x="107" y="64"/>
                  </a:lnTo>
                  <a:lnTo>
                    <a:pt x="107" y="63"/>
                  </a:lnTo>
                  <a:lnTo>
                    <a:pt x="109" y="63"/>
                  </a:lnTo>
                  <a:lnTo>
                    <a:pt x="110" y="60"/>
                  </a:lnTo>
                  <a:lnTo>
                    <a:pt x="110" y="59"/>
                  </a:lnTo>
                  <a:lnTo>
                    <a:pt x="112" y="58"/>
                  </a:lnTo>
                  <a:lnTo>
                    <a:pt x="112" y="57"/>
                  </a:lnTo>
                  <a:lnTo>
                    <a:pt x="113" y="54"/>
                  </a:lnTo>
                  <a:lnTo>
                    <a:pt x="113" y="52"/>
                  </a:lnTo>
                  <a:lnTo>
                    <a:pt x="115" y="48"/>
                  </a:lnTo>
                  <a:lnTo>
                    <a:pt x="116" y="47"/>
                  </a:lnTo>
                  <a:lnTo>
                    <a:pt x="117" y="45"/>
                  </a:lnTo>
                  <a:lnTo>
                    <a:pt x="118" y="44"/>
                  </a:lnTo>
                  <a:lnTo>
                    <a:pt x="118" y="43"/>
                  </a:lnTo>
                  <a:lnTo>
                    <a:pt x="118" y="41"/>
                  </a:lnTo>
                  <a:lnTo>
                    <a:pt x="118" y="39"/>
                  </a:lnTo>
                  <a:lnTo>
                    <a:pt x="117" y="33"/>
                  </a:lnTo>
                  <a:lnTo>
                    <a:pt x="117" y="31"/>
                  </a:lnTo>
                  <a:lnTo>
                    <a:pt x="118" y="28"/>
                  </a:lnTo>
                  <a:lnTo>
                    <a:pt x="118" y="27"/>
                  </a:lnTo>
                  <a:lnTo>
                    <a:pt x="117" y="25"/>
                  </a:lnTo>
                  <a:lnTo>
                    <a:pt x="117" y="24"/>
                  </a:lnTo>
                  <a:lnTo>
                    <a:pt x="116" y="21"/>
                  </a:lnTo>
                  <a:lnTo>
                    <a:pt x="117" y="20"/>
                  </a:lnTo>
                  <a:lnTo>
                    <a:pt x="118" y="21"/>
                  </a:lnTo>
                  <a:lnTo>
                    <a:pt x="118" y="20"/>
                  </a:lnTo>
                  <a:lnTo>
                    <a:pt x="119" y="20"/>
                  </a:lnTo>
                  <a:lnTo>
                    <a:pt x="120" y="18"/>
                  </a:lnTo>
                  <a:lnTo>
                    <a:pt x="120" y="17"/>
                  </a:lnTo>
                  <a:lnTo>
                    <a:pt x="122" y="16"/>
                  </a:lnTo>
                  <a:lnTo>
                    <a:pt x="122" y="14"/>
                  </a:lnTo>
                  <a:lnTo>
                    <a:pt x="123" y="14"/>
                  </a:lnTo>
                  <a:lnTo>
                    <a:pt x="123" y="13"/>
                  </a:lnTo>
                  <a:lnTo>
                    <a:pt x="124" y="13"/>
                  </a:lnTo>
                  <a:lnTo>
                    <a:pt x="124" y="12"/>
                  </a:lnTo>
                  <a:lnTo>
                    <a:pt x="125" y="11"/>
                  </a:lnTo>
                  <a:lnTo>
                    <a:pt x="125" y="10"/>
                  </a:lnTo>
                  <a:lnTo>
                    <a:pt x="126" y="8"/>
                  </a:lnTo>
                  <a:lnTo>
                    <a:pt x="127" y="8"/>
                  </a:lnTo>
                  <a:lnTo>
                    <a:pt x="127" y="8"/>
                  </a:lnTo>
                  <a:lnTo>
                    <a:pt x="129" y="7"/>
                  </a:lnTo>
                  <a:lnTo>
                    <a:pt x="131" y="6"/>
                  </a:lnTo>
                  <a:lnTo>
                    <a:pt x="131" y="5"/>
                  </a:lnTo>
                  <a:lnTo>
                    <a:pt x="133" y="5"/>
                  </a:lnTo>
                  <a:lnTo>
                    <a:pt x="133" y="5"/>
                  </a:lnTo>
                  <a:lnTo>
                    <a:pt x="135" y="5"/>
                  </a:lnTo>
                  <a:lnTo>
                    <a:pt x="137" y="5"/>
                  </a:lnTo>
                  <a:lnTo>
                    <a:pt x="139" y="6"/>
                  </a:lnTo>
                  <a:lnTo>
                    <a:pt x="140" y="7"/>
                  </a:lnTo>
                  <a:lnTo>
                    <a:pt x="142" y="7"/>
                  </a:lnTo>
                  <a:lnTo>
                    <a:pt x="144" y="10"/>
                  </a:lnTo>
                  <a:lnTo>
                    <a:pt x="145" y="10"/>
                  </a:lnTo>
                  <a:lnTo>
                    <a:pt x="146" y="12"/>
                  </a:lnTo>
                  <a:lnTo>
                    <a:pt x="149" y="12"/>
                  </a:lnTo>
                  <a:lnTo>
                    <a:pt x="150" y="14"/>
                  </a:lnTo>
                  <a:lnTo>
                    <a:pt x="151" y="16"/>
                  </a:lnTo>
                  <a:lnTo>
                    <a:pt x="150" y="17"/>
                  </a:lnTo>
                  <a:lnTo>
                    <a:pt x="151" y="18"/>
                  </a:lnTo>
                  <a:lnTo>
                    <a:pt x="152" y="19"/>
                  </a:lnTo>
                  <a:lnTo>
                    <a:pt x="156" y="19"/>
                  </a:lnTo>
                  <a:lnTo>
                    <a:pt x="157" y="19"/>
                  </a:lnTo>
                  <a:lnTo>
                    <a:pt x="157" y="19"/>
                  </a:lnTo>
                  <a:lnTo>
                    <a:pt x="159" y="19"/>
                  </a:lnTo>
                  <a:lnTo>
                    <a:pt x="162" y="20"/>
                  </a:lnTo>
                  <a:lnTo>
                    <a:pt x="163" y="21"/>
                  </a:lnTo>
                  <a:lnTo>
                    <a:pt x="164" y="23"/>
                  </a:lnTo>
                  <a:lnTo>
                    <a:pt x="164" y="23"/>
                  </a:lnTo>
                  <a:lnTo>
                    <a:pt x="164" y="21"/>
                  </a:lnTo>
                  <a:lnTo>
                    <a:pt x="165" y="21"/>
                  </a:lnTo>
                  <a:lnTo>
                    <a:pt x="166" y="23"/>
                  </a:lnTo>
                  <a:lnTo>
                    <a:pt x="169" y="23"/>
                  </a:lnTo>
                  <a:lnTo>
                    <a:pt x="170" y="23"/>
                  </a:lnTo>
                  <a:lnTo>
                    <a:pt x="172" y="21"/>
                  </a:lnTo>
                  <a:lnTo>
                    <a:pt x="175" y="21"/>
                  </a:lnTo>
                  <a:lnTo>
                    <a:pt x="175" y="23"/>
                  </a:lnTo>
                  <a:lnTo>
                    <a:pt x="175" y="23"/>
                  </a:lnTo>
                  <a:lnTo>
                    <a:pt x="176" y="24"/>
                  </a:lnTo>
                  <a:lnTo>
                    <a:pt x="177" y="24"/>
                  </a:lnTo>
                  <a:lnTo>
                    <a:pt x="178" y="23"/>
                  </a:lnTo>
                  <a:lnTo>
                    <a:pt x="180" y="24"/>
                  </a:lnTo>
                  <a:lnTo>
                    <a:pt x="182" y="25"/>
                  </a:lnTo>
                  <a:lnTo>
                    <a:pt x="182" y="25"/>
                  </a:lnTo>
                  <a:lnTo>
                    <a:pt x="184" y="25"/>
                  </a:lnTo>
                  <a:lnTo>
                    <a:pt x="186" y="25"/>
                  </a:lnTo>
                  <a:lnTo>
                    <a:pt x="187" y="24"/>
                  </a:lnTo>
                  <a:lnTo>
                    <a:pt x="187" y="23"/>
                  </a:lnTo>
                  <a:lnTo>
                    <a:pt x="189" y="21"/>
                  </a:lnTo>
                  <a:lnTo>
                    <a:pt x="190" y="20"/>
                  </a:lnTo>
                  <a:lnTo>
                    <a:pt x="189" y="19"/>
                  </a:lnTo>
                  <a:lnTo>
                    <a:pt x="190" y="18"/>
                  </a:lnTo>
                  <a:lnTo>
                    <a:pt x="190" y="18"/>
                  </a:lnTo>
                  <a:lnTo>
                    <a:pt x="191" y="18"/>
                  </a:lnTo>
                  <a:lnTo>
                    <a:pt x="191" y="17"/>
                  </a:lnTo>
                  <a:lnTo>
                    <a:pt x="191" y="17"/>
                  </a:lnTo>
                  <a:lnTo>
                    <a:pt x="192" y="16"/>
                  </a:lnTo>
                  <a:lnTo>
                    <a:pt x="192" y="14"/>
                  </a:lnTo>
                  <a:lnTo>
                    <a:pt x="192" y="13"/>
                  </a:lnTo>
                  <a:lnTo>
                    <a:pt x="193" y="13"/>
                  </a:lnTo>
                  <a:lnTo>
                    <a:pt x="193" y="14"/>
                  </a:lnTo>
                  <a:lnTo>
                    <a:pt x="195" y="13"/>
                  </a:lnTo>
                  <a:lnTo>
                    <a:pt x="195" y="13"/>
                  </a:lnTo>
                  <a:lnTo>
                    <a:pt x="195" y="11"/>
                  </a:lnTo>
                  <a:lnTo>
                    <a:pt x="196" y="11"/>
                  </a:lnTo>
                  <a:lnTo>
                    <a:pt x="196" y="11"/>
                  </a:lnTo>
                  <a:lnTo>
                    <a:pt x="196" y="11"/>
                  </a:lnTo>
                  <a:lnTo>
                    <a:pt x="197" y="13"/>
                  </a:lnTo>
                  <a:lnTo>
                    <a:pt x="197" y="13"/>
                  </a:lnTo>
                  <a:lnTo>
                    <a:pt x="198" y="13"/>
                  </a:lnTo>
                  <a:lnTo>
                    <a:pt x="198" y="14"/>
                  </a:lnTo>
                  <a:lnTo>
                    <a:pt x="199" y="13"/>
                  </a:lnTo>
                  <a:lnTo>
                    <a:pt x="200" y="14"/>
                  </a:lnTo>
                  <a:lnTo>
                    <a:pt x="202" y="14"/>
                  </a:lnTo>
                  <a:lnTo>
                    <a:pt x="202" y="16"/>
                  </a:lnTo>
                  <a:lnTo>
                    <a:pt x="202" y="16"/>
                  </a:lnTo>
                  <a:lnTo>
                    <a:pt x="203" y="16"/>
                  </a:lnTo>
                  <a:lnTo>
                    <a:pt x="205" y="16"/>
                  </a:lnTo>
                  <a:lnTo>
                    <a:pt x="205" y="14"/>
                  </a:lnTo>
                  <a:lnTo>
                    <a:pt x="205" y="14"/>
                  </a:lnTo>
                  <a:lnTo>
                    <a:pt x="207" y="13"/>
                  </a:lnTo>
                  <a:lnTo>
                    <a:pt x="209" y="12"/>
                  </a:lnTo>
                  <a:lnTo>
                    <a:pt x="210" y="12"/>
                  </a:lnTo>
                  <a:lnTo>
                    <a:pt x="211" y="11"/>
                  </a:lnTo>
                  <a:lnTo>
                    <a:pt x="211" y="11"/>
                  </a:lnTo>
                  <a:lnTo>
                    <a:pt x="212" y="11"/>
                  </a:lnTo>
                  <a:lnTo>
                    <a:pt x="213" y="11"/>
                  </a:lnTo>
                  <a:lnTo>
                    <a:pt x="213" y="11"/>
                  </a:lnTo>
                  <a:lnTo>
                    <a:pt x="213" y="10"/>
                  </a:lnTo>
                  <a:lnTo>
                    <a:pt x="214" y="11"/>
                  </a:lnTo>
                  <a:lnTo>
                    <a:pt x="216" y="10"/>
                  </a:lnTo>
                  <a:lnTo>
                    <a:pt x="217" y="10"/>
                  </a:lnTo>
                  <a:lnTo>
                    <a:pt x="217" y="10"/>
                  </a:lnTo>
                  <a:lnTo>
                    <a:pt x="218" y="8"/>
                  </a:lnTo>
                  <a:lnTo>
                    <a:pt x="219" y="8"/>
                  </a:lnTo>
                  <a:lnTo>
                    <a:pt x="219" y="8"/>
                  </a:lnTo>
                  <a:lnTo>
                    <a:pt x="219" y="8"/>
                  </a:lnTo>
                  <a:lnTo>
                    <a:pt x="219" y="7"/>
                  </a:lnTo>
                  <a:lnTo>
                    <a:pt x="219" y="7"/>
                  </a:lnTo>
                  <a:lnTo>
                    <a:pt x="222" y="7"/>
                  </a:lnTo>
                  <a:lnTo>
                    <a:pt x="222" y="7"/>
                  </a:lnTo>
                  <a:lnTo>
                    <a:pt x="222" y="6"/>
                  </a:lnTo>
                  <a:lnTo>
                    <a:pt x="222" y="6"/>
                  </a:lnTo>
                  <a:lnTo>
                    <a:pt x="220" y="6"/>
                  </a:lnTo>
                  <a:lnTo>
                    <a:pt x="222" y="6"/>
                  </a:lnTo>
                  <a:lnTo>
                    <a:pt x="222" y="5"/>
                  </a:lnTo>
                  <a:lnTo>
                    <a:pt x="223" y="6"/>
                  </a:lnTo>
                  <a:lnTo>
                    <a:pt x="223" y="6"/>
                  </a:lnTo>
                  <a:lnTo>
                    <a:pt x="223" y="6"/>
                  </a:lnTo>
                  <a:lnTo>
                    <a:pt x="224" y="6"/>
                  </a:lnTo>
                  <a:lnTo>
                    <a:pt x="225" y="6"/>
                  </a:lnTo>
                  <a:lnTo>
                    <a:pt x="225" y="6"/>
                  </a:lnTo>
                  <a:lnTo>
                    <a:pt x="226" y="7"/>
                  </a:lnTo>
                  <a:lnTo>
                    <a:pt x="226" y="8"/>
                  </a:lnTo>
                  <a:lnTo>
                    <a:pt x="226" y="10"/>
                  </a:lnTo>
                  <a:lnTo>
                    <a:pt x="227" y="10"/>
                  </a:lnTo>
                  <a:lnTo>
                    <a:pt x="227" y="10"/>
                  </a:lnTo>
                  <a:lnTo>
                    <a:pt x="229" y="10"/>
                  </a:lnTo>
                  <a:lnTo>
                    <a:pt x="229" y="10"/>
                  </a:lnTo>
                  <a:lnTo>
                    <a:pt x="229" y="8"/>
                  </a:lnTo>
                  <a:lnTo>
                    <a:pt x="230" y="8"/>
                  </a:lnTo>
                  <a:lnTo>
                    <a:pt x="231" y="8"/>
                  </a:lnTo>
                  <a:lnTo>
                    <a:pt x="232" y="7"/>
                  </a:lnTo>
                  <a:lnTo>
                    <a:pt x="233" y="8"/>
                  </a:lnTo>
                  <a:lnTo>
                    <a:pt x="234" y="7"/>
                  </a:lnTo>
                  <a:lnTo>
                    <a:pt x="236" y="7"/>
                  </a:lnTo>
                  <a:lnTo>
                    <a:pt x="238" y="7"/>
                  </a:lnTo>
                  <a:lnTo>
                    <a:pt x="238" y="6"/>
                  </a:lnTo>
                  <a:lnTo>
                    <a:pt x="238" y="6"/>
                  </a:lnTo>
                  <a:lnTo>
                    <a:pt x="239" y="5"/>
                  </a:lnTo>
                  <a:lnTo>
                    <a:pt x="238" y="5"/>
                  </a:lnTo>
                  <a:lnTo>
                    <a:pt x="238" y="4"/>
                  </a:lnTo>
                  <a:lnTo>
                    <a:pt x="238" y="4"/>
                  </a:lnTo>
                  <a:lnTo>
                    <a:pt x="238" y="3"/>
                  </a:lnTo>
                  <a:lnTo>
                    <a:pt x="239" y="1"/>
                  </a:lnTo>
                  <a:lnTo>
                    <a:pt x="239" y="1"/>
                  </a:lnTo>
                  <a:lnTo>
                    <a:pt x="239" y="1"/>
                  </a:lnTo>
                  <a:lnTo>
                    <a:pt x="240" y="1"/>
                  </a:lnTo>
                  <a:lnTo>
                    <a:pt x="240" y="0"/>
                  </a:lnTo>
                  <a:lnTo>
                    <a:pt x="240" y="0"/>
                  </a:lnTo>
                  <a:lnTo>
                    <a:pt x="242" y="0"/>
                  </a:lnTo>
                  <a:lnTo>
                    <a:pt x="242" y="0"/>
                  </a:lnTo>
                  <a:lnTo>
                    <a:pt x="243" y="0"/>
                  </a:lnTo>
                  <a:lnTo>
                    <a:pt x="243" y="0"/>
                  </a:lnTo>
                  <a:lnTo>
                    <a:pt x="243" y="0"/>
                  </a:lnTo>
                  <a:lnTo>
                    <a:pt x="243" y="0"/>
                  </a:lnTo>
                  <a:lnTo>
                    <a:pt x="244" y="0"/>
                  </a:lnTo>
                  <a:lnTo>
                    <a:pt x="243" y="1"/>
                  </a:lnTo>
                  <a:lnTo>
                    <a:pt x="244" y="1"/>
                  </a:lnTo>
                  <a:lnTo>
                    <a:pt x="244" y="1"/>
                  </a:lnTo>
                  <a:lnTo>
                    <a:pt x="245" y="3"/>
                  </a:lnTo>
                  <a:lnTo>
                    <a:pt x="246" y="3"/>
                  </a:lnTo>
                  <a:lnTo>
                    <a:pt x="246" y="3"/>
                  </a:lnTo>
                  <a:lnTo>
                    <a:pt x="246" y="3"/>
                  </a:lnTo>
                  <a:lnTo>
                    <a:pt x="247" y="3"/>
                  </a:lnTo>
                  <a:lnTo>
                    <a:pt x="247" y="3"/>
                  </a:lnTo>
                  <a:lnTo>
                    <a:pt x="247" y="3"/>
                  </a:lnTo>
                  <a:lnTo>
                    <a:pt x="247" y="3"/>
                  </a:lnTo>
                  <a:lnTo>
                    <a:pt x="247" y="3"/>
                  </a:lnTo>
                  <a:lnTo>
                    <a:pt x="249" y="3"/>
                  </a:lnTo>
                  <a:lnTo>
                    <a:pt x="249" y="4"/>
                  </a:lnTo>
                  <a:lnTo>
                    <a:pt x="249" y="4"/>
                  </a:lnTo>
                  <a:lnTo>
                    <a:pt x="249" y="3"/>
                  </a:lnTo>
                  <a:lnTo>
                    <a:pt x="250" y="3"/>
                  </a:lnTo>
                  <a:lnTo>
                    <a:pt x="250" y="3"/>
                  </a:lnTo>
                  <a:lnTo>
                    <a:pt x="250" y="3"/>
                  </a:lnTo>
                  <a:lnTo>
                    <a:pt x="251" y="3"/>
                  </a:lnTo>
                  <a:lnTo>
                    <a:pt x="251" y="3"/>
                  </a:lnTo>
                  <a:lnTo>
                    <a:pt x="251" y="4"/>
                  </a:lnTo>
                  <a:lnTo>
                    <a:pt x="251" y="3"/>
                  </a:lnTo>
                  <a:lnTo>
                    <a:pt x="252" y="3"/>
                  </a:lnTo>
                  <a:lnTo>
                    <a:pt x="252" y="3"/>
                  </a:lnTo>
                  <a:lnTo>
                    <a:pt x="252" y="3"/>
                  </a:lnTo>
                  <a:lnTo>
                    <a:pt x="253" y="3"/>
                  </a:lnTo>
                  <a:lnTo>
                    <a:pt x="253" y="3"/>
                  </a:lnTo>
                  <a:lnTo>
                    <a:pt x="253" y="3"/>
                  </a:lnTo>
                  <a:lnTo>
                    <a:pt x="254" y="3"/>
                  </a:lnTo>
                  <a:lnTo>
                    <a:pt x="254" y="3"/>
                  </a:lnTo>
                  <a:lnTo>
                    <a:pt x="254" y="4"/>
                  </a:lnTo>
                  <a:lnTo>
                    <a:pt x="254" y="4"/>
                  </a:lnTo>
                  <a:lnTo>
                    <a:pt x="256" y="5"/>
                  </a:lnTo>
                  <a:lnTo>
                    <a:pt x="257" y="5"/>
                  </a:lnTo>
                  <a:lnTo>
                    <a:pt x="257" y="5"/>
                  </a:lnTo>
                  <a:lnTo>
                    <a:pt x="258" y="5"/>
                  </a:lnTo>
                  <a:lnTo>
                    <a:pt x="258" y="5"/>
                  </a:lnTo>
                  <a:lnTo>
                    <a:pt x="259" y="6"/>
                  </a:lnTo>
                  <a:lnTo>
                    <a:pt x="259" y="6"/>
                  </a:lnTo>
                  <a:lnTo>
                    <a:pt x="260" y="6"/>
                  </a:lnTo>
                  <a:lnTo>
                    <a:pt x="260" y="6"/>
                  </a:lnTo>
                  <a:lnTo>
                    <a:pt x="262" y="6"/>
                  </a:lnTo>
                  <a:lnTo>
                    <a:pt x="262" y="6"/>
                  </a:lnTo>
                  <a:lnTo>
                    <a:pt x="262" y="6"/>
                  </a:lnTo>
                  <a:lnTo>
                    <a:pt x="262" y="6"/>
                  </a:lnTo>
                  <a:lnTo>
                    <a:pt x="263" y="6"/>
                  </a:lnTo>
                  <a:lnTo>
                    <a:pt x="263" y="6"/>
                  </a:lnTo>
                  <a:lnTo>
                    <a:pt x="264" y="6"/>
                  </a:lnTo>
                  <a:lnTo>
                    <a:pt x="265" y="6"/>
                  </a:lnTo>
                  <a:lnTo>
                    <a:pt x="265" y="6"/>
                  </a:lnTo>
                  <a:lnTo>
                    <a:pt x="265" y="6"/>
                  </a:lnTo>
                  <a:lnTo>
                    <a:pt x="266" y="6"/>
                  </a:lnTo>
                  <a:lnTo>
                    <a:pt x="267" y="5"/>
                  </a:lnTo>
                  <a:lnTo>
                    <a:pt x="271" y="3"/>
                  </a:lnTo>
                  <a:lnTo>
                    <a:pt x="272" y="3"/>
                  </a:lnTo>
                  <a:lnTo>
                    <a:pt x="274" y="5"/>
                  </a:lnTo>
                  <a:lnTo>
                    <a:pt x="274" y="6"/>
                  </a:lnTo>
                  <a:lnTo>
                    <a:pt x="276" y="6"/>
                  </a:lnTo>
                  <a:lnTo>
                    <a:pt x="277" y="6"/>
                  </a:lnTo>
                  <a:lnTo>
                    <a:pt x="278" y="8"/>
                  </a:lnTo>
                  <a:lnTo>
                    <a:pt x="279" y="8"/>
                  </a:lnTo>
                  <a:lnTo>
                    <a:pt x="280" y="8"/>
                  </a:lnTo>
                  <a:lnTo>
                    <a:pt x="280" y="11"/>
                  </a:lnTo>
                  <a:lnTo>
                    <a:pt x="282" y="11"/>
                  </a:lnTo>
                  <a:lnTo>
                    <a:pt x="283" y="13"/>
                  </a:lnTo>
                  <a:lnTo>
                    <a:pt x="283" y="14"/>
                  </a:lnTo>
                  <a:lnTo>
                    <a:pt x="283" y="14"/>
                  </a:lnTo>
                  <a:lnTo>
                    <a:pt x="284" y="16"/>
                  </a:lnTo>
                  <a:lnTo>
                    <a:pt x="284" y="17"/>
                  </a:lnTo>
                  <a:lnTo>
                    <a:pt x="286" y="17"/>
                  </a:lnTo>
                  <a:lnTo>
                    <a:pt x="287" y="18"/>
                  </a:lnTo>
                  <a:lnTo>
                    <a:pt x="289" y="17"/>
                  </a:lnTo>
                  <a:lnTo>
                    <a:pt x="290" y="20"/>
                  </a:lnTo>
                  <a:lnTo>
                    <a:pt x="290" y="20"/>
                  </a:lnTo>
                  <a:lnTo>
                    <a:pt x="291" y="19"/>
                  </a:lnTo>
                  <a:lnTo>
                    <a:pt x="291" y="20"/>
                  </a:lnTo>
                  <a:lnTo>
                    <a:pt x="294" y="21"/>
                  </a:lnTo>
                  <a:lnTo>
                    <a:pt x="294" y="23"/>
                  </a:lnTo>
                  <a:lnTo>
                    <a:pt x="297" y="23"/>
                  </a:lnTo>
                  <a:lnTo>
                    <a:pt x="297" y="20"/>
                  </a:lnTo>
                  <a:lnTo>
                    <a:pt x="299" y="20"/>
                  </a:lnTo>
                  <a:lnTo>
                    <a:pt x="300" y="18"/>
                  </a:lnTo>
                  <a:lnTo>
                    <a:pt x="302" y="18"/>
                  </a:lnTo>
                  <a:lnTo>
                    <a:pt x="302" y="17"/>
                  </a:lnTo>
                  <a:lnTo>
                    <a:pt x="302" y="18"/>
                  </a:lnTo>
                  <a:lnTo>
                    <a:pt x="304" y="18"/>
                  </a:lnTo>
                  <a:lnTo>
                    <a:pt x="305" y="18"/>
                  </a:lnTo>
                  <a:lnTo>
                    <a:pt x="306" y="19"/>
                  </a:lnTo>
                  <a:lnTo>
                    <a:pt x="307" y="18"/>
                  </a:lnTo>
                  <a:lnTo>
                    <a:pt x="310" y="20"/>
                  </a:lnTo>
                  <a:lnTo>
                    <a:pt x="310" y="23"/>
                  </a:lnTo>
                  <a:lnTo>
                    <a:pt x="312" y="18"/>
                  </a:lnTo>
                  <a:lnTo>
                    <a:pt x="314" y="16"/>
                  </a:lnTo>
                  <a:lnTo>
                    <a:pt x="316" y="13"/>
                  </a:lnTo>
                  <a:lnTo>
                    <a:pt x="317" y="14"/>
                  </a:lnTo>
                  <a:lnTo>
                    <a:pt x="320" y="16"/>
                  </a:lnTo>
                  <a:lnTo>
                    <a:pt x="320" y="17"/>
                  </a:lnTo>
                  <a:lnTo>
                    <a:pt x="319" y="18"/>
                  </a:lnTo>
                  <a:lnTo>
                    <a:pt x="320" y="21"/>
                  </a:lnTo>
                  <a:lnTo>
                    <a:pt x="323" y="21"/>
                  </a:lnTo>
                  <a:lnTo>
                    <a:pt x="323" y="23"/>
                  </a:lnTo>
                  <a:lnTo>
                    <a:pt x="324" y="24"/>
                  </a:lnTo>
                  <a:lnTo>
                    <a:pt x="325" y="25"/>
                  </a:lnTo>
                  <a:lnTo>
                    <a:pt x="326" y="26"/>
                  </a:lnTo>
                  <a:lnTo>
                    <a:pt x="326" y="27"/>
                  </a:lnTo>
                  <a:lnTo>
                    <a:pt x="327" y="27"/>
                  </a:lnTo>
                  <a:lnTo>
                    <a:pt x="327" y="28"/>
                  </a:lnTo>
                  <a:lnTo>
                    <a:pt x="329" y="28"/>
                  </a:lnTo>
                  <a:lnTo>
                    <a:pt x="330" y="30"/>
                  </a:lnTo>
                  <a:lnTo>
                    <a:pt x="331" y="31"/>
                  </a:lnTo>
                  <a:lnTo>
                    <a:pt x="333" y="31"/>
                  </a:lnTo>
                  <a:lnTo>
                    <a:pt x="334" y="30"/>
                  </a:lnTo>
                  <a:lnTo>
                    <a:pt x="334" y="32"/>
                  </a:lnTo>
                  <a:lnTo>
                    <a:pt x="334" y="37"/>
                  </a:lnTo>
                  <a:lnTo>
                    <a:pt x="336" y="37"/>
                  </a:lnTo>
                  <a:lnTo>
                    <a:pt x="337" y="34"/>
                  </a:lnTo>
                  <a:lnTo>
                    <a:pt x="338" y="35"/>
                  </a:lnTo>
                  <a:lnTo>
                    <a:pt x="338" y="34"/>
                  </a:lnTo>
                  <a:lnTo>
                    <a:pt x="338" y="34"/>
                  </a:lnTo>
                  <a:lnTo>
                    <a:pt x="339" y="35"/>
                  </a:lnTo>
                  <a:lnTo>
                    <a:pt x="339" y="38"/>
                  </a:lnTo>
                  <a:lnTo>
                    <a:pt x="340" y="37"/>
                  </a:lnTo>
                  <a:lnTo>
                    <a:pt x="342" y="38"/>
                  </a:lnTo>
                  <a:lnTo>
                    <a:pt x="340" y="38"/>
                  </a:lnTo>
                  <a:lnTo>
                    <a:pt x="340" y="40"/>
                  </a:lnTo>
                  <a:lnTo>
                    <a:pt x="339" y="41"/>
                  </a:lnTo>
                  <a:lnTo>
                    <a:pt x="339" y="43"/>
                  </a:lnTo>
                  <a:lnTo>
                    <a:pt x="339" y="44"/>
                  </a:lnTo>
                  <a:lnTo>
                    <a:pt x="338" y="47"/>
                  </a:lnTo>
                  <a:lnTo>
                    <a:pt x="339" y="48"/>
                  </a:lnTo>
                  <a:lnTo>
                    <a:pt x="339" y="51"/>
                  </a:lnTo>
                  <a:lnTo>
                    <a:pt x="340" y="53"/>
                  </a:lnTo>
                  <a:lnTo>
                    <a:pt x="338" y="53"/>
                  </a:lnTo>
                  <a:lnTo>
                    <a:pt x="338" y="54"/>
                  </a:lnTo>
                  <a:lnTo>
                    <a:pt x="338" y="55"/>
                  </a:lnTo>
                  <a:lnTo>
                    <a:pt x="337" y="57"/>
                  </a:lnTo>
                  <a:lnTo>
                    <a:pt x="338" y="58"/>
                  </a:lnTo>
                  <a:lnTo>
                    <a:pt x="337" y="59"/>
                  </a:lnTo>
                  <a:lnTo>
                    <a:pt x="339" y="60"/>
                  </a:lnTo>
                  <a:lnTo>
                    <a:pt x="339" y="61"/>
                  </a:lnTo>
                  <a:lnTo>
                    <a:pt x="340" y="61"/>
                  </a:lnTo>
                  <a:lnTo>
                    <a:pt x="342" y="63"/>
                  </a:lnTo>
                  <a:lnTo>
                    <a:pt x="343" y="63"/>
                  </a:lnTo>
                  <a:lnTo>
                    <a:pt x="344" y="63"/>
                  </a:lnTo>
                  <a:lnTo>
                    <a:pt x="345" y="63"/>
                  </a:lnTo>
                  <a:lnTo>
                    <a:pt x="345" y="64"/>
                  </a:lnTo>
                  <a:lnTo>
                    <a:pt x="347" y="66"/>
                  </a:lnTo>
                  <a:lnTo>
                    <a:pt x="343" y="74"/>
                  </a:lnTo>
                  <a:lnTo>
                    <a:pt x="337" y="79"/>
                  </a:lnTo>
                  <a:lnTo>
                    <a:pt x="332" y="85"/>
                  </a:lnTo>
                  <a:lnTo>
                    <a:pt x="331" y="86"/>
                  </a:lnTo>
                  <a:lnTo>
                    <a:pt x="330" y="85"/>
                  </a:lnTo>
                  <a:lnTo>
                    <a:pt x="330" y="86"/>
                  </a:lnTo>
                  <a:lnTo>
                    <a:pt x="327" y="86"/>
                  </a:lnTo>
                  <a:lnTo>
                    <a:pt x="327" y="87"/>
                  </a:lnTo>
                  <a:lnTo>
                    <a:pt x="327" y="90"/>
                  </a:lnTo>
                  <a:lnTo>
                    <a:pt x="326" y="92"/>
                  </a:lnTo>
                  <a:lnTo>
                    <a:pt x="325" y="92"/>
                  </a:lnTo>
                  <a:lnTo>
                    <a:pt x="323" y="93"/>
                  </a:lnTo>
                  <a:lnTo>
                    <a:pt x="323" y="94"/>
                  </a:lnTo>
                  <a:lnTo>
                    <a:pt x="323" y="97"/>
                  </a:lnTo>
                  <a:lnTo>
                    <a:pt x="323" y="100"/>
                  </a:lnTo>
                  <a:lnTo>
                    <a:pt x="322" y="103"/>
                  </a:lnTo>
                  <a:lnTo>
                    <a:pt x="320" y="105"/>
                  </a:lnTo>
                  <a:lnTo>
                    <a:pt x="319" y="106"/>
                  </a:lnTo>
                  <a:lnTo>
                    <a:pt x="320" y="110"/>
                  </a:lnTo>
                  <a:lnTo>
                    <a:pt x="318" y="110"/>
                  </a:lnTo>
                  <a:lnTo>
                    <a:pt x="318" y="111"/>
                  </a:lnTo>
                  <a:lnTo>
                    <a:pt x="319" y="111"/>
                  </a:lnTo>
                  <a:lnTo>
                    <a:pt x="318" y="119"/>
                  </a:lnTo>
                  <a:lnTo>
                    <a:pt x="318" y="120"/>
                  </a:lnTo>
                  <a:lnTo>
                    <a:pt x="319" y="121"/>
                  </a:lnTo>
                  <a:lnTo>
                    <a:pt x="318" y="124"/>
                  </a:lnTo>
                  <a:lnTo>
                    <a:pt x="317" y="127"/>
                  </a:lnTo>
                  <a:lnTo>
                    <a:pt x="317" y="131"/>
                  </a:lnTo>
                  <a:lnTo>
                    <a:pt x="318" y="132"/>
                  </a:lnTo>
                  <a:lnTo>
                    <a:pt x="317" y="133"/>
                  </a:lnTo>
                  <a:lnTo>
                    <a:pt x="318" y="134"/>
                  </a:lnTo>
                  <a:lnTo>
                    <a:pt x="317" y="139"/>
                  </a:lnTo>
                  <a:lnTo>
                    <a:pt x="312" y="143"/>
                  </a:lnTo>
                  <a:lnTo>
                    <a:pt x="309" y="148"/>
                  </a:lnTo>
                  <a:lnTo>
                    <a:pt x="309" y="154"/>
                  </a:lnTo>
                  <a:lnTo>
                    <a:pt x="307" y="157"/>
                  </a:lnTo>
                  <a:lnTo>
                    <a:pt x="306" y="158"/>
                  </a:lnTo>
                  <a:lnTo>
                    <a:pt x="305" y="159"/>
                  </a:lnTo>
                  <a:lnTo>
                    <a:pt x="304" y="159"/>
                  </a:lnTo>
                  <a:lnTo>
                    <a:pt x="304" y="165"/>
                  </a:lnTo>
                  <a:lnTo>
                    <a:pt x="306" y="166"/>
                  </a:lnTo>
                  <a:lnTo>
                    <a:pt x="305" y="167"/>
                  </a:lnTo>
                  <a:lnTo>
                    <a:pt x="305" y="168"/>
                  </a:lnTo>
                  <a:lnTo>
                    <a:pt x="306" y="168"/>
                  </a:lnTo>
                  <a:lnTo>
                    <a:pt x="309" y="172"/>
                  </a:lnTo>
                  <a:lnTo>
                    <a:pt x="310" y="172"/>
                  </a:lnTo>
                  <a:lnTo>
                    <a:pt x="310" y="175"/>
                  </a:lnTo>
                  <a:lnTo>
                    <a:pt x="310" y="178"/>
                  </a:lnTo>
                  <a:lnTo>
                    <a:pt x="310" y="179"/>
                  </a:lnTo>
                  <a:lnTo>
                    <a:pt x="310" y="191"/>
                  </a:lnTo>
                  <a:lnTo>
                    <a:pt x="312" y="194"/>
                  </a:lnTo>
                  <a:lnTo>
                    <a:pt x="313" y="201"/>
                  </a:lnTo>
                  <a:lnTo>
                    <a:pt x="313" y="204"/>
                  </a:lnTo>
                  <a:lnTo>
                    <a:pt x="311" y="208"/>
                  </a:lnTo>
                  <a:lnTo>
                    <a:pt x="311" y="212"/>
                  </a:lnTo>
                  <a:lnTo>
                    <a:pt x="312" y="214"/>
                  </a:lnTo>
                  <a:lnTo>
                    <a:pt x="313" y="217"/>
                  </a:lnTo>
                  <a:lnTo>
                    <a:pt x="314" y="221"/>
                  </a:lnTo>
                  <a:lnTo>
                    <a:pt x="316" y="225"/>
                  </a:lnTo>
                  <a:lnTo>
                    <a:pt x="317" y="227"/>
                  </a:lnTo>
                  <a:lnTo>
                    <a:pt x="317" y="230"/>
                  </a:lnTo>
                  <a:lnTo>
                    <a:pt x="314" y="232"/>
                  </a:lnTo>
                  <a:lnTo>
                    <a:pt x="314" y="233"/>
                  </a:lnTo>
                  <a:lnTo>
                    <a:pt x="314" y="234"/>
                  </a:lnTo>
                  <a:lnTo>
                    <a:pt x="314" y="237"/>
                  </a:lnTo>
                  <a:lnTo>
                    <a:pt x="314" y="239"/>
                  </a:lnTo>
                  <a:lnTo>
                    <a:pt x="317" y="242"/>
                  </a:lnTo>
                  <a:lnTo>
                    <a:pt x="317" y="245"/>
                  </a:lnTo>
                  <a:lnTo>
                    <a:pt x="318" y="246"/>
                  </a:lnTo>
                  <a:lnTo>
                    <a:pt x="320" y="248"/>
                  </a:lnTo>
                  <a:lnTo>
                    <a:pt x="323" y="251"/>
                  </a:lnTo>
                  <a:lnTo>
                    <a:pt x="324" y="251"/>
                  </a:lnTo>
                  <a:lnTo>
                    <a:pt x="326" y="253"/>
                  </a:lnTo>
                  <a:lnTo>
                    <a:pt x="329" y="257"/>
                  </a:lnTo>
                  <a:lnTo>
                    <a:pt x="330" y="261"/>
                  </a:lnTo>
                  <a:lnTo>
                    <a:pt x="331" y="265"/>
                  </a:lnTo>
                  <a:lnTo>
                    <a:pt x="334" y="273"/>
                  </a:lnTo>
                  <a:lnTo>
                    <a:pt x="334" y="274"/>
                  </a:lnTo>
                  <a:lnTo>
                    <a:pt x="337" y="278"/>
                  </a:lnTo>
                  <a:lnTo>
                    <a:pt x="303" y="286"/>
                  </a:lnTo>
                  <a:lnTo>
                    <a:pt x="304" y="290"/>
                  </a:lnTo>
                  <a:lnTo>
                    <a:pt x="302" y="293"/>
                  </a:lnTo>
                  <a:lnTo>
                    <a:pt x="297" y="298"/>
                  </a:lnTo>
                  <a:lnTo>
                    <a:pt x="294" y="299"/>
                  </a:lnTo>
                  <a:lnTo>
                    <a:pt x="294" y="302"/>
                  </a:lnTo>
                  <a:lnTo>
                    <a:pt x="296" y="305"/>
                  </a:lnTo>
                  <a:lnTo>
                    <a:pt x="297" y="307"/>
                  </a:lnTo>
                  <a:lnTo>
                    <a:pt x="298" y="308"/>
                  </a:lnTo>
                  <a:lnTo>
                    <a:pt x="298" y="311"/>
                  </a:lnTo>
                  <a:lnTo>
                    <a:pt x="296" y="320"/>
                  </a:lnTo>
                  <a:lnTo>
                    <a:pt x="297" y="321"/>
                  </a:lnTo>
                  <a:lnTo>
                    <a:pt x="297" y="326"/>
                  </a:lnTo>
                  <a:lnTo>
                    <a:pt x="298" y="329"/>
                  </a:lnTo>
                  <a:lnTo>
                    <a:pt x="294" y="333"/>
                  </a:lnTo>
                  <a:lnTo>
                    <a:pt x="293" y="344"/>
                  </a:lnTo>
                  <a:lnTo>
                    <a:pt x="292" y="346"/>
                  </a:lnTo>
                  <a:lnTo>
                    <a:pt x="293" y="353"/>
                  </a:lnTo>
                  <a:lnTo>
                    <a:pt x="293" y="353"/>
                  </a:lnTo>
                  <a:lnTo>
                    <a:pt x="296" y="354"/>
                  </a:lnTo>
                  <a:lnTo>
                    <a:pt x="296" y="355"/>
                  </a:lnTo>
                  <a:lnTo>
                    <a:pt x="297" y="357"/>
                  </a:lnTo>
                  <a:lnTo>
                    <a:pt x="298" y="358"/>
                  </a:lnTo>
                  <a:lnTo>
                    <a:pt x="299" y="359"/>
                  </a:lnTo>
                  <a:lnTo>
                    <a:pt x="300" y="359"/>
                  </a:lnTo>
                  <a:lnTo>
                    <a:pt x="302" y="361"/>
                  </a:lnTo>
                  <a:lnTo>
                    <a:pt x="302" y="362"/>
                  </a:lnTo>
                  <a:lnTo>
                    <a:pt x="303" y="366"/>
                  </a:lnTo>
                  <a:lnTo>
                    <a:pt x="305" y="366"/>
                  </a:lnTo>
                  <a:lnTo>
                    <a:pt x="307" y="366"/>
                  </a:lnTo>
                  <a:lnTo>
                    <a:pt x="310" y="367"/>
                  </a:lnTo>
                  <a:lnTo>
                    <a:pt x="312" y="367"/>
                  </a:lnTo>
                  <a:lnTo>
                    <a:pt x="313" y="366"/>
                  </a:lnTo>
                  <a:lnTo>
                    <a:pt x="312" y="366"/>
                  </a:lnTo>
                  <a:lnTo>
                    <a:pt x="311" y="365"/>
                  </a:lnTo>
                  <a:lnTo>
                    <a:pt x="310" y="362"/>
                  </a:lnTo>
                  <a:lnTo>
                    <a:pt x="311" y="361"/>
                  </a:lnTo>
                  <a:lnTo>
                    <a:pt x="312" y="361"/>
                  </a:lnTo>
                  <a:lnTo>
                    <a:pt x="313" y="360"/>
                  </a:lnTo>
                  <a:lnTo>
                    <a:pt x="313" y="360"/>
                  </a:lnTo>
                  <a:lnTo>
                    <a:pt x="314" y="362"/>
                  </a:lnTo>
                  <a:lnTo>
                    <a:pt x="316" y="360"/>
                  </a:lnTo>
                  <a:lnTo>
                    <a:pt x="316" y="360"/>
                  </a:lnTo>
                  <a:lnTo>
                    <a:pt x="317" y="360"/>
                  </a:lnTo>
                  <a:lnTo>
                    <a:pt x="317" y="386"/>
                  </a:lnTo>
                  <a:lnTo>
                    <a:pt x="314" y="386"/>
                  </a:lnTo>
                  <a:lnTo>
                    <a:pt x="313" y="387"/>
                  </a:lnTo>
                  <a:lnTo>
                    <a:pt x="312" y="385"/>
                  </a:lnTo>
                  <a:lnTo>
                    <a:pt x="313" y="385"/>
                  </a:lnTo>
                  <a:lnTo>
                    <a:pt x="314" y="384"/>
                  </a:lnTo>
                  <a:lnTo>
                    <a:pt x="313" y="382"/>
                  </a:lnTo>
                  <a:lnTo>
                    <a:pt x="313" y="381"/>
                  </a:lnTo>
                  <a:lnTo>
                    <a:pt x="311" y="382"/>
                  </a:lnTo>
                  <a:lnTo>
                    <a:pt x="310" y="384"/>
                  </a:lnTo>
                  <a:lnTo>
                    <a:pt x="309" y="384"/>
                  </a:lnTo>
                  <a:lnTo>
                    <a:pt x="307" y="385"/>
                  </a:lnTo>
                  <a:lnTo>
                    <a:pt x="305" y="386"/>
                  </a:lnTo>
                  <a:lnTo>
                    <a:pt x="304" y="386"/>
                  </a:lnTo>
                  <a:lnTo>
                    <a:pt x="304" y="386"/>
                  </a:lnTo>
                  <a:lnTo>
                    <a:pt x="302" y="385"/>
                  </a:lnTo>
                  <a:lnTo>
                    <a:pt x="302" y="385"/>
                  </a:lnTo>
                  <a:lnTo>
                    <a:pt x="300" y="381"/>
                  </a:lnTo>
                  <a:lnTo>
                    <a:pt x="299" y="379"/>
                  </a:lnTo>
                  <a:lnTo>
                    <a:pt x="298" y="377"/>
                  </a:lnTo>
                  <a:lnTo>
                    <a:pt x="299" y="375"/>
                  </a:lnTo>
                  <a:lnTo>
                    <a:pt x="297" y="375"/>
                  </a:lnTo>
                  <a:lnTo>
                    <a:pt x="294" y="373"/>
                  </a:lnTo>
                  <a:lnTo>
                    <a:pt x="294" y="374"/>
                  </a:lnTo>
                  <a:lnTo>
                    <a:pt x="292" y="373"/>
                  </a:lnTo>
                  <a:lnTo>
                    <a:pt x="293" y="372"/>
                  </a:lnTo>
                  <a:lnTo>
                    <a:pt x="293" y="369"/>
                  </a:lnTo>
                  <a:lnTo>
                    <a:pt x="292" y="369"/>
                  </a:lnTo>
                  <a:lnTo>
                    <a:pt x="292" y="367"/>
                  </a:lnTo>
                  <a:lnTo>
                    <a:pt x="291" y="366"/>
                  </a:lnTo>
                  <a:lnTo>
                    <a:pt x="290" y="366"/>
                  </a:lnTo>
                  <a:lnTo>
                    <a:pt x="287" y="365"/>
                  </a:lnTo>
                  <a:lnTo>
                    <a:pt x="286" y="366"/>
                  </a:lnTo>
                  <a:lnTo>
                    <a:pt x="286" y="365"/>
                  </a:lnTo>
                  <a:lnTo>
                    <a:pt x="284" y="365"/>
                  </a:lnTo>
                  <a:lnTo>
                    <a:pt x="284" y="364"/>
                  </a:lnTo>
                  <a:lnTo>
                    <a:pt x="282" y="361"/>
                  </a:lnTo>
                  <a:lnTo>
                    <a:pt x="282" y="364"/>
                  </a:lnTo>
                  <a:lnTo>
                    <a:pt x="280" y="364"/>
                  </a:lnTo>
                  <a:lnTo>
                    <a:pt x="278" y="362"/>
                  </a:lnTo>
                  <a:lnTo>
                    <a:pt x="278" y="362"/>
                  </a:lnTo>
                  <a:lnTo>
                    <a:pt x="277" y="361"/>
                  </a:lnTo>
                  <a:lnTo>
                    <a:pt x="277" y="359"/>
                  </a:lnTo>
                  <a:lnTo>
                    <a:pt x="276" y="359"/>
                  </a:lnTo>
                  <a:lnTo>
                    <a:pt x="276" y="355"/>
                  </a:lnTo>
                  <a:lnTo>
                    <a:pt x="271" y="352"/>
                  </a:lnTo>
                  <a:lnTo>
                    <a:pt x="271" y="348"/>
                  </a:lnTo>
                  <a:lnTo>
                    <a:pt x="270" y="348"/>
                  </a:lnTo>
                  <a:lnTo>
                    <a:pt x="270" y="348"/>
                  </a:lnTo>
                  <a:lnTo>
                    <a:pt x="267" y="348"/>
                  </a:lnTo>
                  <a:lnTo>
                    <a:pt x="267" y="351"/>
                  </a:lnTo>
                  <a:lnTo>
                    <a:pt x="266" y="352"/>
                  </a:lnTo>
                  <a:lnTo>
                    <a:pt x="266" y="354"/>
                  </a:lnTo>
                  <a:lnTo>
                    <a:pt x="265" y="355"/>
                  </a:lnTo>
                  <a:lnTo>
                    <a:pt x="263" y="355"/>
                  </a:lnTo>
                  <a:lnTo>
                    <a:pt x="262" y="358"/>
                  </a:lnTo>
                  <a:lnTo>
                    <a:pt x="260" y="355"/>
                  </a:lnTo>
                  <a:lnTo>
                    <a:pt x="258" y="355"/>
                  </a:lnTo>
                  <a:lnTo>
                    <a:pt x="258" y="354"/>
                  </a:lnTo>
                  <a:lnTo>
                    <a:pt x="254" y="354"/>
                  </a:lnTo>
                  <a:lnTo>
                    <a:pt x="254" y="355"/>
                  </a:lnTo>
                  <a:lnTo>
                    <a:pt x="253" y="355"/>
                  </a:lnTo>
                  <a:lnTo>
                    <a:pt x="252" y="354"/>
                  </a:lnTo>
                  <a:lnTo>
                    <a:pt x="249" y="354"/>
                  </a:lnTo>
                  <a:lnTo>
                    <a:pt x="247" y="354"/>
                  </a:lnTo>
                  <a:lnTo>
                    <a:pt x="246" y="352"/>
                  </a:lnTo>
                  <a:lnTo>
                    <a:pt x="244" y="352"/>
                  </a:lnTo>
                  <a:lnTo>
                    <a:pt x="243" y="352"/>
                  </a:lnTo>
                  <a:lnTo>
                    <a:pt x="242" y="353"/>
                  </a:lnTo>
                  <a:lnTo>
                    <a:pt x="240" y="352"/>
                  </a:lnTo>
                  <a:lnTo>
                    <a:pt x="238" y="349"/>
                  </a:lnTo>
                  <a:lnTo>
                    <a:pt x="238" y="348"/>
                  </a:lnTo>
                  <a:lnTo>
                    <a:pt x="237" y="347"/>
                  </a:lnTo>
                  <a:lnTo>
                    <a:pt x="238" y="344"/>
                  </a:lnTo>
                  <a:lnTo>
                    <a:pt x="239" y="344"/>
                  </a:lnTo>
                  <a:lnTo>
                    <a:pt x="239" y="342"/>
                  </a:lnTo>
                  <a:lnTo>
                    <a:pt x="237" y="344"/>
                  </a:lnTo>
                  <a:lnTo>
                    <a:pt x="232" y="344"/>
                  </a:lnTo>
                  <a:lnTo>
                    <a:pt x="229" y="345"/>
                  </a:lnTo>
                  <a:lnTo>
                    <a:pt x="227" y="345"/>
                  </a:lnTo>
                  <a:lnTo>
                    <a:pt x="226" y="346"/>
                  </a:lnTo>
                  <a:lnTo>
                    <a:pt x="224" y="348"/>
                  </a:lnTo>
                  <a:lnTo>
                    <a:pt x="222" y="348"/>
                  </a:lnTo>
                  <a:lnTo>
                    <a:pt x="220" y="347"/>
                  </a:lnTo>
                  <a:lnTo>
                    <a:pt x="219" y="346"/>
                  </a:lnTo>
                  <a:lnTo>
                    <a:pt x="219" y="345"/>
                  </a:lnTo>
                  <a:lnTo>
                    <a:pt x="220" y="345"/>
                  </a:lnTo>
                  <a:lnTo>
                    <a:pt x="222" y="344"/>
                  </a:lnTo>
                  <a:lnTo>
                    <a:pt x="220" y="339"/>
                  </a:lnTo>
                  <a:lnTo>
                    <a:pt x="218" y="339"/>
                  </a:lnTo>
                  <a:lnTo>
                    <a:pt x="216" y="339"/>
                  </a:lnTo>
                  <a:lnTo>
                    <a:pt x="217" y="338"/>
                  </a:lnTo>
                  <a:lnTo>
                    <a:pt x="216" y="337"/>
                  </a:lnTo>
                  <a:lnTo>
                    <a:pt x="214" y="335"/>
                  </a:lnTo>
                  <a:lnTo>
                    <a:pt x="212" y="335"/>
                  </a:lnTo>
                  <a:lnTo>
                    <a:pt x="211" y="335"/>
                  </a:lnTo>
                  <a:lnTo>
                    <a:pt x="211" y="337"/>
                  </a:lnTo>
                  <a:lnTo>
                    <a:pt x="210" y="338"/>
                  </a:lnTo>
                  <a:lnTo>
                    <a:pt x="209" y="337"/>
                  </a:lnTo>
                  <a:lnTo>
                    <a:pt x="207" y="337"/>
                  </a:lnTo>
                  <a:lnTo>
                    <a:pt x="204" y="335"/>
                  </a:lnTo>
                  <a:lnTo>
                    <a:pt x="202" y="337"/>
                  </a:lnTo>
                  <a:lnTo>
                    <a:pt x="199" y="338"/>
                  </a:lnTo>
                  <a:lnTo>
                    <a:pt x="197" y="338"/>
                  </a:lnTo>
                  <a:lnTo>
                    <a:pt x="196" y="339"/>
                  </a:lnTo>
                  <a:lnTo>
                    <a:pt x="195" y="339"/>
                  </a:lnTo>
                  <a:lnTo>
                    <a:pt x="192" y="338"/>
                  </a:lnTo>
                  <a:lnTo>
                    <a:pt x="191" y="339"/>
                  </a:lnTo>
                  <a:lnTo>
                    <a:pt x="190" y="339"/>
                  </a:lnTo>
                  <a:lnTo>
                    <a:pt x="189" y="338"/>
                  </a:lnTo>
                  <a:lnTo>
                    <a:pt x="186" y="338"/>
                  </a:lnTo>
                  <a:lnTo>
                    <a:pt x="185" y="339"/>
                  </a:lnTo>
                  <a:lnTo>
                    <a:pt x="183" y="340"/>
                  </a:lnTo>
                  <a:lnTo>
                    <a:pt x="182" y="340"/>
                  </a:lnTo>
                  <a:lnTo>
                    <a:pt x="180" y="342"/>
                  </a:lnTo>
                  <a:lnTo>
                    <a:pt x="179" y="342"/>
                  </a:lnTo>
                  <a:lnTo>
                    <a:pt x="180" y="340"/>
                  </a:lnTo>
                  <a:lnTo>
                    <a:pt x="182" y="338"/>
                  </a:lnTo>
                  <a:lnTo>
                    <a:pt x="180" y="337"/>
                  </a:lnTo>
                  <a:lnTo>
                    <a:pt x="180" y="335"/>
                  </a:lnTo>
                  <a:lnTo>
                    <a:pt x="180" y="333"/>
                  </a:lnTo>
                  <a:lnTo>
                    <a:pt x="180" y="333"/>
                  </a:lnTo>
                  <a:lnTo>
                    <a:pt x="183" y="332"/>
                  </a:lnTo>
                  <a:lnTo>
                    <a:pt x="183" y="331"/>
                  </a:lnTo>
                  <a:lnTo>
                    <a:pt x="183" y="326"/>
                  </a:lnTo>
                  <a:lnTo>
                    <a:pt x="183" y="325"/>
                  </a:lnTo>
                  <a:lnTo>
                    <a:pt x="183" y="324"/>
                  </a:lnTo>
                  <a:lnTo>
                    <a:pt x="182" y="321"/>
                  </a:lnTo>
                  <a:lnTo>
                    <a:pt x="182" y="320"/>
                  </a:lnTo>
                  <a:lnTo>
                    <a:pt x="180" y="317"/>
                  </a:lnTo>
                  <a:lnTo>
                    <a:pt x="180" y="317"/>
                  </a:lnTo>
                  <a:lnTo>
                    <a:pt x="180" y="315"/>
                  </a:lnTo>
                  <a:lnTo>
                    <a:pt x="179" y="314"/>
                  </a:lnTo>
                  <a:lnTo>
                    <a:pt x="178" y="313"/>
                  </a:lnTo>
                  <a:lnTo>
                    <a:pt x="178" y="312"/>
                  </a:lnTo>
                  <a:lnTo>
                    <a:pt x="177" y="312"/>
                  </a:lnTo>
                  <a:lnTo>
                    <a:pt x="177" y="311"/>
                  </a:lnTo>
                  <a:lnTo>
                    <a:pt x="176" y="310"/>
                  </a:lnTo>
                  <a:lnTo>
                    <a:pt x="175" y="308"/>
                  </a:lnTo>
                  <a:lnTo>
                    <a:pt x="175" y="306"/>
                  </a:lnTo>
                  <a:lnTo>
                    <a:pt x="173" y="304"/>
                  </a:lnTo>
                  <a:lnTo>
                    <a:pt x="175" y="300"/>
                  </a:lnTo>
                  <a:lnTo>
                    <a:pt x="175" y="298"/>
                  </a:lnTo>
                  <a:lnTo>
                    <a:pt x="176" y="295"/>
                  </a:lnTo>
                  <a:lnTo>
                    <a:pt x="175" y="293"/>
                  </a:lnTo>
                  <a:lnTo>
                    <a:pt x="176" y="290"/>
                  </a:lnTo>
                  <a:lnTo>
                    <a:pt x="176" y="287"/>
                  </a:lnTo>
                  <a:lnTo>
                    <a:pt x="177" y="287"/>
                  </a:lnTo>
                  <a:lnTo>
                    <a:pt x="177" y="286"/>
                  </a:lnTo>
                  <a:lnTo>
                    <a:pt x="177" y="285"/>
                  </a:lnTo>
                  <a:lnTo>
                    <a:pt x="176" y="284"/>
                  </a:lnTo>
                  <a:lnTo>
                    <a:pt x="177" y="281"/>
                  </a:lnTo>
                  <a:lnTo>
                    <a:pt x="176" y="280"/>
                  </a:lnTo>
                  <a:lnTo>
                    <a:pt x="175" y="278"/>
                  </a:lnTo>
                  <a:lnTo>
                    <a:pt x="175" y="277"/>
                  </a:lnTo>
                  <a:lnTo>
                    <a:pt x="175" y="277"/>
                  </a:lnTo>
                  <a:lnTo>
                    <a:pt x="173" y="274"/>
                  </a:lnTo>
                  <a:lnTo>
                    <a:pt x="173" y="273"/>
                  </a:lnTo>
                  <a:lnTo>
                    <a:pt x="173" y="272"/>
                  </a:lnTo>
                  <a:lnTo>
                    <a:pt x="173" y="270"/>
                  </a:lnTo>
                  <a:lnTo>
                    <a:pt x="176" y="266"/>
                  </a:lnTo>
                  <a:lnTo>
                    <a:pt x="176" y="265"/>
                  </a:lnTo>
                  <a:lnTo>
                    <a:pt x="176" y="264"/>
                  </a:lnTo>
                  <a:lnTo>
                    <a:pt x="176" y="264"/>
                  </a:lnTo>
                  <a:lnTo>
                    <a:pt x="176" y="262"/>
                  </a:lnTo>
                  <a:lnTo>
                    <a:pt x="175" y="262"/>
                  </a:lnTo>
                  <a:lnTo>
                    <a:pt x="175" y="260"/>
                  </a:lnTo>
                  <a:lnTo>
                    <a:pt x="151" y="260"/>
                  </a:lnTo>
                  <a:lnTo>
                    <a:pt x="152" y="258"/>
                  </a:lnTo>
                  <a:lnTo>
                    <a:pt x="152" y="255"/>
                  </a:lnTo>
                  <a:lnTo>
                    <a:pt x="153" y="253"/>
                  </a:lnTo>
                  <a:lnTo>
                    <a:pt x="147" y="253"/>
                  </a:lnTo>
                  <a:lnTo>
                    <a:pt x="146" y="254"/>
                  </a:lnTo>
                  <a:lnTo>
                    <a:pt x="133" y="254"/>
                  </a:lnTo>
                  <a:lnTo>
                    <a:pt x="133" y="255"/>
                  </a:lnTo>
                  <a:lnTo>
                    <a:pt x="132" y="258"/>
                  </a:lnTo>
                  <a:lnTo>
                    <a:pt x="132" y="259"/>
                  </a:lnTo>
                  <a:lnTo>
                    <a:pt x="132" y="261"/>
                  </a:lnTo>
                  <a:lnTo>
                    <a:pt x="133" y="265"/>
                  </a:lnTo>
                  <a:lnTo>
                    <a:pt x="132" y="265"/>
                  </a:lnTo>
                  <a:lnTo>
                    <a:pt x="132" y="266"/>
                  </a:lnTo>
                  <a:lnTo>
                    <a:pt x="130" y="266"/>
                  </a:lnTo>
                  <a:lnTo>
                    <a:pt x="131" y="268"/>
                  </a:lnTo>
                  <a:lnTo>
                    <a:pt x="130" y="272"/>
                  </a:lnTo>
                  <a:lnTo>
                    <a:pt x="130" y="274"/>
                  </a:lnTo>
                  <a:lnTo>
                    <a:pt x="120" y="274"/>
                  </a:lnTo>
                  <a:lnTo>
                    <a:pt x="119" y="274"/>
                  </a:lnTo>
                  <a:lnTo>
                    <a:pt x="118" y="273"/>
                  </a:lnTo>
                  <a:lnTo>
                    <a:pt x="116" y="273"/>
                  </a:lnTo>
                  <a:lnTo>
                    <a:pt x="115" y="274"/>
                  </a:lnTo>
                  <a:lnTo>
                    <a:pt x="113" y="274"/>
                  </a:lnTo>
                  <a:lnTo>
                    <a:pt x="112" y="275"/>
                  </a:lnTo>
                  <a:lnTo>
                    <a:pt x="111" y="274"/>
                  </a:lnTo>
                  <a:lnTo>
                    <a:pt x="109" y="274"/>
                  </a:lnTo>
                  <a:lnTo>
                    <a:pt x="107" y="275"/>
                  </a:lnTo>
                  <a:lnTo>
                    <a:pt x="107" y="277"/>
                  </a:lnTo>
                  <a:lnTo>
                    <a:pt x="106" y="277"/>
                  </a:lnTo>
                  <a:lnTo>
                    <a:pt x="105" y="275"/>
                  </a:lnTo>
                  <a:lnTo>
                    <a:pt x="103" y="275"/>
                  </a:lnTo>
                  <a:lnTo>
                    <a:pt x="102" y="277"/>
                  </a:lnTo>
                  <a:lnTo>
                    <a:pt x="100" y="277"/>
                  </a:lnTo>
                  <a:lnTo>
                    <a:pt x="99" y="277"/>
                  </a:lnTo>
                  <a:lnTo>
                    <a:pt x="98" y="277"/>
                  </a:lnTo>
                  <a:lnTo>
                    <a:pt x="98" y="275"/>
                  </a:lnTo>
                  <a:lnTo>
                    <a:pt x="97" y="275"/>
                  </a:lnTo>
                  <a:lnTo>
                    <a:pt x="97" y="275"/>
                  </a:lnTo>
                  <a:lnTo>
                    <a:pt x="96" y="274"/>
                  </a:lnTo>
                  <a:lnTo>
                    <a:pt x="97" y="273"/>
                  </a:lnTo>
                  <a:lnTo>
                    <a:pt x="96" y="273"/>
                  </a:lnTo>
                  <a:lnTo>
                    <a:pt x="95" y="272"/>
                  </a:lnTo>
                  <a:lnTo>
                    <a:pt x="95" y="273"/>
                  </a:lnTo>
                  <a:lnTo>
                    <a:pt x="95" y="273"/>
                  </a:lnTo>
                  <a:lnTo>
                    <a:pt x="95" y="272"/>
                  </a:lnTo>
                  <a:lnTo>
                    <a:pt x="93" y="271"/>
                  </a:lnTo>
                  <a:lnTo>
                    <a:pt x="93" y="270"/>
                  </a:lnTo>
                  <a:lnTo>
                    <a:pt x="92" y="270"/>
                  </a:lnTo>
                  <a:lnTo>
                    <a:pt x="92" y="268"/>
                  </a:lnTo>
                  <a:lnTo>
                    <a:pt x="92" y="267"/>
                  </a:lnTo>
                  <a:lnTo>
                    <a:pt x="91" y="266"/>
                  </a:lnTo>
                  <a:lnTo>
                    <a:pt x="91" y="266"/>
                  </a:lnTo>
                  <a:lnTo>
                    <a:pt x="91" y="265"/>
                  </a:lnTo>
                  <a:lnTo>
                    <a:pt x="91" y="265"/>
                  </a:lnTo>
                  <a:lnTo>
                    <a:pt x="91" y="264"/>
                  </a:lnTo>
                  <a:lnTo>
                    <a:pt x="91" y="262"/>
                  </a:lnTo>
                  <a:lnTo>
                    <a:pt x="90" y="262"/>
                  </a:lnTo>
                  <a:lnTo>
                    <a:pt x="90" y="262"/>
                  </a:lnTo>
                  <a:lnTo>
                    <a:pt x="90" y="264"/>
                  </a:lnTo>
                  <a:lnTo>
                    <a:pt x="89" y="262"/>
                  </a:lnTo>
                  <a:lnTo>
                    <a:pt x="89" y="261"/>
                  </a:lnTo>
                  <a:lnTo>
                    <a:pt x="87" y="260"/>
                  </a:lnTo>
                  <a:lnTo>
                    <a:pt x="87" y="259"/>
                  </a:lnTo>
                  <a:lnTo>
                    <a:pt x="87" y="259"/>
                  </a:lnTo>
                  <a:lnTo>
                    <a:pt x="86" y="258"/>
                  </a:lnTo>
                  <a:lnTo>
                    <a:pt x="87" y="257"/>
                  </a:lnTo>
                  <a:lnTo>
                    <a:pt x="87" y="257"/>
                  </a:lnTo>
                  <a:lnTo>
                    <a:pt x="86" y="255"/>
                  </a:lnTo>
                  <a:lnTo>
                    <a:pt x="86" y="254"/>
                  </a:lnTo>
                  <a:lnTo>
                    <a:pt x="86" y="253"/>
                  </a:lnTo>
                  <a:lnTo>
                    <a:pt x="86" y="252"/>
                  </a:lnTo>
                  <a:lnTo>
                    <a:pt x="85" y="251"/>
                  </a:lnTo>
                  <a:lnTo>
                    <a:pt x="85" y="251"/>
                  </a:lnTo>
                  <a:lnTo>
                    <a:pt x="84" y="250"/>
                  </a:lnTo>
                  <a:lnTo>
                    <a:pt x="84" y="248"/>
                  </a:lnTo>
                  <a:lnTo>
                    <a:pt x="84" y="246"/>
                  </a:lnTo>
                  <a:lnTo>
                    <a:pt x="83" y="245"/>
                  </a:lnTo>
                  <a:lnTo>
                    <a:pt x="84" y="242"/>
                  </a:lnTo>
                  <a:lnTo>
                    <a:pt x="82" y="241"/>
                  </a:lnTo>
                  <a:lnTo>
                    <a:pt x="84" y="241"/>
                  </a:lnTo>
                  <a:lnTo>
                    <a:pt x="83" y="240"/>
                  </a:lnTo>
                  <a:lnTo>
                    <a:pt x="82" y="239"/>
                  </a:lnTo>
                  <a:lnTo>
                    <a:pt x="83" y="239"/>
                  </a:lnTo>
                  <a:lnTo>
                    <a:pt x="83" y="237"/>
                  </a:lnTo>
                  <a:lnTo>
                    <a:pt x="82" y="237"/>
                  </a:lnTo>
                  <a:lnTo>
                    <a:pt x="83" y="235"/>
                  </a:lnTo>
                  <a:lnTo>
                    <a:pt x="83" y="235"/>
                  </a:lnTo>
                  <a:lnTo>
                    <a:pt x="82" y="234"/>
                  </a:lnTo>
                  <a:lnTo>
                    <a:pt x="82" y="233"/>
                  </a:lnTo>
                  <a:lnTo>
                    <a:pt x="82" y="231"/>
                  </a:lnTo>
                  <a:lnTo>
                    <a:pt x="80" y="231"/>
                  </a:lnTo>
                  <a:lnTo>
                    <a:pt x="78" y="232"/>
                  </a:lnTo>
                  <a:lnTo>
                    <a:pt x="77" y="232"/>
                  </a:lnTo>
                  <a:lnTo>
                    <a:pt x="76" y="231"/>
                  </a:lnTo>
                  <a:lnTo>
                    <a:pt x="63" y="231"/>
                  </a:lnTo>
                  <a:lnTo>
                    <a:pt x="46" y="231"/>
                  </a:lnTo>
                  <a:lnTo>
                    <a:pt x="44" y="232"/>
                  </a:lnTo>
                  <a:lnTo>
                    <a:pt x="43" y="231"/>
                  </a:lnTo>
                  <a:lnTo>
                    <a:pt x="42" y="232"/>
                  </a:lnTo>
                  <a:lnTo>
                    <a:pt x="38" y="231"/>
                  </a:lnTo>
                  <a:lnTo>
                    <a:pt x="37" y="231"/>
                  </a:lnTo>
                  <a:lnTo>
                    <a:pt x="33" y="231"/>
                  </a:lnTo>
                  <a:lnTo>
                    <a:pt x="33" y="230"/>
                  </a:lnTo>
                  <a:lnTo>
                    <a:pt x="29" y="231"/>
                  </a:lnTo>
                  <a:lnTo>
                    <a:pt x="25" y="231"/>
                  </a:lnTo>
                  <a:lnTo>
                    <a:pt x="23" y="231"/>
                  </a:lnTo>
                  <a:lnTo>
                    <a:pt x="23" y="231"/>
                  </a:lnTo>
                  <a:lnTo>
                    <a:pt x="22" y="231"/>
                  </a:lnTo>
                  <a:lnTo>
                    <a:pt x="20" y="231"/>
                  </a:lnTo>
                  <a:lnTo>
                    <a:pt x="19" y="231"/>
                  </a:lnTo>
                  <a:lnTo>
                    <a:pt x="16" y="231"/>
                  </a:lnTo>
                  <a:lnTo>
                    <a:pt x="16" y="230"/>
                  </a:lnTo>
                  <a:lnTo>
                    <a:pt x="15" y="230"/>
                  </a:lnTo>
                  <a:lnTo>
                    <a:pt x="15" y="230"/>
                  </a:lnTo>
                  <a:lnTo>
                    <a:pt x="12" y="230"/>
                  </a:lnTo>
                  <a:lnTo>
                    <a:pt x="11" y="231"/>
                  </a:lnTo>
                  <a:lnTo>
                    <a:pt x="10" y="233"/>
                  </a:lnTo>
                  <a:lnTo>
                    <a:pt x="9" y="233"/>
                  </a:lnTo>
                  <a:lnTo>
                    <a:pt x="6" y="233"/>
                  </a:lnTo>
                  <a:lnTo>
                    <a:pt x="5" y="234"/>
                  </a:lnTo>
                  <a:lnTo>
                    <a:pt x="5" y="234"/>
                  </a:lnTo>
                  <a:lnTo>
                    <a:pt x="4" y="233"/>
                  </a:lnTo>
                  <a:lnTo>
                    <a:pt x="5" y="233"/>
                  </a:lnTo>
                  <a:lnTo>
                    <a:pt x="5" y="233"/>
                  </a:lnTo>
                  <a:lnTo>
                    <a:pt x="4" y="232"/>
                  </a:lnTo>
                  <a:lnTo>
                    <a:pt x="4" y="233"/>
                  </a:lnTo>
                  <a:lnTo>
                    <a:pt x="3" y="233"/>
                  </a:lnTo>
                  <a:lnTo>
                    <a:pt x="2" y="230"/>
                  </a:lnTo>
                  <a:lnTo>
                    <a:pt x="0" y="230"/>
                  </a:lnTo>
                  <a:lnTo>
                    <a:pt x="2" y="228"/>
                  </a:lnTo>
                  <a:lnTo>
                    <a:pt x="6" y="227"/>
                  </a:lnTo>
                  <a:lnTo>
                    <a:pt x="6" y="215"/>
                  </a:lnTo>
                  <a:lnTo>
                    <a:pt x="5" y="215"/>
                  </a:lnTo>
                  <a:lnTo>
                    <a:pt x="5" y="213"/>
                  </a:lnTo>
                  <a:lnTo>
                    <a:pt x="6" y="213"/>
                  </a:lnTo>
                  <a:lnTo>
                    <a:pt x="7" y="213"/>
                  </a:lnTo>
                  <a:lnTo>
                    <a:pt x="9" y="212"/>
                  </a:lnTo>
                  <a:lnTo>
                    <a:pt x="10" y="212"/>
                  </a:lnTo>
                  <a:lnTo>
                    <a:pt x="10" y="211"/>
                  </a:lnTo>
                  <a:lnTo>
                    <a:pt x="11" y="210"/>
                  </a:lnTo>
                  <a:lnTo>
                    <a:pt x="11" y="208"/>
                  </a:lnTo>
                  <a:lnTo>
                    <a:pt x="11" y="207"/>
                  </a:lnTo>
                  <a:lnTo>
                    <a:pt x="12" y="207"/>
                  </a:lnTo>
                  <a:lnTo>
                    <a:pt x="13" y="207"/>
                  </a:lnTo>
                  <a:lnTo>
                    <a:pt x="16" y="206"/>
                  </a:lnTo>
                  <a:lnTo>
                    <a:pt x="16" y="206"/>
                  </a:lnTo>
                  <a:lnTo>
                    <a:pt x="17" y="206"/>
                  </a:lnTo>
                  <a:lnTo>
                    <a:pt x="17" y="205"/>
                  </a:lnTo>
                  <a:lnTo>
                    <a:pt x="17" y="205"/>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38" name="Comoros">
              <a:extLst>
                <a:ext uri="{FF2B5EF4-FFF2-40B4-BE49-F238E27FC236}">
                  <a16:creationId xmlns:a16="http://schemas.microsoft.com/office/drawing/2014/main" id="{7A27489D-9927-DB40-BD33-67F35A07DC3C}"/>
                </a:ext>
              </a:extLst>
            </p:cNvPr>
            <p:cNvSpPr>
              <a:spLocks noEditPoints="1"/>
            </p:cNvSpPr>
            <p:nvPr/>
          </p:nvSpPr>
          <p:spPr bwMode="auto">
            <a:xfrm>
              <a:off x="7498072" y="4324776"/>
              <a:ext cx="33533" cy="32075"/>
            </a:xfrm>
            <a:custGeom>
              <a:avLst/>
              <a:gdLst>
                <a:gd name="T0" fmla="*/ 23 w 23"/>
                <a:gd name="T1" fmla="*/ 22 h 22"/>
                <a:gd name="T2" fmla="*/ 22 w 23"/>
                <a:gd name="T3" fmla="*/ 20 h 22"/>
                <a:gd name="T4" fmla="*/ 22 w 23"/>
                <a:gd name="T5" fmla="*/ 20 h 22"/>
                <a:gd name="T6" fmla="*/ 21 w 23"/>
                <a:gd name="T7" fmla="*/ 19 h 22"/>
                <a:gd name="T8" fmla="*/ 19 w 23"/>
                <a:gd name="T9" fmla="*/ 18 h 22"/>
                <a:gd name="T10" fmla="*/ 18 w 23"/>
                <a:gd name="T11" fmla="*/ 18 h 22"/>
                <a:gd name="T12" fmla="*/ 19 w 23"/>
                <a:gd name="T13" fmla="*/ 17 h 22"/>
                <a:gd name="T14" fmla="*/ 21 w 23"/>
                <a:gd name="T15" fmla="*/ 18 h 22"/>
                <a:gd name="T16" fmla="*/ 22 w 23"/>
                <a:gd name="T17" fmla="*/ 17 h 22"/>
                <a:gd name="T18" fmla="*/ 22 w 23"/>
                <a:gd name="T19" fmla="*/ 16 h 22"/>
                <a:gd name="T20" fmla="*/ 22 w 23"/>
                <a:gd name="T21" fmla="*/ 16 h 22"/>
                <a:gd name="T22" fmla="*/ 23 w 23"/>
                <a:gd name="T23" fmla="*/ 17 h 22"/>
                <a:gd name="T24" fmla="*/ 23 w 23"/>
                <a:gd name="T25" fmla="*/ 17 h 22"/>
                <a:gd name="T26" fmla="*/ 23 w 23"/>
                <a:gd name="T27" fmla="*/ 19 h 22"/>
                <a:gd name="T28" fmla="*/ 23 w 23"/>
                <a:gd name="T29" fmla="*/ 22 h 22"/>
                <a:gd name="T30" fmla="*/ 23 w 23"/>
                <a:gd name="T31" fmla="*/ 22 h 22"/>
                <a:gd name="T32" fmla="*/ 23 w 23"/>
                <a:gd name="T33" fmla="*/ 22 h 22"/>
                <a:gd name="T34" fmla="*/ 5 w 23"/>
                <a:gd name="T35" fmla="*/ 13 h 22"/>
                <a:gd name="T36" fmla="*/ 3 w 23"/>
                <a:gd name="T37" fmla="*/ 11 h 22"/>
                <a:gd name="T38" fmla="*/ 2 w 23"/>
                <a:gd name="T39" fmla="*/ 12 h 22"/>
                <a:gd name="T40" fmla="*/ 1 w 23"/>
                <a:gd name="T41" fmla="*/ 10 h 22"/>
                <a:gd name="T42" fmla="*/ 0 w 23"/>
                <a:gd name="T43" fmla="*/ 9 h 22"/>
                <a:gd name="T44" fmla="*/ 1 w 23"/>
                <a:gd name="T45" fmla="*/ 4 h 22"/>
                <a:gd name="T46" fmla="*/ 1 w 23"/>
                <a:gd name="T47" fmla="*/ 3 h 22"/>
                <a:gd name="T48" fmla="*/ 2 w 23"/>
                <a:gd name="T49" fmla="*/ 2 h 22"/>
                <a:gd name="T50" fmla="*/ 2 w 23"/>
                <a:gd name="T51" fmla="*/ 0 h 22"/>
                <a:gd name="T52" fmla="*/ 3 w 23"/>
                <a:gd name="T53" fmla="*/ 2 h 22"/>
                <a:gd name="T54" fmla="*/ 3 w 23"/>
                <a:gd name="T55" fmla="*/ 3 h 22"/>
                <a:gd name="T56" fmla="*/ 5 w 23"/>
                <a:gd name="T57" fmla="*/ 3 h 22"/>
                <a:gd name="T58" fmla="*/ 3 w 23"/>
                <a:gd name="T59" fmla="*/ 4 h 22"/>
                <a:gd name="T60" fmla="*/ 3 w 23"/>
                <a:gd name="T61" fmla="*/ 4 h 22"/>
                <a:gd name="T62" fmla="*/ 3 w 23"/>
                <a:gd name="T63" fmla="*/ 6 h 22"/>
                <a:gd name="T64" fmla="*/ 5 w 23"/>
                <a:gd name="T65" fmla="*/ 9 h 22"/>
                <a:gd name="T66" fmla="*/ 6 w 23"/>
                <a:gd name="T67" fmla="*/ 10 h 22"/>
                <a:gd name="T68" fmla="*/ 6 w 23"/>
                <a:gd name="T69" fmla="*/ 12 h 22"/>
                <a:gd name="T70" fmla="*/ 5 w 23"/>
                <a:gd name="T71" fmla="*/ 12 h 22"/>
                <a:gd name="T72" fmla="*/ 5 w 23"/>
                <a:gd name="T73" fmla="*/ 13 h 22"/>
                <a:gd name="T74" fmla="*/ 5 w 23"/>
                <a:gd name="T75" fmla="*/ 13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3" h="22">
                  <a:moveTo>
                    <a:pt x="23" y="22"/>
                  </a:moveTo>
                  <a:lnTo>
                    <a:pt x="22" y="20"/>
                  </a:lnTo>
                  <a:lnTo>
                    <a:pt x="22" y="20"/>
                  </a:lnTo>
                  <a:lnTo>
                    <a:pt x="21" y="19"/>
                  </a:lnTo>
                  <a:lnTo>
                    <a:pt x="19" y="18"/>
                  </a:lnTo>
                  <a:lnTo>
                    <a:pt x="18" y="18"/>
                  </a:lnTo>
                  <a:lnTo>
                    <a:pt x="19" y="17"/>
                  </a:lnTo>
                  <a:lnTo>
                    <a:pt x="21" y="18"/>
                  </a:lnTo>
                  <a:lnTo>
                    <a:pt x="22" y="17"/>
                  </a:lnTo>
                  <a:lnTo>
                    <a:pt x="22" y="16"/>
                  </a:lnTo>
                  <a:lnTo>
                    <a:pt x="22" y="16"/>
                  </a:lnTo>
                  <a:lnTo>
                    <a:pt x="23" y="17"/>
                  </a:lnTo>
                  <a:lnTo>
                    <a:pt x="23" y="17"/>
                  </a:lnTo>
                  <a:lnTo>
                    <a:pt x="23" y="19"/>
                  </a:lnTo>
                  <a:lnTo>
                    <a:pt x="23" y="22"/>
                  </a:lnTo>
                  <a:lnTo>
                    <a:pt x="23" y="22"/>
                  </a:lnTo>
                  <a:lnTo>
                    <a:pt x="23" y="22"/>
                  </a:lnTo>
                  <a:close/>
                  <a:moveTo>
                    <a:pt x="5" y="13"/>
                  </a:moveTo>
                  <a:lnTo>
                    <a:pt x="3" y="11"/>
                  </a:lnTo>
                  <a:lnTo>
                    <a:pt x="2" y="12"/>
                  </a:lnTo>
                  <a:lnTo>
                    <a:pt x="1" y="10"/>
                  </a:lnTo>
                  <a:lnTo>
                    <a:pt x="0" y="9"/>
                  </a:lnTo>
                  <a:lnTo>
                    <a:pt x="1" y="4"/>
                  </a:lnTo>
                  <a:lnTo>
                    <a:pt x="1" y="3"/>
                  </a:lnTo>
                  <a:lnTo>
                    <a:pt x="2" y="2"/>
                  </a:lnTo>
                  <a:lnTo>
                    <a:pt x="2" y="0"/>
                  </a:lnTo>
                  <a:lnTo>
                    <a:pt x="3" y="2"/>
                  </a:lnTo>
                  <a:lnTo>
                    <a:pt x="3" y="3"/>
                  </a:lnTo>
                  <a:lnTo>
                    <a:pt x="5" y="3"/>
                  </a:lnTo>
                  <a:lnTo>
                    <a:pt x="3" y="4"/>
                  </a:lnTo>
                  <a:lnTo>
                    <a:pt x="3" y="4"/>
                  </a:lnTo>
                  <a:lnTo>
                    <a:pt x="3" y="6"/>
                  </a:lnTo>
                  <a:lnTo>
                    <a:pt x="5" y="9"/>
                  </a:lnTo>
                  <a:lnTo>
                    <a:pt x="6" y="10"/>
                  </a:lnTo>
                  <a:lnTo>
                    <a:pt x="6" y="12"/>
                  </a:lnTo>
                  <a:lnTo>
                    <a:pt x="5" y="12"/>
                  </a:lnTo>
                  <a:lnTo>
                    <a:pt x="5" y="13"/>
                  </a:lnTo>
                  <a:lnTo>
                    <a:pt x="5" y="13"/>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39" name="Chad">
              <a:extLst>
                <a:ext uri="{FF2B5EF4-FFF2-40B4-BE49-F238E27FC236}">
                  <a16:creationId xmlns:a16="http://schemas.microsoft.com/office/drawing/2014/main" id="{3D48516B-C9E0-D04C-8E8C-1A333A0FF6E1}"/>
                </a:ext>
              </a:extLst>
            </p:cNvPr>
            <p:cNvSpPr>
              <a:spLocks/>
            </p:cNvSpPr>
            <p:nvPr>
              <p:custDataLst>
                <p:tags r:id="rId6"/>
              </p:custDataLst>
            </p:nvPr>
          </p:nvSpPr>
          <p:spPr bwMode="auto">
            <a:xfrm>
              <a:off x="6716612" y="3289632"/>
              <a:ext cx="274094" cy="475291"/>
            </a:xfrm>
            <a:custGeom>
              <a:avLst/>
              <a:gdLst>
                <a:gd name="T0" fmla="*/ 29 w 188"/>
                <a:gd name="T1" fmla="*/ 38 h 326"/>
                <a:gd name="T2" fmla="*/ 36 w 188"/>
                <a:gd name="T3" fmla="*/ 53 h 326"/>
                <a:gd name="T4" fmla="*/ 35 w 188"/>
                <a:gd name="T5" fmla="*/ 132 h 326"/>
                <a:gd name="T6" fmla="*/ 5 w 188"/>
                <a:gd name="T7" fmla="*/ 175 h 326"/>
                <a:gd name="T8" fmla="*/ 3 w 188"/>
                <a:gd name="T9" fmla="*/ 195 h 326"/>
                <a:gd name="T10" fmla="*/ 17 w 188"/>
                <a:gd name="T11" fmla="*/ 209 h 326"/>
                <a:gd name="T12" fmla="*/ 20 w 188"/>
                <a:gd name="T13" fmla="*/ 217 h 326"/>
                <a:gd name="T14" fmla="*/ 22 w 188"/>
                <a:gd name="T15" fmla="*/ 219 h 326"/>
                <a:gd name="T16" fmla="*/ 24 w 188"/>
                <a:gd name="T17" fmla="*/ 222 h 326"/>
                <a:gd name="T18" fmla="*/ 29 w 188"/>
                <a:gd name="T19" fmla="*/ 231 h 326"/>
                <a:gd name="T20" fmla="*/ 30 w 188"/>
                <a:gd name="T21" fmla="*/ 237 h 326"/>
                <a:gd name="T22" fmla="*/ 29 w 188"/>
                <a:gd name="T23" fmla="*/ 248 h 326"/>
                <a:gd name="T24" fmla="*/ 31 w 188"/>
                <a:gd name="T25" fmla="*/ 260 h 326"/>
                <a:gd name="T26" fmla="*/ 37 w 188"/>
                <a:gd name="T27" fmla="*/ 271 h 326"/>
                <a:gd name="T28" fmla="*/ 30 w 188"/>
                <a:gd name="T29" fmla="*/ 272 h 326"/>
                <a:gd name="T30" fmla="*/ 20 w 188"/>
                <a:gd name="T31" fmla="*/ 273 h 326"/>
                <a:gd name="T32" fmla="*/ 21 w 188"/>
                <a:gd name="T33" fmla="*/ 293 h 326"/>
                <a:gd name="T34" fmla="*/ 36 w 188"/>
                <a:gd name="T35" fmla="*/ 314 h 326"/>
                <a:gd name="T36" fmla="*/ 38 w 188"/>
                <a:gd name="T37" fmla="*/ 324 h 326"/>
                <a:gd name="T38" fmla="*/ 49 w 188"/>
                <a:gd name="T39" fmla="*/ 322 h 326"/>
                <a:gd name="T40" fmla="*/ 56 w 188"/>
                <a:gd name="T41" fmla="*/ 316 h 326"/>
                <a:gd name="T42" fmla="*/ 60 w 188"/>
                <a:gd name="T43" fmla="*/ 321 h 326"/>
                <a:gd name="T44" fmla="*/ 65 w 188"/>
                <a:gd name="T45" fmla="*/ 321 h 326"/>
                <a:gd name="T46" fmla="*/ 71 w 188"/>
                <a:gd name="T47" fmla="*/ 316 h 326"/>
                <a:gd name="T48" fmla="*/ 81 w 188"/>
                <a:gd name="T49" fmla="*/ 315 h 326"/>
                <a:gd name="T50" fmla="*/ 98 w 188"/>
                <a:gd name="T51" fmla="*/ 308 h 326"/>
                <a:gd name="T52" fmla="*/ 100 w 188"/>
                <a:gd name="T53" fmla="*/ 298 h 326"/>
                <a:gd name="T54" fmla="*/ 109 w 188"/>
                <a:gd name="T55" fmla="*/ 293 h 326"/>
                <a:gd name="T56" fmla="*/ 120 w 188"/>
                <a:gd name="T57" fmla="*/ 292 h 326"/>
                <a:gd name="T58" fmla="*/ 125 w 188"/>
                <a:gd name="T59" fmla="*/ 292 h 326"/>
                <a:gd name="T60" fmla="*/ 129 w 188"/>
                <a:gd name="T61" fmla="*/ 287 h 326"/>
                <a:gd name="T62" fmla="*/ 137 w 188"/>
                <a:gd name="T63" fmla="*/ 281 h 326"/>
                <a:gd name="T64" fmla="*/ 138 w 188"/>
                <a:gd name="T65" fmla="*/ 278 h 326"/>
                <a:gd name="T66" fmla="*/ 147 w 188"/>
                <a:gd name="T67" fmla="*/ 268 h 326"/>
                <a:gd name="T68" fmla="*/ 150 w 188"/>
                <a:gd name="T69" fmla="*/ 260 h 326"/>
                <a:gd name="T70" fmla="*/ 155 w 188"/>
                <a:gd name="T71" fmla="*/ 258 h 326"/>
                <a:gd name="T72" fmla="*/ 160 w 188"/>
                <a:gd name="T73" fmla="*/ 253 h 326"/>
                <a:gd name="T74" fmla="*/ 167 w 188"/>
                <a:gd name="T75" fmla="*/ 253 h 326"/>
                <a:gd name="T76" fmla="*/ 173 w 188"/>
                <a:gd name="T77" fmla="*/ 246 h 326"/>
                <a:gd name="T78" fmla="*/ 169 w 188"/>
                <a:gd name="T79" fmla="*/ 244 h 326"/>
                <a:gd name="T80" fmla="*/ 164 w 188"/>
                <a:gd name="T81" fmla="*/ 239 h 326"/>
                <a:gd name="T82" fmla="*/ 165 w 188"/>
                <a:gd name="T83" fmla="*/ 229 h 326"/>
                <a:gd name="T84" fmla="*/ 163 w 188"/>
                <a:gd name="T85" fmla="*/ 231 h 326"/>
                <a:gd name="T86" fmla="*/ 162 w 188"/>
                <a:gd name="T87" fmla="*/ 224 h 326"/>
                <a:gd name="T88" fmla="*/ 160 w 188"/>
                <a:gd name="T89" fmla="*/ 218 h 326"/>
                <a:gd name="T90" fmla="*/ 153 w 188"/>
                <a:gd name="T91" fmla="*/ 218 h 326"/>
                <a:gd name="T92" fmla="*/ 153 w 188"/>
                <a:gd name="T93" fmla="*/ 211 h 326"/>
                <a:gd name="T94" fmla="*/ 160 w 188"/>
                <a:gd name="T95" fmla="*/ 204 h 326"/>
                <a:gd name="T96" fmla="*/ 156 w 188"/>
                <a:gd name="T97" fmla="*/ 198 h 326"/>
                <a:gd name="T98" fmla="*/ 157 w 188"/>
                <a:gd name="T99" fmla="*/ 191 h 326"/>
                <a:gd name="T100" fmla="*/ 161 w 188"/>
                <a:gd name="T101" fmla="*/ 189 h 326"/>
                <a:gd name="T102" fmla="*/ 163 w 188"/>
                <a:gd name="T103" fmla="*/ 186 h 326"/>
                <a:gd name="T104" fmla="*/ 162 w 188"/>
                <a:gd name="T105" fmla="*/ 184 h 326"/>
                <a:gd name="T106" fmla="*/ 161 w 188"/>
                <a:gd name="T107" fmla="*/ 179 h 326"/>
                <a:gd name="T108" fmla="*/ 165 w 188"/>
                <a:gd name="T109" fmla="*/ 175 h 326"/>
                <a:gd name="T110" fmla="*/ 168 w 188"/>
                <a:gd name="T111" fmla="*/ 168 h 326"/>
                <a:gd name="T112" fmla="*/ 171 w 188"/>
                <a:gd name="T113" fmla="*/ 162 h 326"/>
                <a:gd name="T114" fmla="*/ 171 w 188"/>
                <a:gd name="T115" fmla="*/ 158 h 326"/>
                <a:gd name="T116" fmla="*/ 182 w 188"/>
                <a:gd name="T117" fmla="*/ 154 h 326"/>
                <a:gd name="T118" fmla="*/ 94 w 188"/>
                <a:gd name="T119" fmla="*/ 28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8" h="326">
                  <a:moveTo>
                    <a:pt x="24" y="6"/>
                  </a:moveTo>
                  <a:lnTo>
                    <a:pt x="28" y="26"/>
                  </a:lnTo>
                  <a:lnTo>
                    <a:pt x="28" y="37"/>
                  </a:lnTo>
                  <a:lnTo>
                    <a:pt x="29" y="38"/>
                  </a:lnTo>
                  <a:lnTo>
                    <a:pt x="35" y="48"/>
                  </a:lnTo>
                  <a:lnTo>
                    <a:pt x="35" y="48"/>
                  </a:lnTo>
                  <a:lnTo>
                    <a:pt x="34" y="50"/>
                  </a:lnTo>
                  <a:lnTo>
                    <a:pt x="36" y="53"/>
                  </a:lnTo>
                  <a:lnTo>
                    <a:pt x="43" y="60"/>
                  </a:lnTo>
                  <a:lnTo>
                    <a:pt x="38" y="68"/>
                  </a:lnTo>
                  <a:lnTo>
                    <a:pt x="36" y="93"/>
                  </a:lnTo>
                  <a:lnTo>
                    <a:pt x="35" y="132"/>
                  </a:lnTo>
                  <a:lnTo>
                    <a:pt x="16" y="155"/>
                  </a:lnTo>
                  <a:lnTo>
                    <a:pt x="9" y="166"/>
                  </a:lnTo>
                  <a:lnTo>
                    <a:pt x="5" y="173"/>
                  </a:lnTo>
                  <a:lnTo>
                    <a:pt x="5" y="175"/>
                  </a:lnTo>
                  <a:lnTo>
                    <a:pt x="3" y="177"/>
                  </a:lnTo>
                  <a:lnTo>
                    <a:pt x="3" y="179"/>
                  </a:lnTo>
                  <a:lnTo>
                    <a:pt x="0" y="181"/>
                  </a:lnTo>
                  <a:lnTo>
                    <a:pt x="3" y="195"/>
                  </a:lnTo>
                  <a:lnTo>
                    <a:pt x="5" y="202"/>
                  </a:lnTo>
                  <a:lnTo>
                    <a:pt x="9" y="208"/>
                  </a:lnTo>
                  <a:lnTo>
                    <a:pt x="10" y="209"/>
                  </a:lnTo>
                  <a:lnTo>
                    <a:pt x="17" y="209"/>
                  </a:lnTo>
                  <a:lnTo>
                    <a:pt x="20" y="212"/>
                  </a:lnTo>
                  <a:lnTo>
                    <a:pt x="18" y="214"/>
                  </a:lnTo>
                  <a:lnTo>
                    <a:pt x="20" y="217"/>
                  </a:lnTo>
                  <a:lnTo>
                    <a:pt x="20" y="217"/>
                  </a:lnTo>
                  <a:lnTo>
                    <a:pt x="21" y="215"/>
                  </a:lnTo>
                  <a:lnTo>
                    <a:pt x="22" y="217"/>
                  </a:lnTo>
                  <a:lnTo>
                    <a:pt x="23" y="217"/>
                  </a:lnTo>
                  <a:lnTo>
                    <a:pt x="22" y="219"/>
                  </a:lnTo>
                  <a:lnTo>
                    <a:pt x="23" y="218"/>
                  </a:lnTo>
                  <a:lnTo>
                    <a:pt x="24" y="218"/>
                  </a:lnTo>
                  <a:lnTo>
                    <a:pt x="25" y="221"/>
                  </a:lnTo>
                  <a:lnTo>
                    <a:pt x="24" y="222"/>
                  </a:lnTo>
                  <a:lnTo>
                    <a:pt x="25" y="224"/>
                  </a:lnTo>
                  <a:lnTo>
                    <a:pt x="25" y="228"/>
                  </a:lnTo>
                  <a:lnTo>
                    <a:pt x="29" y="229"/>
                  </a:lnTo>
                  <a:lnTo>
                    <a:pt x="29" y="231"/>
                  </a:lnTo>
                  <a:lnTo>
                    <a:pt x="29" y="233"/>
                  </a:lnTo>
                  <a:lnTo>
                    <a:pt x="29" y="234"/>
                  </a:lnTo>
                  <a:lnTo>
                    <a:pt x="29" y="234"/>
                  </a:lnTo>
                  <a:lnTo>
                    <a:pt x="30" y="237"/>
                  </a:lnTo>
                  <a:lnTo>
                    <a:pt x="29" y="238"/>
                  </a:lnTo>
                  <a:lnTo>
                    <a:pt x="30" y="241"/>
                  </a:lnTo>
                  <a:lnTo>
                    <a:pt x="29" y="244"/>
                  </a:lnTo>
                  <a:lnTo>
                    <a:pt x="29" y="248"/>
                  </a:lnTo>
                  <a:lnTo>
                    <a:pt x="29" y="252"/>
                  </a:lnTo>
                  <a:lnTo>
                    <a:pt x="30" y="254"/>
                  </a:lnTo>
                  <a:lnTo>
                    <a:pt x="29" y="255"/>
                  </a:lnTo>
                  <a:lnTo>
                    <a:pt x="31" y="260"/>
                  </a:lnTo>
                  <a:lnTo>
                    <a:pt x="31" y="262"/>
                  </a:lnTo>
                  <a:lnTo>
                    <a:pt x="31" y="262"/>
                  </a:lnTo>
                  <a:lnTo>
                    <a:pt x="36" y="266"/>
                  </a:lnTo>
                  <a:lnTo>
                    <a:pt x="37" y="271"/>
                  </a:lnTo>
                  <a:lnTo>
                    <a:pt x="41" y="273"/>
                  </a:lnTo>
                  <a:lnTo>
                    <a:pt x="36" y="274"/>
                  </a:lnTo>
                  <a:lnTo>
                    <a:pt x="33" y="273"/>
                  </a:lnTo>
                  <a:lnTo>
                    <a:pt x="30" y="272"/>
                  </a:lnTo>
                  <a:lnTo>
                    <a:pt x="30" y="274"/>
                  </a:lnTo>
                  <a:lnTo>
                    <a:pt x="27" y="273"/>
                  </a:lnTo>
                  <a:lnTo>
                    <a:pt x="24" y="274"/>
                  </a:lnTo>
                  <a:lnTo>
                    <a:pt x="20" y="273"/>
                  </a:lnTo>
                  <a:lnTo>
                    <a:pt x="14" y="273"/>
                  </a:lnTo>
                  <a:lnTo>
                    <a:pt x="13" y="275"/>
                  </a:lnTo>
                  <a:lnTo>
                    <a:pt x="10" y="281"/>
                  </a:lnTo>
                  <a:lnTo>
                    <a:pt x="21" y="293"/>
                  </a:lnTo>
                  <a:lnTo>
                    <a:pt x="30" y="300"/>
                  </a:lnTo>
                  <a:lnTo>
                    <a:pt x="33" y="304"/>
                  </a:lnTo>
                  <a:lnTo>
                    <a:pt x="36" y="312"/>
                  </a:lnTo>
                  <a:lnTo>
                    <a:pt x="36" y="314"/>
                  </a:lnTo>
                  <a:lnTo>
                    <a:pt x="38" y="319"/>
                  </a:lnTo>
                  <a:lnTo>
                    <a:pt x="40" y="319"/>
                  </a:lnTo>
                  <a:lnTo>
                    <a:pt x="38" y="321"/>
                  </a:lnTo>
                  <a:lnTo>
                    <a:pt x="38" y="324"/>
                  </a:lnTo>
                  <a:lnTo>
                    <a:pt x="42" y="324"/>
                  </a:lnTo>
                  <a:lnTo>
                    <a:pt x="43" y="326"/>
                  </a:lnTo>
                  <a:lnTo>
                    <a:pt x="47" y="324"/>
                  </a:lnTo>
                  <a:lnTo>
                    <a:pt x="49" y="322"/>
                  </a:lnTo>
                  <a:lnTo>
                    <a:pt x="55" y="320"/>
                  </a:lnTo>
                  <a:lnTo>
                    <a:pt x="55" y="318"/>
                  </a:lnTo>
                  <a:lnTo>
                    <a:pt x="56" y="319"/>
                  </a:lnTo>
                  <a:lnTo>
                    <a:pt x="56" y="316"/>
                  </a:lnTo>
                  <a:lnTo>
                    <a:pt x="57" y="316"/>
                  </a:lnTo>
                  <a:lnTo>
                    <a:pt x="57" y="319"/>
                  </a:lnTo>
                  <a:lnTo>
                    <a:pt x="58" y="319"/>
                  </a:lnTo>
                  <a:lnTo>
                    <a:pt x="60" y="321"/>
                  </a:lnTo>
                  <a:lnTo>
                    <a:pt x="62" y="322"/>
                  </a:lnTo>
                  <a:lnTo>
                    <a:pt x="63" y="324"/>
                  </a:lnTo>
                  <a:lnTo>
                    <a:pt x="63" y="321"/>
                  </a:lnTo>
                  <a:lnTo>
                    <a:pt x="65" y="321"/>
                  </a:lnTo>
                  <a:lnTo>
                    <a:pt x="67" y="321"/>
                  </a:lnTo>
                  <a:lnTo>
                    <a:pt x="68" y="320"/>
                  </a:lnTo>
                  <a:lnTo>
                    <a:pt x="70" y="318"/>
                  </a:lnTo>
                  <a:lnTo>
                    <a:pt x="71" y="316"/>
                  </a:lnTo>
                  <a:lnTo>
                    <a:pt x="73" y="316"/>
                  </a:lnTo>
                  <a:lnTo>
                    <a:pt x="74" y="315"/>
                  </a:lnTo>
                  <a:lnTo>
                    <a:pt x="77" y="314"/>
                  </a:lnTo>
                  <a:lnTo>
                    <a:pt x="81" y="315"/>
                  </a:lnTo>
                  <a:lnTo>
                    <a:pt x="84" y="314"/>
                  </a:lnTo>
                  <a:lnTo>
                    <a:pt x="93" y="313"/>
                  </a:lnTo>
                  <a:lnTo>
                    <a:pt x="95" y="309"/>
                  </a:lnTo>
                  <a:lnTo>
                    <a:pt x="98" y="308"/>
                  </a:lnTo>
                  <a:lnTo>
                    <a:pt x="100" y="305"/>
                  </a:lnTo>
                  <a:lnTo>
                    <a:pt x="103" y="302"/>
                  </a:lnTo>
                  <a:lnTo>
                    <a:pt x="104" y="300"/>
                  </a:lnTo>
                  <a:lnTo>
                    <a:pt x="100" y="298"/>
                  </a:lnTo>
                  <a:lnTo>
                    <a:pt x="100" y="295"/>
                  </a:lnTo>
                  <a:lnTo>
                    <a:pt x="103" y="293"/>
                  </a:lnTo>
                  <a:lnTo>
                    <a:pt x="107" y="293"/>
                  </a:lnTo>
                  <a:lnTo>
                    <a:pt x="109" y="293"/>
                  </a:lnTo>
                  <a:lnTo>
                    <a:pt x="111" y="293"/>
                  </a:lnTo>
                  <a:lnTo>
                    <a:pt x="114" y="293"/>
                  </a:lnTo>
                  <a:lnTo>
                    <a:pt x="116" y="292"/>
                  </a:lnTo>
                  <a:lnTo>
                    <a:pt x="120" y="292"/>
                  </a:lnTo>
                  <a:lnTo>
                    <a:pt x="121" y="291"/>
                  </a:lnTo>
                  <a:lnTo>
                    <a:pt x="122" y="292"/>
                  </a:lnTo>
                  <a:lnTo>
                    <a:pt x="123" y="291"/>
                  </a:lnTo>
                  <a:lnTo>
                    <a:pt x="125" y="292"/>
                  </a:lnTo>
                  <a:lnTo>
                    <a:pt x="127" y="291"/>
                  </a:lnTo>
                  <a:lnTo>
                    <a:pt x="129" y="289"/>
                  </a:lnTo>
                  <a:lnTo>
                    <a:pt x="129" y="287"/>
                  </a:lnTo>
                  <a:lnTo>
                    <a:pt x="129" y="287"/>
                  </a:lnTo>
                  <a:lnTo>
                    <a:pt x="130" y="287"/>
                  </a:lnTo>
                  <a:lnTo>
                    <a:pt x="131" y="286"/>
                  </a:lnTo>
                  <a:lnTo>
                    <a:pt x="133" y="285"/>
                  </a:lnTo>
                  <a:lnTo>
                    <a:pt x="137" y="281"/>
                  </a:lnTo>
                  <a:lnTo>
                    <a:pt x="138" y="281"/>
                  </a:lnTo>
                  <a:lnTo>
                    <a:pt x="137" y="280"/>
                  </a:lnTo>
                  <a:lnTo>
                    <a:pt x="137" y="278"/>
                  </a:lnTo>
                  <a:lnTo>
                    <a:pt x="138" y="278"/>
                  </a:lnTo>
                  <a:lnTo>
                    <a:pt x="142" y="272"/>
                  </a:lnTo>
                  <a:lnTo>
                    <a:pt x="143" y="274"/>
                  </a:lnTo>
                  <a:lnTo>
                    <a:pt x="143" y="273"/>
                  </a:lnTo>
                  <a:lnTo>
                    <a:pt x="147" y="268"/>
                  </a:lnTo>
                  <a:lnTo>
                    <a:pt x="150" y="267"/>
                  </a:lnTo>
                  <a:lnTo>
                    <a:pt x="151" y="265"/>
                  </a:lnTo>
                  <a:lnTo>
                    <a:pt x="150" y="262"/>
                  </a:lnTo>
                  <a:lnTo>
                    <a:pt x="150" y="260"/>
                  </a:lnTo>
                  <a:lnTo>
                    <a:pt x="151" y="259"/>
                  </a:lnTo>
                  <a:lnTo>
                    <a:pt x="153" y="259"/>
                  </a:lnTo>
                  <a:lnTo>
                    <a:pt x="154" y="258"/>
                  </a:lnTo>
                  <a:lnTo>
                    <a:pt x="155" y="258"/>
                  </a:lnTo>
                  <a:lnTo>
                    <a:pt x="155" y="256"/>
                  </a:lnTo>
                  <a:lnTo>
                    <a:pt x="156" y="255"/>
                  </a:lnTo>
                  <a:lnTo>
                    <a:pt x="158" y="255"/>
                  </a:lnTo>
                  <a:lnTo>
                    <a:pt x="160" y="253"/>
                  </a:lnTo>
                  <a:lnTo>
                    <a:pt x="162" y="253"/>
                  </a:lnTo>
                  <a:lnTo>
                    <a:pt x="163" y="254"/>
                  </a:lnTo>
                  <a:lnTo>
                    <a:pt x="163" y="252"/>
                  </a:lnTo>
                  <a:lnTo>
                    <a:pt x="167" y="253"/>
                  </a:lnTo>
                  <a:lnTo>
                    <a:pt x="171" y="253"/>
                  </a:lnTo>
                  <a:lnTo>
                    <a:pt x="171" y="251"/>
                  </a:lnTo>
                  <a:lnTo>
                    <a:pt x="173" y="247"/>
                  </a:lnTo>
                  <a:lnTo>
                    <a:pt x="173" y="246"/>
                  </a:lnTo>
                  <a:lnTo>
                    <a:pt x="173" y="246"/>
                  </a:lnTo>
                  <a:lnTo>
                    <a:pt x="171" y="244"/>
                  </a:lnTo>
                  <a:lnTo>
                    <a:pt x="169" y="244"/>
                  </a:lnTo>
                  <a:lnTo>
                    <a:pt x="169" y="244"/>
                  </a:lnTo>
                  <a:lnTo>
                    <a:pt x="169" y="242"/>
                  </a:lnTo>
                  <a:lnTo>
                    <a:pt x="167" y="241"/>
                  </a:lnTo>
                  <a:lnTo>
                    <a:pt x="164" y="239"/>
                  </a:lnTo>
                  <a:lnTo>
                    <a:pt x="164" y="239"/>
                  </a:lnTo>
                  <a:lnTo>
                    <a:pt x="165" y="235"/>
                  </a:lnTo>
                  <a:lnTo>
                    <a:pt x="165" y="232"/>
                  </a:lnTo>
                  <a:lnTo>
                    <a:pt x="165" y="231"/>
                  </a:lnTo>
                  <a:lnTo>
                    <a:pt x="165" y="229"/>
                  </a:lnTo>
                  <a:lnTo>
                    <a:pt x="165" y="231"/>
                  </a:lnTo>
                  <a:lnTo>
                    <a:pt x="165" y="229"/>
                  </a:lnTo>
                  <a:lnTo>
                    <a:pt x="164" y="231"/>
                  </a:lnTo>
                  <a:lnTo>
                    <a:pt x="163" y="231"/>
                  </a:lnTo>
                  <a:lnTo>
                    <a:pt x="163" y="231"/>
                  </a:lnTo>
                  <a:lnTo>
                    <a:pt x="163" y="228"/>
                  </a:lnTo>
                  <a:lnTo>
                    <a:pt x="162" y="225"/>
                  </a:lnTo>
                  <a:lnTo>
                    <a:pt x="162" y="224"/>
                  </a:lnTo>
                  <a:lnTo>
                    <a:pt x="161" y="222"/>
                  </a:lnTo>
                  <a:lnTo>
                    <a:pt x="162" y="222"/>
                  </a:lnTo>
                  <a:lnTo>
                    <a:pt x="162" y="219"/>
                  </a:lnTo>
                  <a:lnTo>
                    <a:pt x="160" y="218"/>
                  </a:lnTo>
                  <a:lnTo>
                    <a:pt x="158" y="217"/>
                  </a:lnTo>
                  <a:lnTo>
                    <a:pt x="157" y="218"/>
                  </a:lnTo>
                  <a:lnTo>
                    <a:pt x="155" y="219"/>
                  </a:lnTo>
                  <a:lnTo>
                    <a:pt x="153" y="218"/>
                  </a:lnTo>
                  <a:lnTo>
                    <a:pt x="153" y="218"/>
                  </a:lnTo>
                  <a:lnTo>
                    <a:pt x="151" y="215"/>
                  </a:lnTo>
                  <a:lnTo>
                    <a:pt x="153" y="212"/>
                  </a:lnTo>
                  <a:lnTo>
                    <a:pt x="153" y="211"/>
                  </a:lnTo>
                  <a:lnTo>
                    <a:pt x="153" y="211"/>
                  </a:lnTo>
                  <a:lnTo>
                    <a:pt x="154" y="208"/>
                  </a:lnTo>
                  <a:lnTo>
                    <a:pt x="157" y="207"/>
                  </a:lnTo>
                  <a:lnTo>
                    <a:pt x="160" y="204"/>
                  </a:lnTo>
                  <a:lnTo>
                    <a:pt x="160" y="204"/>
                  </a:lnTo>
                  <a:lnTo>
                    <a:pt x="158" y="201"/>
                  </a:lnTo>
                  <a:lnTo>
                    <a:pt x="157" y="200"/>
                  </a:lnTo>
                  <a:lnTo>
                    <a:pt x="156" y="198"/>
                  </a:lnTo>
                  <a:lnTo>
                    <a:pt x="156" y="198"/>
                  </a:lnTo>
                  <a:lnTo>
                    <a:pt x="156" y="197"/>
                  </a:lnTo>
                  <a:lnTo>
                    <a:pt x="155" y="195"/>
                  </a:lnTo>
                  <a:lnTo>
                    <a:pt x="157" y="191"/>
                  </a:lnTo>
                  <a:lnTo>
                    <a:pt x="160" y="191"/>
                  </a:lnTo>
                  <a:lnTo>
                    <a:pt x="160" y="191"/>
                  </a:lnTo>
                  <a:lnTo>
                    <a:pt x="161" y="189"/>
                  </a:lnTo>
                  <a:lnTo>
                    <a:pt x="161" y="189"/>
                  </a:lnTo>
                  <a:lnTo>
                    <a:pt x="162" y="188"/>
                  </a:lnTo>
                  <a:lnTo>
                    <a:pt x="163" y="188"/>
                  </a:lnTo>
                  <a:lnTo>
                    <a:pt x="163" y="187"/>
                  </a:lnTo>
                  <a:lnTo>
                    <a:pt x="163" y="186"/>
                  </a:lnTo>
                  <a:lnTo>
                    <a:pt x="162" y="186"/>
                  </a:lnTo>
                  <a:lnTo>
                    <a:pt x="162" y="185"/>
                  </a:lnTo>
                  <a:lnTo>
                    <a:pt x="161" y="184"/>
                  </a:lnTo>
                  <a:lnTo>
                    <a:pt x="162" y="184"/>
                  </a:lnTo>
                  <a:lnTo>
                    <a:pt x="162" y="182"/>
                  </a:lnTo>
                  <a:lnTo>
                    <a:pt x="161" y="181"/>
                  </a:lnTo>
                  <a:lnTo>
                    <a:pt x="161" y="180"/>
                  </a:lnTo>
                  <a:lnTo>
                    <a:pt x="161" y="179"/>
                  </a:lnTo>
                  <a:lnTo>
                    <a:pt x="161" y="178"/>
                  </a:lnTo>
                  <a:lnTo>
                    <a:pt x="162" y="178"/>
                  </a:lnTo>
                  <a:lnTo>
                    <a:pt x="165" y="177"/>
                  </a:lnTo>
                  <a:lnTo>
                    <a:pt x="165" y="175"/>
                  </a:lnTo>
                  <a:lnTo>
                    <a:pt x="164" y="173"/>
                  </a:lnTo>
                  <a:lnTo>
                    <a:pt x="167" y="172"/>
                  </a:lnTo>
                  <a:lnTo>
                    <a:pt x="167" y="169"/>
                  </a:lnTo>
                  <a:lnTo>
                    <a:pt x="168" y="168"/>
                  </a:lnTo>
                  <a:lnTo>
                    <a:pt x="170" y="167"/>
                  </a:lnTo>
                  <a:lnTo>
                    <a:pt x="170" y="167"/>
                  </a:lnTo>
                  <a:lnTo>
                    <a:pt x="170" y="166"/>
                  </a:lnTo>
                  <a:lnTo>
                    <a:pt x="171" y="162"/>
                  </a:lnTo>
                  <a:lnTo>
                    <a:pt x="170" y="161"/>
                  </a:lnTo>
                  <a:lnTo>
                    <a:pt x="169" y="160"/>
                  </a:lnTo>
                  <a:lnTo>
                    <a:pt x="170" y="159"/>
                  </a:lnTo>
                  <a:lnTo>
                    <a:pt x="171" y="158"/>
                  </a:lnTo>
                  <a:lnTo>
                    <a:pt x="173" y="155"/>
                  </a:lnTo>
                  <a:lnTo>
                    <a:pt x="177" y="157"/>
                  </a:lnTo>
                  <a:lnTo>
                    <a:pt x="178" y="155"/>
                  </a:lnTo>
                  <a:lnTo>
                    <a:pt x="182" y="154"/>
                  </a:lnTo>
                  <a:lnTo>
                    <a:pt x="184" y="154"/>
                  </a:lnTo>
                  <a:lnTo>
                    <a:pt x="188" y="155"/>
                  </a:lnTo>
                  <a:lnTo>
                    <a:pt x="185" y="80"/>
                  </a:lnTo>
                  <a:lnTo>
                    <a:pt x="94" y="28"/>
                  </a:lnTo>
                  <a:lnTo>
                    <a:pt x="37" y="0"/>
                  </a:lnTo>
                  <a:lnTo>
                    <a:pt x="24" y="6"/>
                  </a:lnTo>
                  <a:lnTo>
                    <a:pt x="24" y="6"/>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40" name="Central African Republic">
              <a:extLst>
                <a:ext uri="{FF2B5EF4-FFF2-40B4-BE49-F238E27FC236}">
                  <a16:creationId xmlns:a16="http://schemas.microsoft.com/office/drawing/2014/main" id="{E7BE43EB-57F1-4249-87EC-DD34CC841A50}"/>
                </a:ext>
              </a:extLst>
            </p:cNvPr>
            <p:cNvSpPr>
              <a:spLocks/>
            </p:cNvSpPr>
            <p:nvPr/>
          </p:nvSpPr>
          <p:spPr bwMode="auto">
            <a:xfrm>
              <a:off x="6742856" y="3657035"/>
              <a:ext cx="345534" cy="262431"/>
            </a:xfrm>
            <a:custGeom>
              <a:avLst/>
              <a:gdLst>
                <a:gd name="T0" fmla="*/ 166 w 237"/>
                <a:gd name="T1" fmla="*/ 32 h 180"/>
                <a:gd name="T2" fmla="*/ 166 w 237"/>
                <a:gd name="T3" fmla="*/ 43 h 180"/>
                <a:gd name="T4" fmla="*/ 178 w 237"/>
                <a:gd name="T5" fmla="*/ 49 h 180"/>
                <a:gd name="T6" fmla="*/ 185 w 237"/>
                <a:gd name="T7" fmla="*/ 57 h 180"/>
                <a:gd name="T8" fmla="*/ 196 w 237"/>
                <a:gd name="T9" fmla="*/ 70 h 180"/>
                <a:gd name="T10" fmla="*/ 212 w 237"/>
                <a:gd name="T11" fmla="*/ 86 h 180"/>
                <a:gd name="T12" fmla="*/ 219 w 237"/>
                <a:gd name="T13" fmla="*/ 101 h 180"/>
                <a:gd name="T14" fmla="*/ 233 w 237"/>
                <a:gd name="T15" fmla="*/ 114 h 180"/>
                <a:gd name="T16" fmla="*/ 232 w 237"/>
                <a:gd name="T17" fmla="*/ 119 h 180"/>
                <a:gd name="T18" fmla="*/ 224 w 237"/>
                <a:gd name="T19" fmla="*/ 122 h 180"/>
                <a:gd name="T20" fmla="*/ 220 w 237"/>
                <a:gd name="T21" fmla="*/ 122 h 180"/>
                <a:gd name="T22" fmla="*/ 217 w 237"/>
                <a:gd name="T23" fmla="*/ 121 h 180"/>
                <a:gd name="T24" fmla="*/ 213 w 237"/>
                <a:gd name="T25" fmla="*/ 119 h 180"/>
                <a:gd name="T26" fmla="*/ 211 w 237"/>
                <a:gd name="T27" fmla="*/ 119 h 180"/>
                <a:gd name="T28" fmla="*/ 209 w 237"/>
                <a:gd name="T29" fmla="*/ 120 h 180"/>
                <a:gd name="T30" fmla="*/ 206 w 237"/>
                <a:gd name="T31" fmla="*/ 119 h 180"/>
                <a:gd name="T32" fmla="*/ 204 w 237"/>
                <a:gd name="T33" fmla="*/ 116 h 180"/>
                <a:gd name="T34" fmla="*/ 200 w 237"/>
                <a:gd name="T35" fmla="*/ 116 h 180"/>
                <a:gd name="T36" fmla="*/ 198 w 237"/>
                <a:gd name="T37" fmla="*/ 120 h 180"/>
                <a:gd name="T38" fmla="*/ 196 w 237"/>
                <a:gd name="T39" fmla="*/ 123 h 180"/>
                <a:gd name="T40" fmla="*/ 189 w 237"/>
                <a:gd name="T41" fmla="*/ 126 h 180"/>
                <a:gd name="T42" fmla="*/ 185 w 237"/>
                <a:gd name="T43" fmla="*/ 122 h 180"/>
                <a:gd name="T44" fmla="*/ 182 w 237"/>
                <a:gd name="T45" fmla="*/ 122 h 180"/>
                <a:gd name="T46" fmla="*/ 179 w 237"/>
                <a:gd name="T47" fmla="*/ 123 h 180"/>
                <a:gd name="T48" fmla="*/ 176 w 237"/>
                <a:gd name="T49" fmla="*/ 126 h 180"/>
                <a:gd name="T50" fmla="*/ 171 w 237"/>
                <a:gd name="T51" fmla="*/ 127 h 180"/>
                <a:gd name="T52" fmla="*/ 163 w 237"/>
                <a:gd name="T53" fmla="*/ 132 h 180"/>
                <a:gd name="T54" fmla="*/ 158 w 237"/>
                <a:gd name="T55" fmla="*/ 129 h 180"/>
                <a:gd name="T56" fmla="*/ 155 w 237"/>
                <a:gd name="T57" fmla="*/ 129 h 180"/>
                <a:gd name="T58" fmla="*/ 151 w 237"/>
                <a:gd name="T59" fmla="*/ 133 h 180"/>
                <a:gd name="T60" fmla="*/ 149 w 237"/>
                <a:gd name="T61" fmla="*/ 137 h 180"/>
                <a:gd name="T62" fmla="*/ 140 w 237"/>
                <a:gd name="T63" fmla="*/ 140 h 180"/>
                <a:gd name="T64" fmla="*/ 132 w 237"/>
                <a:gd name="T65" fmla="*/ 137 h 180"/>
                <a:gd name="T66" fmla="*/ 124 w 237"/>
                <a:gd name="T67" fmla="*/ 139 h 180"/>
                <a:gd name="T68" fmla="*/ 112 w 237"/>
                <a:gd name="T69" fmla="*/ 135 h 180"/>
                <a:gd name="T70" fmla="*/ 105 w 237"/>
                <a:gd name="T71" fmla="*/ 126 h 180"/>
                <a:gd name="T72" fmla="*/ 93 w 237"/>
                <a:gd name="T73" fmla="*/ 121 h 180"/>
                <a:gd name="T74" fmla="*/ 86 w 237"/>
                <a:gd name="T75" fmla="*/ 124 h 180"/>
                <a:gd name="T76" fmla="*/ 82 w 237"/>
                <a:gd name="T77" fmla="*/ 130 h 180"/>
                <a:gd name="T78" fmla="*/ 77 w 237"/>
                <a:gd name="T79" fmla="*/ 136 h 180"/>
                <a:gd name="T80" fmla="*/ 77 w 237"/>
                <a:gd name="T81" fmla="*/ 149 h 180"/>
                <a:gd name="T82" fmla="*/ 69 w 237"/>
                <a:gd name="T83" fmla="*/ 154 h 180"/>
                <a:gd name="T84" fmla="*/ 57 w 237"/>
                <a:gd name="T85" fmla="*/ 150 h 180"/>
                <a:gd name="T86" fmla="*/ 45 w 237"/>
                <a:gd name="T87" fmla="*/ 154 h 180"/>
                <a:gd name="T88" fmla="*/ 33 w 237"/>
                <a:gd name="T89" fmla="*/ 180 h 180"/>
                <a:gd name="T90" fmla="*/ 31 w 237"/>
                <a:gd name="T91" fmla="*/ 167 h 180"/>
                <a:gd name="T92" fmla="*/ 15 w 237"/>
                <a:gd name="T93" fmla="*/ 143 h 180"/>
                <a:gd name="T94" fmla="*/ 5 w 237"/>
                <a:gd name="T95" fmla="*/ 120 h 180"/>
                <a:gd name="T96" fmla="*/ 2 w 237"/>
                <a:gd name="T97" fmla="*/ 101 h 180"/>
                <a:gd name="T98" fmla="*/ 18 w 237"/>
                <a:gd name="T99" fmla="*/ 75 h 180"/>
                <a:gd name="T100" fmla="*/ 31 w 237"/>
                <a:gd name="T101" fmla="*/ 70 h 180"/>
                <a:gd name="T102" fmla="*/ 40 w 237"/>
                <a:gd name="T103" fmla="*/ 67 h 180"/>
                <a:gd name="T104" fmla="*/ 50 w 237"/>
                <a:gd name="T105" fmla="*/ 68 h 180"/>
                <a:gd name="T106" fmla="*/ 66 w 237"/>
                <a:gd name="T107" fmla="*/ 62 h 180"/>
                <a:gd name="T108" fmla="*/ 82 w 237"/>
                <a:gd name="T109" fmla="*/ 46 h 180"/>
                <a:gd name="T110" fmla="*/ 98 w 237"/>
                <a:gd name="T111" fmla="*/ 40 h 180"/>
                <a:gd name="T112" fmla="*/ 111 w 237"/>
                <a:gd name="T113" fmla="*/ 37 h 180"/>
                <a:gd name="T114" fmla="*/ 120 w 237"/>
                <a:gd name="T115" fmla="*/ 29 h 180"/>
                <a:gd name="T116" fmla="*/ 129 w 237"/>
                <a:gd name="T117" fmla="*/ 16 h 180"/>
                <a:gd name="T118" fmla="*/ 136 w 237"/>
                <a:gd name="T119" fmla="*/ 6 h 180"/>
                <a:gd name="T120" fmla="*/ 145 w 237"/>
                <a:gd name="T121" fmla="*/ 2 h 1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37" h="180">
                  <a:moveTo>
                    <a:pt x="153" y="1"/>
                  </a:moveTo>
                  <a:lnTo>
                    <a:pt x="159" y="10"/>
                  </a:lnTo>
                  <a:lnTo>
                    <a:pt x="160" y="10"/>
                  </a:lnTo>
                  <a:lnTo>
                    <a:pt x="167" y="23"/>
                  </a:lnTo>
                  <a:lnTo>
                    <a:pt x="167" y="27"/>
                  </a:lnTo>
                  <a:lnTo>
                    <a:pt x="166" y="30"/>
                  </a:lnTo>
                  <a:lnTo>
                    <a:pt x="166" y="32"/>
                  </a:lnTo>
                  <a:lnTo>
                    <a:pt x="167" y="33"/>
                  </a:lnTo>
                  <a:lnTo>
                    <a:pt x="167" y="35"/>
                  </a:lnTo>
                  <a:lnTo>
                    <a:pt x="165" y="37"/>
                  </a:lnTo>
                  <a:lnTo>
                    <a:pt x="163" y="41"/>
                  </a:lnTo>
                  <a:lnTo>
                    <a:pt x="164" y="43"/>
                  </a:lnTo>
                  <a:lnTo>
                    <a:pt x="166" y="41"/>
                  </a:lnTo>
                  <a:lnTo>
                    <a:pt x="166" y="43"/>
                  </a:lnTo>
                  <a:lnTo>
                    <a:pt x="165" y="44"/>
                  </a:lnTo>
                  <a:lnTo>
                    <a:pt x="165" y="48"/>
                  </a:lnTo>
                  <a:lnTo>
                    <a:pt x="165" y="47"/>
                  </a:lnTo>
                  <a:lnTo>
                    <a:pt x="169" y="47"/>
                  </a:lnTo>
                  <a:lnTo>
                    <a:pt x="179" y="47"/>
                  </a:lnTo>
                  <a:lnTo>
                    <a:pt x="179" y="49"/>
                  </a:lnTo>
                  <a:lnTo>
                    <a:pt x="178" y="49"/>
                  </a:lnTo>
                  <a:lnTo>
                    <a:pt x="177" y="52"/>
                  </a:lnTo>
                  <a:lnTo>
                    <a:pt x="177" y="54"/>
                  </a:lnTo>
                  <a:lnTo>
                    <a:pt x="177" y="55"/>
                  </a:lnTo>
                  <a:lnTo>
                    <a:pt x="179" y="56"/>
                  </a:lnTo>
                  <a:lnTo>
                    <a:pt x="182" y="56"/>
                  </a:lnTo>
                  <a:lnTo>
                    <a:pt x="183" y="57"/>
                  </a:lnTo>
                  <a:lnTo>
                    <a:pt x="185" y="57"/>
                  </a:lnTo>
                  <a:lnTo>
                    <a:pt x="189" y="59"/>
                  </a:lnTo>
                  <a:lnTo>
                    <a:pt x="190" y="62"/>
                  </a:lnTo>
                  <a:lnTo>
                    <a:pt x="193" y="63"/>
                  </a:lnTo>
                  <a:lnTo>
                    <a:pt x="196" y="64"/>
                  </a:lnTo>
                  <a:lnTo>
                    <a:pt x="197" y="66"/>
                  </a:lnTo>
                  <a:lnTo>
                    <a:pt x="198" y="68"/>
                  </a:lnTo>
                  <a:lnTo>
                    <a:pt x="196" y="70"/>
                  </a:lnTo>
                  <a:lnTo>
                    <a:pt x="196" y="72"/>
                  </a:lnTo>
                  <a:lnTo>
                    <a:pt x="198" y="73"/>
                  </a:lnTo>
                  <a:lnTo>
                    <a:pt x="200" y="77"/>
                  </a:lnTo>
                  <a:lnTo>
                    <a:pt x="206" y="79"/>
                  </a:lnTo>
                  <a:lnTo>
                    <a:pt x="210" y="82"/>
                  </a:lnTo>
                  <a:lnTo>
                    <a:pt x="212" y="84"/>
                  </a:lnTo>
                  <a:lnTo>
                    <a:pt x="212" y="86"/>
                  </a:lnTo>
                  <a:lnTo>
                    <a:pt x="216" y="88"/>
                  </a:lnTo>
                  <a:lnTo>
                    <a:pt x="218" y="89"/>
                  </a:lnTo>
                  <a:lnTo>
                    <a:pt x="217" y="92"/>
                  </a:lnTo>
                  <a:lnTo>
                    <a:pt x="217" y="96"/>
                  </a:lnTo>
                  <a:lnTo>
                    <a:pt x="219" y="97"/>
                  </a:lnTo>
                  <a:lnTo>
                    <a:pt x="220" y="99"/>
                  </a:lnTo>
                  <a:lnTo>
                    <a:pt x="219" y="101"/>
                  </a:lnTo>
                  <a:lnTo>
                    <a:pt x="220" y="101"/>
                  </a:lnTo>
                  <a:lnTo>
                    <a:pt x="223" y="103"/>
                  </a:lnTo>
                  <a:lnTo>
                    <a:pt x="225" y="103"/>
                  </a:lnTo>
                  <a:lnTo>
                    <a:pt x="233" y="109"/>
                  </a:lnTo>
                  <a:lnTo>
                    <a:pt x="233" y="110"/>
                  </a:lnTo>
                  <a:lnTo>
                    <a:pt x="234" y="112"/>
                  </a:lnTo>
                  <a:lnTo>
                    <a:pt x="233" y="114"/>
                  </a:lnTo>
                  <a:lnTo>
                    <a:pt x="233" y="117"/>
                  </a:lnTo>
                  <a:lnTo>
                    <a:pt x="237" y="121"/>
                  </a:lnTo>
                  <a:lnTo>
                    <a:pt x="237" y="122"/>
                  </a:lnTo>
                  <a:lnTo>
                    <a:pt x="236" y="122"/>
                  </a:lnTo>
                  <a:lnTo>
                    <a:pt x="234" y="122"/>
                  </a:lnTo>
                  <a:lnTo>
                    <a:pt x="234" y="121"/>
                  </a:lnTo>
                  <a:lnTo>
                    <a:pt x="232" y="119"/>
                  </a:lnTo>
                  <a:lnTo>
                    <a:pt x="231" y="119"/>
                  </a:lnTo>
                  <a:lnTo>
                    <a:pt x="227" y="121"/>
                  </a:lnTo>
                  <a:lnTo>
                    <a:pt x="226" y="122"/>
                  </a:lnTo>
                  <a:lnTo>
                    <a:pt x="225" y="122"/>
                  </a:lnTo>
                  <a:lnTo>
                    <a:pt x="225" y="122"/>
                  </a:lnTo>
                  <a:lnTo>
                    <a:pt x="225" y="122"/>
                  </a:lnTo>
                  <a:lnTo>
                    <a:pt x="224" y="122"/>
                  </a:lnTo>
                  <a:lnTo>
                    <a:pt x="223" y="122"/>
                  </a:lnTo>
                  <a:lnTo>
                    <a:pt x="223" y="122"/>
                  </a:lnTo>
                  <a:lnTo>
                    <a:pt x="222" y="122"/>
                  </a:lnTo>
                  <a:lnTo>
                    <a:pt x="222" y="122"/>
                  </a:lnTo>
                  <a:lnTo>
                    <a:pt x="222" y="122"/>
                  </a:lnTo>
                  <a:lnTo>
                    <a:pt x="222" y="122"/>
                  </a:lnTo>
                  <a:lnTo>
                    <a:pt x="220" y="122"/>
                  </a:lnTo>
                  <a:lnTo>
                    <a:pt x="220" y="122"/>
                  </a:lnTo>
                  <a:lnTo>
                    <a:pt x="219" y="122"/>
                  </a:lnTo>
                  <a:lnTo>
                    <a:pt x="219" y="122"/>
                  </a:lnTo>
                  <a:lnTo>
                    <a:pt x="218" y="121"/>
                  </a:lnTo>
                  <a:lnTo>
                    <a:pt x="218" y="121"/>
                  </a:lnTo>
                  <a:lnTo>
                    <a:pt x="217" y="121"/>
                  </a:lnTo>
                  <a:lnTo>
                    <a:pt x="217" y="121"/>
                  </a:lnTo>
                  <a:lnTo>
                    <a:pt x="216" y="121"/>
                  </a:lnTo>
                  <a:lnTo>
                    <a:pt x="214" y="120"/>
                  </a:lnTo>
                  <a:lnTo>
                    <a:pt x="214" y="120"/>
                  </a:lnTo>
                  <a:lnTo>
                    <a:pt x="214" y="119"/>
                  </a:lnTo>
                  <a:lnTo>
                    <a:pt x="214" y="119"/>
                  </a:lnTo>
                  <a:lnTo>
                    <a:pt x="213" y="119"/>
                  </a:lnTo>
                  <a:lnTo>
                    <a:pt x="213" y="119"/>
                  </a:lnTo>
                  <a:lnTo>
                    <a:pt x="213" y="119"/>
                  </a:lnTo>
                  <a:lnTo>
                    <a:pt x="212" y="119"/>
                  </a:lnTo>
                  <a:lnTo>
                    <a:pt x="212" y="119"/>
                  </a:lnTo>
                  <a:lnTo>
                    <a:pt x="212" y="119"/>
                  </a:lnTo>
                  <a:lnTo>
                    <a:pt x="211" y="119"/>
                  </a:lnTo>
                  <a:lnTo>
                    <a:pt x="211" y="120"/>
                  </a:lnTo>
                  <a:lnTo>
                    <a:pt x="211" y="119"/>
                  </a:lnTo>
                  <a:lnTo>
                    <a:pt x="211" y="119"/>
                  </a:lnTo>
                  <a:lnTo>
                    <a:pt x="210" y="119"/>
                  </a:lnTo>
                  <a:lnTo>
                    <a:pt x="210" y="119"/>
                  </a:lnTo>
                  <a:lnTo>
                    <a:pt x="210" y="119"/>
                  </a:lnTo>
                  <a:lnTo>
                    <a:pt x="209" y="119"/>
                  </a:lnTo>
                  <a:lnTo>
                    <a:pt x="209" y="120"/>
                  </a:lnTo>
                  <a:lnTo>
                    <a:pt x="209" y="120"/>
                  </a:lnTo>
                  <a:lnTo>
                    <a:pt x="209" y="119"/>
                  </a:lnTo>
                  <a:lnTo>
                    <a:pt x="207" y="119"/>
                  </a:lnTo>
                  <a:lnTo>
                    <a:pt x="207" y="119"/>
                  </a:lnTo>
                  <a:lnTo>
                    <a:pt x="207" y="119"/>
                  </a:lnTo>
                  <a:lnTo>
                    <a:pt x="207" y="119"/>
                  </a:lnTo>
                  <a:lnTo>
                    <a:pt x="207" y="119"/>
                  </a:lnTo>
                  <a:lnTo>
                    <a:pt x="206" y="119"/>
                  </a:lnTo>
                  <a:lnTo>
                    <a:pt x="206" y="119"/>
                  </a:lnTo>
                  <a:lnTo>
                    <a:pt x="206" y="119"/>
                  </a:lnTo>
                  <a:lnTo>
                    <a:pt x="205" y="119"/>
                  </a:lnTo>
                  <a:lnTo>
                    <a:pt x="204" y="117"/>
                  </a:lnTo>
                  <a:lnTo>
                    <a:pt x="204" y="117"/>
                  </a:lnTo>
                  <a:lnTo>
                    <a:pt x="203" y="117"/>
                  </a:lnTo>
                  <a:lnTo>
                    <a:pt x="204" y="116"/>
                  </a:lnTo>
                  <a:lnTo>
                    <a:pt x="203" y="116"/>
                  </a:lnTo>
                  <a:lnTo>
                    <a:pt x="203" y="116"/>
                  </a:lnTo>
                  <a:lnTo>
                    <a:pt x="203" y="116"/>
                  </a:lnTo>
                  <a:lnTo>
                    <a:pt x="203" y="116"/>
                  </a:lnTo>
                  <a:lnTo>
                    <a:pt x="202" y="116"/>
                  </a:lnTo>
                  <a:lnTo>
                    <a:pt x="202" y="116"/>
                  </a:lnTo>
                  <a:lnTo>
                    <a:pt x="200" y="116"/>
                  </a:lnTo>
                  <a:lnTo>
                    <a:pt x="200" y="116"/>
                  </a:lnTo>
                  <a:lnTo>
                    <a:pt x="200" y="117"/>
                  </a:lnTo>
                  <a:lnTo>
                    <a:pt x="199" y="117"/>
                  </a:lnTo>
                  <a:lnTo>
                    <a:pt x="199" y="117"/>
                  </a:lnTo>
                  <a:lnTo>
                    <a:pt x="199" y="117"/>
                  </a:lnTo>
                  <a:lnTo>
                    <a:pt x="198" y="119"/>
                  </a:lnTo>
                  <a:lnTo>
                    <a:pt x="198" y="120"/>
                  </a:lnTo>
                  <a:lnTo>
                    <a:pt x="198" y="120"/>
                  </a:lnTo>
                  <a:lnTo>
                    <a:pt x="198" y="121"/>
                  </a:lnTo>
                  <a:lnTo>
                    <a:pt x="199" y="121"/>
                  </a:lnTo>
                  <a:lnTo>
                    <a:pt x="198" y="122"/>
                  </a:lnTo>
                  <a:lnTo>
                    <a:pt x="198" y="122"/>
                  </a:lnTo>
                  <a:lnTo>
                    <a:pt x="198" y="123"/>
                  </a:lnTo>
                  <a:lnTo>
                    <a:pt x="196" y="123"/>
                  </a:lnTo>
                  <a:lnTo>
                    <a:pt x="194" y="123"/>
                  </a:lnTo>
                  <a:lnTo>
                    <a:pt x="193" y="124"/>
                  </a:lnTo>
                  <a:lnTo>
                    <a:pt x="192" y="123"/>
                  </a:lnTo>
                  <a:lnTo>
                    <a:pt x="191" y="124"/>
                  </a:lnTo>
                  <a:lnTo>
                    <a:pt x="190" y="124"/>
                  </a:lnTo>
                  <a:lnTo>
                    <a:pt x="189" y="124"/>
                  </a:lnTo>
                  <a:lnTo>
                    <a:pt x="189" y="126"/>
                  </a:lnTo>
                  <a:lnTo>
                    <a:pt x="189" y="126"/>
                  </a:lnTo>
                  <a:lnTo>
                    <a:pt x="187" y="126"/>
                  </a:lnTo>
                  <a:lnTo>
                    <a:pt x="187" y="126"/>
                  </a:lnTo>
                  <a:lnTo>
                    <a:pt x="186" y="126"/>
                  </a:lnTo>
                  <a:lnTo>
                    <a:pt x="186" y="124"/>
                  </a:lnTo>
                  <a:lnTo>
                    <a:pt x="186" y="123"/>
                  </a:lnTo>
                  <a:lnTo>
                    <a:pt x="185" y="122"/>
                  </a:lnTo>
                  <a:lnTo>
                    <a:pt x="185" y="122"/>
                  </a:lnTo>
                  <a:lnTo>
                    <a:pt x="184" y="122"/>
                  </a:lnTo>
                  <a:lnTo>
                    <a:pt x="183" y="122"/>
                  </a:lnTo>
                  <a:lnTo>
                    <a:pt x="183" y="122"/>
                  </a:lnTo>
                  <a:lnTo>
                    <a:pt x="183" y="122"/>
                  </a:lnTo>
                  <a:lnTo>
                    <a:pt x="182" y="121"/>
                  </a:lnTo>
                  <a:lnTo>
                    <a:pt x="182" y="122"/>
                  </a:lnTo>
                  <a:lnTo>
                    <a:pt x="180" y="122"/>
                  </a:lnTo>
                  <a:lnTo>
                    <a:pt x="182" y="122"/>
                  </a:lnTo>
                  <a:lnTo>
                    <a:pt x="182" y="122"/>
                  </a:lnTo>
                  <a:lnTo>
                    <a:pt x="182" y="123"/>
                  </a:lnTo>
                  <a:lnTo>
                    <a:pt x="182" y="123"/>
                  </a:lnTo>
                  <a:lnTo>
                    <a:pt x="179" y="123"/>
                  </a:lnTo>
                  <a:lnTo>
                    <a:pt x="179" y="123"/>
                  </a:lnTo>
                  <a:lnTo>
                    <a:pt x="179" y="124"/>
                  </a:lnTo>
                  <a:lnTo>
                    <a:pt x="179" y="124"/>
                  </a:lnTo>
                  <a:lnTo>
                    <a:pt x="179" y="124"/>
                  </a:lnTo>
                  <a:lnTo>
                    <a:pt x="178" y="124"/>
                  </a:lnTo>
                  <a:lnTo>
                    <a:pt x="177" y="126"/>
                  </a:lnTo>
                  <a:lnTo>
                    <a:pt x="177" y="126"/>
                  </a:lnTo>
                  <a:lnTo>
                    <a:pt x="176" y="126"/>
                  </a:lnTo>
                  <a:lnTo>
                    <a:pt x="174" y="127"/>
                  </a:lnTo>
                  <a:lnTo>
                    <a:pt x="173" y="126"/>
                  </a:lnTo>
                  <a:lnTo>
                    <a:pt x="173" y="127"/>
                  </a:lnTo>
                  <a:lnTo>
                    <a:pt x="173" y="127"/>
                  </a:lnTo>
                  <a:lnTo>
                    <a:pt x="172" y="127"/>
                  </a:lnTo>
                  <a:lnTo>
                    <a:pt x="171" y="127"/>
                  </a:lnTo>
                  <a:lnTo>
                    <a:pt x="171" y="127"/>
                  </a:lnTo>
                  <a:lnTo>
                    <a:pt x="170" y="128"/>
                  </a:lnTo>
                  <a:lnTo>
                    <a:pt x="169" y="128"/>
                  </a:lnTo>
                  <a:lnTo>
                    <a:pt x="167" y="129"/>
                  </a:lnTo>
                  <a:lnTo>
                    <a:pt x="165" y="130"/>
                  </a:lnTo>
                  <a:lnTo>
                    <a:pt x="165" y="130"/>
                  </a:lnTo>
                  <a:lnTo>
                    <a:pt x="165" y="132"/>
                  </a:lnTo>
                  <a:lnTo>
                    <a:pt x="163" y="132"/>
                  </a:lnTo>
                  <a:lnTo>
                    <a:pt x="162" y="132"/>
                  </a:lnTo>
                  <a:lnTo>
                    <a:pt x="162" y="132"/>
                  </a:lnTo>
                  <a:lnTo>
                    <a:pt x="162" y="130"/>
                  </a:lnTo>
                  <a:lnTo>
                    <a:pt x="160" y="130"/>
                  </a:lnTo>
                  <a:lnTo>
                    <a:pt x="159" y="129"/>
                  </a:lnTo>
                  <a:lnTo>
                    <a:pt x="158" y="130"/>
                  </a:lnTo>
                  <a:lnTo>
                    <a:pt x="158" y="129"/>
                  </a:lnTo>
                  <a:lnTo>
                    <a:pt x="157" y="129"/>
                  </a:lnTo>
                  <a:lnTo>
                    <a:pt x="157" y="129"/>
                  </a:lnTo>
                  <a:lnTo>
                    <a:pt x="156" y="127"/>
                  </a:lnTo>
                  <a:lnTo>
                    <a:pt x="156" y="127"/>
                  </a:lnTo>
                  <a:lnTo>
                    <a:pt x="156" y="127"/>
                  </a:lnTo>
                  <a:lnTo>
                    <a:pt x="155" y="127"/>
                  </a:lnTo>
                  <a:lnTo>
                    <a:pt x="155" y="129"/>
                  </a:lnTo>
                  <a:lnTo>
                    <a:pt x="155" y="129"/>
                  </a:lnTo>
                  <a:lnTo>
                    <a:pt x="153" y="130"/>
                  </a:lnTo>
                  <a:lnTo>
                    <a:pt x="153" y="129"/>
                  </a:lnTo>
                  <a:lnTo>
                    <a:pt x="152" y="129"/>
                  </a:lnTo>
                  <a:lnTo>
                    <a:pt x="152" y="130"/>
                  </a:lnTo>
                  <a:lnTo>
                    <a:pt x="152" y="132"/>
                  </a:lnTo>
                  <a:lnTo>
                    <a:pt x="151" y="133"/>
                  </a:lnTo>
                  <a:lnTo>
                    <a:pt x="151" y="133"/>
                  </a:lnTo>
                  <a:lnTo>
                    <a:pt x="151" y="134"/>
                  </a:lnTo>
                  <a:lnTo>
                    <a:pt x="150" y="134"/>
                  </a:lnTo>
                  <a:lnTo>
                    <a:pt x="150" y="134"/>
                  </a:lnTo>
                  <a:lnTo>
                    <a:pt x="149" y="135"/>
                  </a:lnTo>
                  <a:lnTo>
                    <a:pt x="150" y="136"/>
                  </a:lnTo>
                  <a:lnTo>
                    <a:pt x="149" y="137"/>
                  </a:lnTo>
                  <a:lnTo>
                    <a:pt x="147" y="139"/>
                  </a:lnTo>
                  <a:lnTo>
                    <a:pt x="147" y="140"/>
                  </a:lnTo>
                  <a:lnTo>
                    <a:pt x="146" y="141"/>
                  </a:lnTo>
                  <a:lnTo>
                    <a:pt x="144" y="141"/>
                  </a:lnTo>
                  <a:lnTo>
                    <a:pt x="142" y="141"/>
                  </a:lnTo>
                  <a:lnTo>
                    <a:pt x="142" y="141"/>
                  </a:lnTo>
                  <a:lnTo>
                    <a:pt x="140" y="140"/>
                  </a:lnTo>
                  <a:lnTo>
                    <a:pt x="138" y="139"/>
                  </a:lnTo>
                  <a:lnTo>
                    <a:pt x="137" y="140"/>
                  </a:lnTo>
                  <a:lnTo>
                    <a:pt x="136" y="140"/>
                  </a:lnTo>
                  <a:lnTo>
                    <a:pt x="135" y="139"/>
                  </a:lnTo>
                  <a:lnTo>
                    <a:pt x="135" y="139"/>
                  </a:lnTo>
                  <a:lnTo>
                    <a:pt x="135" y="137"/>
                  </a:lnTo>
                  <a:lnTo>
                    <a:pt x="132" y="137"/>
                  </a:lnTo>
                  <a:lnTo>
                    <a:pt x="130" y="139"/>
                  </a:lnTo>
                  <a:lnTo>
                    <a:pt x="129" y="139"/>
                  </a:lnTo>
                  <a:lnTo>
                    <a:pt x="126" y="139"/>
                  </a:lnTo>
                  <a:lnTo>
                    <a:pt x="125" y="137"/>
                  </a:lnTo>
                  <a:lnTo>
                    <a:pt x="124" y="137"/>
                  </a:lnTo>
                  <a:lnTo>
                    <a:pt x="124" y="139"/>
                  </a:lnTo>
                  <a:lnTo>
                    <a:pt x="124" y="139"/>
                  </a:lnTo>
                  <a:lnTo>
                    <a:pt x="123" y="137"/>
                  </a:lnTo>
                  <a:lnTo>
                    <a:pt x="122" y="136"/>
                  </a:lnTo>
                  <a:lnTo>
                    <a:pt x="119" y="135"/>
                  </a:lnTo>
                  <a:lnTo>
                    <a:pt x="117" y="135"/>
                  </a:lnTo>
                  <a:lnTo>
                    <a:pt x="117" y="135"/>
                  </a:lnTo>
                  <a:lnTo>
                    <a:pt x="116" y="135"/>
                  </a:lnTo>
                  <a:lnTo>
                    <a:pt x="112" y="135"/>
                  </a:lnTo>
                  <a:lnTo>
                    <a:pt x="111" y="134"/>
                  </a:lnTo>
                  <a:lnTo>
                    <a:pt x="110" y="133"/>
                  </a:lnTo>
                  <a:lnTo>
                    <a:pt x="111" y="132"/>
                  </a:lnTo>
                  <a:lnTo>
                    <a:pt x="110" y="130"/>
                  </a:lnTo>
                  <a:lnTo>
                    <a:pt x="109" y="128"/>
                  </a:lnTo>
                  <a:lnTo>
                    <a:pt x="106" y="128"/>
                  </a:lnTo>
                  <a:lnTo>
                    <a:pt x="105" y="126"/>
                  </a:lnTo>
                  <a:lnTo>
                    <a:pt x="104" y="126"/>
                  </a:lnTo>
                  <a:lnTo>
                    <a:pt x="102" y="123"/>
                  </a:lnTo>
                  <a:lnTo>
                    <a:pt x="100" y="123"/>
                  </a:lnTo>
                  <a:lnTo>
                    <a:pt x="99" y="122"/>
                  </a:lnTo>
                  <a:lnTo>
                    <a:pt x="97" y="121"/>
                  </a:lnTo>
                  <a:lnTo>
                    <a:pt x="95" y="121"/>
                  </a:lnTo>
                  <a:lnTo>
                    <a:pt x="93" y="121"/>
                  </a:lnTo>
                  <a:lnTo>
                    <a:pt x="93" y="121"/>
                  </a:lnTo>
                  <a:lnTo>
                    <a:pt x="91" y="121"/>
                  </a:lnTo>
                  <a:lnTo>
                    <a:pt x="91" y="122"/>
                  </a:lnTo>
                  <a:lnTo>
                    <a:pt x="89" y="123"/>
                  </a:lnTo>
                  <a:lnTo>
                    <a:pt x="87" y="124"/>
                  </a:lnTo>
                  <a:lnTo>
                    <a:pt x="87" y="124"/>
                  </a:lnTo>
                  <a:lnTo>
                    <a:pt x="86" y="124"/>
                  </a:lnTo>
                  <a:lnTo>
                    <a:pt x="85" y="126"/>
                  </a:lnTo>
                  <a:lnTo>
                    <a:pt x="85" y="127"/>
                  </a:lnTo>
                  <a:lnTo>
                    <a:pt x="84" y="128"/>
                  </a:lnTo>
                  <a:lnTo>
                    <a:pt x="84" y="129"/>
                  </a:lnTo>
                  <a:lnTo>
                    <a:pt x="83" y="129"/>
                  </a:lnTo>
                  <a:lnTo>
                    <a:pt x="83" y="130"/>
                  </a:lnTo>
                  <a:lnTo>
                    <a:pt x="82" y="130"/>
                  </a:lnTo>
                  <a:lnTo>
                    <a:pt x="82" y="132"/>
                  </a:lnTo>
                  <a:lnTo>
                    <a:pt x="80" y="133"/>
                  </a:lnTo>
                  <a:lnTo>
                    <a:pt x="80" y="134"/>
                  </a:lnTo>
                  <a:lnTo>
                    <a:pt x="79" y="136"/>
                  </a:lnTo>
                  <a:lnTo>
                    <a:pt x="78" y="136"/>
                  </a:lnTo>
                  <a:lnTo>
                    <a:pt x="78" y="137"/>
                  </a:lnTo>
                  <a:lnTo>
                    <a:pt x="77" y="136"/>
                  </a:lnTo>
                  <a:lnTo>
                    <a:pt x="76" y="137"/>
                  </a:lnTo>
                  <a:lnTo>
                    <a:pt x="77" y="140"/>
                  </a:lnTo>
                  <a:lnTo>
                    <a:pt x="77" y="141"/>
                  </a:lnTo>
                  <a:lnTo>
                    <a:pt x="78" y="143"/>
                  </a:lnTo>
                  <a:lnTo>
                    <a:pt x="78" y="144"/>
                  </a:lnTo>
                  <a:lnTo>
                    <a:pt x="77" y="147"/>
                  </a:lnTo>
                  <a:lnTo>
                    <a:pt x="77" y="149"/>
                  </a:lnTo>
                  <a:lnTo>
                    <a:pt x="78" y="155"/>
                  </a:lnTo>
                  <a:lnTo>
                    <a:pt x="77" y="155"/>
                  </a:lnTo>
                  <a:lnTo>
                    <a:pt x="75" y="151"/>
                  </a:lnTo>
                  <a:lnTo>
                    <a:pt x="73" y="153"/>
                  </a:lnTo>
                  <a:lnTo>
                    <a:pt x="71" y="153"/>
                  </a:lnTo>
                  <a:lnTo>
                    <a:pt x="69" y="155"/>
                  </a:lnTo>
                  <a:lnTo>
                    <a:pt x="69" y="154"/>
                  </a:lnTo>
                  <a:lnTo>
                    <a:pt x="67" y="153"/>
                  </a:lnTo>
                  <a:lnTo>
                    <a:pt x="65" y="154"/>
                  </a:lnTo>
                  <a:lnTo>
                    <a:pt x="65" y="153"/>
                  </a:lnTo>
                  <a:lnTo>
                    <a:pt x="64" y="154"/>
                  </a:lnTo>
                  <a:lnTo>
                    <a:pt x="63" y="151"/>
                  </a:lnTo>
                  <a:lnTo>
                    <a:pt x="59" y="151"/>
                  </a:lnTo>
                  <a:lnTo>
                    <a:pt x="57" y="150"/>
                  </a:lnTo>
                  <a:lnTo>
                    <a:pt x="53" y="151"/>
                  </a:lnTo>
                  <a:lnTo>
                    <a:pt x="52" y="151"/>
                  </a:lnTo>
                  <a:lnTo>
                    <a:pt x="52" y="153"/>
                  </a:lnTo>
                  <a:lnTo>
                    <a:pt x="50" y="153"/>
                  </a:lnTo>
                  <a:lnTo>
                    <a:pt x="47" y="154"/>
                  </a:lnTo>
                  <a:lnTo>
                    <a:pt x="45" y="153"/>
                  </a:lnTo>
                  <a:lnTo>
                    <a:pt x="45" y="154"/>
                  </a:lnTo>
                  <a:lnTo>
                    <a:pt x="44" y="154"/>
                  </a:lnTo>
                  <a:lnTo>
                    <a:pt x="43" y="154"/>
                  </a:lnTo>
                  <a:lnTo>
                    <a:pt x="40" y="155"/>
                  </a:lnTo>
                  <a:lnTo>
                    <a:pt x="38" y="161"/>
                  </a:lnTo>
                  <a:lnTo>
                    <a:pt x="38" y="167"/>
                  </a:lnTo>
                  <a:lnTo>
                    <a:pt x="33" y="180"/>
                  </a:lnTo>
                  <a:lnTo>
                    <a:pt x="33" y="180"/>
                  </a:lnTo>
                  <a:lnTo>
                    <a:pt x="31" y="175"/>
                  </a:lnTo>
                  <a:lnTo>
                    <a:pt x="32" y="173"/>
                  </a:lnTo>
                  <a:lnTo>
                    <a:pt x="32" y="171"/>
                  </a:lnTo>
                  <a:lnTo>
                    <a:pt x="31" y="171"/>
                  </a:lnTo>
                  <a:lnTo>
                    <a:pt x="31" y="169"/>
                  </a:lnTo>
                  <a:lnTo>
                    <a:pt x="32" y="168"/>
                  </a:lnTo>
                  <a:lnTo>
                    <a:pt x="31" y="167"/>
                  </a:lnTo>
                  <a:lnTo>
                    <a:pt x="30" y="164"/>
                  </a:lnTo>
                  <a:lnTo>
                    <a:pt x="30" y="164"/>
                  </a:lnTo>
                  <a:lnTo>
                    <a:pt x="29" y="162"/>
                  </a:lnTo>
                  <a:lnTo>
                    <a:pt x="26" y="162"/>
                  </a:lnTo>
                  <a:lnTo>
                    <a:pt x="16" y="150"/>
                  </a:lnTo>
                  <a:lnTo>
                    <a:pt x="12" y="143"/>
                  </a:lnTo>
                  <a:lnTo>
                    <a:pt x="15" y="143"/>
                  </a:lnTo>
                  <a:lnTo>
                    <a:pt x="13" y="141"/>
                  </a:lnTo>
                  <a:lnTo>
                    <a:pt x="13" y="137"/>
                  </a:lnTo>
                  <a:lnTo>
                    <a:pt x="12" y="135"/>
                  </a:lnTo>
                  <a:lnTo>
                    <a:pt x="7" y="133"/>
                  </a:lnTo>
                  <a:lnTo>
                    <a:pt x="6" y="132"/>
                  </a:lnTo>
                  <a:lnTo>
                    <a:pt x="4" y="124"/>
                  </a:lnTo>
                  <a:lnTo>
                    <a:pt x="5" y="120"/>
                  </a:lnTo>
                  <a:lnTo>
                    <a:pt x="3" y="117"/>
                  </a:lnTo>
                  <a:lnTo>
                    <a:pt x="4" y="114"/>
                  </a:lnTo>
                  <a:lnTo>
                    <a:pt x="6" y="109"/>
                  </a:lnTo>
                  <a:lnTo>
                    <a:pt x="4" y="104"/>
                  </a:lnTo>
                  <a:lnTo>
                    <a:pt x="2" y="104"/>
                  </a:lnTo>
                  <a:lnTo>
                    <a:pt x="0" y="102"/>
                  </a:lnTo>
                  <a:lnTo>
                    <a:pt x="2" y="101"/>
                  </a:lnTo>
                  <a:lnTo>
                    <a:pt x="3" y="99"/>
                  </a:lnTo>
                  <a:lnTo>
                    <a:pt x="6" y="97"/>
                  </a:lnTo>
                  <a:lnTo>
                    <a:pt x="7" y="96"/>
                  </a:lnTo>
                  <a:lnTo>
                    <a:pt x="11" y="88"/>
                  </a:lnTo>
                  <a:lnTo>
                    <a:pt x="12" y="87"/>
                  </a:lnTo>
                  <a:lnTo>
                    <a:pt x="15" y="79"/>
                  </a:lnTo>
                  <a:lnTo>
                    <a:pt x="18" y="75"/>
                  </a:lnTo>
                  <a:lnTo>
                    <a:pt x="19" y="75"/>
                  </a:lnTo>
                  <a:lnTo>
                    <a:pt x="19" y="74"/>
                  </a:lnTo>
                  <a:lnTo>
                    <a:pt x="20" y="72"/>
                  </a:lnTo>
                  <a:lnTo>
                    <a:pt x="24" y="72"/>
                  </a:lnTo>
                  <a:lnTo>
                    <a:pt x="25" y="74"/>
                  </a:lnTo>
                  <a:lnTo>
                    <a:pt x="29" y="72"/>
                  </a:lnTo>
                  <a:lnTo>
                    <a:pt x="31" y="70"/>
                  </a:lnTo>
                  <a:lnTo>
                    <a:pt x="37" y="68"/>
                  </a:lnTo>
                  <a:lnTo>
                    <a:pt x="37" y="66"/>
                  </a:lnTo>
                  <a:lnTo>
                    <a:pt x="38" y="67"/>
                  </a:lnTo>
                  <a:lnTo>
                    <a:pt x="38" y="64"/>
                  </a:lnTo>
                  <a:lnTo>
                    <a:pt x="39" y="64"/>
                  </a:lnTo>
                  <a:lnTo>
                    <a:pt x="39" y="67"/>
                  </a:lnTo>
                  <a:lnTo>
                    <a:pt x="40" y="67"/>
                  </a:lnTo>
                  <a:lnTo>
                    <a:pt x="42" y="69"/>
                  </a:lnTo>
                  <a:lnTo>
                    <a:pt x="44" y="70"/>
                  </a:lnTo>
                  <a:lnTo>
                    <a:pt x="45" y="72"/>
                  </a:lnTo>
                  <a:lnTo>
                    <a:pt x="45" y="69"/>
                  </a:lnTo>
                  <a:lnTo>
                    <a:pt x="47" y="69"/>
                  </a:lnTo>
                  <a:lnTo>
                    <a:pt x="49" y="69"/>
                  </a:lnTo>
                  <a:lnTo>
                    <a:pt x="50" y="68"/>
                  </a:lnTo>
                  <a:lnTo>
                    <a:pt x="52" y="66"/>
                  </a:lnTo>
                  <a:lnTo>
                    <a:pt x="53" y="64"/>
                  </a:lnTo>
                  <a:lnTo>
                    <a:pt x="55" y="64"/>
                  </a:lnTo>
                  <a:lnTo>
                    <a:pt x="56" y="63"/>
                  </a:lnTo>
                  <a:lnTo>
                    <a:pt x="59" y="62"/>
                  </a:lnTo>
                  <a:lnTo>
                    <a:pt x="63" y="63"/>
                  </a:lnTo>
                  <a:lnTo>
                    <a:pt x="66" y="62"/>
                  </a:lnTo>
                  <a:lnTo>
                    <a:pt x="75" y="61"/>
                  </a:lnTo>
                  <a:lnTo>
                    <a:pt x="77" y="57"/>
                  </a:lnTo>
                  <a:lnTo>
                    <a:pt x="80" y="56"/>
                  </a:lnTo>
                  <a:lnTo>
                    <a:pt x="82" y="53"/>
                  </a:lnTo>
                  <a:lnTo>
                    <a:pt x="85" y="50"/>
                  </a:lnTo>
                  <a:lnTo>
                    <a:pt x="86" y="48"/>
                  </a:lnTo>
                  <a:lnTo>
                    <a:pt x="82" y="46"/>
                  </a:lnTo>
                  <a:lnTo>
                    <a:pt x="82" y="43"/>
                  </a:lnTo>
                  <a:lnTo>
                    <a:pt x="85" y="41"/>
                  </a:lnTo>
                  <a:lnTo>
                    <a:pt x="89" y="41"/>
                  </a:lnTo>
                  <a:lnTo>
                    <a:pt x="91" y="41"/>
                  </a:lnTo>
                  <a:lnTo>
                    <a:pt x="93" y="41"/>
                  </a:lnTo>
                  <a:lnTo>
                    <a:pt x="96" y="41"/>
                  </a:lnTo>
                  <a:lnTo>
                    <a:pt x="98" y="40"/>
                  </a:lnTo>
                  <a:lnTo>
                    <a:pt x="102" y="40"/>
                  </a:lnTo>
                  <a:lnTo>
                    <a:pt x="103" y="39"/>
                  </a:lnTo>
                  <a:lnTo>
                    <a:pt x="104" y="40"/>
                  </a:lnTo>
                  <a:lnTo>
                    <a:pt x="105" y="39"/>
                  </a:lnTo>
                  <a:lnTo>
                    <a:pt x="107" y="40"/>
                  </a:lnTo>
                  <a:lnTo>
                    <a:pt x="109" y="39"/>
                  </a:lnTo>
                  <a:lnTo>
                    <a:pt x="111" y="37"/>
                  </a:lnTo>
                  <a:lnTo>
                    <a:pt x="111" y="35"/>
                  </a:lnTo>
                  <a:lnTo>
                    <a:pt x="111" y="35"/>
                  </a:lnTo>
                  <a:lnTo>
                    <a:pt x="112" y="35"/>
                  </a:lnTo>
                  <a:lnTo>
                    <a:pt x="113" y="34"/>
                  </a:lnTo>
                  <a:lnTo>
                    <a:pt x="115" y="33"/>
                  </a:lnTo>
                  <a:lnTo>
                    <a:pt x="119" y="29"/>
                  </a:lnTo>
                  <a:lnTo>
                    <a:pt x="120" y="29"/>
                  </a:lnTo>
                  <a:lnTo>
                    <a:pt x="119" y="28"/>
                  </a:lnTo>
                  <a:lnTo>
                    <a:pt x="119" y="26"/>
                  </a:lnTo>
                  <a:lnTo>
                    <a:pt x="120" y="26"/>
                  </a:lnTo>
                  <a:lnTo>
                    <a:pt x="124" y="20"/>
                  </a:lnTo>
                  <a:lnTo>
                    <a:pt x="125" y="22"/>
                  </a:lnTo>
                  <a:lnTo>
                    <a:pt x="125" y="21"/>
                  </a:lnTo>
                  <a:lnTo>
                    <a:pt x="129" y="16"/>
                  </a:lnTo>
                  <a:lnTo>
                    <a:pt x="132" y="15"/>
                  </a:lnTo>
                  <a:lnTo>
                    <a:pt x="133" y="13"/>
                  </a:lnTo>
                  <a:lnTo>
                    <a:pt x="132" y="10"/>
                  </a:lnTo>
                  <a:lnTo>
                    <a:pt x="132" y="8"/>
                  </a:lnTo>
                  <a:lnTo>
                    <a:pt x="133" y="7"/>
                  </a:lnTo>
                  <a:lnTo>
                    <a:pt x="135" y="7"/>
                  </a:lnTo>
                  <a:lnTo>
                    <a:pt x="136" y="6"/>
                  </a:lnTo>
                  <a:lnTo>
                    <a:pt x="137" y="6"/>
                  </a:lnTo>
                  <a:lnTo>
                    <a:pt x="137" y="4"/>
                  </a:lnTo>
                  <a:lnTo>
                    <a:pt x="138" y="3"/>
                  </a:lnTo>
                  <a:lnTo>
                    <a:pt x="140" y="3"/>
                  </a:lnTo>
                  <a:lnTo>
                    <a:pt x="142" y="1"/>
                  </a:lnTo>
                  <a:lnTo>
                    <a:pt x="144" y="1"/>
                  </a:lnTo>
                  <a:lnTo>
                    <a:pt x="145" y="2"/>
                  </a:lnTo>
                  <a:lnTo>
                    <a:pt x="145" y="0"/>
                  </a:lnTo>
                  <a:lnTo>
                    <a:pt x="149" y="1"/>
                  </a:lnTo>
                  <a:lnTo>
                    <a:pt x="153" y="1"/>
                  </a:lnTo>
                  <a:lnTo>
                    <a:pt x="153" y="1"/>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41" name="Cape Verde">
              <a:extLst>
                <a:ext uri="{FF2B5EF4-FFF2-40B4-BE49-F238E27FC236}">
                  <a16:creationId xmlns:a16="http://schemas.microsoft.com/office/drawing/2014/main" id="{C66EC5B4-4903-D64D-9099-303F123C183D}"/>
                </a:ext>
              </a:extLst>
            </p:cNvPr>
            <p:cNvSpPr>
              <a:spLocks noEditPoints="1"/>
            </p:cNvSpPr>
            <p:nvPr/>
          </p:nvSpPr>
          <p:spPr bwMode="auto">
            <a:xfrm>
              <a:off x="5696049" y="3470417"/>
              <a:ext cx="69982" cy="71441"/>
            </a:xfrm>
            <a:custGeom>
              <a:avLst/>
              <a:gdLst>
                <a:gd name="T0" fmla="*/ 0 w 48"/>
                <a:gd name="T1" fmla="*/ 2 h 49"/>
                <a:gd name="T2" fmla="*/ 3 w 48"/>
                <a:gd name="T3" fmla="*/ 3 h 49"/>
                <a:gd name="T4" fmla="*/ 4 w 48"/>
                <a:gd name="T5" fmla="*/ 3 h 49"/>
                <a:gd name="T6" fmla="*/ 4 w 48"/>
                <a:gd name="T7" fmla="*/ 2 h 49"/>
                <a:gd name="T8" fmla="*/ 7 w 48"/>
                <a:gd name="T9" fmla="*/ 2 h 49"/>
                <a:gd name="T10" fmla="*/ 6 w 48"/>
                <a:gd name="T11" fmla="*/ 0 h 49"/>
                <a:gd name="T12" fmla="*/ 3 w 48"/>
                <a:gd name="T13" fmla="*/ 0 h 49"/>
                <a:gd name="T14" fmla="*/ 0 w 48"/>
                <a:gd name="T15" fmla="*/ 2 h 49"/>
                <a:gd name="T16" fmla="*/ 0 w 48"/>
                <a:gd name="T17" fmla="*/ 2 h 49"/>
                <a:gd name="T18" fmla="*/ 20 w 48"/>
                <a:gd name="T19" fmla="*/ 14 h 49"/>
                <a:gd name="T20" fmla="*/ 22 w 48"/>
                <a:gd name="T21" fmla="*/ 15 h 49"/>
                <a:gd name="T22" fmla="*/ 24 w 48"/>
                <a:gd name="T23" fmla="*/ 11 h 49"/>
                <a:gd name="T24" fmla="*/ 23 w 48"/>
                <a:gd name="T25" fmla="*/ 11 h 49"/>
                <a:gd name="T26" fmla="*/ 21 w 48"/>
                <a:gd name="T27" fmla="*/ 10 h 49"/>
                <a:gd name="T28" fmla="*/ 22 w 48"/>
                <a:gd name="T29" fmla="*/ 11 h 49"/>
                <a:gd name="T30" fmla="*/ 21 w 48"/>
                <a:gd name="T31" fmla="*/ 13 h 49"/>
                <a:gd name="T32" fmla="*/ 20 w 48"/>
                <a:gd name="T33" fmla="*/ 14 h 49"/>
                <a:gd name="T34" fmla="*/ 20 w 48"/>
                <a:gd name="T35" fmla="*/ 14 h 49"/>
                <a:gd name="T36" fmla="*/ 42 w 48"/>
                <a:gd name="T37" fmla="*/ 11 h 49"/>
                <a:gd name="T38" fmla="*/ 41 w 48"/>
                <a:gd name="T39" fmla="*/ 9 h 49"/>
                <a:gd name="T40" fmla="*/ 41 w 48"/>
                <a:gd name="T41" fmla="*/ 7 h 49"/>
                <a:gd name="T42" fmla="*/ 42 w 48"/>
                <a:gd name="T43" fmla="*/ 4 h 49"/>
                <a:gd name="T44" fmla="*/ 46 w 48"/>
                <a:gd name="T45" fmla="*/ 4 h 49"/>
                <a:gd name="T46" fmla="*/ 46 w 48"/>
                <a:gd name="T47" fmla="*/ 8 h 49"/>
                <a:gd name="T48" fmla="*/ 44 w 48"/>
                <a:gd name="T49" fmla="*/ 8 h 49"/>
                <a:gd name="T50" fmla="*/ 43 w 48"/>
                <a:gd name="T51" fmla="*/ 10 h 49"/>
                <a:gd name="T52" fmla="*/ 42 w 48"/>
                <a:gd name="T53" fmla="*/ 11 h 49"/>
                <a:gd name="T54" fmla="*/ 42 w 48"/>
                <a:gd name="T55" fmla="*/ 11 h 49"/>
                <a:gd name="T56" fmla="*/ 43 w 48"/>
                <a:gd name="T57" fmla="*/ 21 h 49"/>
                <a:gd name="T58" fmla="*/ 46 w 48"/>
                <a:gd name="T59" fmla="*/ 23 h 49"/>
                <a:gd name="T60" fmla="*/ 48 w 48"/>
                <a:gd name="T61" fmla="*/ 23 h 49"/>
                <a:gd name="T62" fmla="*/ 48 w 48"/>
                <a:gd name="T63" fmla="*/ 22 h 49"/>
                <a:gd name="T64" fmla="*/ 48 w 48"/>
                <a:gd name="T65" fmla="*/ 21 h 49"/>
                <a:gd name="T66" fmla="*/ 46 w 48"/>
                <a:gd name="T67" fmla="*/ 20 h 49"/>
                <a:gd name="T68" fmla="*/ 43 w 48"/>
                <a:gd name="T69" fmla="*/ 21 h 49"/>
                <a:gd name="T70" fmla="*/ 43 w 48"/>
                <a:gd name="T71" fmla="*/ 21 h 49"/>
                <a:gd name="T72" fmla="*/ 32 w 48"/>
                <a:gd name="T73" fmla="*/ 38 h 49"/>
                <a:gd name="T74" fmla="*/ 30 w 48"/>
                <a:gd name="T75" fmla="*/ 41 h 49"/>
                <a:gd name="T76" fmla="*/ 33 w 48"/>
                <a:gd name="T77" fmla="*/ 43 h 49"/>
                <a:gd name="T78" fmla="*/ 30 w 48"/>
                <a:gd name="T79" fmla="*/ 47 h 49"/>
                <a:gd name="T80" fmla="*/ 34 w 48"/>
                <a:gd name="T81" fmla="*/ 47 h 49"/>
                <a:gd name="T82" fmla="*/ 35 w 48"/>
                <a:gd name="T83" fmla="*/ 48 h 49"/>
                <a:gd name="T84" fmla="*/ 37 w 48"/>
                <a:gd name="T85" fmla="*/ 45 h 49"/>
                <a:gd name="T86" fmla="*/ 39 w 48"/>
                <a:gd name="T87" fmla="*/ 44 h 49"/>
                <a:gd name="T88" fmla="*/ 35 w 48"/>
                <a:gd name="T89" fmla="*/ 40 h 49"/>
                <a:gd name="T90" fmla="*/ 32 w 48"/>
                <a:gd name="T91" fmla="*/ 38 h 49"/>
                <a:gd name="T92" fmla="*/ 32 w 48"/>
                <a:gd name="T93" fmla="*/ 38 h 49"/>
                <a:gd name="T94" fmla="*/ 14 w 48"/>
                <a:gd name="T95" fmla="*/ 49 h 49"/>
                <a:gd name="T96" fmla="*/ 14 w 48"/>
                <a:gd name="T97" fmla="*/ 45 h 49"/>
                <a:gd name="T98" fmla="*/ 15 w 48"/>
                <a:gd name="T99" fmla="*/ 45 h 49"/>
                <a:gd name="T100" fmla="*/ 17 w 48"/>
                <a:gd name="T101" fmla="*/ 47 h 49"/>
                <a:gd name="T102" fmla="*/ 16 w 48"/>
                <a:gd name="T103" fmla="*/ 49 h 49"/>
                <a:gd name="T104" fmla="*/ 14 w 48"/>
                <a:gd name="T105" fmla="*/ 49 h 49"/>
                <a:gd name="T106" fmla="*/ 14 w 48"/>
                <a:gd name="T107" fmla="*/ 49 h 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48" h="49">
                  <a:moveTo>
                    <a:pt x="0" y="2"/>
                  </a:moveTo>
                  <a:lnTo>
                    <a:pt x="3" y="3"/>
                  </a:lnTo>
                  <a:lnTo>
                    <a:pt x="4" y="3"/>
                  </a:lnTo>
                  <a:lnTo>
                    <a:pt x="4" y="2"/>
                  </a:lnTo>
                  <a:lnTo>
                    <a:pt x="7" y="2"/>
                  </a:lnTo>
                  <a:lnTo>
                    <a:pt x="6" y="0"/>
                  </a:lnTo>
                  <a:lnTo>
                    <a:pt x="3" y="0"/>
                  </a:lnTo>
                  <a:lnTo>
                    <a:pt x="0" y="2"/>
                  </a:lnTo>
                  <a:lnTo>
                    <a:pt x="0" y="2"/>
                  </a:lnTo>
                  <a:close/>
                  <a:moveTo>
                    <a:pt x="20" y="14"/>
                  </a:moveTo>
                  <a:lnTo>
                    <a:pt x="22" y="15"/>
                  </a:lnTo>
                  <a:lnTo>
                    <a:pt x="24" y="11"/>
                  </a:lnTo>
                  <a:lnTo>
                    <a:pt x="23" y="11"/>
                  </a:lnTo>
                  <a:lnTo>
                    <a:pt x="21" y="10"/>
                  </a:lnTo>
                  <a:lnTo>
                    <a:pt x="22" y="11"/>
                  </a:lnTo>
                  <a:lnTo>
                    <a:pt x="21" y="13"/>
                  </a:lnTo>
                  <a:lnTo>
                    <a:pt x="20" y="14"/>
                  </a:lnTo>
                  <a:lnTo>
                    <a:pt x="20" y="14"/>
                  </a:lnTo>
                  <a:close/>
                  <a:moveTo>
                    <a:pt x="42" y="11"/>
                  </a:moveTo>
                  <a:lnTo>
                    <a:pt x="41" y="9"/>
                  </a:lnTo>
                  <a:lnTo>
                    <a:pt x="41" y="7"/>
                  </a:lnTo>
                  <a:lnTo>
                    <a:pt x="42" y="4"/>
                  </a:lnTo>
                  <a:lnTo>
                    <a:pt x="46" y="4"/>
                  </a:lnTo>
                  <a:lnTo>
                    <a:pt x="46" y="8"/>
                  </a:lnTo>
                  <a:lnTo>
                    <a:pt x="44" y="8"/>
                  </a:lnTo>
                  <a:lnTo>
                    <a:pt x="43" y="10"/>
                  </a:lnTo>
                  <a:lnTo>
                    <a:pt x="42" y="11"/>
                  </a:lnTo>
                  <a:lnTo>
                    <a:pt x="42" y="11"/>
                  </a:lnTo>
                  <a:close/>
                  <a:moveTo>
                    <a:pt x="43" y="21"/>
                  </a:moveTo>
                  <a:lnTo>
                    <a:pt x="46" y="23"/>
                  </a:lnTo>
                  <a:lnTo>
                    <a:pt x="48" y="23"/>
                  </a:lnTo>
                  <a:lnTo>
                    <a:pt x="48" y="22"/>
                  </a:lnTo>
                  <a:lnTo>
                    <a:pt x="48" y="21"/>
                  </a:lnTo>
                  <a:lnTo>
                    <a:pt x="46" y="20"/>
                  </a:lnTo>
                  <a:lnTo>
                    <a:pt x="43" y="21"/>
                  </a:lnTo>
                  <a:lnTo>
                    <a:pt x="43" y="21"/>
                  </a:lnTo>
                  <a:close/>
                  <a:moveTo>
                    <a:pt x="32" y="38"/>
                  </a:moveTo>
                  <a:lnTo>
                    <a:pt x="30" y="41"/>
                  </a:lnTo>
                  <a:lnTo>
                    <a:pt x="33" y="43"/>
                  </a:lnTo>
                  <a:lnTo>
                    <a:pt x="30" y="47"/>
                  </a:lnTo>
                  <a:lnTo>
                    <a:pt x="34" y="47"/>
                  </a:lnTo>
                  <a:lnTo>
                    <a:pt x="35" y="48"/>
                  </a:lnTo>
                  <a:lnTo>
                    <a:pt x="37" y="45"/>
                  </a:lnTo>
                  <a:lnTo>
                    <a:pt x="39" y="44"/>
                  </a:lnTo>
                  <a:lnTo>
                    <a:pt x="35" y="40"/>
                  </a:lnTo>
                  <a:lnTo>
                    <a:pt x="32" y="38"/>
                  </a:lnTo>
                  <a:lnTo>
                    <a:pt x="32" y="38"/>
                  </a:lnTo>
                  <a:close/>
                  <a:moveTo>
                    <a:pt x="14" y="49"/>
                  </a:moveTo>
                  <a:lnTo>
                    <a:pt x="14" y="45"/>
                  </a:lnTo>
                  <a:lnTo>
                    <a:pt x="15" y="45"/>
                  </a:lnTo>
                  <a:lnTo>
                    <a:pt x="17" y="47"/>
                  </a:lnTo>
                  <a:lnTo>
                    <a:pt x="16" y="49"/>
                  </a:lnTo>
                  <a:lnTo>
                    <a:pt x="14" y="49"/>
                  </a:lnTo>
                  <a:lnTo>
                    <a:pt x="14" y="49"/>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42" name="Cameroon">
              <a:extLst>
                <a:ext uri="{FF2B5EF4-FFF2-40B4-BE49-F238E27FC236}">
                  <a16:creationId xmlns:a16="http://schemas.microsoft.com/office/drawing/2014/main" id="{765FA194-C005-2F4D-A47C-25DB3AB9DAB9}"/>
                </a:ext>
              </a:extLst>
            </p:cNvPr>
            <p:cNvSpPr>
              <a:spLocks/>
            </p:cNvSpPr>
            <p:nvPr/>
          </p:nvSpPr>
          <p:spPr bwMode="auto">
            <a:xfrm>
              <a:off x="6586855" y="3594343"/>
              <a:ext cx="204114" cy="344076"/>
            </a:xfrm>
            <a:custGeom>
              <a:avLst/>
              <a:gdLst>
                <a:gd name="T0" fmla="*/ 109 w 140"/>
                <a:gd name="T1" fmla="*/ 8 h 236"/>
                <a:gd name="T2" fmla="*/ 111 w 140"/>
                <a:gd name="T3" fmla="*/ 10 h 236"/>
                <a:gd name="T4" fmla="*/ 114 w 140"/>
                <a:gd name="T5" fmla="*/ 15 h 236"/>
                <a:gd name="T6" fmla="*/ 118 w 140"/>
                <a:gd name="T7" fmla="*/ 25 h 236"/>
                <a:gd name="T8" fmla="*/ 118 w 140"/>
                <a:gd name="T9" fmla="*/ 35 h 236"/>
                <a:gd name="T10" fmla="*/ 120 w 140"/>
                <a:gd name="T11" fmla="*/ 51 h 236"/>
                <a:gd name="T12" fmla="*/ 130 w 140"/>
                <a:gd name="T13" fmla="*/ 64 h 236"/>
                <a:gd name="T14" fmla="*/ 116 w 140"/>
                <a:gd name="T15" fmla="*/ 64 h 236"/>
                <a:gd name="T16" fmla="*/ 99 w 140"/>
                <a:gd name="T17" fmla="*/ 72 h 236"/>
                <a:gd name="T18" fmla="*/ 125 w 140"/>
                <a:gd name="T19" fmla="*/ 105 h 236"/>
                <a:gd name="T20" fmla="*/ 126 w 140"/>
                <a:gd name="T21" fmla="*/ 117 h 236"/>
                <a:gd name="T22" fmla="*/ 118 w 140"/>
                <a:gd name="T23" fmla="*/ 131 h 236"/>
                <a:gd name="T24" fmla="*/ 107 w 140"/>
                <a:gd name="T25" fmla="*/ 145 h 236"/>
                <a:gd name="T26" fmla="*/ 110 w 140"/>
                <a:gd name="T27" fmla="*/ 160 h 236"/>
                <a:gd name="T28" fmla="*/ 119 w 140"/>
                <a:gd name="T29" fmla="*/ 178 h 236"/>
                <a:gd name="T30" fmla="*/ 123 w 140"/>
                <a:gd name="T31" fmla="*/ 193 h 236"/>
                <a:gd name="T32" fmla="*/ 138 w 140"/>
                <a:gd name="T33" fmla="*/ 210 h 236"/>
                <a:gd name="T34" fmla="*/ 139 w 140"/>
                <a:gd name="T35" fmla="*/ 216 h 236"/>
                <a:gd name="T36" fmla="*/ 139 w 140"/>
                <a:gd name="T37" fmla="*/ 224 h 236"/>
                <a:gd name="T38" fmla="*/ 137 w 140"/>
                <a:gd name="T39" fmla="*/ 233 h 236"/>
                <a:gd name="T40" fmla="*/ 123 w 140"/>
                <a:gd name="T41" fmla="*/ 227 h 236"/>
                <a:gd name="T42" fmla="*/ 118 w 140"/>
                <a:gd name="T43" fmla="*/ 227 h 236"/>
                <a:gd name="T44" fmla="*/ 114 w 140"/>
                <a:gd name="T45" fmla="*/ 226 h 236"/>
                <a:gd name="T46" fmla="*/ 111 w 140"/>
                <a:gd name="T47" fmla="*/ 225 h 236"/>
                <a:gd name="T48" fmla="*/ 85 w 140"/>
                <a:gd name="T49" fmla="*/ 222 h 236"/>
                <a:gd name="T50" fmla="*/ 69 w 140"/>
                <a:gd name="T51" fmla="*/ 222 h 236"/>
                <a:gd name="T52" fmla="*/ 52 w 140"/>
                <a:gd name="T53" fmla="*/ 225 h 236"/>
                <a:gd name="T54" fmla="*/ 24 w 140"/>
                <a:gd name="T55" fmla="*/ 218 h 236"/>
                <a:gd name="T56" fmla="*/ 30 w 140"/>
                <a:gd name="T57" fmla="*/ 213 h 236"/>
                <a:gd name="T58" fmla="*/ 30 w 140"/>
                <a:gd name="T59" fmla="*/ 209 h 236"/>
                <a:gd name="T60" fmla="*/ 27 w 140"/>
                <a:gd name="T61" fmla="*/ 206 h 236"/>
                <a:gd name="T62" fmla="*/ 26 w 140"/>
                <a:gd name="T63" fmla="*/ 202 h 236"/>
                <a:gd name="T64" fmla="*/ 24 w 140"/>
                <a:gd name="T65" fmla="*/ 202 h 236"/>
                <a:gd name="T66" fmla="*/ 22 w 140"/>
                <a:gd name="T67" fmla="*/ 196 h 236"/>
                <a:gd name="T68" fmla="*/ 22 w 140"/>
                <a:gd name="T69" fmla="*/ 194 h 236"/>
                <a:gd name="T70" fmla="*/ 22 w 140"/>
                <a:gd name="T71" fmla="*/ 192 h 236"/>
                <a:gd name="T72" fmla="*/ 22 w 140"/>
                <a:gd name="T73" fmla="*/ 190 h 236"/>
                <a:gd name="T74" fmla="*/ 23 w 140"/>
                <a:gd name="T75" fmla="*/ 189 h 236"/>
                <a:gd name="T76" fmla="*/ 23 w 140"/>
                <a:gd name="T77" fmla="*/ 186 h 236"/>
                <a:gd name="T78" fmla="*/ 20 w 140"/>
                <a:gd name="T79" fmla="*/ 186 h 236"/>
                <a:gd name="T80" fmla="*/ 18 w 140"/>
                <a:gd name="T81" fmla="*/ 186 h 236"/>
                <a:gd name="T82" fmla="*/ 18 w 140"/>
                <a:gd name="T83" fmla="*/ 187 h 236"/>
                <a:gd name="T84" fmla="*/ 16 w 140"/>
                <a:gd name="T85" fmla="*/ 189 h 236"/>
                <a:gd name="T86" fmla="*/ 15 w 140"/>
                <a:gd name="T87" fmla="*/ 187 h 236"/>
                <a:gd name="T88" fmla="*/ 12 w 140"/>
                <a:gd name="T89" fmla="*/ 186 h 236"/>
                <a:gd name="T90" fmla="*/ 9 w 140"/>
                <a:gd name="T91" fmla="*/ 185 h 236"/>
                <a:gd name="T92" fmla="*/ 9 w 140"/>
                <a:gd name="T93" fmla="*/ 179 h 236"/>
                <a:gd name="T94" fmla="*/ 7 w 140"/>
                <a:gd name="T95" fmla="*/ 175 h 236"/>
                <a:gd name="T96" fmla="*/ 6 w 140"/>
                <a:gd name="T97" fmla="*/ 176 h 236"/>
                <a:gd name="T98" fmla="*/ 4 w 140"/>
                <a:gd name="T99" fmla="*/ 173 h 236"/>
                <a:gd name="T100" fmla="*/ 4 w 140"/>
                <a:gd name="T101" fmla="*/ 177 h 236"/>
                <a:gd name="T102" fmla="*/ 0 w 140"/>
                <a:gd name="T103" fmla="*/ 176 h 236"/>
                <a:gd name="T104" fmla="*/ 2 w 140"/>
                <a:gd name="T105" fmla="*/ 173 h 236"/>
                <a:gd name="T106" fmla="*/ 6 w 140"/>
                <a:gd name="T107" fmla="*/ 159 h 236"/>
                <a:gd name="T108" fmla="*/ 24 w 140"/>
                <a:gd name="T109" fmla="*/ 130 h 236"/>
                <a:gd name="T110" fmla="*/ 46 w 140"/>
                <a:gd name="T111" fmla="*/ 131 h 236"/>
                <a:gd name="T112" fmla="*/ 60 w 140"/>
                <a:gd name="T113" fmla="*/ 120 h 236"/>
                <a:gd name="T114" fmla="*/ 71 w 140"/>
                <a:gd name="T115" fmla="*/ 95 h 236"/>
                <a:gd name="T116" fmla="*/ 86 w 140"/>
                <a:gd name="T117" fmla="*/ 72 h 236"/>
                <a:gd name="T118" fmla="*/ 103 w 140"/>
                <a:gd name="T119" fmla="*/ 38 h 236"/>
                <a:gd name="T120" fmla="*/ 111 w 140"/>
                <a:gd name="T121" fmla="*/ 19 h 2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40" h="236">
                  <a:moveTo>
                    <a:pt x="99" y="0"/>
                  </a:moveTo>
                  <a:lnTo>
                    <a:pt x="106" y="0"/>
                  </a:lnTo>
                  <a:lnTo>
                    <a:pt x="109" y="3"/>
                  </a:lnTo>
                  <a:lnTo>
                    <a:pt x="107" y="5"/>
                  </a:lnTo>
                  <a:lnTo>
                    <a:pt x="109" y="8"/>
                  </a:lnTo>
                  <a:lnTo>
                    <a:pt x="109" y="8"/>
                  </a:lnTo>
                  <a:lnTo>
                    <a:pt x="110" y="6"/>
                  </a:lnTo>
                  <a:lnTo>
                    <a:pt x="111" y="8"/>
                  </a:lnTo>
                  <a:lnTo>
                    <a:pt x="112" y="8"/>
                  </a:lnTo>
                  <a:lnTo>
                    <a:pt x="111" y="10"/>
                  </a:lnTo>
                  <a:lnTo>
                    <a:pt x="112" y="9"/>
                  </a:lnTo>
                  <a:lnTo>
                    <a:pt x="113" y="9"/>
                  </a:lnTo>
                  <a:lnTo>
                    <a:pt x="114" y="12"/>
                  </a:lnTo>
                  <a:lnTo>
                    <a:pt x="113" y="13"/>
                  </a:lnTo>
                  <a:lnTo>
                    <a:pt x="114" y="15"/>
                  </a:lnTo>
                  <a:lnTo>
                    <a:pt x="114" y="19"/>
                  </a:lnTo>
                  <a:lnTo>
                    <a:pt x="118" y="20"/>
                  </a:lnTo>
                  <a:lnTo>
                    <a:pt x="118" y="22"/>
                  </a:lnTo>
                  <a:lnTo>
                    <a:pt x="118" y="24"/>
                  </a:lnTo>
                  <a:lnTo>
                    <a:pt x="118" y="25"/>
                  </a:lnTo>
                  <a:lnTo>
                    <a:pt x="118" y="25"/>
                  </a:lnTo>
                  <a:lnTo>
                    <a:pt x="119" y="28"/>
                  </a:lnTo>
                  <a:lnTo>
                    <a:pt x="118" y="29"/>
                  </a:lnTo>
                  <a:lnTo>
                    <a:pt x="119" y="32"/>
                  </a:lnTo>
                  <a:lnTo>
                    <a:pt x="118" y="35"/>
                  </a:lnTo>
                  <a:lnTo>
                    <a:pt x="118" y="39"/>
                  </a:lnTo>
                  <a:lnTo>
                    <a:pt x="118" y="43"/>
                  </a:lnTo>
                  <a:lnTo>
                    <a:pt x="119" y="45"/>
                  </a:lnTo>
                  <a:lnTo>
                    <a:pt x="118" y="46"/>
                  </a:lnTo>
                  <a:lnTo>
                    <a:pt x="120" y="51"/>
                  </a:lnTo>
                  <a:lnTo>
                    <a:pt x="120" y="53"/>
                  </a:lnTo>
                  <a:lnTo>
                    <a:pt x="120" y="53"/>
                  </a:lnTo>
                  <a:lnTo>
                    <a:pt x="125" y="57"/>
                  </a:lnTo>
                  <a:lnTo>
                    <a:pt x="126" y="62"/>
                  </a:lnTo>
                  <a:lnTo>
                    <a:pt x="130" y="64"/>
                  </a:lnTo>
                  <a:lnTo>
                    <a:pt x="125" y="65"/>
                  </a:lnTo>
                  <a:lnTo>
                    <a:pt x="122" y="64"/>
                  </a:lnTo>
                  <a:lnTo>
                    <a:pt x="119" y="63"/>
                  </a:lnTo>
                  <a:lnTo>
                    <a:pt x="119" y="65"/>
                  </a:lnTo>
                  <a:lnTo>
                    <a:pt x="116" y="64"/>
                  </a:lnTo>
                  <a:lnTo>
                    <a:pt x="113" y="65"/>
                  </a:lnTo>
                  <a:lnTo>
                    <a:pt x="109" y="64"/>
                  </a:lnTo>
                  <a:lnTo>
                    <a:pt x="103" y="64"/>
                  </a:lnTo>
                  <a:lnTo>
                    <a:pt x="102" y="66"/>
                  </a:lnTo>
                  <a:lnTo>
                    <a:pt x="99" y="72"/>
                  </a:lnTo>
                  <a:lnTo>
                    <a:pt x="110" y="84"/>
                  </a:lnTo>
                  <a:lnTo>
                    <a:pt x="119" y="91"/>
                  </a:lnTo>
                  <a:lnTo>
                    <a:pt x="122" y="95"/>
                  </a:lnTo>
                  <a:lnTo>
                    <a:pt x="125" y="103"/>
                  </a:lnTo>
                  <a:lnTo>
                    <a:pt x="125" y="105"/>
                  </a:lnTo>
                  <a:lnTo>
                    <a:pt x="127" y="110"/>
                  </a:lnTo>
                  <a:lnTo>
                    <a:pt x="129" y="110"/>
                  </a:lnTo>
                  <a:lnTo>
                    <a:pt x="127" y="112"/>
                  </a:lnTo>
                  <a:lnTo>
                    <a:pt x="127" y="115"/>
                  </a:lnTo>
                  <a:lnTo>
                    <a:pt x="126" y="117"/>
                  </a:lnTo>
                  <a:lnTo>
                    <a:pt x="126" y="118"/>
                  </a:lnTo>
                  <a:lnTo>
                    <a:pt x="125" y="118"/>
                  </a:lnTo>
                  <a:lnTo>
                    <a:pt x="122" y="122"/>
                  </a:lnTo>
                  <a:lnTo>
                    <a:pt x="119" y="130"/>
                  </a:lnTo>
                  <a:lnTo>
                    <a:pt x="118" y="131"/>
                  </a:lnTo>
                  <a:lnTo>
                    <a:pt x="114" y="139"/>
                  </a:lnTo>
                  <a:lnTo>
                    <a:pt x="113" y="140"/>
                  </a:lnTo>
                  <a:lnTo>
                    <a:pt x="110" y="142"/>
                  </a:lnTo>
                  <a:lnTo>
                    <a:pt x="109" y="144"/>
                  </a:lnTo>
                  <a:lnTo>
                    <a:pt x="107" y="145"/>
                  </a:lnTo>
                  <a:lnTo>
                    <a:pt x="109" y="147"/>
                  </a:lnTo>
                  <a:lnTo>
                    <a:pt x="111" y="147"/>
                  </a:lnTo>
                  <a:lnTo>
                    <a:pt x="113" y="152"/>
                  </a:lnTo>
                  <a:lnTo>
                    <a:pt x="111" y="157"/>
                  </a:lnTo>
                  <a:lnTo>
                    <a:pt x="110" y="160"/>
                  </a:lnTo>
                  <a:lnTo>
                    <a:pt x="112" y="163"/>
                  </a:lnTo>
                  <a:lnTo>
                    <a:pt x="111" y="167"/>
                  </a:lnTo>
                  <a:lnTo>
                    <a:pt x="113" y="175"/>
                  </a:lnTo>
                  <a:lnTo>
                    <a:pt x="114" y="176"/>
                  </a:lnTo>
                  <a:lnTo>
                    <a:pt x="119" y="178"/>
                  </a:lnTo>
                  <a:lnTo>
                    <a:pt x="120" y="180"/>
                  </a:lnTo>
                  <a:lnTo>
                    <a:pt x="120" y="184"/>
                  </a:lnTo>
                  <a:lnTo>
                    <a:pt x="122" y="186"/>
                  </a:lnTo>
                  <a:lnTo>
                    <a:pt x="119" y="186"/>
                  </a:lnTo>
                  <a:lnTo>
                    <a:pt x="123" y="193"/>
                  </a:lnTo>
                  <a:lnTo>
                    <a:pt x="133" y="205"/>
                  </a:lnTo>
                  <a:lnTo>
                    <a:pt x="136" y="205"/>
                  </a:lnTo>
                  <a:lnTo>
                    <a:pt x="137" y="207"/>
                  </a:lnTo>
                  <a:lnTo>
                    <a:pt x="137" y="207"/>
                  </a:lnTo>
                  <a:lnTo>
                    <a:pt x="138" y="210"/>
                  </a:lnTo>
                  <a:lnTo>
                    <a:pt x="139" y="211"/>
                  </a:lnTo>
                  <a:lnTo>
                    <a:pt x="138" y="212"/>
                  </a:lnTo>
                  <a:lnTo>
                    <a:pt x="138" y="214"/>
                  </a:lnTo>
                  <a:lnTo>
                    <a:pt x="139" y="214"/>
                  </a:lnTo>
                  <a:lnTo>
                    <a:pt x="139" y="216"/>
                  </a:lnTo>
                  <a:lnTo>
                    <a:pt x="138" y="218"/>
                  </a:lnTo>
                  <a:lnTo>
                    <a:pt x="140" y="223"/>
                  </a:lnTo>
                  <a:lnTo>
                    <a:pt x="140" y="223"/>
                  </a:lnTo>
                  <a:lnTo>
                    <a:pt x="140" y="225"/>
                  </a:lnTo>
                  <a:lnTo>
                    <a:pt x="139" y="224"/>
                  </a:lnTo>
                  <a:lnTo>
                    <a:pt x="138" y="225"/>
                  </a:lnTo>
                  <a:lnTo>
                    <a:pt x="138" y="229"/>
                  </a:lnTo>
                  <a:lnTo>
                    <a:pt x="140" y="233"/>
                  </a:lnTo>
                  <a:lnTo>
                    <a:pt x="138" y="236"/>
                  </a:lnTo>
                  <a:lnTo>
                    <a:pt x="137" y="233"/>
                  </a:lnTo>
                  <a:lnTo>
                    <a:pt x="134" y="232"/>
                  </a:lnTo>
                  <a:lnTo>
                    <a:pt x="131" y="230"/>
                  </a:lnTo>
                  <a:lnTo>
                    <a:pt x="127" y="229"/>
                  </a:lnTo>
                  <a:lnTo>
                    <a:pt x="125" y="230"/>
                  </a:lnTo>
                  <a:lnTo>
                    <a:pt x="123" y="227"/>
                  </a:lnTo>
                  <a:lnTo>
                    <a:pt x="122" y="227"/>
                  </a:lnTo>
                  <a:lnTo>
                    <a:pt x="122" y="229"/>
                  </a:lnTo>
                  <a:lnTo>
                    <a:pt x="120" y="227"/>
                  </a:lnTo>
                  <a:lnTo>
                    <a:pt x="120" y="229"/>
                  </a:lnTo>
                  <a:lnTo>
                    <a:pt x="118" y="227"/>
                  </a:lnTo>
                  <a:lnTo>
                    <a:pt x="118" y="229"/>
                  </a:lnTo>
                  <a:lnTo>
                    <a:pt x="117" y="229"/>
                  </a:lnTo>
                  <a:lnTo>
                    <a:pt x="116" y="226"/>
                  </a:lnTo>
                  <a:lnTo>
                    <a:pt x="114" y="227"/>
                  </a:lnTo>
                  <a:lnTo>
                    <a:pt x="114" y="226"/>
                  </a:lnTo>
                  <a:lnTo>
                    <a:pt x="113" y="226"/>
                  </a:lnTo>
                  <a:lnTo>
                    <a:pt x="113" y="225"/>
                  </a:lnTo>
                  <a:lnTo>
                    <a:pt x="113" y="226"/>
                  </a:lnTo>
                  <a:lnTo>
                    <a:pt x="111" y="224"/>
                  </a:lnTo>
                  <a:lnTo>
                    <a:pt x="111" y="225"/>
                  </a:lnTo>
                  <a:lnTo>
                    <a:pt x="106" y="225"/>
                  </a:lnTo>
                  <a:lnTo>
                    <a:pt x="87" y="225"/>
                  </a:lnTo>
                  <a:lnTo>
                    <a:pt x="87" y="223"/>
                  </a:lnTo>
                  <a:lnTo>
                    <a:pt x="87" y="223"/>
                  </a:lnTo>
                  <a:lnTo>
                    <a:pt x="85" y="222"/>
                  </a:lnTo>
                  <a:lnTo>
                    <a:pt x="79" y="223"/>
                  </a:lnTo>
                  <a:lnTo>
                    <a:pt x="79" y="223"/>
                  </a:lnTo>
                  <a:lnTo>
                    <a:pt x="78" y="223"/>
                  </a:lnTo>
                  <a:lnTo>
                    <a:pt x="70" y="222"/>
                  </a:lnTo>
                  <a:lnTo>
                    <a:pt x="69" y="222"/>
                  </a:lnTo>
                  <a:lnTo>
                    <a:pt x="59" y="222"/>
                  </a:lnTo>
                  <a:lnTo>
                    <a:pt x="58" y="222"/>
                  </a:lnTo>
                  <a:lnTo>
                    <a:pt x="53" y="222"/>
                  </a:lnTo>
                  <a:lnTo>
                    <a:pt x="52" y="223"/>
                  </a:lnTo>
                  <a:lnTo>
                    <a:pt x="52" y="225"/>
                  </a:lnTo>
                  <a:lnTo>
                    <a:pt x="29" y="225"/>
                  </a:lnTo>
                  <a:lnTo>
                    <a:pt x="25" y="223"/>
                  </a:lnTo>
                  <a:lnTo>
                    <a:pt x="24" y="222"/>
                  </a:lnTo>
                  <a:lnTo>
                    <a:pt x="24" y="219"/>
                  </a:lnTo>
                  <a:lnTo>
                    <a:pt x="24" y="218"/>
                  </a:lnTo>
                  <a:lnTo>
                    <a:pt x="24" y="217"/>
                  </a:lnTo>
                  <a:lnTo>
                    <a:pt x="25" y="216"/>
                  </a:lnTo>
                  <a:lnTo>
                    <a:pt x="27" y="216"/>
                  </a:lnTo>
                  <a:lnTo>
                    <a:pt x="29" y="214"/>
                  </a:lnTo>
                  <a:lnTo>
                    <a:pt x="30" y="213"/>
                  </a:lnTo>
                  <a:lnTo>
                    <a:pt x="29" y="213"/>
                  </a:lnTo>
                  <a:lnTo>
                    <a:pt x="30" y="212"/>
                  </a:lnTo>
                  <a:lnTo>
                    <a:pt x="31" y="211"/>
                  </a:lnTo>
                  <a:lnTo>
                    <a:pt x="30" y="210"/>
                  </a:lnTo>
                  <a:lnTo>
                    <a:pt x="30" y="209"/>
                  </a:lnTo>
                  <a:lnTo>
                    <a:pt x="29" y="210"/>
                  </a:lnTo>
                  <a:lnTo>
                    <a:pt x="27" y="209"/>
                  </a:lnTo>
                  <a:lnTo>
                    <a:pt x="26" y="209"/>
                  </a:lnTo>
                  <a:lnTo>
                    <a:pt x="26" y="207"/>
                  </a:lnTo>
                  <a:lnTo>
                    <a:pt x="27" y="206"/>
                  </a:lnTo>
                  <a:lnTo>
                    <a:pt x="27" y="206"/>
                  </a:lnTo>
                  <a:lnTo>
                    <a:pt x="29" y="205"/>
                  </a:lnTo>
                  <a:lnTo>
                    <a:pt x="27" y="204"/>
                  </a:lnTo>
                  <a:lnTo>
                    <a:pt x="27" y="203"/>
                  </a:lnTo>
                  <a:lnTo>
                    <a:pt x="26" y="202"/>
                  </a:lnTo>
                  <a:lnTo>
                    <a:pt x="27" y="199"/>
                  </a:lnTo>
                  <a:lnTo>
                    <a:pt x="26" y="199"/>
                  </a:lnTo>
                  <a:lnTo>
                    <a:pt x="25" y="203"/>
                  </a:lnTo>
                  <a:lnTo>
                    <a:pt x="25" y="203"/>
                  </a:lnTo>
                  <a:lnTo>
                    <a:pt x="24" y="202"/>
                  </a:lnTo>
                  <a:lnTo>
                    <a:pt x="25" y="202"/>
                  </a:lnTo>
                  <a:lnTo>
                    <a:pt x="24" y="199"/>
                  </a:lnTo>
                  <a:lnTo>
                    <a:pt x="23" y="198"/>
                  </a:lnTo>
                  <a:lnTo>
                    <a:pt x="22" y="197"/>
                  </a:lnTo>
                  <a:lnTo>
                    <a:pt x="22" y="196"/>
                  </a:lnTo>
                  <a:lnTo>
                    <a:pt x="23" y="194"/>
                  </a:lnTo>
                  <a:lnTo>
                    <a:pt x="24" y="194"/>
                  </a:lnTo>
                  <a:lnTo>
                    <a:pt x="23" y="194"/>
                  </a:lnTo>
                  <a:lnTo>
                    <a:pt x="22" y="194"/>
                  </a:lnTo>
                  <a:lnTo>
                    <a:pt x="22" y="194"/>
                  </a:lnTo>
                  <a:lnTo>
                    <a:pt x="19" y="191"/>
                  </a:lnTo>
                  <a:lnTo>
                    <a:pt x="20" y="191"/>
                  </a:lnTo>
                  <a:lnTo>
                    <a:pt x="20" y="192"/>
                  </a:lnTo>
                  <a:lnTo>
                    <a:pt x="22" y="192"/>
                  </a:lnTo>
                  <a:lnTo>
                    <a:pt x="22" y="192"/>
                  </a:lnTo>
                  <a:lnTo>
                    <a:pt x="20" y="192"/>
                  </a:lnTo>
                  <a:lnTo>
                    <a:pt x="22" y="192"/>
                  </a:lnTo>
                  <a:lnTo>
                    <a:pt x="20" y="190"/>
                  </a:lnTo>
                  <a:lnTo>
                    <a:pt x="22" y="190"/>
                  </a:lnTo>
                  <a:lnTo>
                    <a:pt x="22" y="190"/>
                  </a:lnTo>
                  <a:lnTo>
                    <a:pt x="23" y="190"/>
                  </a:lnTo>
                  <a:lnTo>
                    <a:pt x="23" y="190"/>
                  </a:lnTo>
                  <a:lnTo>
                    <a:pt x="23" y="190"/>
                  </a:lnTo>
                  <a:lnTo>
                    <a:pt x="23" y="190"/>
                  </a:lnTo>
                  <a:lnTo>
                    <a:pt x="23" y="189"/>
                  </a:lnTo>
                  <a:lnTo>
                    <a:pt x="23" y="189"/>
                  </a:lnTo>
                  <a:lnTo>
                    <a:pt x="23" y="187"/>
                  </a:lnTo>
                  <a:lnTo>
                    <a:pt x="22" y="187"/>
                  </a:lnTo>
                  <a:lnTo>
                    <a:pt x="22" y="187"/>
                  </a:lnTo>
                  <a:lnTo>
                    <a:pt x="23" y="186"/>
                  </a:lnTo>
                  <a:lnTo>
                    <a:pt x="23" y="185"/>
                  </a:lnTo>
                  <a:lnTo>
                    <a:pt x="23" y="184"/>
                  </a:lnTo>
                  <a:lnTo>
                    <a:pt x="23" y="184"/>
                  </a:lnTo>
                  <a:lnTo>
                    <a:pt x="22" y="185"/>
                  </a:lnTo>
                  <a:lnTo>
                    <a:pt x="20" y="186"/>
                  </a:lnTo>
                  <a:lnTo>
                    <a:pt x="19" y="186"/>
                  </a:lnTo>
                  <a:lnTo>
                    <a:pt x="19" y="185"/>
                  </a:lnTo>
                  <a:lnTo>
                    <a:pt x="18" y="185"/>
                  </a:lnTo>
                  <a:lnTo>
                    <a:pt x="18" y="185"/>
                  </a:lnTo>
                  <a:lnTo>
                    <a:pt x="18" y="186"/>
                  </a:lnTo>
                  <a:lnTo>
                    <a:pt x="19" y="186"/>
                  </a:lnTo>
                  <a:lnTo>
                    <a:pt x="19" y="187"/>
                  </a:lnTo>
                  <a:lnTo>
                    <a:pt x="17" y="186"/>
                  </a:lnTo>
                  <a:lnTo>
                    <a:pt x="18" y="186"/>
                  </a:lnTo>
                  <a:lnTo>
                    <a:pt x="18" y="187"/>
                  </a:lnTo>
                  <a:lnTo>
                    <a:pt x="18" y="187"/>
                  </a:lnTo>
                  <a:lnTo>
                    <a:pt x="18" y="189"/>
                  </a:lnTo>
                  <a:lnTo>
                    <a:pt x="18" y="189"/>
                  </a:lnTo>
                  <a:lnTo>
                    <a:pt x="17" y="189"/>
                  </a:lnTo>
                  <a:lnTo>
                    <a:pt x="16" y="189"/>
                  </a:lnTo>
                  <a:lnTo>
                    <a:pt x="16" y="187"/>
                  </a:lnTo>
                  <a:lnTo>
                    <a:pt x="16" y="187"/>
                  </a:lnTo>
                  <a:lnTo>
                    <a:pt x="16" y="186"/>
                  </a:lnTo>
                  <a:lnTo>
                    <a:pt x="15" y="186"/>
                  </a:lnTo>
                  <a:lnTo>
                    <a:pt x="15" y="187"/>
                  </a:lnTo>
                  <a:lnTo>
                    <a:pt x="15" y="187"/>
                  </a:lnTo>
                  <a:lnTo>
                    <a:pt x="15" y="187"/>
                  </a:lnTo>
                  <a:lnTo>
                    <a:pt x="13" y="186"/>
                  </a:lnTo>
                  <a:lnTo>
                    <a:pt x="13" y="187"/>
                  </a:lnTo>
                  <a:lnTo>
                    <a:pt x="12" y="186"/>
                  </a:lnTo>
                  <a:lnTo>
                    <a:pt x="12" y="186"/>
                  </a:lnTo>
                  <a:lnTo>
                    <a:pt x="11" y="186"/>
                  </a:lnTo>
                  <a:lnTo>
                    <a:pt x="10" y="185"/>
                  </a:lnTo>
                  <a:lnTo>
                    <a:pt x="10" y="185"/>
                  </a:lnTo>
                  <a:lnTo>
                    <a:pt x="9" y="185"/>
                  </a:lnTo>
                  <a:lnTo>
                    <a:pt x="9" y="184"/>
                  </a:lnTo>
                  <a:lnTo>
                    <a:pt x="7" y="183"/>
                  </a:lnTo>
                  <a:lnTo>
                    <a:pt x="9" y="182"/>
                  </a:lnTo>
                  <a:lnTo>
                    <a:pt x="10" y="180"/>
                  </a:lnTo>
                  <a:lnTo>
                    <a:pt x="9" y="179"/>
                  </a:lnTo>
                  <a:lnTo>
                    <a:pt x="9" y="179"/>
                  </a:lnTo>
                  <a:lnTo>
                    <a:pt x="7" y="177"/>
                  </a:lnTo>
                  <a:lnTo>
                    <a:pt x="9" y="176"/>
                  </a:lnTo>
                  <a:lnTo>
                    <a:pt x="7" y="175"/>
                  </a:lnTo>
                  <a:lnTo>
                    <a:pt x="7" y="175"/>
                  </a:lnTo>
                  <a:lnTo>
                    <a:pt x="6" y="175"/>
                  </a:lnTo>
                  <a:lnTo>
                    <a:pt x="6" y="175"/>
                  </a:lnTo>
                  <a:lnTo>
                    <a:pt x="6" y="175"/>
                  </a:lnTo>
                  <a:lnTo>
                    <a:pt x="6" y="175"/>
                  </a:lnTo>
                  <a:lnTo>
                    <a:pt x="6" y="176"/>
                  </a:lnTo>
                  <a:lnTo>
                    <a:pt x="6" y="176"/>
                  </a:lnTo>
                  <a:lnTo>
                    <a:pt x="5" y="176"/>
                  </a:lnTo>
                  <a:lnTo>
                    <a:pt x="5" y="176"/>
                  </a:lnTo>
                  <a:lnTo>
                    <a:pt x="4" y="173"/>
                  </a:lnTo>
                  <a:lnTo>
                    <a:pt x="4" y="173"/>
                  </a:lnTo>
                  <a:lnTo>
                    <a:pt x="3" y="172"/>
                  </a:lnTo>
                  <a:lnTo>
                    <a:pt x="3" y="173"/>
                  </a:lnTo>
                  <a:lnTo>
                    <a:pt x="3" y="175"/>
                  </a:lnTo>
                  <a:lnTo>
                    <a:pt x="4" y="177"/>
                  </a:lnTo>
                  <a:lnTo>
                    <a:pt x="4" y="177"/>
                  </a:lnTo>
                  <a:lnTo>
                    <a:pt x="3" y="176"/>
                  </a:lnTo>
                  <a:lnTo>
                    <a:pt x="2" y="177"/>
                  </a:lnTo>
                  <a:lnTo>
                    <a:pt x="2" y="176"/>
                  </a:lnTo>
                  <a:lnTo>
                    <a:pt x="2" y="177"/>
                  </a:lnTo>
                  <a:lnTo>
                    <a:pt x="0" y="176"/>
                  </a:lnTo>
                  <a:lnTo>
                    <a:pt x="0" y="176"/>
                  </a:lnTo>
                  <a:lnTo>
                    <a:pt x="0" y="175"/>
                  </a:lnTo>
                  <a:lnTo>
                    <a:pt x="0" y="175"/>
                  </a:lnTo>
                  <a:lnTo>
                    <a:pt x="2" y="173"/>
                  </a:lnTo>
                  <a:lnTo>
                    <a:pt x="2" y="173"/>
                  </a:lnTo>
                  <a:lnTo>
                    <a:pt x="2" y="171"/>
                  </a:lnTo>
                  <a:lnTo>
                    <a:pt x="3" y="171"/>
                  </a:lnTo>
                  <a:lnTo>
                    <a:pt x="3" y="170"/>
                  </a:lnTo>
                  <a:lnTo>
                    <a:pt x="6" y="164"/>
                  </a:lnTo>
                  <a:lnTo>
                    <a:pt x="6" y="159"/>
                  </a:lnTo>
                  <a:lnTo>
                    <a:pt x="6" y="152"/>
                  </a:lnTo>
                  <a:lnTo>
                    <a:pt x="7" y="150"/>
                  </a:lnTo>
                  <a:lnTo>
                    <a:pt x="16" y="139"/>
                  </a:lnTo>
                  <a:lnTo>
                    <a:pt x="20" y="136"/>
                  </a:lnTo>
                  <a:lnTo>
                    <a:pt x="24" y="130"/>
                  </a:lnTo>
                  <a:lnTo>
                    <a:pt x="31" y="125"/>
                  </a:lnTo>
                  <a:lnTo>
                    <a:pt x="37" y="127"/>
                  </a:lnTo>
                  <a:lnTo>
                    <a:pt x="38" y="125"/>
                  </a:lnTo>
                  <a:lnTo>
                    <a:pt x="44" y="130"/>
                  </a:lnTo>
                  <a:lnTo>
                    <a:pt x="46" y="131"/>
                  </a:lnTo>
                  <a:lnTo>
                    <a:pt x="53" y="137"/>
                  </a:lnTo>
                  <a:lnTo>
                    <a:pt x="56" y="132"/>
                  </a:lnTo>
                  <a:lnTo>
                    <a:pt x="59" y="125"/>
                  </a:lnTo>
                  <a:lnTo>
                    <a:pt x="62" y="124"/>
                  </a:lnTo>
                  <a:lnTo>
                    <a:pt x="60" y="120"/>
                  </a:lnTo>
                  <a:lnTo>
                    <a:pt x="64" y="113"/>
                  </a:lnTo>
                  <a:lnTo>
                    <a:pt x="67" y="105"/>
                  </a:lnTo>
                  <a:lnTo>
                    <a:pt x="69" y="100"/>
                  </a:lnTo>
                  <a:lnTo>
                    <a:pt x="69" y="96"/>
                  </a:lnTo>
                  <a:lnTo>
                    <a:pt x="71" y="95"/>
                  </a:lnTo>
                  <a:lnTo>
                    <a:pt x="73" y="92"/>
                  </a:lnTo>
                  <a:lnTo>
                    <a:pt x="77" y="89"/>
                  </a:lnTo>
                  <a:lnTo>
                    <a:pt x="78" y="83"/>
                  </a:lnTo>
                  <a:lnTo>
                    <a:pt x="80" y="77"/>
                  </a:lnTo>
                  <a:lnTo>
                    <a:pt x="86" y="72"/>
                  </a:lnTo>
                  <a:lnTo>
                    <a:pt x="86" y="66"/>
                  </a:lnTo>
                  <a:lnTo>
                    <a:pt x="90" y="60"/>
                  </a:lnTo>
                  <a:lnTo>
                    <a:pt x="91" y="50"/>
                  </a:lnTo>
                  <a:lnTo>
                    <a:pt x="96" y="43"/>
                  </a:lnTo>
                  <a:lnTo>
                    <a:pt x="103" y="38"/>
                  </a:lnTo>
                  <a:lnTo>
                    <a:pt x="110" y="33"/>
                  </a:lnTo>
                  <a:lnTo>
                    <a:pt x="109" y="29"/>
                  </a:lnTo>
                  <a:lnTo>
                    <a:pt x="111" y="24"/>
                  </a:lnTo>
                  <a:lnTo>
                    <a:pt x="111" y="22"/>
                  </a:lnTo>
                  <a:lnTo>
                    <a:pt x="111" y="19"/>
                  </a:lnTo>
                  <a:lnTo>
                    <a:pt x="107" y="16"/>
                  </a:lnTo>
                  <a:lnTo>
                    <a:pt x="103" y="12"/>
                  </a:lnTo>
                  <a:lnTo>
                    <a:pt x="99" y="0"/>
                  </a:lnTo>
                  <a:lnTo>
                    <a:pt x="99" y="0"/>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43" name="Burundi">
              <a:extLst>
                <a:ext uri="{FF2B5EF4-FFF2-40B4-BE49-F238E27FC236}">
                  <a16:creationId xmlns:a16="http://schemas.microsoft.com/office/drawing/2014/main" id="{2C9183CF-257B-C640-A753-564D527F880C}"/>
                </a:ext>
              </a:extLst>
            </p:cNvPr>
            <p:cNvSpPr>
              <a:spLocks/>
            </p:cNvSpPr>
            <p:nvPr/>
          </p:nvSpPr>
          <p:spPr bwMode="auto">
            <a:xfrm>
              <a:off x="7129211" y="4056513"/>
              <a:ext cx="49570" cy="62693"/>
            </a:xfrm>
            <a:custGeom>
              <a:avLst/>
              <a:gdLst>
                <a:gd name="T0" fmla="*/ 1 w 34"/>
                <a:gd name="T1" fmla="*/ 8 h 43"/>
                <a:gd name="T2" fmla="*/ 2 w 34"/>
                <a:gd name="T3" fmla="*/ 6 h 43"/>
                <a:gd name="T4" fmla="*/ 4 w 34"/>
                <a:gd name="T5" fmla="*/ 6 h 43"/>
                <a:gd name="T6" fmla="*/ 7 w 34"/>
                <a:gd name="T7" fmla="*/ 7 h 43"/>
                <a:gd name="T8" fmla="*/ 7 w 34"/>
                <a:gd name="T9" fmla="*/ 9 h 43"/>
                <a:gd name="T10" fmla="*/ 11 w 34"/>
                <a:gd name="T11" fmla="*/ 10 h 43"/>
                <a:gd name="T12" fmla="*/ 13 w 34"/>
                <a:gd name="T13" fmla="*/ 9 h 43"/>
                <a:gd name="T14" fmla="*/ 14 w 34"/>
                <a:gd name="T15" fmla="*/ 10 h 43"/>
                <a:gd name="T16" fmla="*/ 17 w 34"/>
                <a:gd name="T17" fmla="*/ 9 h 43"/>
                <a:gd name="T18" fmla="*/ 18 w 34"/>
                <a:gd name="T19" fmla="*/ 7 h 43"/>
                <a:gd name="T20" fmla="*/ 18 w 34"/>
                <a:gd name="T21" fmla="*/ 0 h 43"/>
                <a:gd name="T22" fmla="*/ 21 w 34"/>
                <a:gd name="T23" fmla="*/ 2 h 43"/>
                <a:gd name="T24" fmla="*/ 22 w 34"/>
                <a:gd name="T25" fmla="*/ 0 h 43"/>
                <a:gd name="T26" fmla="*/ 26 w 34"/>
                <a:gd name="T27" fmla="*/ 1 h 43"/>
                <a:gd name="T28" fmla="*/ 31 w 34"/>
                <a:gd name="T29" fmla="*/ 1 h 43"/>
                <a:gd name="T30" fmla="*/ 31 w 34"/>
                <a:gd name="T31" fmla="*/ 2 h 43"/>
                <a:gd name="T32" fmla="*/ 29 w 34"/>
                <a:gd name="T33" fmla="*/ 6 h 43"/>
                <a:gd name="T34" fmla="*/ 27 w 34"/>
                <a:gd name="T35" fmla="*/ 8 h 43"/>
                <a:gd name="T36" fmla="*/ 28 w 34"/>
                <a:gd name="T37" fmla="*/ 8 h 43"/>
                <a:gd name="T38" fmla="*/ 27 w 34"/>
                <a:gd name="T39" fmla="*/ 9 h 43"/>
                <a:gd name="T40" fmla="*/ 26 w 34"/>
                <a:gd name="T41" fmla="*/ 12 h 43"/>
                <a:gd name="T42" fmla="*/ 28 w 34"/>
                <a:gd name="T43" fmla="*/ 13 h 43"/>
                <a:gd name="T44" fmla="*/ 29 w 34"/>
                <a:gd name="T45" fmla="*/ 12 h 43"/>
                <a:gd name="T46" fmla="*/ 32 w 34"/>
                <a:gd name="T47" fmla="*/ 13 h 43"/>
                <a:gd name="T48" fmla="*/ 34 w 34"/>
                <a:gd name="T49" fmla="*/ 14 h 43"/>
                <a:gd name="T50" fmla="*/ 33 w 34"/>
                <a:gd name="T51" fmla="*/ 15 h 43"/>
                <a:gd name="T52" fmla="*/ 34 w 34"/>
                <a:gd name="T53" fmla="*/ 16 h 43"/>
                <a:gd name="T54" fmla="*/ 34 w 34"/>
                <a:gd name="T55" fmla="*/ 19 h 43"/>
                <a:gd name="T56" fmla="*/ 31 w 34"/>
                <a:gd name="T57" fmla="*/ 20 h 43"/>
                <a:gd name="T58" fmla="*/ 29 w 34"/>
                <a:gd name="T59" fmla="*/ 22 h 43"/>
                <a:gd name="T60" fmla="*/ 31 w 34"/>
                <a:gd name="T61" fmla="*/ 23 h 43"/>
                <a:gd name="T62" fmla="*/ 28 w 34"/>
                <a:gd name="T63" fmla="*/ 24 h 43"/>
                <a:gd name="T64" fmla="*/ 27 w 34"/>
                <a:gd name="T65" fmla="*/ 24 h 43"/>
                <a:gd name="T66" fmla="*/ 26 w 34"/>
                <a:gd name="T67" fmla="*/ 30 h 43"/>
                <a:gd name="T68" fmla="*/ 25 w 34"/>
                <a:gd name="T69" fmla="*/ 30 h 43"/>
                <a:gd name="T70" fmla="*/ 21 w 34"/>
                <a:gd name="T71" fmla="*/ 36 h 43"/>
                <a:gd name="T72" fmla="*/ 20 w 34"/>
                <a:gd name="T73" fmla="*/ 40 h 43"/>
                <a:gd name="T74" fmla="*/ 19 w 34"/>
                <a:gd name="T75" fmla="*/ 41 h 43"/>
                <a:gd name="T76" fmla="*/ 15 w 34"/>
                <a:gd name="T77" fmla="*/ 41 h 43"/>
                <a:gd name="T78" fmla="*/ 14 w 34"/>
                <a:gd name="T79" fmla="*/ 43 h 43"/>
                <a:gd name="T80" fmla="*/ 11 w 34"/>
                <a:gd name="T81" fmla="*/ 43 h 43"/>
                <a:gd name="T82" fmla="*/ 8 w 34"/>
                <a:gd name="T83" fmla="*/ 43 h 43"/>
                <a:gd name="T84" fmla="*/ 7 w 34"/>
                <a:gd name="T85" fmla="*/ 36 h 43"/>
                <a:gd name="T86" fmla="*/ 5 w 34"/>
                <a:gd name="T87" fmla="*/ 33 h 43"/>
                <a:gd name="T88" fmla="*/ 5 w 34"/>
                <a:gd name="T89" fmla="*/ 21 h 43"/>
                <a:gd name="T90" fmla="*/ 5 w 34"/>
                <a:gd name="T91" fmla="*/ 20 h 43"/>
                <a:gd name="T92" fmla="*/ 5 w 34"/>
                <a:gd name="T93" fmla="*/ 17 h 43"/>
                <a:gd name="T94" fmla="*/ 5 w 34"/>
                <a:gd name="T95" fmla="*/ 14 h 43"/>
                <a:gd name="T96" fmla="*/ 4 w 34"/>
                <a:gd name="T97" fmla="*/ 14 h 43"/>
                <a:gd name="T98" fmla="*/ 1 w 34"/>
                <a:gd name="T99" fmla="*/ 10 h 43"/>
                <a:gd name="T100" fmla="*/ 0 w 34"/>
                <a:gd name="T101" fmla="*/ 10 h 43"/>
                <a:gd name="T102" fmla="*/ 0 w 34"/>
                <a:gd name="T103" fmla="*/ 9 h 43"/>
                <a:gd name="T104" fmla="*/ 1 w 34"/>
                <a:gd name="T105" fmla="*/ 8 h 43"/>
                <a:gd name="T106" fmla="*/ 1 w 34"/>
                <a:gd name="T107" fmla="*/ 8 h 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34" h="43">
                  <a:moveTo>
                    <a:pt x="1" y="8"/>
                  </a:moveTo>
                  <a:lnTo>
                    <a:pt x="2" y="6"/>
                  </a:lnTo>
                  <a:lnTo>
                    <a:pt x="4" y="6"/>
                  </a:lnTo>
                  <a:lnTo>
                    <a:pt x="7" y="7"/>
                  </a:lnTo>
                  <a:lnTo>
                    <a:pt x="7" y="9"/>
                  </a:lnTo>
                  <a:lnTo>
                    <a:pt x="11" y="10"/>
                  </a:lnTo>
                  <a:lnTo>
                    <a:pt x="13" y="9"/>
                  </a:lnTo>
                  <a:lnTo>
                    <a:pt x="14" y="10"/>
                  </a:lnTo>
                  <a:lnTo>
                    <a:pt x="17" y="9"/>
                  </a:lnTo>
                  <a:lnTo>
                    <a:pt x="18" y="7"/>
                  </a:lnTo>
                  <a:lnTo>
                    <a:pt x="18" y="0"/>
                  </a:lnTo>
                  <a:lnTo>
                    <a:pt x="21" y="2"/>
                  </a:lnTo>
                  <a:lnTo>
                    <a:pt x="22" y="0"/>
                  </a:lnTo>
                  <a:lnTo>
                    <a:pt x="26" y="1"/>
                  </a:lnTo>
                  <a:lnTo>
                    <a:pt x="31" y="1"/>
                  </a:lnTo>
                  <a:lnTo>
                    <a:pt x="31" y="2"/>
                  </a:lnTo>
                  <a:lnTo>
                    <a:pt x="29" y="6"/>
                  </a:lnTo>
                  <a:lnTo>
                    <a:pt x="27" y="8"/>
                  </a:lnTo>
                  <a:lnTo>
                    <a:pt x="28" y="8"/>
                  </a:lnTo>
                  <a:lnTo>
                    <a:pt x="27" y="9"/>
                  </a:lnTo>
                  <a:lnTo>
                    <a:pt x="26" y="12"/>
                  </a:lnTo>
                  <a:lnTo>
                    <a:pt x="28" y="13"/>
                  </a:lnTo>
                  <a:lnTo>
                    <a:pt x="29" y="12"/>
                  </a:lnTo>
                  <a:lnTo>
                    <a:pt x="32" y="13"/>
                  </a:lnTo>
                  <a:lnTo>
                    <a:pt x="34" y="14"/>
                  </a:lnTo>
                  <a:lnTo>
                    <a:pt x="33" y="15"/>
                  </a:lnTo>
                  <a:lnTo>
                    <a:pt x="34" y="16"/>
                  </a:lnTo>
                  <a:lnTo>
                    <a:pt x="34" y="19"/>
                  </a:lnTo>
                  <a:lnTo>
                    <a:pt x="31" y="20"/>
                  </a:lnTo>
                  <a:lnTo>
                    <a:pt x="29" y="22"/>
                  </a:lnTo>
                  <a:lnTo>
                    <a:pt x="31" y="23"/>
                  </a:lnTo>
                  <a:lnTo>
                    <a:pt x="28" y="24"/>
                  </a:lnTo>
                  <a:lnTo>
                    <a:pt x="27" y="24"/>
                  </a:lnTo>
                  <a:lnTo>
                    <a:pt x="26" y="30"/>
                  </a:lnTo>
                  <a:lnTo>
                    <a:pt x="25" y="30"/>
                  </a:lnTo>
                  <a:lnTo>
                    <a:pt x="21" y="36"/>
                  </a:lnTo>
                  <a:lnTo>
                    <a:pt x="20" y="40"/>
                  </a:lnTo>
                  <a:lnTo>
                    <a:pt x="19" y="41"/>
                  </a:lnTo>
                  <a:lnTo>
                    <a:pt x="15" y="41"/>
                  </a:lnTo>
                  <a:lnTo>
                    <a:pt x="14" y="43"/>
                  </a:lnTo>
                  <a:lnTo>
                    <a:pt x="11" y="43"/>
                  </a:lnTo>
                  <a:lnTo>
                    <a:pt x="8" y="43"/>
                  </a:lnTo>
                  <a:lnTo>
                    <a:pt x="7" y="36"/>
                  </a:lnTo>
                  <a:lnTo>
                    <a:pt x="5" y="33"/>
                  </a:lnTo>
                  <a:lnTo>
                    <a:pt x="5" y="21"/>
                  </a:lnTo>
                  <a:lnTo>
                    <a:pt x="5" y="20"/>
                  </a:lnTo>
                  <a:lnTo>
                    <a:pt x="5" y="17"/>
                  </a:lnTo>
                  <a:lnTo>
                    <a:pt x="5" y="14"/>
                  </a:lnTo>
                  <a:lnTo>
                    <a:pt x="4" y="14"/>
                  </a:lnTo>
                  <a:lnTo>
                    <a:pt x="1" y="10"/>
                  </a:lnTo>
                  <a:lnTo>
                    <a:pt x="0" y="10"/>
                  </a:lnTo>
                  <a:lnTo>
                    <a:pt x="0" y="9"/>
                  </a:lnTo>
                  <a:lnTo>
                    <a:pt x="1" y="8"/>
                  </a:lnTo>
                  <a:lnTo>
                    <a:pt x="1" y="8"/>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44" name="Burkina Faso">
              <a:extLst>
                <a:ext uri="{FF2B5EF4-FFF2-40B4-BE49-F238E27FC236}">
                  <a16:creationId xmlns:a16="http://schemas.microsoft.com/office/drawing/2014/main" id="{8A1E97E7-055F-524B-A53C-9D29CF665668}"/>
                </a:ext>
              </a:extLst>
            </p:cNvPr>
            <p:cNvSpPr>
              <a:spLocks/>
            </p:cNvSpPr>
            <p:nvPr/>
          </p:nvSpPr>
          <p:spPr bwMode="auto">
            <a:xfrm>
              <a:off x="6216535" y="3531652"/>
              <a:ext cx="208488" cy="173496"/>
            </a:xfrm>
            <a:custGeom>
              <a:avLst/>
              <a:gdLst>
                <a:gd name="T0" fmla="*/ 3 w 143"/>
                <a:gd name="T1" fmla="*/ 89 h 119"/>
                <a:gd name="T2" fmla="*/ 5 w 143"/>
                <a:gd name="T3" fmla="*/ 83 h 119"/>
                <a:gd name="T4" fmla="*/ 6 w 143"/>
                <a:gd name="T5" fmla="*/ 78 h 119"/>
                <a:gd name="T6" fmla="*/ 5 w 143"/>
                <a:gd name="T7" fmla="*/ 69 h 119"/>
                <a:gd name="T8" fmla="*/ 16 w 143"/>
                <a:gd name="T9" fmla="*/ 66 h 119"/>
                <a:gd name="T10" fmla="*/ 19 w 143"/>
                <a:gd name="T11" fmla="*/ 63 h 119"/>
                <a:gd name="T12" fmla="*/ 20 w 143"/>
                <a:gd name="T13" fmla="*/ 56 h 119"/>
                <a:gd name="T14" fmla="*/ 23 w 143"/>
                <a:gd name="T15" fmla="*/ 51 h 119"/>
                <a:gd name="T16" fmla="*/ 23 w 143"/>
                <a:gd name="T17" fmla="*/ 43 h 119"/>
                <a:gd name="T18" fmla="*/ 26 w 143"/>
                <a:gd name="T19" fmla="*/ 40 h 119"/>
                <a:gd name="T20" fmla="*/ 30 w 143"/>
                <a:gd name="T21" fmla="*/ 36 h 119"/>
                <a:gd name="T22" fmla="*/ 39 w 143"/>
                <a:gd name="T23" fmla="*/ 41 h 119"/>
                <a:gd name="T24" fmla="*/ 45 w 143"/>
                <a:gd name="T25" fmla="*/ 32 h 119"/>
                <a:gd name="T26" fmla="*/ 50 w 143"/>
                <a:gd name="T27" fmla="*/ 23 h 119"/>
                <a:gd name="T28" fmla="*/ 65 w 143"/>
                <a:gd name="T29" fmla="*/ 21 h 119"/>
                <a:gd name="T30" fmla="*/ 87 w 143"/>
                <a:gd name="T31" fmla="*/ 2 h 119"/>
                <a:gd name="T32" fmla="*/ 98 w 143"/>
                <a:gd name="T33" fmla="*/ 0 h 119"/>
                <a:gd name="T34" fmla="*/ 104 w 143"/>
                <a:gd name="T35" fmla="*/ 14 h 119"/>
                <a:gd name="T36" fmla="*/ 107 w 143"/>
                <a:gd name="T37" fmla="*/ 22 h 119"/>
                <a:gd name="T38" fmla="*/ 109 w 143"/>
                <a:gd name="T39" fmla="*/ 25 h 119"/>
                <a:gd name="T40" fmla="*/ 112 w 143"/>
                <a:gd name="T41" fmla="*/ 32 h 119"/>
                <a:gd name="T42" fmla="*/ 117 w 143"/>
                <a:gd name="T43" fmla="*/ 33 h 119"/>
                <a:gd name="T44" fmla="*/ 124 w 143"/>
                <a:gd name="T45" fmla="*/ 36 h 119"/>
                <a:gd name="T46" fmla="*/ 118 w 143"/>
                <a:gd name="T47" fmla="*/ 43 h 119"/>
                <a:gd name="T48" fmla="*/ 134 w 143"/>
                <a:gd name="T49" fmla="*/ 53 h 119"/>
                <a:gd name="T50" fmla="*/ 139 w 143"/>
                <a:gd name="T51" fmla="*/ 52 h 119"/>
                <a:gd name="T52" fmla="*/ 138 w 143"/>
                <a:gd name="T53" fmla="*/ 59 h 119"/>
                <a:gd name="T54" fmla="*/ 137 w 143"/>
                <a:gd name="T55" fmla="*/ 78 h 119"/>
                <a:gd name="T56" fmla="*/ 126 w 143"/>
                <a:gd name="T57" fmla="*/ 76 h 119"/>
                <a:gd name="T58" fmla="*/ 125 w 143"/>
                <a:gd name="T59" fmla="*/ 81 h 119"/>
                <a:gd name="T60" fmla="*/ 121 w 143"/>
                <a:gd name="T61" fmla="*/ 82 h 119"/>
                <a:gd name="T62" fmla="*/ 118 w 143"/>
                <a:gd name="T63" fmla="*/ 86 h 119"/>
                <a:gd name="T64" fmla="*/ 103 w 143"/>
                <a:gd name="T65" fmla="*/ 83 h 119"/>
                <a:gd name="T66" fmla="*/ 93 w 143"/>
                <a:gd name="T67" fmla="*/ 85 h 119"/>
                <a:gd name="T68" fmla="*/ 89 w 143"/>
                <a:gd name="T69" fmla="*/ 86 h 119"/>
                <a:gd name="T70" fmla="*/ 84 w 143"/>
                <a:gd name="T71" fmla="*/ 86 h 119"/>
                <a:gd name="T72" fmla="*/ 50 w 143"/>
                <a:gd name="T73" fmla="*/ 87 h 119"/>
                <a:gd name="T74" fmla="*/ 47 w 143"/>
                <a:gd name="T75" fmla="*/ 93 h 119"/>
                <a:gd name="T76" fmla="*/ 51 w 143"/>
                <a:gd name="T77" fmla="*/ 99 h 119"/>
                <a:gd name="T78" fmla="*/ 51 w 143"/>
                <a:gd name="T79" fmla="*/ 101 h 119"/>
                <a:gd name="T80" fmla="*/ 50 w 143"/>
                <a:gd name="T81" fmla="*/ 106 h 119"/>
                <a:gd name="T82" fmla="*/ 52 w 143"/>
                <a:gd name="T83" fmla="*/ 114 h 119"/>
                <a:gd name="T84" fmla="*/ 51 w 143"/>
                <a:gd name="T85" fmla="*/ 119 h 119"/>
                <a:gd name="T86" fmla="*/ 42 w 143"/>
                <a:gd name="T87" fmla="*/ 109 h 119"/>
                <a:gd name="T88" fmla="*/ 26 w 143"/>
                <a:gd name="T89" fmla="*/ 110 h 119"/>
                <a:gd name="T90" fmla="*/ 16 w 143"/>
                <a:gd name="T91" fmla="*/ 115 h 119"/>
                <a:gd name="T92" fmla="*/ 11 w 143"/>
                <a:gd name="T93" fmla="*/ 109 h 119"/>
                <a:gd name="T94" fmla="*/ 11 w 143"/>
                <a:gd name="T95" fmla="*/ 105 h 119"/>
                <a:gd name="T96" fmla="*/ 5 w 143"/>
                <a:gd name="T97" fmla="*/ 100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43" h="119">
                  <a:moveTo>
                    <a:pt x="0" y="98"/>
                  </a:moveTo>
                  <a:lnTo>
                    <a:pt x="3" y="95"/>
                  </a:lnTo>
                  <a:lnTo>
                    <a:pt x="2" y="94"/>
                  </a:lnTo>
                  <a:lnTo>
                    <a:pt x="3" y="89"/>
                  </a:lnTo>
                  <a:lnTo>
                    <a:pt x="3" y="86"/>
                  </a:lnTo>
                  <a:lnTo>
                    <a:pt x="2" y="86"/>
                  </a:lnTo>
                  <a:lnTo>
                    <a:pt x="2" y="85"/>
                  </a:lnTo>
                  <a:lnTo>
                    <a:pt x="5" y="83"/>
                  </a:lnTo>
                  <a:lnTo>
                    <a:pt x="5" y="82"/>
                  </a:lnTo>
                  <a:lnTo>
                    <a:pt x="6" y="81"/>
                  </a:lnTo>
                  <a:lnTo>
                    <a:pt x="6" y="78"/>
                  </a:lnTo>
                  <a:lnTo>
                    <a:pt x="6" y="78"/>
                  </a:lnTo>
                  <a:lnTo>
                    <a:pt x="6" y="74"/>
                  </a:lnTo>
                  <a:lnTo>
                    <a:pt x="5" y="74"/>
                  </a:lnTo>
                  <a:lnTo>
                    <a:pt x="6" y="71"/>
                  </a:lnTo>
                  <a:lnTo>
                    <a:pt x="5" y="69"/>
                  </a:lnTo>
                  <a:lnTo>
                    <a:pt x="6" y="69"/>
                  </a:lnTo>
                  <a:lnTo>
                    <a:pt x="6" y="68"/>
                  </a:lnTo>
                  <a:lnTo>
                    <a:pt x="10" y="66"/>
                  </a:lnTo>
                  <a:lnTo>
                    <a:pt x="16" y="66"/>
                  </a:lnTo>
                  <a:lnTo>
                    <a:pt x="16" y="65"/>
                  </a:lnTo>
                  <a:lnTo>
                    <a:pt x="18" y="65"/>
                  </a:lnTo>
                  <a:lnTo>
                    <a:pt x="18" y="63"/>
                  </a:lnTo>
                  <a:lnTo>
                    <a:pt x="19" y="63"/>
                  </a:lnTo>
                  <a:lnTo>
                    <a:pt x="18" y="61"/>
                  </a:lnTo>
                  <a:lnTo>
                    <a:pt x="20" y="59"/>
                  </a:lnTo>
                  <a:lnTo>
                    <a:pt x="20" y="58"/>
                  </a:lnTo>
                  <a:lnTo>
                    <a:pt x="20" y="56"/>
                  </a:lnTo>
                  <a:lnTo>
                    <a:pt x="22" y="55"/>
                  </a:lnTo>
                  <a:lnTo>
                    <a:pt x="20" y="52"/>
                  </a:lnTo>
                  <a:lnTo>
                    <a:pt x="20" y="51"/>
                  </a:lnTo>
                  <a:lnTo>
                    <a:pt x="23" y="51"/>
                  </a:lnTo>
                  <a:lnTo>
                    <a:pt x="23" y="51"/>
                  </a:lnTo>
                  <a:lnTo>
                    <a:pt x="25" y="51"/>
                  </a:lnTo>
                  <a:lnTo>
                    <a:pt x="25" y="46"/>
                  </a:lnTo>
                  <a:lnTo>
                    <a:pt x="23" y="43"/>
                  </a:lnTo>
                  <a:lnTo>
                    <a:pt x="23" y="41"/>
                  </a:lnTo>
                  <a:lnTo>
                    <a:pt x="25" y="41"/>
                  </a:lnTo>
                  <a:lnTo>
                    <a:pt x="24" y="40"/>
                  </a:lnTo>
                  <a:lnTo>
                    <a:pt x="26" y="40"/>
                  </a:lnTo>
                  <a:lnTo>
                    <a:pt x="27" y="36"/>
                  </a:lnTo>
                  <a:lnTo>
                    <a:pt x="30" y="35"/>
                  </a:lnTo>
                  <a:lnTo>
                    <a:pt x="31" y="35"/>
                  </a:lnTo>
                  <a:lnTo>
                    <a:pt x="30" y="36"/>
                  </a:lnTo>
                  <a:lnTo>
                    <a:pt x="30" y="38"/>
                  </a:lnTo>
                  <a:lnTo>
                    <a:pt x="33" y="38"/>
                  </a:lnTo>
                  <a:lnTo>
                    <a:pt x="37" y="41"/>
                  </a:lnTo>
                  <a:lnTo>
                    <a:pt x="39" y="41"/>
                  </a:lnTo>
                  <a:lnTo>
                    <a:pt x="39" y="40"/>
                  </a:lnTo>
                  <a:lnTo>
                    <a:pt x="43" y="36"/>
                  </a:lnTo>
                  <a:lnTo>
                    <a:pt x="42" y="31"/>
                  </a:lnTo>
                  <a:lnTo>
                    <a:pt x="45" y="32"/>
                  </a:lnTo>
                  <a:lnTo>
                    <a:pt x="45" y="33"/>
                  </a:lnTo>
                  <a:lnTo>
                    <a:pt x="49" y="32"/>
                  </a:lnTo>
                  <a:lnTo>
                    <a:pt x="49" y="28"/>
                  </a:lnTo>
                  <a:lnTo>
                    <a:pt x="50" y="23"/>
                  </a:lnTo>
                  <a:lnTo>
                    <a:pt x="57" y="19"/>
                  </a:lnTo>
                  <a:lnTo>
                    <a:pt x="59" y="20"/>
                  </a:lnTo>
                  <a:lnTo>
                    <a:pt x="63" y="21"/>
                  </a:lnTo>
                  <a:lnTo>
                    <a:pt x="65" y="21"/>
                  </a:lnTo>
                  <a:lnTo>
                    <a:pt x="65" y="14"/>
                  </a:lnTo>
                  <a:lnTo>
                    <a:pt x="76" y="9"/>
                  </a:lnTo>
                  <a:lnTo>
                    <a:pt x="82" y="8"/>
                  </a:lnTo>
                  <a:lnTo>
                    <a:pt x="87" y="2"/>
                  </a:lnTo>
                  <a:lnTo>
                    <a:pt x="93" y="2"/>
                  </a:lnTo>
                  <a:lnTo>
                    <a:pt x="93" y="3"/>
                  </a:lnTo>
                  <a:lnTo>
                    <a:pt x="97" y="2"/>
                  </a:lnTo>
                  <a:lnTo>
                    <a:pt x="98" y="0"/>
                  </a:lnTo>
                  <a:lnTo>
                    <a:pt x="101" y="5"/>
                  </a:lnTo>
                  <a:lnTo>
                    <a:pt x="105" y="5"/>
                  </a:lnTo>
                  <a:lnTo>
                    <a:pt x="105" y="9"/>
                  </a:lnTo>
                  <a:lnTo>
                    <a:pt x="104" y="14"/>
                  </a:lnTo>
                  <a:lnTo>
                    <a:pt x="104" y="15"/>
                  </a:lnTo>
                  <a:lnTo>
                    <a:pt x="107" y="19"/>
                  </a:lnTo>
                  <a:lnTo>
                    <a:pt x="109" y="20"/>
                  </a:lnTo>
                  <a:lnTo>
                    <a:pt x="107" y="22"/>
                  </a:lnTo>
                  <a:lnTo>
                    <a:pt x="106" y="22"/>
                  </a:lnTo>
                  <a:lnTo>
                    <a:pt x="107" y="23"/>
                  </a:lnTo>
                  <a:lnTo>
                    <a:pt x="107" y="25"/>
                  </a:lnTo>
                  <a:lnTo>
                    <a:pt x="109" y="25"/>
                  </a:lnTo>
                  <a:lnTo>
                    <a:pt x="110" y="26"/>
                  </a:lnTo>
                  <a:lnTo>
                    <a:pt x="111" y="29"/>
                  </a:lnTo>
                  <a:lnTo>
                    <a:pt x="112" y="29"/>
                  </a:lnTo>
                  <a:lnTo>
                    <a:pt x="112" y="32"/>
                  </a:lnTo>
                  <a:lnTo>
                    <a:pt x="116" y="32"/>
                  </a:lnTo>
                  <a:lnTo>
                    <a:pt x="117" y="32"/>
                  </a:lnTo>
                  <a:lnTo>
                    <a:pt x="116" y="33"/>
                  </a:lnTo>
                  <a:lnTo>
                    <a:pt x="117" y="33"/>
                  </a:lnTo>
                  <a:lnTo>
                    <a:pt x="119" y="33"/>
                  </a:lnTo>
                  <a:lnTo>
                    <a:pt x="119" y="35"/>
                  </a:lnTo>
                  <a:lnTo>
                    <a:pt x="123" y="36"/>
                  </a:lnTo>
                  <a:lnTo>
                    <a:pt x="124" y="36"/>
                  </a:lnTo>
                  <a:lnTo>
                    <a:pt x="124" y="38"/>
                  </a:lnTo>
                  <a:lnTo>
                    <a:pt x="123" y="38"/>
                  </a:lnTo>
                  <a:lnTo>
                    <a:pt x="119" y="39"/>
                  </a:lnTo>
                  <a:lnTo>
                    <a:pt x="118" y="43"/>
                  </a:lnTo>
                  <a:lnTo>
                    <a:pt x="119" y="45"/>
                  </a:lnTo>
                  <a:lnTo>
                    <a:pt x="120" y="45"/>
                  </a:lnTo>
                  <a:lnTo>
                    <a:pt x="130" y="53"/>
                  </a:lnTo>
                  <a:lnTo>
                    <a:pt x="134" y="53"/>
                  </a:lnTo>
                  <a:lnTo>
                    <a:pt x="136" y="52"/>
                  </a:lnTo>
                  <a:lnTo>
                    <a:pt x="136" y="51"/>
                  </a:lnTo>
                  <a:lnTo>
                    <a:pt x="139" y="51"/>
                  </a:lnTo>
                  <a:lnTo>
                    <a:pt x="139" y="52"/>
                  </a:lnTo>
                  <a:lnTo>
                    <a:pt x="141" y="56"/>
                  </a:lnTo>
                  <a:lnTo>
                    <a:pt x="141" y="58"/>
                  </a:lnTo>
                  <a:lnTo>
                    <a:pt x="138" y="58"/>
                  </a:lnTo>
                  <a:lnTo>
                    <a:pt x="138" y="59"/>
                  </a:lnTo>
                  <a:lnTo>
                    <a:pt x="143" y="68"/>
                  </a:lnTo>
                  <a:lnTo>
                    <a:pt x="141" y="68"/>
                  </a:lnTo>
                  <a:lnTo>
                    <a:pt x="140" y="73"/>
                  </a:lnTo>
                  <a:lnTo>
                    <a:pt x="137" y="78"/>
                  </a:lnTo>
                  <a:lnTo>
                    <a:pt x="134" y="76"/>
                  </a:lnTo>
                  <a:lnTo>
                    <a:pt x="130" y="79"/>
                  </a:lnTo>
                  <a:lnTo>
                    <a:pt x="129" y="78"/>
                  </a:lnTo>
                  <a:lnTo>
                    <a:pt x="126" y="76"/>
                  </a:lnTo>
                  <a:lnTo>
                    <a:pt x="125" y="79"/>
                  </a:lnTo>
                  <a:lnTo>
                    <a:pt x="125" y="81"/>
                  </a:lnTo>
                  <a:lnTo>
                    <a:pt x="124" y="81"/>
                  </a:lnTo>
                  <a:lnTo>
                    <a:pt x="125" y="81"/>
                  </a:lnTo>
                  <a:lnTo>
                    <a:pt x="124" y="81"/>
                  </a:lnTo>
                  <a:lnTo>
                    <a:pt x="124" y="81"/>
                  </a:lnTo>
                  <a:lnTo>
                    <a:pt x="121" y="81"/>
                  </a:lnTo>
                  <a:lnTo>
                    <a:pt x="121" y="82"/>
                  </a:lnTo>
                  <a:lnTo>
                    <a:pt x="119" y="83"/>
                  </a:lnTo>
                  <a:lnTo>
                    <a:pt x="120" y="85"/>
                  </a:lnTo>
                  <a:lnTo>
                    <a:pt x="118" y="85"/>
                  </a:lnTo>
                  <a:lnTo>
                    <a:pt x="118" y="86"/>
                  </a:lnTo>
                  <a:lnTo>
                    <a:pt x="117" y="86"/>
                  </a:lnTo>
                  <a:lnTo>
                    <a:pt x="113" y="87"/>
                  </a:lnTo>
                  <a:lnTo>
                    <a:pt x="110" y="86"/>
                  </a:lnTo>
                  <a:lnTo>
                    <a:pt x="103" y="83"/>
                  </a:lnTo>
                  <a:lnTo>
                    <a:pt x="97" y="83"/>
                  </a:lnTo>
                  <a:lnTo>
                    <a:pt x="96" y="85"/>
                  </a:lnTo>
                  <a:lnTo>
                    <a:pt x="94" y="85"/>
                  </a:lnTo>
                  <a:lnTo>
                    <a:pt x="93" y="85"/>
                  </a:lnTo>
                  <a:lnTo>
                    <a:pt x="93" y="86"/>
                  </a:lnTo>
                  <a:lnTo>
                    <a:pt x="90" y="88"/>
                  </a:lnTo>
                  <a:lnTo>
                    <a:pt x="89" y="87"/>
                  </a:lnTo>
                  <a:lnTo>
                    <a:pt x="89" y="86"/>
                  </a:lnTo>
                  <a:lnTo>
                    <a:pt x="86" y="86"/>
                  </a:lnTo>
                  <a:lnTo>
                    <a:pt x="85" y="88"/>
                  </a:lnTo>
                  <a:lnTo>
                    <a:pt x="85" y="87"/>
                  </a:lnTo>
                  <a:lnTo>
                    <a:pt x="84" y="86"/>
                  </a:lnTo>
                  <a:lnTo>
                    <a:pt x="71" y="86"/>
                  </a:lnTo>
                  <a:lnTo>
                    <a:pt x="54" y="86"/>
                  </a:lnTo>
                  <a:lnTo>
                    <a:pt x="50" y="86"/>
                  </a:lnTo>
                  <a:lnTo>
                    <a:pt x="50" y="87"/>
                  </a:lnTo>
                  <a:lnTo>
                    <a:pt x="50" y="89"/>
                  </a:lnTo>
                  <a:lnTo>
                    <a:pt x="49" y="90"/>
                  </a:lnTo>
                  <a:lnTo>
                    <a:pt x="49" y="92"/>
                  </a:lnTo>
                  <a:lnTo>
                    <a:pt x="47" y="93"/>
                  </a:lnTo>
                  <a:lnTo>
                    <a:pt x="49" y="94"/>
                  </a:lnTo>
                  <a:lnTo>
                    <a:pt x="49" y="95"/>
                  </a:lnTo>
                  <a:lnTo>
                    <a:pt x="51" y="96"/>
                  </a:lnTo>
                  <a:lnTo>
                    <a:pt x="51" y="99"/>
                  </a:lnTo>
                  <a:lnTo>
                    <a:pt x="51" y="99"/>
                  </a:lnTo>
                  <a:lnTo>
                    <a:pt x="50" y="99"/>
                  </a:lnTo>
                  <a:lnTo>
                    <a:pt x="50" y="100"/>
                  </a:lnTo>
                  <a:lnTo>
                    <a:pt x="51" y="101"/>
                  </a:lnTo>
                  <a:lnTo>
                    <a:pt x="51" y="102"/>
                  </a:lnTo>
                  <a:lnTo>
                    <a:pt x="50" y="103"/>
                  </a:lnTo>
                  <a:lnTo>
                    <a:pt x="51" y="103"/>
                  </a:lnTo>
                  <a:lnTo>
                    <a:pt x="50" y="106"/>
                  </a:lnTo>
                  <a:lnTo>
                    <a:pt x="51" y="108"/>
                  </a:lnTo>
                  <a:lnTo>
                    <a:pt x="51" y="110"/>
                  </a:lnTo>
                  <a:lnTo>
                    <a:pt x="50" y="112"/>
                  </a:lnTo>
                  <a:lnTo>
                    <a:pt x="52" y="114"/>
                  </a:lnTo>
                  <a:lnTo>
                    <a:pt x="51" y="115"/>
                  </a:lnTo>
                  <a:lnTo>
                    <a:pt x="51" y="116"/>
                  </a:lnTo>
                  <a:lnTo>
                    <a:pt x="52" y="118"/>
                  </a:lnTo>
                  <a:lnTo>
                    <a:pt x="51" y="119"/>
                  </a:lnTo>
                  <a:lnTo>
                    <a:pt x="50" y="115"/>
                  </a:lnTo>
                  <a:lnTo>
                    <a:pt x="46" y="113"/>
                  </a:lnTo>
                  <a:lnTo>
                    <a:pt x="43" y="110"/>
                  </a:lnTo>
                  <a:lnTo>
                    <a:pt x="42" y="109"/>
                  </a:lnTo>
                  <a:lnTo>
                    <a:pt x="36" y="108"/>
                  </a:lnTo>
                  <a:lnTo>
                    <a:pt x="34" y="108"/>
                  </a:lnTo>
                  <a:lnTo>
                    <a:pt x="29" y="109"/>
                  </a:lnTo>
                  <a:lnTo>
                    <a:pt x="26" y="110"/>
                  </a:lnTo>
                  <a:lnTo>
                    <a:pt x="23" y="113"/>
                  </a:lnTo>
                  <a:lnTo>
                    <a:pt x="20" y="115"/>
                  </a:lnTo>
                  <a:lnTo>
                    <a:pt x="18" y="115"/>
                  </a:lnTo>
                  <a:lnTo>
                    <a:pt x="16" y="115"/>
                  </a:lnTo>
                  <a:lnTo>
                    <a:pt x="14" y="113"/>
                  </a:lnTo>
                  <a:lnTo>
                    <a:pt x="13" y="113"/>
                  </a:lnTo>
                  <a:lnTo>
                    <a:pt x="14" y="110"/>
                  </a:lnTo>
                  <a:lnTo>
                    <a:pt x="11" y="109"/>
                  </a:lnTo>
                  <a:lnTo>
                    <a:pt x="11" y="108"/>
                  </a:lnTo>
                  <a:lnTo>
                    <a:pt x="11" y="106"/>
                  </a:lnTo>
                  <a:lnTo>
                    <a:pt x="11" y="105"/>
                  </a:lnTo>
                  <a:lnTo>
                    <a:pt x="11" y="105"/>
                  </a:lnTo>
                  <a:lnTo>
                    <a:pt x="10" y="103"/>
                  </a:lnTo>
                  <a:lnTo>
                    <a:pt x="9" y="101"/>
                  </a:lnTo>
                  <a:lnTo>
                    <a:pt x="7" y="100"/>
                  </a:lnTo>
                  <a:lnTo>
                    <a:pt x="5" y="100"/>
                  </a:lnTo>
                  <a:lnTo>
                    <a:pt x="2" y="100"/>
                  </a:lnTo>
                  <a:lnTo>
                    <a:pt x="0" y="98"/>
                  </a:lnTo>
                  <a:lnTo>
                    <a:pt x="0" y="98"/>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45" name="Bruney">
              <a:extLst>
                <a:ext uri="{FF2B5EF4-FFF2-40B4-BE49-F238E27FC236}">
                  <a16:creationId xmlns:a16="http://schemas.microsoft.com/office/drawing/2014/main" id="{E8C636DB-68CE-4F4B-8DE0-8175939CAEBD}"/>
                </a:ext>
              </a:extLst>
            </p:cNvPr>
            <p:cNvSpPr>
              <a:spLocks noEditPoints="1"/>
            </p:cNvSpPr>
            <p:nvPr/>
          </p:nvSpPr>
          <p:spPr bwMode="auto">
            <a:xfrm>
              <a:off x="9378827" y="3827616"/>
              <a:ext cx="33534" cy="36449"/>
            </a:xfrm>
            <a:custGeom>
              <a:avLst/>
              <a:gdLst>
                <a:gd name="T0" fmla="*/ 19 w 23"/>
                <a:gd name="T1" fmla="*/ 6 h 25"/>
                <a:gd name="T2" fmla="*/ 20 w 23"/>
                <a:gd name="T3" fmla="*/ 11 h 25"/>
                <a:gd name="T4" fmla="*/ 21 w 23"/>
                <a:gd name="T5" fmla="*/ 15 h 25"/>
                <a:gd name="T6" fmla="*/ 23 w 23"/>
                <a:gd name="T7" fmla="*/ 18 h 25"/>
                <a:gd name="T8" fmla="*/ 23 w 23"/>
                <a:gd name="T9" fmla="*/ 19 h 25"/>
                <a:gd name="T10" fmla="*/ 18 w 23"/>
                <a:gd name="T11" fmla="*/ 17 h 25"/>
                <a:gd name="T12" fmla="*/ 17 w 23"/>
                <a:gd name="T13" fmla="*/ 12 h 25"/>
                <a:gd name="T14" fmla="*/ 17 w 23"/>
                <a:gd name="T15" fmla="*/ 9 h 25"/>
                <a:gd name="T16" fmla="*/ 19 w 23"/>
                <a:gd name="T17" fmla="*/ 7 h 25"/>
                <a:gd name="T18" fmla="*/ 18 w 23"/>
                <a:gd name="T19" fmla="*/ 7 h 25"/>
                <a:gd name="T20" fmla="*/ 19 w 23"/>
                <a:gd name="T21" fmla="*/ 6 h 25"/>
                <a:gd name="T22" fmla="*/ 19 w 23"/>
                <a:gd name="T23" fmla="*/ 6 h 25"/>
                <a:gd name="T24" fmla="*/ 17 w 23"/>
                <a:gd name="T25" fmla="*/ 7 h 25"/>
                <a:gd name="T26" fmla="*/ 15 w 23"/>
                <a:gd name="T27" fmla="*/ 9 h 25"/>
                <a:gd name="T28" fmla="*/ 13 w 23"/>
                <a:gd name="T29" fmla="*/ 9 h 25"/>
                <a:gd name="T30" fmla="*/ 12 w 23"/>
                <a:gd name="T31" fmla="*/ 11 h 25"/>
                <a:gd name="T32" fmla="*/ 13 w 23"/>
                <a:gd name="T33" fmla="*/ 17 h 25"/>
                <a:gd name="T34" fmla="*/ 14 w 23"/>
                <a:gd name="T35" fmla="*/ 17 h 25"/>
                <a:gd name="T36" fmla="*/ 14 w 23"/>
                <a:gd name="T37" fmla="*/ 18 h 25"/>
                <a:gd name="T38" fmla="*/ 13 w 23"/>
                <a:gd name="T39" fmla="*/ 19 h 25"/>
                <a:gd name="T40" fmla="*/ 13 w 23"/>
                <a:gd name="T41" fmla="*/ 19 h 25"/>
                <a:gd name="T42" fmla="*/ 12 w 23"/>
                <a:gd name="T43" fmla="*/ 23 h 25"/>
                <a:gd name="T44" fmla="*/ 11 w 23"/>
                <a:gd name="T45" fmla="*/ 25 h 25"/>
                <a:gd name="T46" fmla="*/ 10 w 23"/>
                <a:gd name="T47" fmla="*/ 25 h 25"/>
                <a:gd name="T48" fmla="*/ 6 w 23"/>
                <a:gd name="T49" fmla="*/ 19 h 25"/>
                <a:gd name="T50" fmla="*/ 5 w 23"/>
                <a:gd name="T51" fmla="*/ 20 h 25"/>
                <a:gd name="T52" fmla="*/ 4 w 23"/>
                <a:gd name="T53" fmla="*/ 19 h 25"/>
                <a:gd name="T54" fmla="*/ 4 w 23"/>
                <a:gd name="T55" fmla="*/ 18 h 25"/>
                <a:gd name="T56" fmla="*/ 3 w 23"/>
                <a:gd name="T57" fmla="*/ 15 h 25"/>
                <a:gd name="T58" fmla="*/ 0 w 23"/>
                <a:gd name="T59" fmla="*/ 13 h 25"/>
                <a:gd name="T60" fmla="*/ 1 w 23"/>
                <a:gd name="T61" fmla="*/ 13 h 25"/>
                <a:gd name="T62" fmla="*/ 1 w 23"/>
                <a:gd name="T63" fmla="*/ 12 h 25"/>
                <a:gd name="T64" fmla="*/ 3 w 23"/>
                <a:gd name="T65" fmla="*/ 12 h 25"/>
                <a:gd name="T66" fmla="*/ 3 w 23"/>
                <a:gd name="T67" fmla="*/ 11 h 25"/>
                <a:gd name="T68" fmla="*/ 4 w 23"/>
                <a:gd name="T69" fmla="*/ 11 h 25"/>
                <a:gd name="T70" fmla="*/ 6 w 23"/>
                <a:gd name="T71" fmla="*/ 9 h 25"/>
                <a:gd name="T72" fmla="*/ 6 w 23"/>
                <a:gd name="T73" fmla="*/ 7 h 25"/>
                <a:gd name="T74" fmla="*/ 8 w 23"/>
                <a:gd name="T75" fmla="*/ 9 h 25"/>
                <a:gd name="T76" fmla="*/ 8 w 23"/>
                <a:gd name="T77" fmla="*/ 7 h 25"/>
                <a:gd name="T78" fmla="*/ 8 w 23"/>
                <a:gd name="T79" fmla="*/ 6 h 25"/>
                <a:gd name="T80" fmla="*/ 10 w 23"/>
                <a:gd name="T81" fmla="*/ 3 h 25"/>
                <a:gd name="T82" fmla="*/ 10 w 23"/>
                <a:gd name="T83" fmla="*/ 2 h 25"/>
                <a:gd name="T84" fmla="*/ 10 w 23"/>
                <a:gd name="T85" fmla="*/ 3 h 25"/>
                <a:gd name="T86" fmla="*/ 11 w 23"/>
                <a:gd name="T87" fmla="*/ 2 h 25"/>
                <a:gd name="T88" fmla="*/ 11 w 23"/>
                <a:gd name="T89" fmla="*/ 2 h 25"/>
                <a:gd name="T90" fmla="*/ 12 w 23"/>
                <a:gd name="T91" fmla="*/ 2 h 25"/>
                <a:gd name="T92" fmla="*/ 13 w 23"/>
                <a:gd name="T93" fmla="*/ 0 h 25"/>
                <a:gd name="T94" fmla="*/ 15 w 23"/>
                <a:gd name="T95" fmla="*/ 0 h 25"/>
                <a:gd name="T96" fmla="*/ 15 w 23"/>
                <a:gd name="T97" fmla="*/ 2 h 25"/>
                <a:gd name="T98" fmla="*/ 17 w 23"/>
                <a:gd name="T99" fmla="*/ 4 h 25"/>
                <a:gd name="T100" fmla="*/ 17 w 23"/>
                <a:gd name="T101" fmla="*/ 5 h 25"/>
                <a:gd name="T102" fmla="*/ 18 w 23"/>
                <a:gd name="T103" fmla="*/ 4 h 25"/>
                <a:gd name="T104" fmla="*/ 18 w 23"/>
                <a:gd name="T105" fmla="*/ 5 h 25"/>
                <a:gd name="T106" fmla="*/ 17 w 23"/>
                <a:gd name="T107" fmla="*/ 6 h 25"/>
                <a:gd name="T108" fmla="*/ 15 w 23"/>
                <a:gd name="T109" fmla="*/ 7 h 25"/>
                <a:gd name="T110" fmla="*/ 17 w 23"/>
                <a:gd name="T111" fmla="*/ 7 h 25"/>
                <a:gd name="T112" fmla="*/ 17 w 23"/>
                <a:gd name="T113" fmla="*/ 7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3" h="25">
                  <a:moveTo>
                    <a:pt x="19" y="6"/>
                  </a:moveTo>
                  <a:lnTo>
                    <a:pt x="20" y="11"/>
                  </a:lnTo>
                  <a:lnTo>
                    <a:pt x="21" y="15"/>
                  </a:lnTo>
                  <a:lnTo>
                    <a:pt x="23" y="18"/>
                  </a:lnTo>
                  <a:lnTo>
                    <a:pt x="23" y="19"/>
                  </a:lnTo>
                  <a:lnTo>
                    <a:pt x="18" y="17"/>
                  </a:lnTo>
                  <a:lnTo>
                    <a:pt x="17" y="12"/>
                  </a:lnTo>
                  <a:lnTo>
                    <a:pt x="17" y="9"/>
                  </a:lnTo>
                  <a:lnTo>
                    <a:pt x="19" y="7"/>
                  </a:lnTo>
                  <a:lnTo>
                    <a:pt x="18" y="7"/>
                  </a:lnTo>
                  <a:lnTo>
                    <a:pt x="19" y="6"/>
                  </a:lnTo>
                  <a:lnTo>
                    <a:pt x="19" y="6"/>
                  </a:lnTo>
                  <a:close/>
                  <a:moveTo>
                    <a:pt x="17" y="7"/>
                  </a:moveTo>
                  <a:lnTo>
                    <a:pt x="15" y="9"/>
                  </a:lnTo>
                  <a:lnTo>
                    <a:pt x="13" y="9"/>
                  </a:lnTo>
                  <a:lnTo>
                    <a:pt x="12" y="11"/>
                  </a:lnTo>
                  <a:lnTo>
                    <a:pt x="13" y="17"/>
                  </a:lnTo>
                  <a:lnTo>
                    <a:pt x="14" y="17"/>
                  </a:lnTo>
                  <a:lnTo>
                    <a:pt x="14" y="18"/>
                  </a:lnTo>
                  <a:lnTo>
                    <a:pt x="13" y="19"/>
                  </a:lnTo>
                  <a:lnTo>
                    <a:pt x="13" y="19"/>
                  </a:lnTo>
                  <a:lnTo>
                    <a:pt x="12" y="23"/>
                  </a:lnTo>
                  <a:lnTo>
                    <a:pt x="11" y="25"/>
                  </a:lnTo>
                  <a:lnTo>
                    <a:pt x="10" y="25"/>
                  </a:lnTo>
                  <a:lnTo>
                    <a:pt x="6" y="19"/>
                  </a:lnTo>
                  <a:lnTo>
                    <a:pt x="5" y="20"/>
                  </a:lnTo>
                  <a:lnTo>
                    <a:pt x="4" y="19"/>
                  </a:lnTo>
                  <a:lnTo>
                    <a:pt x="4" y="18"/>
                  </a:lnTo>
                  <a:lnTo>
                    <a:pt x="3" y="15"/>
                  </a:lnTo>
                  <a:lnTo>
                    <a:pt x="0" y="13"/>
                  </a:lnTo>
                  <a:lnTo>
                    <a:pt x="1" y="13"/>
                  </a:lnTo>
                  <a:lnTo>
                    <a:pt x="1" y="12"/>
                  </a:lnTo>
                  <a:lnTo>
                    <a:pt x="3" y="12"/>
                  </a:lnTo>
                  <a:lnTo>
                    <a:pt x="3" y="11"/>
                  </a:lnTo>
                  <a:lnTo>
                    <a:pt x="4" y="11"/>
                  </a:lnTo>
                  <a:lnTo>
                    <a:pt x="6" y="9"/>
                  </a:lnTo>
                  <a:lnTo>
                    <a:pt x="6" y="7"/>
                  </a:lnTo>
                  <a:lnTo>
                    <a:pt x="8" y="9"/>
                  </a:lnTo>
                  <a:lnTo>
                    <a:pt x="8" y="7"/>
                  </a:lnTo>
                  <a:lnTo>
                    <a:pt x="8" y="6"/>
                  </a:lnTo>
                  <a:lnTo>
                    <a:pt x="10" y="3"/>
                  </a:lnTo>
                  <a:lnTo>
                    <a:pt x="10" y="2"/>
                  </a:lnTo>
                  <a:lnTo>
                    <a:pt x="10" y="3"/>
                  </a:lnTo>
                  <a:lnTo>
                    <a:pt x="11" y="2"/>
                  </a:lnTo>
                  <a:lnTo>
                    <a:pt x="11" y="2"/>
                  </a:lnTo>
                  <a:lnTo>
                    <a:pt x="12" y="2"/>
                  </a:lnTo>
                  <a:lnTo>
                    <a:pt x="13" y="0"/>
                  </a:lnTo>
                  <a:lnTo>
                    <a:pt x="15" y="0"/>
                  </a:lnTo>
                  <a:lnTo>
                    <a:pt x="15" y="2"/>
                  </a:lnTo>
                  <a:lnTo>
                    <a:pt x="17" y="4"/>
                  </a:lnTo>
                  <a:lnTo>
                    <a:pt x="17" y="5"/>
                  </a:lnTo>
                  <a:lnTo>
                    <a:pt x="18" y="4"/>
                  </a:lnTo>
                  <a:lnTo>
                    <a:pt x="18" y="5"/>
                  </a:lnTo>
                  <a:lnTo>
                    <a:pt x="17" y="6"/>
                  </a:lnTo>
                  <a:lnTo>
                    <a:pt x="15" y="7"/>
                  </a:lnTo>
                  <a:lnTo>
                    <a:pt x="17" y="7"/>
                  </a:lnTo>
                  <a:lnTo>
                    <a:pt x="17" y="7"/>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46" name="Bosnia and Herzegovina">
              <a:extLst>
                <a:ext uri="{FF2B5EF4-FFF2-40B4-BE49-F238E27FC236}">
                  <a16:creationId xmlns:a16="http://schemas.microsoft.com/office/drawing/2014/main" id="{0994D88C-A0BA-A046-BBC2-0ABA4446E599}"/>
                </a:ext>
              </a:extLst>
            </p:cNvPr>
            <p:cNvSpPr>
              <a:spLocks/>
            </p:cNvSpPr>
            <p:nvPr/>
          </p:nvSpPr>
          <p:spPr bwMode="auto">
            <a:xfrm>
              <a:off x="6732649" y="2632097"/>
              <a:ext cx="93308" cy="80187"/>
            </a:xfrm>
            <a:custGeom>
              <a:avLst/>
              <a:gdLst>
                <a:gd name="T0" fmla="*/ 52 w 64"/>
                <a:gd name="T1" fmla="*/ 54 h 55"/>
                <a:gd name="T2" fmla="*/ 53 w 64"/>
                <a:gd name="T3" fmla="*/ 50 h 55"/>
                <a:gd name="T4" fmla="*/ 51 w 64"/>
                <a:gd name="T5" fmla="*/ 45 h 55"/>
                <a:gd name="T6" fmla="*/ 54 w 64"/>
                <a:gd name="T7" fmla="*/ 41 h 55"/>
                <a:gd name="T8" fmla="*/ 57 w 64"/>
                <a:gd name="T9" fmla="*/ 40 h 55"/>
                <a:gd name="T10" fmla="*/ 57 w 64"/>
                <a:gd name="T11" fmla="*/ 34 h 55"/>
                <a:gd name="T12" fmla="*/ 59 w 64"/>
                <a:gd name="T13" fmla="*/ 32 h 55"/>
                <a:gd name="T14" fmla="*/ 62 w 64"/>
                <a:gd name="T15" fmla="*/ 30 h 55"/>
                <a:gd name="T16" fmla="*/ 60 w 64"/>
                <a:gd name="T17" fmla="*/ 29 h 55"/>
                <a:gd name="T18" fmla="*/ 58 w 64"/>
                <a:gd name="T19" fmla="*/ 27 h 55"/>
                <a:gd name="T20" fmla="*/ 63 w 64"/>
                <a:gd name="T21" fmla="*/ 22 h 55"/>
                <a:gd name="T22" fmla="*/ 64 w 64"/>
                <a:gd name="T23" fmla="*/ 18 h 55"/>
                <a:gd name="T24" fmla="*/ 62 w 64"/>
                <a:gd name="T25" fmla="*/ 16 h 55"/>
                <a:gd name="T26" fmla="*/ 58 w 64"/>
                <a:gd name="T27" fmla="*/ 16 h 55"/>
                <a:gd name="T28" fmla="*/ 58 w 64"/>
                <a:gd name="T29" fmla="*/ 12 h 55"/>
                <a:gd name="T30" fmla="*/ 59 w 64"/>
                <a:gd name="T31" fmla="*/ 10 h 55"/>
                <a:gd name="T32" fmla="*/ 57 w 64"/>
                <a:gd name="T33" fmla="*/ 7 h 55"/>
                <a:gd name="T34" fmla="*/ 56 w 64"/>
                <a:gd name="T35" fmla="*/ 7 h 55"/>
                <a:gd name="T36" fmla="*/ 53 w 64"/>
                <a:gd name="T37" fmla="*/ 8 h 55"/>
                <a:gd name="T38" fmla="*/ 49 w 64"/>
                <a:gd name="T39" fmla="*/ 5 h 55"/>
                <a:gd name="T40" fmla="*/ 47 w 64"/>
                <a:gd name="T41" fmla="*/ 3 h 55"/>
                <a:gd name="T42" fmla="*/ 45 w 64"/>
                <a:gd name="T43" fmla="*/ 4 h 55"/>
                <a:gd name="T44" fmla="*/ 44 w 64"/>
                <a:gd name="T45" fmla="*/ 4 h 55"/>
                <a:gd name="T46" fmla="*/ 39 w 64"/>
                <a:gd name="T47" fmla="*/ 3 h 55"/>
                <a:gd name="T48" fmla="*/ 38 w 64"/>
                <a:gd name="T49" fmla="*/ 3 h 55"/>
                <a:gd name="T50" fmla="*/ 36 w 64"/>
                <a:gd name="T51" fmla="*/ 4 h 55"/>
                <a:gd name="T52" fmla="*/ 33 w 64"/>
                <a:gd name="T53" fmla="*/ 3 h 55"/>
                <a:gd name="T54" fmla="*/ 30 w 64"/>
                <a:gd name="T55" fmla="*/ 3 h 55"/>
                <a:gd name="T56" fmla="*/ 26 w 64"/>
                <a:gd name="T57" fmla="*/ 0 h 55"/>
                <a:gd name="T58" fmla="*/ 24 w 64"/>
                <a:gd name="T59" fmla="*/ 0 h 55"/>
                <a:gd name="T60" fmla="*/ 20 w 64"/>
                <a:gd name="T61" fmla="*/ 1 h 55"/>
                <a:gd name="T62" fmla="*/ 19 w 64"/>
                <a:gd name="T63" fmla="*/ 0 h 55"/>
                <a:gd name="T64" fmla="*/ 16 w 64"/>
                <a:gd name="T65" fmla="*/ 1 h 55"/>
                <a:gd name="T66" fmla="*/ 13 w 64"/>
                <a:gd name="T67" fmla="*/ 2 h 55"/>
                <a:gd name="T68" fmla="*/ 13 w 64"/>
                <a:gd name="T69" fmla="*/ 3 h 55"/>
                <a:gd name="T70" fmla="*/ 10 w 64"/>
                <a:gd name="T71" fmla="*/ 4 h 55"/>
                <a:gd name="T72" fmla="*/ 5 w 64"/>
                <a:gd name="T73" fmla="*/ 2 h 55"/>
                <a:gd name="T74" fmla="*/ 3 w 64"/>
                <a:gd name="T75" fmla="*/ 3 h 55"/>
                <a:gd name="T76" fmla="*/ 2 w 64"/>
                <a:gd name="T77" fmla="*/ 5 h 55"/>
                <a:gd name="T78" fmla="*/ 2 w 64"/>
                <a:gd name="T79" fmla="*/ 8 h 55"/>
                <a:gd name="T80" fmla="*/ 4 w 64"/>
                <a:gd name="T81" fmla="*/ 11 h 55"/>
                <a:gd name="T82" fmla="*/ 6 w 64"/>
                <a:gd name="T83" fmla="*/ 12 h 55"/>
                <a:gd name="T84" fmla="*/ 7 w 64"/>
                <a:gd name="T85" fmla="*/ 15 h 55"/>
                <a:gd name="T86" fmla="*/ 10 w 64"/>
                <a:gd name="T87" fmla="*/ 16 h 55"/>
                <a:gd name="T88" fmla="*/ 11 w 64"/>
                <a:gd name="T89" fmla="*/ 21 h 55"/>
                <a:gd name="T90" fmla="*/ 13 w 64"/>
                <a:gd name="T91" fmla="*/ 23 h 55"/>
                <a:gd name="T92" fmla="*/ 16 w 64"/>
                <a:gd name="T93" fmla="*/ 25 h 55"/>
                <a:gd name="T94" fmla="*/ 19 w 64"/>
                <a:gd name="T95" fmla="*/ 28 h 55"/>
                <a:gd name="T96" fmla="*/ 23 w 64"/>
                <a:gd name="T97" fmla="*/ 29 h 55"/>
                <a:gd name="T98" fmla="*/ 24 w 64"/>
                <a:gd name="T99" fmla="*/ 31 h 55"/>
                <a:gd name="T100" fmla="*/ 27 w 64"/>
                <a:gd name="T101" fmla="*/ 35 h 55"/>
                <a:gd name="T102" fmla="*/ 30 w 64"/>
                <a:gd name="T103" fmla="*/ 37 h 55"/>
                <a:gd name="T104" fmla="*/ 32 w 64"/>
                <a:gd name="T105" fmla="*/ 41 h 55"/>
                <a:gd name="T106" fmla="*/ 33 w 64"/>
                <a:gd name="T107" fmla="*/ 43 h 55"/>
                <a:gd name="T108" fmla="*/ 34 w 64"/>
                <a:gd name="T109" fmla="*/ 45 h 55"/>
                <a:gd name="T110" fmla="*/ 37 w 64"/>
                <a:gd name="T111" fmla="*/ 48 h 55"/>
                <a:gd name="T112" fmla="*/ 42 w 64"/>
                <a:gd name="T113" fmla="*/ 50 h 55"/>
                <a:gd name="T114" fmla="*/ 51 w 64"/>
                <a:gd name="T115" fmla="*/ 5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64" h="55">
                  <a:moveTo>
                    <a:pt x="51" y="55"/>
                  </a:moveTo>
                  <a:lnTo>
                    <a:pt x="52" y="54"/>
                  </a:lnTo>
                  <a:lnTo>
                    <a:pt x="53" y="52"/>
                  </a:lnTo>
                  <a:lnTo>
                    <a:pt x="53" y="50"/>
                  </a:lnTo>
                  <a:lnTo>
                    <a:pt x="52" y="49"/>
                  </a:lnTo>
                  <a:lnTo>
                    <a:pt x="51" y="45"/>
                  </a:lnTo>
                  <a:lnTo>
                    <a:pt x="52" y="43"/>
                  </a:lnTo>
                  <a:lnTo>
                    <a:pt x="54" y="41"/>
                  </a:lnTo>
                  <a:lnTo>
                    <a:pt x="56" y="41"/>
                  </a:lnTo>
                  <a:lnTo>
                    <a:pt x="57" y="40"/>
                  </a:lnTo>
                  <a:lnTo>
                    <a:pt x="56" y="36"/>
                  </a:lnTo>
                  <a:lnTo>
                    <a:pt x="57" y="34"/>
                  </a:lnTo>
                  <a:lnTo>
                    <a:pt x="58" y="34"/>
                  </a:lnTo>
                  <a:lnTo>
                    <a:pt x="59" y="32"/>
                  </a:lnTo>
                  <a:lnTo>
                    <a:pt x="60" y="31"/>
                  </a:lnTo>
                  <a:lnTo>
                    <a:pt x="62" y="30"/>
                  </a:lnTo>
                  <a:lnTo>
                    <a:pt x="62" y="30"/>
                  </a:lnTo>
                  <a:lnTo>
                    <a:pt x="60" y="29"/>
                  </a:lnTo>
                  <a:lnTo>
                    <a:pt x="59" y="29"/>
                  </a:lnTo>
                  <a:lnTo>
                    <a:pt x="58" y="27"/>
                  </a:lnTo>
                  <a:lnTo>
                    <a:pt x="60" y="23"/>
                  </a:lnTo>
                  <a:lnTo>
                    <a:pt x="63" y="22"/>
                  </a:lnTo>
                  <a:lnTo>
                    <a:pt x="63" y="21"/>
                  </a:lnTo>
                  <a:lnTo>
                    <a:pt x="64" y="18"/>
                  </a:lnTo>
                  <a:lnTo>
                    <a:pt x="62" y="17"/>
                  </a:lnTo>
                  <a:lnTo>
                    <a:pt x="62" y="16"/>
                  </a:lnTo>
                  <a:lnTo>
                    <a:pt x="60" y="15"/>
                  </a:lnTo>
                  <a:lnTo>
                    <a:pt x="58" y="16"/>
                  </a:lnTo>
                  <a:lnTo>
                    <a:pt x="57" y="15"/>
                  </a:lnTo>
                  <a:lnTo>
                    <a:pt x="58" y="12"/>
                  </a:lnTo>
                  <a:lnTo>
                    <a:pt x="58" y="11"/>
                  </a:lnTo>
                  <a:lnTo>
                    <a:pt x="59" y="10"/>
                  </a:lnTo>
                  <a:lnTo>
                    <a:pt x="58" y="8"/>
                  </a:lnTo>
                  <a:lnTo>
                    <a:pt x="57" y="7"/>
                  </a:lnTo>
                  <a:lnTo>
                    <a:pt x="56" y="7"/>
                  </a:lnTo>
                  <a:lnTo>
                    <a:pt x="56" y="7"/>
                  </a:lnTo>
                  <a:lnTo>
                    <a:pt x="56" y="5"/>
                  </a:lnTo>
                  <a:lnTo>
                    <a:pt x="53" y="8"/>
                  </a:lnTo>
                  <a:lnTo>
                    <a:pt x="51" y="7"/>
                  </a:lnTo>
                  <a:lnTo>
                    <a:pt x="49" y="5"/>
                  </a:lnTo>
                  <a:lnTo>
                    <a:pt x="49" y="5"/>
                  </a:lnTo>
                  <a:lnTo>
                    <a:pt x="47" y="3"/>
                  </a:lnTo>
                  <a:lnTo>
                    <a:pt x="47" y="4"/>
                  </a:lnTo>
                  <a:lnTo>
                    <a:pt x="45" y="4"/>
                  </a:lnTo>
                  <a:lnTo>
                    <a:pt x="44" y="4"/>
                  </a:lnTo>
                  <a:lnTo>
                    <a:pt x="44" y="4"/>
                  </a:lnTo>
                  <a:lnTo>
                    <a:pt x="43" y="3"/>
                  </a:lnTo>
                  <a:lnTo>
                    <a:pt x="39" y="3"/>
                  </a:lnTo>
                  <a:lnTo>
                    <a:pt x="38" y="3"/>
                  </a:lnTo>
                  <a:lnTo>
                    <a:pt x="38" y="3"/>
                  </a:lnTo>
                  <a:lnTo>
                    <a:pt x="37" y="3"/>
                  </a:lnTo>
                  <a:lnTo>
                    <a:pt x="36" y="4"/>
                  </a:lnTo>
                  <a:lnTo>
                    <a:pt x="34" y="3"/>
                  </a:lnTo>
                  <a:lnTo>
                    <a:pt x="33" y="3"/>
                  </a:lnTo>
                  <a:lnTo>
                    <a:pt x="32" y="2"/>
                  </a:lnTo>
                  <a:lnTo>
                    <a:pt x="30" y="3"/>
                  </a:lnTo>
                  <a:lnTo>
                    <a:pt x="29" y="2"/>
                  </a:lnTo>
                  <a:lnTo>
                    <a:pt x="26" y="0"/>
                  </a:lnTo>
                  <a:lnTo>
                    <a:pt x="26" y="0"/>
                  </a:lnTo>
                  <a:lnTo>
                    <a:pt x="24" y="0"/>
                  </a:lnTo>
                  <a:lnTo>
                    <a:pt x="23" y="0"/>
                  </a:lnTo>
                  <a:lnTo>
                    <a:pt x="20" y="1"/>
                  </a:lnTo>
                  <a:lnTo>
                    <a:pt x="19" y="1"/>
                  </a:lnTo>
                  <a:lnTo>
                    <a:pt x="19" y="0"/>
                  </a:lnTo>
                  <a:lnTo>
                    <a:pt x="17" y="1"/>
                  </a:lnTo>
                  <a:lnTo>
                    <a:pt x="16" y="1"/>
                  </a:lnTo>
                  <a:lnTo>
                    <a:pt x="14" y="1"/>
                  </a:lnTo>
                  <a:lnTo>
                    <a:pt x="13" y="2"/>
                  </a:lnTo>
                  <a:lnTo>
                    <a:pt x="13" y="3"/>
                  </a:lnTo>
                  <a:lnTo>
                    <a:pt x="13" y="3"/>
                  </a:lnTo>
                  <a:lnTo>
                    <a:pt x="11" y="4"/>
                  </a:lnTo>
                  <a:lnTo>
                    <a:pt x="10" y="4"/>
                  </a:lnTo>
                  <a:lnTo>
                    <a:pt x="9" y="4"/>
                  </a:lnTo>
                  <a:lnTo>
                    <a:pt x="5" y="2"/>
                  </a:lnTo>
                  <a:lnTo>
                    <a:pt x="3" y="2"/>
                  </a:lnTo>
                  <a:lnTo>
                    <a:pt x="3" y="3"/>
                  </a:lnTo>
                  <a:lnTo>
                    <a:pt x="3" y="4"/>
                  </a:lnTo>
                  <a:lnTo>
                    <a:pt x="2" y="5"/>
                  </a:lnTo>
                  <a:lnTo>
                    <a:pt x="0" y="5"/>
                  </a:lnTo>
                  <a:lnTo>
                    <a:pt x="2" y="8"/>
                  </a:lnTo>
                  <a:lnTo>
                    <a:pt x="2" y="9"/>
                  </a:lnTo>
                  <a:lnTo>
                    <a:pt x="4" y="11"/>
                  </a:lnTo>
                  <a:lnTo>
                    <a:pt x="5" y="12"/>
                  </a:lnTo>
                  <a:lnTo>
                    <a:pt x="6" y="12"/>
                  </a:lnTo>
                  <a:lnTo>
                    <a:pt x="7" y="14"/>
                  </a:lnTo>
                  <a:lnTo>
                    <a:pt x="7" y="15"/>
                  </a:lnTo>
                  <a:lnTo>
                    <a:pt x="9" y="16"/>
                  </a:lnTo>
                  <a:lnTo>
                    <a:pt x="10" y="16"/>
                  </a:lnTo>
                  <a:lnTo>
                    <a:pt x="11" y="20"/>
                  </a:lnTo>
                  <a:lnTo>
                    <a:pt x="11" y="21"/>
                  </a:lnTo>
                  <a:lnTo>
                    <a:pt x="13" y="22"/>
                  </a:lnTo>
                  <a:lnTo>
                    <a:pt x="13" y="23"/>
                  </a:lnTo>
                  <a:lnTo>
                    <a:pt x="14" y="25"/>
                  </a:lnTo>
                  <a:lnTo>
                    <a:pt x="16" y="25"/>
                  </a:lnTo>
                  <a:lnTo>
                    <a:pt x="17" y="25"/>
                  </a:lnTo>
                  <a:lnTo>
                    <a:pt x="19" y="28"/>
                  </a:lnTo>
                  <a:lnTo>
                    <a:pt x="20" y="29"/>
                  </a:lnTo>
                  <a:lnTo>
                    <a:pt x="23" y="29"/>
                  </a:lnTo>
                  <a:lnTo>
                    <a:pt x="24" y="29"/>
                  </a:lnTo>
                  <a:lnTo>
                    <a:pt x="24" y="31"/>
                  </a:lnTo>
                  <a:lnTo>
                    <a:pt x="25" y="32"/>
                  </a:lnTo>
                  <a:lnTo>
                    <a:pt x="27" y="35"/>
                  </a:lnTo>
                  <a:lnTo>
                    <a:pt x="30" y="36"/>
                  </a:lnTo>
                  <a:lnTo>
                    <a:pt x="30" y="37"/>
                  </a:lnTo>
                  <a:lnTo>
                    <a:pt x="30" y="40"/>
                  </a:lnTo>
                  <a:lnTo>
                    <a:pt x="32" y="41"/>
                  </a:lnTo>
                  <a:lnTo>
                    <a:pt x="32" y="42"/>
                  </a:lnTo>
                  <a:lnTo>
                    <a:pt x="33" y="43"/>
                  </a:lnTo>
                  <a:lnTo>
                    <a:pt x="34" y="44"/>
                  </a:lnTo>
                  <a:lnTo>
                    <a:pt x="34" y="45"/>
                  </a:lnTo>
                  <a:lnTo>
                    <a:pt x="36" y="47"/>
                  </a:lnTo>
                  <a:lnTo>
                    <a:pt x="37" y="48"/>
                  </a:lnTo>
                  <a:lnTo>
                    <a:pt x="37" y="47"/>
                  </a:lnTo>
                  <a:lnTo>
                    <a:pt x="42" y="50"/>
                  </a:lnTo>
                  <a:lnTo>
                    <a:pt x="46" y="50"/>
                  </a:lnTo>
                  <a:lnTo>
                    <a:pt x="51" y="55"/>
                  </a:lnTo>
                  <a:lnTo>
                    <a:pt x="51" y="55"/>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47" name="Bolivia">
              <a:extLst>
                <a:ext uri="{FF2B5EF4-FFF2-40B4-BE49-F238E27FC236}">
                  <a16:creationId xmlns:a16="http://schemas.microsoft.com/office/drawing/2014/main" id="{66EB70A6-939E-5E4C-8435-9CE870AFA528}"/>
                </a:ext>
              </a:extLst>
            </p:cNvPr>
            <p:cNvSpPr>
              <a:spLocks/>
            </p:cNvSpPr>
            <p:nvPr/>
          </p:nvSpPr>
          <p:spPr bwMode="auto">
            <a:xfrm>
              <a:off x="4532606" y="4278121"/>
              <a:ext cx="333870" cy="395104"/>
            </a:xfrm>
            <a:custGeom>
              <a:avLst/>
              <a:gdLst>
                <a:gd name="T0" fmla="*/ 22 w 229"/>
                <a:gd name="T1" fmla="*/ 178 h 271"/>
                <a:gd name="T2" fmla="*/ 33 w 229"/>
                <a:gd name="T3" fmla="*/ 216 h 271"/>
                <a:gd name="T4" fmla="*/ 58 w 229"/>
                <a:gd name="T5" fmla="*/ 271 h 271"/>
                <a:gd name="T6" fmla="*/ 69 w 229"/>
                <a:gd name="T7" fmla="*/ 263 h 271"/>
                <a:gd name="T8" fmla="*/ 78 w 229"/>
                <a:gd name="T9" fmla="*/ 255 h 271"/>
                <a:gd name="T10" fmla="*/ 83 w 229"/>
                <a:gd name="T11" fmla="*/ 251 h 271"/>
                <a:gd name="T12" fmla="*/ 103 w 229"/>
                <a:gd name="T13" fmla="*/ 255 h 271"/>
                <a:gd name="T14" fmla="*/ 111 w 229"/>
                <a:gd name="T15" fmla="*/ 262 h 271"/>
                <a:gd name="T16" fmla="*/ 116 w 229"/>
                <a:gd name="T17" fmla="*/ 269 h 271"/>
                <a:gd name="T18" fmla="*/ 119 w 229"/>
                <a:gd name="T19" fmla="*/ 257 h 271"/>
                <a:gd name="T20" fmla="*/ 125 w 229"/>
                <a:gd name="T21" fmla="*/ 252 h 271"/>
                <a:gd name="T22" fmla="*/ 144 w 229"/>
                <a:gd name="T23" fmla="*/ 257 h 271"/>
                <a:gd name="T24" fmla="*/ 151 w 229"/>
                <a:gd name="T25" fmla="*/ 216 h 271"/>
                <a:gd name="T26" fmla="*/ 180 w 229"/>
                <a:gd name="T27" fmla="*/ 197 h 271"/>
                <a:gd name="T28" fmla="*/ 212 w 229"/>
                <a:gd name="T29" fmla="*/ 204 h 271"/>
                <a:gd name="T30" fmla="*/ 220 w 229"/>
                <a:gd name="T31" fmla="*/ 214 h 271"/>
                <a:gd name="T32" fmla="*/ 225 w 229"/>
                <a:gd name="T33" fmla="*/ 211 h 271"/>
                <a:gd name="T34" fmla="*/ 229 w 229"/>
                <a:gd name="T35" fmla="*/ 175 h 271"/>
                <a:gd name="T36" fmla="*/ 211 w 229"/>
                <a:gd name="T37" fmla="*/ 155 h 271"/>
                <a:gd name="T38" fmla="*/ 177 w 229"/>
                <a:gd name="T39" fmla="*/ 135 h 271"/>
                <a:gd name="T40" fmla="*/ 172 w 229"/>
                <a:gd name="T41" fmla="*/ 98 h 271"/>
                <a:gd name="T42" fmla="*/ 163 w 229"/>
                <a:gd name="T43" fmla="*/ 82 h 271"/>
                <a:gd name="T44" fmla="*/ 150 w 229"/>
                <a:gd name="T45" fmla="*/ 79 h 271"/>
                <a:gd name="T46" fmla="*/ 131 w 229"/>
                <a:gd name="T47" fmla="*/ 69 h 271"/>
                <a:gd name="T48" fmla="*/ 118 w 229"/>
                <a:gd name="T49" fmla="*/ 61 h 271"/>
                <a:gd name="T50" fmla="*/ 99 w 229"/>
                <a:gd name="T51" fmla="*/ 57 h 271"/>
                <a:gd name="T52" fmla="*/ 87 w 229"/>
                <a:gd name="T53" fmla="*/ 48 h 271"/>
                <a:gd name="T54" fmla="*/ 79 w 229"/>
                <a:gd name="T55" fmla="*/ 37 h 271"/>
                <a:gd name="T56" fmla="*/ 77 w 229"/>
                <a:gd name="T57" fmla="*/ 23 h 271"/>
                <a:gd name="T58" fmla="*/ 76 w 229"/>
                <a:gd name="T59" fmla="*/ 0 h 271"/>
                <a:gd name="T60" fmla="*/ 67 w 229"/>
                <a:gd name="T61" fmla="*/ 1 h 271"/>
                <a:gd name="T62" fmla="*/ 52 w 229"/>
                <a:gd name="T63" fmla="*/ 4 h 271"/>
                <a:gd name="T64" fmla="*/ 39 w 229"/>
                <a:gd name="T65" fmla="*/ 15 h 271"/>
                <a:gd name="T66" fmla="*/ 18 w 229"/>
                <a:gd name="T67" fmla="*/ 29 h 271"/>
                <a:gd name="T68" fmla="*/ 0 w 229"/>
                <a:gd name="T69" fmla="*/ 25 h 271"/>
                <a:gd name="T70" fmla="*/ 18 w 229"/>
                <a:gd name="T71" fmla="*/ 58 h 271"/>
                <a:gd name="T72" fmla="*/ 17 w 229"/>
                <a:gd name="T73" fmla="*/ 59 h 271"/>
                <a:gd name="T74" fmla="*/ 16 w 229"/>
                <a:gd name="T75" fmla="*/ 62 h 271"/>
                <a:gd name="T76" fmla="*/ 14 w 229"/>
                <a:gd name="T77" fmla="*/ 63 h 271"/>
                <a:gd name="T78" fmla="*/ 14 w 229"/>
                <a:gd name="T79" fmla="*/ 69 h 271"/>
                <a:gd name="T80" fmla="*/ 14 w 229"/>
                <a:gd name="T81" fmla="*/ 79 h 271"/>
                <a:gd name="T82" fmla="*/ 13 w 229"/>
                <a:gd name="T83" fmla="*/ 81 h 271"/>
                <a:gd name="T84" fmla="*/ 14 w 229"/>
                <a:gd name="T85" fmla="*/ 85 h 271"/>
                <a:gd name="T86" fmla="*/ 17 w 229"/>
                <a:gd name="T87" fmla="*/ 90 h 271"/>
                <a:gd name="T88" fmla="*/ 16 w 229"/>
                <a:gd name="T89" fmla="*/ 96 h 271"/>
                <a:gd name="T90" fmla="*/ 12 w 229"/>
                <a:gd name="T91" fmla="*/ 99 h 271"/>
                <a:gd name="T92" fmla="*/ 10 w 229"/>
                <a:gd name="T93" fmla="*/ 104 h 271"/>
                <a:gd name="T94" fmla="*/ 10 w 229"/>
                <a:gd name="T95" fmla="*/ 108 h 271"/>
                <a:gd name="T96" fmla="*/ 13 w 229"/>
                <a:gd name="T97" fmla="*/ 112 h 271"/>
                <a:gd name="T98" fmla="*/ 13 w 229"/>
                <a:gd name="T99" fmla="*/ 115 h 271"/>
                <a:gd name="T100" fmla="*/ 12 w 229"/>
                <a:gd name="T101" fmla="*/ 117 h 271"/>
                <a:gd name="T102" fmla="*/ 14 w 229"/>
                <a:gd name="T103" fmla="*/ 132 h 271"/>
                <a:gd name="T104" fmla="*/ 18 w 229"/>
                <a:gd name="T105" fmla="*/ 134 h 271"/>
                <a:gd name="T106" fmla="*/ 22 w 229"/>
                <a:gd name="T107" fmla="*/ 136 h 271"/>
                <a:gd name="T108" fmla="*/ 18 w 229"/>
                <a:gd name="T109" fmla="*/ 142 h 271"/>
                <a:gd name="T110" fmla="*/ 16 w 229"/>
                <a:gd name="T111" fmla="*/ 147 h 271"/>
                <a:gd name="T112" fmla="*/ 13 w 229"/>
                <a:gd name="T113" fmla="*/ 151 h 271"/>
                <a:gd name="T114" fmla="*/ 10 w 229"/>
                <a:gd name="T115" fmla="*/ 154 h 271"/>
                <a:gd name="T116" fmla="*/ 10 w 229"/>
                <a:gd name="T117" fmla="*/ 156 h 2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9" h="271">
                  <a:moveTo>
                    <a:pt x="12" y="161"/>
                  </a:moveTo>
                  <a:lnTo>
                    <a:pt x="12" y="163"/>
                  </a:lnTo>
                  <a:lnTo>
                    <a:pt x="17" y="170"/>
                  </a:lnTo>
                  <a:lnTo>
                    <a:pt x="22" y="178"/>
                  </a:lnTo>
                  <a:lnTo>
                    <a:pt x="26" y="189"/>
                  </a:lnTo>
                  <a:lnTo>
                    <a:pt x="31" y="199"/>
                  </a:lnTo>
                  <a:lnTo>
                    <a:pt x="32" y="208"/>
                  </a:lnTo>
                  <a:lnTo>
                    <a:pt x="33" y="216"/>
                  </a:lnTo>
                  <a:lnTo>
                    <a:pt x="37" y="226"/>
                  </a:lnTo>
                  <a:lnTo>
                    <a:pt x="43" y="242"/>
                  </a:lnTo>
                  <a:lnTo>
                    <a:pt x="50" y="257"/>
                  </a:lnTo>
                  <a:lnTo>
                    <a:pt x="58" y="271"/>
                  </a:lnTo>
                  <a:lnTo>
                    <a:pt x="65" y="269"/>
                  </a:lnTo>
                  <a:lnTo>
                    <a:pt x="65" y="268"/>
                  </a:lnTo>
                  <a:lnTo>
                    <a:pt x="67" y="263"/>
                  </a:lnTo>
                  <a:lnTo>
                    <a:pt x="69" y="263"/>
                  </a:lnTo>
                  <a:lnTo>
                    <a:pt x="71" y="261"/>
                  </a:lnTo>
                  <a:lnTo>
                    <a:pt x="71" y="257"/>
                  </a:lnTo>
                  <a:lnTo>
                    <a:pt x="73" y="257"/>
                  </a:lnTo>
                  <a:lnTo>
                    <a:pt x="78" y="255"/>
                  </a:lnTo>
                  <a:lnTo>
                    <a:pt x="79" y="255"/>
                  </a:lnTo>
                  <a:lnTo>
                    <a:pt x="79" y="248"/>
                  </a:lnTo>
                  <a:lnTo>
                    <a:pt x="82" y="250"/>
                  </a:lnTo>
                  <a:lnTo>
                    <a:pt x="83" y="251"/>
                  </a:lnTo>
                  <a:lnTo>
                    <a:pt x="87" y="254"/>
                  </a:lnTo>
                  <a:lnTo>
                    <a:pt x="91" y="255"/>
                  </a:lnTo>
                  <a:lnTo>
                    <a:pt x="93" y="255"/>
                  </a:lnTo>
                  <a:lnTo>
                    <a:pt x="103" y="255"/>
                  </a:lnTo>
                  <a:lnTo>
                    <a:pt x="107" y="256"/>
                  </a:lnTo>
                  <a:lnTo>
                    <a:pt x="110" y="257"/>
                  </a:lnTo>
                  <a:lnTo>
                    <a:pt x="110" y="261"/>
                  </a:lnTo>
                  <a:lnTo>
                    <a:pt x="111" y="262"/>
                  </a:lnTo>
                  <a:lnTo>
                    <a:pt x="112" y="265"/>
                  </a:lnTo>
                  <a:lnTo>
                    <a:pt x="114" y="268"/>
                  </a:lnTo>
                  <a:lnTo>
                    <a:pt x="116" y="270"/>
                  </a:lnTo>
                  <a:lnTo>
                    <a:pt x="116" y="269"/>
                  </a:lnTo>
                  <a:lnTo>
                    <a:pt x="117" y="265"/>
                  </a:lnTo>
                  <a:lnTo>
                    <a:pt x="117" y="263"/>
                  </a:lnTo>
                  <a:lnTo>
                    <a:pt x="118" y="259"/>
                  </a:lnTo>
                  <a:lnTo>
                    <a:pt x="119" y="257"/>
                  </a:lnTo>
                  <a:lnTo>
                    <a:pt x="119" y="256"/>
                  </a:lnTo>
                  <a:lnTo>
                    <a:pt x="120" y="254"/>
                  </a:lnTo>
                  <a:lnTo>
                    <a:pt x="124" y="252"/>
                  </a:lnTo>
                  <a:lnTo>
                    <a:pt x="125" y="252"/>
                  </a:lnTo>
                  <a:lnTo>
                    <a:pt x="141" y="256"/>
                  </a:lnTo>
                  <a:lnTo>
                    <a:pt x="143" y="256"/>
                  </a:lnTo>
                  <a:lnTo>
                    <a:pt x="144" y="257"/>
                  </a:lnTo>
                  <a:lnTo>
                    <a:pt x="144" y="257"/>
                  </a:lnTo>
                  <a:lnTo>
                    <a:pt x="145" y="246"/>
                  </a:lnTo>
                  <a:lnTo>
                    <a:pt x="149" y="234"/>
                  </a:lnTo>
                  <a:lnTo>
                    <a:pt x="147" y="223"/>
                  </a:lnTo>
                  <a:lnTo>
                    <a:pt x="151" y="216"/>
                  </a:lnTo>
                  <a:lnTo>
                    <a:pt x="158" y="208"/>
                  </a:lnTo>
                  <a:lnTo>
                    <a:pt x="160" y="201"/>
                  </a:lnTo>
                  <a:lnTo>
                    <a:pt x="174" y="201"/>
                  </a:lnTo>
                  <a:lnTo>
                    <a:pt x="180" y="197"/>
                  </a:lnTo>
                  <a:lnTo>
                    <a:pt x="186" y="197"/>
                  </a:lnTo>
                  <a:lnTo>
                    <a:pt x="197" y="196"/>
                  </a:lnTo>
                  <a:lnTo>
                    <a:pt x="206" y="202"/>
                  </a:lnTo>
                  <a:lnTo>
                    <a:pt x="212" y="204"/>
                  </a:lnTo>
                  <a:lnTo>
                    <a:pt x="219" y="208"/>
                  </a:lnTo>
                  <a:lnTo>
                    <a:pt x="219" y="210"/>
                  </a:lnTo>
                  <a:lnTo>
                    <a:pt x="219" y="211"/>
                  </a:lnTo>
                  <a:lnTo>
                    <a:pt x="220" y="214"/>
                  </a:lnTo>
                  <a:lnTo>
                    <a:pt x="219" y="215"/>
                  </a:lnTo>
                  <a:lnTo>
                    <a:pt x="220" y="215"/>
                  </a:lnTo>
                  <a:lnTo>
                    <a:pt x="221" y="214"/>
                  </a:lnTo>
                  <a:lnTo>
                    <a:pt x="225" y="211"/>
                  </a:lnTo>
                  <a:lnTo>
                    <a:pt x="225" y="192"/>
                  </a:lnTo>
                  <a:lnTo>
                    <a:pt x="225" y="190"/>
                  </a:lnTo>
                  <a:lnTo>
                    <a:pt x="227" y="175"/>
                  </a:lnTo>
                  <a:lnTo>
                    <a:pt x="229" y="175"/>
                  </a:lnTo>
                  <a:lnTo>
                    <a:pt x="224" y="168"/>
                  </a:lnTo>
                  <a:lnTo>
                    <a:pt x="224" y="165"/>
                  </a:lnTo>
                  <a:lnTo>
                    <a:pt x="223" y="162"/>
                  </a:lnTo>
                  <a:lnTo>
                    <a:pt x="211" y="155"/>
                  </a:lnTo>
                  <a:lnTo>
                    <a:pt x="209" y="142"/>
                  </a:lnTo>
                  <a:lnTo>
                    <a:pt x="210" y="138"/>
                  </a:lnTo>
                  <a:lnTo>
                    <a:pt x="210" y="135"/>
                  </a:lnTo>
                  <a:lnTo>
                    <a:pt x="177" y="135"/>
                  </a:lnTo>
                  <a:lnTo>
                    <a:pt x="169" y="111"/>
                  </a:lnTo>
                  <a:lnTo>
                    <a:pt x="171" y="105"/>
                  </a:lnTo>
                  <a:lnTo>
                    <a:pt x="172" y="101"/>
                  </a:lnTo>
                  <a:lnTo>
                    <a:pt x="172" y="98"/>
                  </a:lnTo>
                  <a:lnTo>
                    <a:pt x="169" y="92"/>
                  </a:lnTo>
                  <a:lnTo>
                    <a:pt x="170" y="88"/>
                  </a:lnTo>
                  <a:lnTo>
                    <a:pt x="169" y="84"/>
                  </a:lnTo>
                  <a:lnTo>
                    <a:pt x="163" y="82"/>
                  </a:lnTo>
                  <a:lnTo>
                    <a:pt x="158" y="79"/>
                  </a:lnTo>
                  <a:lnTo>
                    <a:pt x="157" y="77"/>
                  </a:lnTo>
                  <a:lnTo>
                    <a:pt x="153" y="78"/>
                  </a:lnTo>
                  <a:lnTo>
                    <a:pt x="150" y="79"/>
                  </a:lnTo>
                  <a:lnTo>
                    <a:pt x="143" y="79"/>
                  </a:lnTo>
                  <a:lnTo>
                    <a:pt x="138" y="74"/>
                  </a:lnTo>
                  <a:lnTo>
                    <a:pt x="136" y="70"/>
                  </a:lnTo>
                  <a:lnTo>
                    <a:pt x="131" y="69"/>
                  </a:lnTo>
                  <a:lnTo>
                    <a:pt x="127" y="68"/>
                  </a:lnTo>
                  <a:lnTo>
                    <a:pt x="125" y="68"/>
                  </a:lnTo>
                  <a:lnTo>
                    <a:pt x="121" y="64"/>
                  </a:lnTo>
                  <a:lnTo>
                    <a:pt x="118" y="61"/>
                  </a:lnTo>
                  <a:lnTo>
                    <a:pt x="116" y="62"/>
                  </a:lnTo>
                  <a:lnTo>
                    <a:pt x="105" y="57"/>
                  </a:lnTo>
                  <a:lnTo>
                    <a:pt x="102" y="57"/>
                  </a:lnTo>
                  <a:lnTo>
                    <a:pt x="99" y="57"/>
                  </a:lnTo>
                  <a:lnTo>
                    <a:pt x="93" y="55"/>
                  </a:lnTo>
                  <a:lnTo>
                    <a:pt x="91" y="51"/>
                  </a:lnTo>
                  <a:lnTo>
                    <a:pt x="90" y="49"/>
                  </a:lnTo>
                  <a:lnTo>
                    <a:pt x="87" y="48"/>
                  </a:lnTo>
                  <a:lnTo>
                    <a:pt x="84" y="43"/>
                  </a:lnTo>
                  <a:lnTo>
                    <a:pt x="82" y="41"/>
                  </a:lnTo>
                  <a:lnTo>
                    <a:pt x="80" y="42"/>
                  </a:lnTo>
                  <a:lnTo>
                    <a:pt x="79" y="37"/>
                  </a:lnTo>
                  <a:lnTo>
                    <a:pt x="78" y="34"/>
                  </a:lnTo>
                  <a:lnTo>
                    <a:pt x="77" y="31"/>
                  </a:lnTo>
                  <a:lnTo>
                    <a:pt x="77" y="29"/>
                  </a:lnTo>
                  <a:lnTo>
                    <a:pt x="77" y="23"/>
                  </a:lnTo>
                  <a:lnTo>
                    <a:pt x="76" y="19"/>
                  </a:lnTo>
                  <a:lnTo>
                    <a:pt x="74" y="16"/>
                  </a:lnTo>
                  <a:lnTo>
                    <a:pt x="76" y="7"/>
                  </a:lnTo>
                  <a:lnTo>
                    <a:pt x="76" y="0"/>
                  </a:lnTo>
                  <a:lnTo>
                    <a:pt x="73" y="0"/>
                  </a:lnTo>
                  <a:lnTo>
                    <a:pt x="71" y="3"/>
                  </a:lnTo>
                  <a:lnTo>
                    <a:pt x="69" y="1"/>
                  </a:lnTo>
                  <a:lnTo>
                    <a:pt x="67" y="1"/>
                  </a:lnTo>
                  <a:lnTo>
                    <a:pt x="67" y="1"/>
                  </a:lnTo>
                  <a:lnTo>
                    <a:pt x="63" y="2"/>
                  </a:lnTo>
                  <a:lnTo>
                    <a:pt x="58" y="3"/>
                  </a:lnTo>
                  <a:lnTo>
                    <a:pt x="52" y="4"/>
                  </a:lnTo>
                  <a:lnTo>
                    <a:pt x="50" y="5"/>
                  </a:lnTo>
                  <a:lnTo>
                    <a:pt x="43" y="12"/>
                  </a:lnTo>
                  <a:lnTo>
                    <a:pt x="40" y="14"/>
                  </a:lnTo>
                  <a:lnTo>
                    <a:pt x="39" y="15"/>
                  </a:lnTo>
                  <a:lnTo>
                    <a:pt x="33" y="21"/>
                  </a:lnTo>
                  <a:lnTo>
                    <a:pt x="27" y="21"/>
                  </a:lnTo>
                  <a:lnTo>
                    <a:pt x="22" y="28"/>
                  </a:lnTo>
                  <a:lnTo>
                    <a:pt x="18" y="29"/>
                  </a:lnTo>
                  <a:lnTo>
                    <a:pt x="14" y="28"/>
                  </a:lnTo>
                  <a:lnTo>
                    <a:pt x="12" y="28"/>
                  </a:lnTo>
                  <a:lnTo>
                    <a:pt x="3" y="25"/>
                  </a:lnTo>
                  <a:lnTo>
                    <a:pt x="0" y="25"/>
                  </a:lnTo>
                  <a:lnTo>
                    <a:pt x="13" y="47"/>
                  </a:lnTo>
                  <a:lnTo>
                    <a:pt x="19" y="57"/>
                  </a:lnTo>
                  <a:lnTo>
                    <a:pt x="18" y="57"/>
                  </a:lnTo>
                  <a:lnTo>
                    <a:pt x="18" y="58"/>
                  </a:lnTo>
                  <a:lnTo>
                    <a:pt x="18" y="58"/>
                  </a:lnTo>
                  <a:lnTo>
                    <a:pt x="18" y="58"/>
                  </a:lnTo>
                  <a:lnTo>
                    <a:pt x="17" y="59"/>
                  </a:lnTo>
                  <a:lnTo>
                    <a:pt x="17" y="59"/>
                  </a:lnTo>
                  <a:lnTo>
                    <a:pt x="17" y="61"/>
                  </a:lnTo>
                  <a:lnTo>
                    <a:pt x="18" y="61"/>
                  </a:lnTo>
                  <a:lnTo>
                    <a:pt x="18" y="62"/>
                  </a:lnTo>
                  <a:lnTo>
                    <a:pt x="16" y="62"/>
                  </a:lnTo>
                  <a:lnTo>
                    <a:pt x="16" y="63"/>
                  </a:lnTo>
                  <a:lnTo>
                    <a:pt x="16" y="63"/>
                  </a:lnTo>
                  <a:lnTo>
                    <a:pt x="14" y="63"/>
                  </a:lnTo>
                  <a:lnTo>
                    <a:pt x="14" y="63"/>
                  </a:lnTo>
                  <a:lnTo>
                    <a:pt x="14" y="64"/>
                  </a:lnTo>
                  <a:lnTo>
                    <a:pt x="13" y="65"/>
                  </a:lnTo>
                  <a:lnTo>
                    <a:pt x="14" y="68"/>
                  </a:lnTo>
                  <a:lnTo>
                    <a:pt x="14" y="69"/>
                  </a:lnTo>
                  <a:lnTo>
                    <a:pt x="14" y="71"/>
                  </a:lnTo>
                  <a:lnTo>
                    <a:pt x="14" y="72"/>
                  </a:lnTo>
                  <a:lnTo>
                    <a:pt x="14" y="78"/>
                  </a:lnTo>
                  <a:lnTo>
                    <a:pt x="14" y="79"/>
                  </a:lnTo>
                  <a:lnTo>
                    <a:pt x="13" y="79"/>
                  </a:lnTo>
                  <a:lnTo>
                    <a:pt x="13" y="81"/>
                  </a:lnTo>
                  <a:lnTo>
                    <a:pt x="13" y="81"/>
                  </a:lnTo>
                  <a:lnTo>
                    <a:pt x="13" y="81"/>
                  </a:lnTo>
                  <a:lnTo>
                    <a:pt x="13" y="82"/>
                  </a:lnTo>
                  <a:lnTo>
                    <a:pt x="14" y="83"/>
                  </a:lnTo>
                  <a:lnTo>
                    <a:pt x="14" y="84"/>
                  </a:lnTo>
                  <a:lnTo>
                    <a:pt x="14" y="85"/>
                  </a:lnTo>
                  <a:lnTo>
                    <a:pt x="16" y="88"/>
                  </a:lnTo>
                  <a:lnTo>
                    <a:pt x="16" y="88"/>
                  </a:lnTo>
                  <a:lnTo>
                    <a:pt x="17" y="89"/>
                  </a:lnTo>
                  <a:lnTo>
                    <a:pt x="17" y="90"/>
                  </a:lnTo>
                  <a:lnTo>
                    <a:pt x="18" y="92"/>
                  </a:lnTo>
                  <a:lnTo>
                    <a:pt x="14" y="94"/>
                  </a:lnTo>
                  <a:lnTo>
                    <a:pt x="14" y="95"/>
                  </a:lnTo>
                  <a:lnTo>
                    <a:pt x="16" y="96"/>
                  </a:lnTo>
                  <a:lnTo>
                    <a:pt x="16" y="96"/>
                  </a:lnTo>
                  <a:lnTo>
                    <a:pt x="13" y="98"/>
                  </a:lnTo>
                  <a:lnTo>
                    <a:pt x="13" y="99"/>
                  </a:lnTo>
                  <a:lnTo>
                    <a:pt x="12" y="99"/>
                  </a:lnTo>
                  <a:lnTo>
                    <a:pt x="11" y="102"/>
                  </a:lnTo>
                  <a:lnTo>
                    <a:pt x="12" y="103"/>
                  </a:lnTo>
                  <a:lnTo>
                    <a:pt x="11" y="104"/>
                  </a:lnTo>
                  <a:lnTo>
                    <a:pt x="10" y="104"/>
                  </a:lnTo>
                  <a:lnTo>
                    <a:pt x="10" y="105"/>
                  </a:lnTo>
                  <a:lnTo>
                    <a:pt x="10" y="107"/>
                  </a:lnTo>
                  <a:lnTo>
                    <a:pt x="10" y="107"/>
                  </a:lnTo>
                  <a:lnTo>
                    <a:pt x="10" y="108"/>
                  </a:lnTo>
                  <a:lnTo>
                    <a:pt x="10" y="108"/>
                  </a:lnTo>
                  <a:lnTo>
                    <a:pt x="11" y="109"/>
                  </a:lnTo>
                  <a:lnTo>
                    <a:pt x="11" y="111"/>
                  </a:lnTo>
                  <a:lnTo>
                    <a:pt x="13" y="112"/>
                  </a:lnTo>
                  <a:lnTo>
                    <a:pt x="14" y="114"/>
                  </a:lnTo>
                  <a:lnTo>
                    <a:pt x="14" y="115"/>
                  </a:lnTo>
                  <a:lnTo>
                    <a:pt x="14" y="115"/>
                  </a:lnTo>
                  <a:lnTo>
                    <a:pt x="13" y="115"/>
                  </a:lnTo>
                  <a:lnTo>
                    <a:pt x="13" y="115"/>
                  </a:lnTo>
                  <a:lnTo>
                    <a:pt x="12" y="116"/>
                  </a:lnTo>
                  <a:lnTo>
                    <a:pt x="12" y="116"/>
                  </a:lnTo>
                  <a:lnTo>
                    <a:pt x="12" y="117"/>
                  </a:lnTo>
                  <a:lnTo>
                    <a:pt x="11" y="118"/>
                  </a:lnTo>
                  <a:lnTo>
                    <a:pt x="11" y="118"/>
                  </a:lnTo>
                  <a:lnTo>
                    <a:pt x="10" y="122"/>
                  </a:lnTo>
                  <a:lnTo>
                    <a:pt x="14" y="132"/>
                  </a:lnTo>
                  <a:lnTo>
                    <a:pt x="16" y="134"/>
                  </a:lnTo>
                  <a:lnTo>
                    <a:pt x="17" y="134"/>
                  </a:lnTo>
                  <a:lnTo>
                    <a:pt x="18" y="134"/>
                  </a:lnTo>
                  <a:lnTo>
                    <a:pt x="18" y="134"/>
                  </a:lnTo>
                  <a:lnTo>
                    <a:pt x="19" y="134"/>
                  </a:lnTo>
                  <a:lnTo>
                    <a:pt x="20" y="135"/>
                  </a:lnTo>
                  <a:lnTo>
                    <a:pt x="22" y="136"/>
                  </a:lnTo>
                  <a:lnTo>
                    <a:pt x="22" y="136"/>
                  </a:lnTo>
                  <a:lnTo>
                    <a:pt x="22" y="137"/>
                  </a:lnTo>
                  <a:lnTo>
                    <a:pt x="19" y="138"/>
                  </a:lnTo>
                  <a:lnTo>
                    <a:pt x="18" y="139"/>
                  </a:lnTo>
                  <a:lnTo>
                    <a:pt x="18" y="142"/>
                  </a:lnTo>
                  <a:lnTo>
                    <a:pt x="19" y="143"/>
                  </a:lnTo>
                  <a:lnTo>
                    <a:pt x="18" y="144"/>
                  </a:lnTo>
                  <a:lnTo>
                    <a:pt x="17" y="144"/>
                  </a:lnTo>
                  <a:lnTo>
                    <a:pt x="16" y="147"/>
                  </a:lnTo>
                  <a:lnTo>
                    <a:pt x="14" y="148"/>
                  </a:lnTo>
                  <a:lnTo>
                    <a:pt x="13" y="149"/>
                  </a:lnTo>
                  <a:lnTo>
                    <a:pt x="12" y="150"/>
                  </a:lnTo>
                  <a:lnTo>
                    <a:pt x="13" y="151"/>
                  </a:lnTo>
                  <a:lnTo>
                    <a:pt x="13" y="151"/>
                  </a:lnTo>
                  <a:lnTo>
                    <a:pt x="12" y="152"/>
                  </a:lnTo>
                  <a:lnTo>
                    <a:pt x="11" y="152"/>
                  </a:lnTo>
                  <a:lnTo>
                    <a:pt x="10" y="154"/>
                  </a:lnTo>
                  <a:lnTo>
                    <a:pt x="10" y="154"/>
                  </a:lnTo>
                  <a:lnTo>
                    <a:pt x="10" y="155"/>
                  </a:lnTo>
                  <a:lnTo>
                    <a:pt x="9" y="156"/>
                  </a:lnTo>
                  <a:lnTo>
                    <a:pt x="10" y="156"/>
                  </a:lnTo>
                  <a:lnTo>
                    <a:pt x="12" y="157"/>
                  </a:lnTo>
                  <a:lnTo>
                    <a:pt x="12" y="161"/>
                  </a:lnTo>
                  <a:lnTo>
                    <a:pt x="12" y="161"/>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48" name="Bhutan">
              <a:extLst>
                <a:ext uri="{FF2B5EF4-FFF2-40B4-BE49-F238E27FC236}">
                  <a16:creationId xmlns:a16="http://schemas.microsoft.com/office/drawing/2014/main" id="{A0AE3681-0252-D848-992F-DCE371EBFFE7}"/>
                </a:ext>
              </a:extLst>
            </p:cNvPr>
            <p:cNvSpPr>
              <a:spLocks/>
            </p:cNvSpPr>
            <p:nvPr/>
          </p:nvSpPr>
          <p:spPr bwMode="auto">
            <a:xfrm>
              <a:off x="8630899" y="3136548"/>
              <a:ext cx="90393" cy="48112"/>
            </a:xfrm>
            <a:custGeom>
              <a:avLst/>
              <a:gdLst>
                <a:gd name="T0" fmla="*/ 0 w 62"/>
                <a:gd name="T1" fmla="*/ 24 h 33"/>
                <a:gd name="T2" fmla="*/ 2 w 62"/>
                <a:gd name="T3" fmla="*/ 23 h 33"/>
                <a:gd name="T4" fmla="*/ 4 w 62"/>
                <a:gd name="T5" fmla="*/ 22 h 33"/>
                <a:gd name="T6" fmla="*/ 4 w 62"/>
                <a:gd name="T7" fmla="*/ 20 h 33"/>
                <a:gd name="T8" fmla="*/ 5 w 62"/>
                <a:gd name="T9" fmla="*/ 18 h 33"/>
                <a:gd name="T10" fmla="*/ 7 w 62"/>
                <a:gd name="T11" fmla="*/ 16 h 33"/>
                <a:gd name="T12" fmla="*/ 10 w 62"/>
                <a:gd name="T13" fmla="*/ 11 h 33"/>
                <a:gd name="T14" fmla="*/ 12 w 62"/>
                <a:gd name="T15" fmla="*/ 10 h 33"/>
                <a:gd name="T16" fmla="*/ 16 w 62"/>
                <a:gd name="T17" fmla="*/ 4 h 33"/>
                <a:gd name="T18" fmla="*/ 23 w 62"/>
                <a:gd name="T19" fmla="*/ 0 h 33"/>
                <a:gd name="T20" fmla="*/ 23 w 62"/>
                <a:gd name="T21" fmla="*/ 0 h 33"/>
                <a:gd name="T22" fmla="*/ 30 w 62"/>
                <a:gd name="T23" fmla="*/ 2 h 33"/>
                <a:gd name="T24" fmla="*/ 31 w 62"/>
                <a:gd name="T25" fmla="*/ 3 h 33"/>
                <a:gd name="T26" fmla="*/ 30 w 62"/>
                <a:gd name="T27" fmla="*/ 5 h 33"/>
                <a:gd name="T28" fmla="*/ 39 w 62"/>
                <a:gd name="T29" fmla="*/ 6 h 33"/>
                <a:gd name="T30" fmla="*/ 42 w 62"/>
                <a:gd name="T31" fmla="*/ 8 h 33"/>
                <a:gd name="T32" fmla="*/ 43 w 62"/>
                <a:gd name="T33" fmla="*/ 8 h 33"/>
                <a:gd name="T34" fmla="*/ 47 w 62"/>
                <a:gd name="T35" fmla="*/ 5 h 33"/>
                <a:gd name="T36" fmla="*/ 47 w 62"/>
                <a:gd name="T37" fmla="*/ 6 h 33"/>
                <a:gd name="T38" fmla="*/ 52 w 62"/>
                <a:gd name="T39" fmla="*/ 9 h 33"/>
                <a:gd name="T40" fmla="*/ 53 w 62"/>
                <a:gd name="T41" fmla="*/ 10 h 33"/>
                <a:gd name="T42" fmla="*/ 53 w 62"/>
                <a:gd name="T43" fmla="*/ 12 h 33"/>
                <a:gd name="T44" fmla="*/ 52 w 62"/>
                <a:gd name="T45" fmla="*/ 13 h 33"/>
                <a:gd name="T46" fmla="*/ 52 w 62"/>
                <a:gd name="T47" fmla="*/ 15 h 33"/>
                <a:gd name="T48" fmla="*/ 52 w 62"/>
                <a:gd name="T49" fmla="*/ 17 h 33"/>
                <a:gd name="T50" fmla="*/ 56 w 62"/>
                <a:gd name="T51" fmla="*/ 18 h 33"/>
                <a:gd name="T52" fmla="*/ 56 w 62"/>
                <a:gd name="T53" fmla="*/ 19 h 33"/>
                <a:gd name="T54" fmla="*/ 59 w 62"/>
                <a:gd name="T55" fmla="*/ 18 h 33"/>
                <a:gd name="T56" fmla="*/ 62 w 62"/>
                <a:gd name="T57" fmla="*/ 22 h 33"/>
                <a:gd name="T58" fmla="*/ 59 w 62"/>
                <a:gd name="T59" fmla="*/ 24 h 33"/>
                <a:gd name="T60" fmla="*/ 59 w 62"/>
                <a:gd name="T61" fmla="*/ 25 h 33"/>
                <a:gd name="T62" fmla="*/ 60 w 62"/>
                <a:gd name="T63" fmla="*/ 28 h 33"/>
                <a:gd name="T64" fmla="*/ 62 w 62"/>
                <a:gd name="T65" fmla="*/ 29 h 33"/>
                <a:gd name="T66" fmla="*/ 60 w 62"/>
                <a:gd name="T67" fmla="*/ 30 h 33"/>
                <a:gd name="T68" fmla="*/ 59 w 62"/>
                <a:gd name="T69" fmla="*/ 30 h 33"/>
                <a:gd name="T70" fmla="*/ 58 w 62"/>
                <a:gd name="T71" fmla="*/ 30 h 33"/>
                <a:gd name="T72" fmla="*/ 58 w 62"/>
                <a:gd name="T73" fmla="*/ 30 h 33"/>
                <a:gd name="T74" fmla="*/ 57 w 62"/>
                <a:gd name="T75" fmla="*/ 30 h 33"/>
                <a:gd name="T76" fmla="*/ 54 w 62"/>
                <a:gd name="T77" fmla="*/ 31 h 33"/>
                <a:gd name="T78" fmla="*/ 51 w 62"/>
                <a:gd name="T79" fmla="*/ 31 h 33"/>
                <a:gd name="T80" fmla="*/ 50 w 62"/>
                <a:gd name="T81" fmla="*/ 30 h 33"/>
                <a:gd name="T82" fmla="*/ 49 w 62"/>
                <a:gd name="T83" fmla="*/ 30 h 33"/>
                <a:gd name="T84" fmla="*/ 49 w 62"/>
                <a:gd name="T85" fmla="*/ 31 h 33"/>
                <a:gd name="T86" fmla="*/ 47 w 62"/>
                <a:gd name="T87" fmla="*/ 32 h 33"/>
                <a:gd name="T88" fmla="*/ 36 w 62"/>
                <a:gd name="T89" fmla="*/ 32 h 33"/>
                <a:gd name="T90" fmla="*/ 31 w 62"/>
                <a:gd name="T91" fmla="*/ 30 h 33"/>
                <a:gd name="T92" fmla="*/ 30 w 62"/>
                <a:gd name="T93" fmla="*/ 30 h 33"/>
                <a:gd name="T94" fmla="*/ 26 w 62"/>
                <a:gd name="T95" fmla="*/ 32 h 33"/>
                <a:gd name="T96" fmla="*/ 23 w 62"/>
                <a:gd name="T97" fmla="*/ 32 h 33"/>
                <a:gd name="T98" fmla="*/ 20 w 62"/>
                <a:gd name="T99" fmla="*/ 33 h 33"/>
                <a:gd name="T100" fmla="*/ 17 w 62"/>
                <a:gd name="T101" fmla="*/ 33 h 33"/>
                <a:gd name="T102" fmla="*/ 17 w 62"/>
                <a:gd name="T103" fmla="*/ 32 h 33"/>
                <a:gd name="T104" fmla="*/ 12 w 62"/>
                <a:gd name="T105" fmla="*/ 30 h 33"/>
                <a:gd name="T106" fmla="*/ 10 w 62"/>
                <a:gd name="T107" fmla="*/ 31 h 33"/>
                <a:gd name="T108" fmla="*/ 7 w 62"/>
                <a:gd name="T109" fmla="*/ 31 h 33"/>
                <a:gd name="T110" fmla="*/ 4 w 62"/>
                <a:gd name="T111" fmla="*/ 28 h 33"/>
                <a:gd name="T112" fmla="*/ 3 w 62"/>
                <a:gd name="T113" fmla="*/ 29 h 33"/>
                <a:gd name="T114" fmla="*/ 3 w 62"/>
                <a:gd name="T115" fmla="*/ 26 h 33"/>
                <a:gd name="T116" fmla="*/ 3 w 62"/>
                <a:gd name="T117" fmla="*/ 25 h 33"/>
                <a:gd name="T118" fmla="*/ 0 w 62"/>
                <a:gd name="T119" fmla="*/ 24 h 33"/>
                <a:gd name="T120" fmla="*/ 0 w 62"/>
                <a:gd name="T121" fmla="*/ 24 h 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62" h="33">
                  <a:moveTo>
                    <a:pt x="0" y="24"/>
                  </a:moveTo>
                  <a:lnTo>
                    <a:pt x="2" y="23"/>
                  </a:lnTo>
                  <a:lnTo>
                    <a:pt x="4" y="22"/>
                  </a:lnTo>
                  <a:lnTo>
                    <a:pt x="4" y="20"/>
                  </a:lnTo>
                  <a:lnTo>
                    <a:pt x="5" y="18"/>
                  </a:lnTo>
                  <a:lnTo>
                    <a:pt x="7" y="16"/>
                  </a:lnTo>
                  <a:lnTo>
                    <a:pt x="10" y="11"/>
                  </a:lnTo>
                  <a:lnTo>
                    <a:pt x="12" y="10"/>
                  </a:lnTo>
                  <a:lnTo>
                    <a:pt x="16" y="4"/>
                  </a:lnTo>
                  <a:lnTo>
                    <a:pt x="23" y="0"/>
                  </a:lnTo>
                  <a:lnTo>
                    <a:pt x="23" y="0"/>
                  </a:lnTo>
                  <a:lnTo>
                    <a:pt x="30" y="2"/>
                  </a:lnTo>
                  <a:lnTo>
                    <a:pt x="31" y="3"/>
                  </a:lnTo>
                  <a:lnTo>
                    <a:pt x="30" y="5"/>
                  </a:lnTo>
                  <a:lnTo>
                    <a:pt x="39" y="6"/>
                  </a:lnTo>
                  <a:lnTo>
                    <a:pt x="42" y="8"/>
                  </a:lnTo>
                  <a:lnTo>
                    <a:pt x="43" y="8"/>
                  </a:lnTo>
                  <a:lnTo>
                    <a:pt x="47" y="5"/>
                  </a:lnTo>
                  <a:lnTo>
                    <a:pt x="47" y="6"/>
                  </a:lnTo>
                  <a:lnTo>
                    <a:pt x="52" y="9"/>
                  </a:lnTo>
                  <a:lnTo>
                    <a:pt x="53" y="10"/>
                  </a:lnTo>
                  <a:lnTo>
                    <a:pt x="53" y="12"/>
                  </a:lnTo>
                  <a:lnTo>
                    <a:pt x="52" y="13"/>
                  </a:lnTo>
                  <a:lnTo>
                    <a:pt x="52" y="15"/>
                  </a:lnTo>
                  <a:lnTo>
                    <a:pt x="52" y="17"/>
                  </a:lnTo>
                  <a:lnTo>
                    <a:pt x="56" y="18"/>
                  </a:lnTo>
                  <a:lnTo>
                    <a:pt x="56" y="19"/>
                  </a:lnTo>
                  <a:lnTo>
                    <a:pt x="59" y="18"/>
                  </a:lnTo>
                  <a:lnTo>
                    <a:pt x="62" y="22"/>
                  </a:lnTo>
                  <a:lnTo>
                    <a:pt x="59" y="24"/>
                  </a:lnTo>
                  <a:lnTo>
                    <a:pt x="59" y="25"/>
                  </a:lnTo>
                  <a:lnTo>
                    <a:pt x="60" y="28"/>
                  </a:lnTo>
                  <a:lnTo>
                    <a:pt x="62" y="29"/>
                  </a:lnTo>
                  <a:lnTo>
                    <a:pt x="60" y="30"/>
                  </a:lnTo>
                  <a:lnTo>
                    <a:pt x="59" y="30"/>
                  </a:lnTo>
                  <a:lnTo>
                    <a:pt x="58" y="30"/>
                  </a:lnTo>
                  <a:lnTo>
                    <a:pt x="58" y="30"/>
                  </a:lnTo>
                  <a:lnTo>
                    <a:pt x="57" y="30"/>
                  </a:lnTo>
                  <a:lnTo>
                    <a:pt x="54" y="31"/>
                  </a:lnTo>
                  <a:lnTo>
                    <a:pt x="51" y="31"/>
                  </a:lnTo>
                  <a:lnTo>
                    <a:pt x="50" y="30"/>
                  </a:lnTo>
                  <a:lnTo>
                    <a:pt x="49" y="30"/>
                  </a:lnTo>
                  <a:lnTo>
                    <a:pt x="49" y="31"/>
                  </a:lnTo>
                  <a:lnTo>
                    <a:pt x="47" y="32"/>
                  </a:lnTo>
                  <a:lnTo>
                    <a:pt x="36" y="32"/>
                  </a:lnTo>
                  <a:lnTo>
                    <a:pt x="31" y="30"/>
                  </a:lnTo>
                  <a:lnTo>
                    <a:pt x="30" y="30"/>
                  </a:lnTo>
                  <a:lnTo>
                    <a:pt x="26" y="32"/>
                  </a:lnTo>
                  <a:lnTo>
                    <a:pt x="23" y="32"/>
                  </a:lnTo>
                  <a:lnTo>
                    <a:pt x="20" y="33"/>
                  </a:lnTo>
                  <a:lnTo>
                    <a:pt x="17" y="33"/>
                  </a:lnTo>
                  <a:lnTo>
                    <a:pt x="17" y="32"/>
                  </a:lnTo>
                  <a:lnTo>
                    <a:pt x="12" y="30"/>
                  </a:lnTo>
                  <a:lnTo>
                    <a:pt x="10" y="31"/>
                  </a:lnTo>
                  <a:lnTo>
                    <a:pt x="7" y="31"/>
                  </a:lnTo>
                  <a:lnTo>
                    <a:pt x="4" y="28"/>
                  </a:lnTo>
                  <a:lnTo>
                    <a:pt x="3" y="29"/>
                  </a:lnTo>
                  <a:lnTo>
                    <a:pt x="3" y="26"/>
                  </a:lnTo>
                  <a:lnTo>
                    <a:pt x="3" y="25"/>
                  </a:lnTo>
                  <a:lnTo>
                    <a:pt x="0" y="24"/>
                  </a:lnTo>
                  <a:lnTo>
                    <a:pt x="0" y="24"/>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49" name="Benin">
              <a:extLst>
                <a:ext uri="{FF2B5EF4-FFF2-40B4-BE49-F238E27FC236}">
                  <a16:creationId xmlns:a16="http://schemas.microsoft.com/office/drawing/2014/main" id="{8902AF4A-55F3-B34D-B1F4-C8660A6D2939}"/>
                </a:ext>
              </a:extLst>
            </p:cNvPr>
            <p:cNvSpPr>
              <a:spLocks/>
            </p:cNvSpPr>
            <p:nvPr/>
          </p:nvSpPr>
          <p:spPr bwMode="auto">
            <a:xfrm>
              <a:off x="6382742" y="3616213"/>
              <a:ext cx="83104" cy="186618"/>
            </a:xfrm>
            <a:custGeom>
              <a:avLst/>
              <a:gdLst>
                <a:gd name="T0" fmla="*/ 2 w 57"/>
                <a:gd name="T1" fmla="*/ 31 h 128"/>
                <a:gd name="T2" fmla="*/ 11 w 57"/>
                <a:gd name="T3" fmla="*/ 58 h 128"/>
                <a:gd name="T4" fmla="*/ 16 w 57"/>
                <a:gd name="T5" fmla="*/ 78 h 128"/>
                <a:gd name="T6" fmla="*/ 15 w 57"/>
                <a:gd name="T7" fmla="*/ 110 h 128"/>
                <a:gd name="T8" fmla="*/ 19 w 57"/>
                <a:gd name="T9" fmla="*/ 125 h 128"/>
                <a:gd name="T10" fmla="*/ 20 w 57"/>
                <a:gd name="T11" fmla="*/ 127 h 128"/>
                <a:gd name="T12" fmla="*/ 25 w 57"/>
                <a:gd name="T13" fmla="*/ 128 h 128"/>
                <a:gd name="T14" fmla="*/ 30 w 57"/>
                <a:gd name="T15" fmla="*/ 125 h 128"/>
                <a:gd name="T16" fmla="*/ 32 w 57"/>
                <a:gd name="T17" fmla="*/ 124 h 128"/>
                <a:gd name="T18" fmla="*/ 35 w 57"/>
                <a:gd name="T19" fmla="*/ 124 h 128"/>
                <a:gd name="T20" fmla="*/ 36 w 57"/>
                <a:gd name="T21" fmla="*/ 124 h 128"/>
                <a:gd name="T22" fmla="*/ 36 w 57"/>
                <a:gd name="T23" fmla="*/ 123 h 128"/>
                <a:gd name="T24" fmla="*/ 37 w 57"/>
                <a:gd name="T25" fmla="*/ 115 h 128"/>
                <a:gd name="T26" fmla="*/ 37 w 57"/>
                <a:gd name="T27" fmla="*/ 108 h 128"/>
                <a:gd name="T28" fmla="*/ 36 w 57"/>
                <a:gd name="T29" fmla="*/ 98 h 128"/>
                <a:gd name="T30" fmla="*/ 36 w 57"/>
                <a:gd name="T31" fmla="*/ 81 h 128"/>
                <a:gd name="T32" fmla="*/ 37 w 57"/>
                <a:gd name="T33" fmla="*/ 68 h 128"/>
                <a:gd name="T34" fmla="*/ 45 w 57"/>
                <a:gd name="T35" fmla="*/ 56 h 128"/>
                <a:gd name="T36" fmla="*/ 50 w 57"/>
                <a:gd name="T37" fmla="*/ 51 h 128"/>
                <a:gd name="T38" fmla="*/ 52 w 57"/>
                <a:gd name="T39" fmla="*/ 40 h 128"/>
                <a:gd name="T40" fmla="*/ 57 w 57"/>
                <a:gd name="T41" fmla="*/ 34 h 128"/>
                <a:gd name="T42" fmla="*/ 55 w 57"/>
                <a:gd name="T43" fmla="*/ 25 h 128"/>
                <a:gd name="T44" fmla="*/ 51 w 57"/>
                <a:gd name="T45" fmla="*/ 14 h 128"/>
                <a:gd name="T46" fmla="*/ 46 w 57"/>
                <a:gd name="T47" fmla="*/ 10 h 128"/>
                <a:gd name="T48" fmla="*/ 37 w 57"/>
                <a:gd name="T49" fmla="*/ 0 h 128"/>
                <a:gd name="T50" fmla="*/ 36 w 57"/>
                <a:gd name="T51" fmla="*/ 1 h 128"/>
                <a:gd name="T52" fmla="*/ 33 w 57"/>
                <a:gd name="T53" fmla="*/ 2 h 128"/>
                <a:gd name="T54" fmla="*/ 32 w 57"/>
                <a:gd name="T55" fmla="*/ 2 h 128"/>
                <a:gd name="T56" fmla="*/ 29 w 57"/>
                <a:gd name="T57" fmla="*/ 7 h 128"/>
                <a:gd name="T58" fmla="*/ 30 w 57"/>
                <a:gd name="T59" fmla="*/ 10 h 128"/>
                <a:gd name="T60" fmla="*/ 27 w 57"/>
                <a:gd name="T61" fmla="*/ 10 h 128"/>
                <a:gd name="T62" fmla="*/ 23 w 57"/>
                <a:gd name="T63" fmla="*/ 20 h 128"/>
                <a:gd name="T64" fmla="*/ 16 w 57"/>
                <a:gd name="T65" fmla="*/ 21 h 128"/>
                <a:gd name="T66" fmla="*/ 12 w 57"/>
                <a:gd name="T67" fmla="*/ 18 h 128"/>
                <a:gd name="T68" fmla="*/ 11 w 57"/>
                <a:gd name="T69" fmla="*/ 23 h 128"/>
                <a:gd name="T70" fmla="*/ 11 w 57"/>
                <a:gd name="T71" fmla="*/ 23 h 128"/>
                <a:gd name="T72" fmla="*/ 10 w 57"/>
                <a:gd name="T73" fmla="*/ 23 h 128"/>
                <a:gd name="T74" fmla="*/ 7 w 57"/>
                <a:gd name="T75" fmla="*/ 24 h 128"/>
                <a:gd name="T76" fmla="*/ 6 w 57"/>
                <a:gd name="T77" fmla="*/ 27 h 128"/>
                <a:gd name="T78" fmla="*/ 4 w 57"/>
                <a:gd name="T79" fmla="*/ 28 h 128"/>
                <a:gd name="T80" fmla="*/ 3 w 57"/>
                <a:gd name="T81" fmla="*/ 30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7" h="128">
                  <a:moveTo>
                    <a:pt x="3" y="30"/>
                  </a:moveTo>
                  <a:lnTo>
                    <a:pt x="2" y="31"/>
                  </a:lnTo>
                  <a:lnTo>
                    <a:pt x="0" y="41"/>
                  </a:lnTo>
                  <a:lnTo>
                    <a:pt x="11" y="58"/>
                  </a:lnTo>
                  <a:lnTo>
                    <a:pt x="15" y="65"/>
                  </a:lnTo>
                  <a:lnTo>
                    <a:pt x="16" y="78"/>
                  </a:lnTo>
                  <a:lnTo>
                    <a:pt x="16" y="82"/>
                  </a:lnTo>
                  <a:lnTo>
                    <a:pt x="15" y="110"/>
                  </a:lnTo>
                  <a:lnTo>
                    <a:pt x="16" y="118"/>
                  </a:lnTo>
                  <a:lnTo>
                    <a:pt x="19" y="125"/>
                  </a:lnTo>
                  <a:lnTo>
                    <a:pt x="19" y="125"/>
                  </a:lnTo>
                  <a:lnTo>
                    <a:pt x="20" y="127"/>
                  </a:lnTo>
                  <a:lnTo>
                    <a:pt x="22" y="128"/>
                  </a:lnTo>
                  <a:lnTo>
                    <a:pt x="25" y="128"/>
                  </a:lnTo>
                  <a:lnTo>
                    <a:pt x="29" y="127"/>
                  </a:lnTo>
                  <a:lnTo>
                    <a:pt x="30" y="125"/>
                  </a:lnTo>
                  <a:lnTo>
                    <a:pt x="31" y="125"/>
                  </a:lnTo>
                  <a:lnTo>
                    <a:pt x="32" y="124"/>
                  </a:lnTo>
                  <a:lnTo>
                    <a:pt x="33" y="124"/>
                  </a:lnTo>
                  <a:lnTo>
                    <a:pt x="35" y="124"/>
                  </a:lnTo>
                  <a:lnTo>
                    <a:pt x="35" y="125"/>
                  </a:lnTo>
                  <a:lnTo>
                    <a:pt x="36" y="124"/>
                  </a:lnTo>
                  <a:lnTo>
                    <a:pt x="36" y="124"/>
                  </a:lnTo>
                  <a:lnTo>
                    <a:pt x="36" y="123"/>
                  </a:lnTo>
                  <a:lnTo>
                    <a:pt x="36" y="118"/>
                  </a:lnTo>
                  <a:lnTo>
                    <a:pt x="37" y="115"/>
                  </a:lnTo>
                  <a:lnTo>
                    <a:pt x="36" y="111"/>
                  </a:lnTo>
                  <a:lnTo>
                    <a:pt x="37" y="108"/>
                  </a:lnTo>
                  <a:lnTo>
                    <a:pt x="37" y="102"/>
                  </a:lnTo>
                  <a:lnTo>
                    <a:pt x="36" y="98"/>
                  </a:lnTo>
                  <a:lnTo>
                    <a:pt x="36" y="91"/>
                  </a:lnTo>
                  <a:lnTo>
                    <a:pt x="36" y="81"/>
                  </a:lnTo>
                  <a:lnTo>
                    <a:pt x="36" y="74"/>
                  </a:lnTo>
                  <a:lnTo>
                    <a:pt x="37" y="68"/>
                  </a:lnTo>
                  <a:lnTo>
                    <a:pt x="44" y="64"/>
                  </a:lnTo>
                  <a:lnTo>
                    <a:pt x="45" y="56"/>
                  </a:lnTo>
                  <a:lnTo>
                    <a:pt x="46" y="54"/>
                  </a:lnTo>
                  <a:lnTo>
                    <a:pt x="50" y="51"/>
                  </a:lnTo>
                  <a:lnTo>
                    <a:pt x="53" y="45"/>
                  </a:lnTo>
                  <a:lnTo>
                    <a:pt x="52" y="40"/>
                  </a:lnTo>
                  <a:lnTo>
                    <a:pt x="56" y="41"/>
                  </a:lnTo>
                  <a:lnTo>
                    <a:pt x="57" y="34"/>
                  </a:lnTo>
                  <a:lnTo>
                    <a:pt x="55" y="32"/>
                  </a:lnTo>
                  <a:lnTo>
                    <a:pt x="55" y="25"/>
                  </a:lnTo>
                  <a:lnTo>
                    <a:pt x="51" y="15"/>
                  </a:lnTo>
                  <a:lnTo>
                    <a:pt x="51" y="14"/>
                  </a:lnTo>
                  <a:lnTo>
                    <a:pt x="50" y="13"/>
                  </a:lnTo>
                  <a:lnTo>
                    <a:pt x="46" y="10"/>
                  </a:lnTo>
                  <a:lnTo>
                    <a:pt x="44" y="5"/>
                  </a:lnTo>
                  <a:lnTo>
                    <a:pt x="37" y="0"/>
                  </a:lnTo>
                  <a:lnTo>
                    <a:pt x="36" y="1"/>
                  </a:lnTo>
                  <a:lnTo>
                    <a:pt x="36" y="1"/>
                  </a:lnTo>
                  <a:lnTo>
                    <a:pt x="35" y="2"/>
                  </a:lnTo>
                  <a:lnTo>
                    <a:pt x="33" y="2"/>
                  </a:lnTo>
                  <a:lnTo>
                    <a:pt x="32" y="3"/>
                  </a:lnTo>
                  <a:lnTo>
                    <a:pt x="32" y="2"/>
                  </a:lnTo>
                  <a:lnTo>
                    <a:pt x="29" y="4"/>
                  </a:lnTo>
                  <a:lnTo>
                    <a:pt x="29" y="7"/>
                  </a:lnTo>
                  <a:lnTo>
                    <a:pt x="30" y="8"/>
                  </a:lnTo>
                  <a:lnTo>
                    <a:pt x="30" y="10"/>
                  </a:lnTo>
                  <a:lnTo>
                    <a:pt x="29" y="10"/>
                  </a:lnTo>
                  <a:lnTo>
                    <a:pt x="27" y="10"/>
                  </a:lnTo>
                  <a:lnTo>
                    <a:pt x="26" y="15"/>
                  </a:lnTo>
                  <a:lnTo>
                    <a:pt x="23" y="20"/>
                  </a:lnTo>
                  <a:lnTo>
                    <a:pt x="20" y="18"/>
                  </a:lnTo>
                  <a:lnTo>
                    <a:pt x="16" y="21"/>
                  </a:lnTo>
                  <a:lnTo>
                    <a:pt x="15" y="20"/>
                  </a:lnTo>
                  <a:lnTo>
                    <a:pt x="12" y="18"/>
                  </a:lnTo>
                  <a:lnTo>
                    <a:pt x="11" y="21"/>
                  </a:lnTo>
                  <a:lnTo>
                    <a:pt x="11" y="23"/>
                  </a:lnTo>
                  <a:lnTo>
                    <a:pt x="10" y="23"/>
                  </a:lnTo>
                  <a:lnTo>
                    <a:pt x="11" y="23"/>
                  </a:lnTo>
                  <a:lnTo>
                    <a:pt x="10" y="23"/>
                  </a:lnTo>
                  <a:lnTo>
                    <a:pt x="10" y="23"/>
                  </a:lnTo>
                  <a:lnTo>
                    <a:pt x="7" y="23"/>
                  </a:lnTo>
                  <a:lnTo>
                    <a:pt x="7" y="24"/>
                  </a:lnTo>
                  <a:lnTo>
                    <a:pt x="5" y="25"/>
                  </a:lnTo>
                  <a:lnTo>
                    <a:pt x="6" y="27"/>
                  </a:lnTo>
                  <a:lnTo>
                    <a:pt x="4" y="27"/>
                  </a:lnTo>
                  <a:lnTo>
                    <a:pt x="4" y="28"/>
                  </a:lnTo>
                  <a:lnTo>
                    <a:pt x="3" y="28"/>
                  </a:lnTo>
                  <a:lnTo>
                    <a:pt x="3" y="30"/>
                  </a:lnTo>
                  <a:lnTo>
                    <a:pt x="3" y="30"/>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50" name="Belize">
              <a:extLst>
                <a:ext uri="{FF2B5EF4-FFF2-40B4-BE49-F238E27FC236}">
                  <a16:creationId xmlns:a16="http://schemas.microsoft.com/office/drawing/2014/main" id="{3B15619B-AE3F-9A4A-9065-80E8F6C34644}"/>
                </a:ext>
              </a:extLst>
            </p:cNvPr>
            <p:cNvSpPr>
              <a:spLocks/>
            </p:cNvSpPr>
            <p:nvPr/>
          </p:nvSpPr>
          <p:spPr bwMode="auto">
            <a:xfrm>
              <a:off x="4031071" y="3433969"/>
              <a:ext cx="37907" cy="78730"/>
            </a:xfrm>
            <a:custGeom>
              <a:avLst/>
              <a:gdLst>
                <a:gd name="T0" fmla="*/ 10 w 26"/>
                <a:gd name="T1" fmla="*/ 12 h 54"/>
                <a:gd name="T2" fmla="*/ 8 w 26"/>
                <a:gd name="T3" fmla="*/ 10 h 54"/>
                <a:gd name="T4" fmla="*/ 7 w 26"/>
                <a:gd name="T5" fmla="*/ 10 h 54"/>
                <a:gd name="T6" fmla="*/ 4 w 26"/>
                <a:gd name="T7" fmla="*/ 14 h 54"/>
                <a:gd name="T8" fmla="*/ 6 w 26"/>
                <a:gd name="T9" fmla="*/ 54 h 54"/>
                <a:gd name="T10" fmla="*/ 7 w 26"/>
                <a:gd name="T11" fmla="*/ 50 h 54"/>
                <a:gd name="T12" fmla="*/ 8 w 26"/>
                <a:gd name="T13" fmla="*/ 48 h 54"/>
                <a:gd name="T14" fmla="*/ 10 w 26"/>
                <a:gd name="T15" fmla="*/ 45 h 54"/>
                <a:gd name="T16" fmla="*/ 11 w 26"/>
                <a:gd name="T17" fmla="*/ 45 h 54"/>
                <a:gd name="T18" fmla="*/ 14 w 26"/>
                <a:gd name="T19" fmla="*/ 43 h 54"/>
                <a:gd name="T20" fmla="*/ 14 w 26"/>
                <a:gd name="T21" fmla="*/ 42 h 54"/>
                <a:gd name="T22" fmla="*/ 17 w 26"/>
                <a:gd name="T23" fmla="*/ 40 h 54"/>
                <a:gd name="T24" fmla="*/ 19 w 26"/>
                <a:gd name="T25" fmla="*/ 38 h 54"/>
                <a:gd name="T26" fmla="*/ 16 w 26"/>
                <a:gd name="T27" fmla="*/ 41 h 54"/>
                <a:gd name="T28" fmla="*/ 17 w 26"/>
                <a:gd name="T29" fmla="*/ 35 h 54"/>
                <a:gd name="T30" fmla="*/ 19 w 26"/>
                <a:gd name="T31" fmla="*/ 33 h 54"/>
                <a:gd name="T32" fmla="*/ 21 w 26"/>
                <a:gd name="T33" fmla="*/ 30 h 54"/>
                <a:gd name="T34" fmla="*/ 21 w 26"/>
                <a:gd name="T35" fmla="*/ 28 h 54"/>
                <a:gd name="T36" fmla="*/ 19 w 26"/>
                <a:gd name="T37" fmla="*/ 27 h 54"/>
                <a:gd name="T38" fmla="*/ 20 w 26"/>
                <a:gd name="T39" fmla="*/ 21 h 54"/>
                <a:gd name="T40" fmla="*/ 20 w 26"/>
                <a:gd name="T41" fmla="*/ 19 h 54"/>
                <a:gd name="T42" fmla="*/ 21 w 26"/>
                <a:gd name="T43" fmla="*/ 16 h 54"/>
                <a:gd name="T44" fmla="*/ 22 w 26"/>
                <a:gd name="T45" fmla="*/ 13 h 54"/>
                <a:gd name="T46" fmla="*/ 24 w 26"/>
                <a:gd name="T47" fmla="*/ 7 h 54"/>
                <a:gd name="T48" fmla="*/ 24 w 26"/>
                <a:gd name="T49" fmla="*/ 2 h 54"/>
                <a:gd name="T50" fmla="*/ 21 w 26"/>
                <a:gd name="T51" fmla="*/ 2 h 54"/>
                <a:gd name="T52" fmla="*/ 22 w 26"/>
                <a:gd name="T53" fmla="*/ 1 h 54"/>
                <a:gd name="T54" fmla="*/ 20 w 26"/>
                <a:gd name="T55" fmla="*/ 0 h 54"/>
                <a:gd name="T56" fmla="*/ 19 w 26"/>
                <a:gd name="T57" fmla="*/ 0 h 54"/>
                <a:gd name="T58" fmla="*/ 16 w 26"/>
                <a:gd name="T59" fmla="*/ 5 h 54"/>
                <a:gd name="T60" fmla="*/ 13 w 26"/>
                <a:gd name="T61" fmla="*/ 8 h 54"/>
                <a:gd name="T62" fmla="*/ 11 w 26"/>
                <a:gd name="T63" fmla="*/ 1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6" h="54">
                  <a:moveTo>
                    <a:pt x="11" y="12"/>
                  </a:moveTo>
                  <a:lnTo>
                    <a:pt x="10" y="12"/>
                  </a:lnTo>
                  <a:lnTo>
                    <a:pt x="10" y="12"/>
                  </a:lnTo>
                  <a:lnTo>
                    <a:pt x="8" y="10"/>
                  </a:lnTo>
                  <a:lnTo>
                    <a:pt x="8" y="10"/>
                  </a:lnTo>
                  <a:lnTo>
                    <a:pt x="7" y="10"/>
                  </a:lnTo>
                  <a:lnTo>
                    <a:pt x="6" y="10"/>
                  </a:lnTo>
                  <a:lnTo>
                    <a:pt x="4" y="14"/>
                  </a:lnTo>
                  <a:lnTo>
                    <a:pt x="0" y="53"/>
                  </a:lnTo>
                  <a:lnTo>
                    <a:pt x="6" y="54"/>
                  </a:lnTo>
                  <a:lnTo>
                    <a:pt x="4" y="52"/>
                  </a:lnTo>
                  <a:lnTo>
                    <a:pt x="7" y="50"/>
                  </a:lnTo>
                  <a:lnTo>
                    <a:pt x="7" y="49"/>
                  </a:lnTo>
                  <a:lnTo>
                    <a:pt x="8" y="48"/>
                  </a:lnTo>
                  <a:lnTo>
                    <a:pt x="10" y="47"/>
                  </a:lnTo>
                  <a:lnTo>
                    <a:pt x="10" y="45"/>
                  </a:lnTo>
                  <a:lnTo>
                    <a:pt x="11" y="46"/>
                  </a:lnTo>
                  <a:lnTo>
                    <a:pt x="11" y="45"/>
                  </a:lnTo>
                  <a:lnTo>
                    <a:pt x="11" y="46"/>
                  </a:lnTo>
                  <a:lnTo>
                    <a:pt x="14" y="43"/>
                  </a:lnTo>
                  <a:lnTo>
                    <a:pt x="15" y="42"/>
                  </a:lnTo>
                  <a:lnTo>
                    <a:pt x="14" y="42"/>
                  </a:lnTo>
                  <a:lnTo>
                    <a:pt x="15" y="41"/>
                  </a:lnTo>
                  <a:lnTo>
                    <a:pt x="17" y="40"/>
                  </a:lnTo>
                  <a:lnTo>
                    <a:pt x="16" y="38"/>
                  </a:lnTo>
                  <a:lnTo>
                    <a:pt x="19" y="38"/>
                  </a:lnTo>
                  <a:lnTo>
                    <a:pt x="16" y="41"/>
                  </a:lnTo>
                  <a:lnTo>
                    <a:pt x="16" y="41"/>
                  </a:lnTo>
                  <a:lnTo>
                    <a:pt x="17" y="38"/>
                  </a:lnTo>
                  <a:lnTo>
                    <a:pt x="17" y="35"/>
                  </a:lnTo>
                  <a:lnTo>
                    <a:pt x="20" y="34"/>
                  </a:lnTo>
                  <a:lnTo>
                    <a:pt x="19" y="33"/>
                  </a:lnTo>
                  <a:lnTo>
                    <a:pt x="20" y="32"/>
                  </a:lnTo>
                  <a:lnTo>
                    <a:pt x="21" y="30"/>
                  </a:lnTo>
                  <a:lnTo>
                    <a:pt x="20" y="32"/>
                  </a:lnTo>
                  <a:lnTo>
                    <a:pt x="21" y="28"/>
                  </a:lnTo>
                  <a:lnTo>
                    <a:pt x="19" y="28"/>
                  </a:lnTo>
                  <a:lnTo>
                    <a:pt x="19" y="27"/>
                  </a:lnTo>
                  <a:lnTo>
                    <a:pt x="19" y="25"/>
                  </a:lnTo>
                  <a:lnTo>
                    <a:pt x="20" y="21"/>
                  </a:lnTo>
                  <a:lnTo>
                    <a:pt x="21" y="20"/>
                  </a:lnTo>
                  <a:lnTo>
                    <a:pt x="20" y="19"/>
                  </a:lnTo>
                  <a:lnTo>
                    <a:pt x="20" y="18"/>
                  </a:lnTo>
                  <a:lnTo>
                    <a:pt x="21" y="16"/>
                  </a:lnTo>
                  <a:lnTo>
                    <a:pt x="22" y="14"/>
                  </a:lnTo>
                  <a:lnTo>
                    <a:pt x="22" y="13"/>
                  </a:lnTo>
                  <a:lnTo>
                    <a:pt x="23" y="10"/>
                  </a:lnTo>
                  <a:lnTo>
                    <a:pt x="24" y="7"/>
                  </a:lnTo>
                  <a:lnTo>
                    <a:pt x="26" y="3"/>
                  </a:lnTo>
                  <a:lnTo>
                    <a:pt x="24" y="2"/>
                  </a:lnTo>
                  <a:lnTo>
                    <a:pt x="23" y="2"/>
                  </a:lnTo>
                  <a:lnTo>
                    <a:pt x="21" y="2"/>
                  </a:lnTo>
                  <a:lnTo>
                    <a:pt x="21" y="1"/>
                  </a:lnTo>
                  <a:lnTo>
                    <a:pt x="22" y="1"/>
                  </a:lnTo>
                  <a:lnTo>
                    <a:pt x="22" y="0"/>
                  </a:lnTo>
                  <a:lnTo>
                    <a:pt x="20" y="0"/>
                  </a:lnTo>
                  <a:lnTo>
                    <a:pt x="20" y="0"/>
                  </a:lnTo>
                  <a:lnTo>
                    <a:pt x="19" y="0"/>
                  </a:lnTo>
                  <a:lnTo>
                    <a:pt x="16" y="3"/>
                  </a:lnTo>
                  <a:lnTo>
                    <a:pt x="16" y="5"/>
                  </a:lnTo>
                  <a:lnTo>
                    <a:pt x="14" y="6"/>
                  </a:lnTo>
                  <a:lnTo>
                    <a:pt x="13" y="8"/>
                  </a:lnTo>
                  <a:lnTo>
                    <a:pt x="11" y="12"/>
                  </a:lnTo>
                  <a:lnTo>
                    <a:pt x="11" y="12"/>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51" name="Bangladesh">
              <a:extLst>
                <a:ext uri="{FF2B5EF4-FFF2-40B4-BE49-F238E27FC236}">
                  <a16:creationId xmlns:a16="http://schemas.microsoft.com/office/drawing/2014/main" id="{60FA5E18-2F2B-7443-BBB5-A5E79D05206F}"/>
                </a:ext>
              </a:extLst>
            </p:cNvPr>
            <p:cNvSpPr>
              <a:spLocks/>
            </p:cNvSpPr>
            <p:nvPr/>
          </p:nvSpPr>
          <p:spPr bwMode="auto">
            <a:xfrm>
              <a:off x="8625068" y="3191950"/>
              <a:ext cx="139963" cy="173496"/>
            </a:xfrm>
            <a:custGeom>
              <a:avLst/>
              <a:gdLst>
                <a:gd name="T0" fmla="*/ 84 w 96"/>
                <a:gd name="T1" fmla="*/ 67 h 119"/>
                <a:gd name="T2" fmla="*/ 78 w 96"/>
                <a:gd name="T3" fmla="*/ 59 h 119"/>
                <a:gd name="T4" fmla="*/ 71 w 96"/>
                <a:gd name="T5" fmla="*/ 72 h 119"/>
                <a:gd name="T6" fmla="*/ 63 w 96"/>
                <a:gd name="T7" fmla="*/ 61 h 119"/>
                <a:gd name="T8" fmla="*/ 67 w 96"/>
                <a:gd name="T9" fmla="*/ 47 h 119"/>
                <a:gd name="T10" fmla="*/ 75 w 96"/>
                <a:gd name="T11" fmla="*/ 47 h 119"/>
                <a:gd name="T12" fmla="*/ 78 w 96"/>
                <a:gd name="T13" fmla="*/ 37 h 119"/>
                <a:gd name="T14" fmla="*/ 81 w 96"/>
                <a:gd name="T15" fmla="*/ 33 h 119"/>
                <a:gd name="T16" fmla="*/ 64 w 96"/>
                <a:gd name="T17" fmla="*/ 27 h 119"/>
                <a:gd name="T18" fmla="*/ 55 w 96"/>
                <a:gd name="T19" fmla="*/ 26 h 119"/>
                <a:gd name="T20" fmla="*/ 38 w 96"/>
                <a:gd name="T21" fmla="*/ 26 h 119"/>
                <a:gd name="T22" fmla="*/ 30 w 96"/>
                <a:gd name="T23" fmla="*/ 12 h 119"/>
                <a:gd name="T24" fmla="*/ 22 w 96"/>
                <a:gd name="T25" fmla="*/ 12 h 119"/>
                <a:gd name="T26" fmla="*/ 2 w 96"/>
                <a:gd name="T27" fmla="*/ 2 h 119"/>
                <a:gd name="T28" fmla="*/ 8 w 96"/>
                <a:gd name="T29" fmla="*/ 20 h 119"/>
                <a:gd name="T30" fmla="*/ 18 w 96"/>
                <a:gd name="T31" fmla="*/ 26 h 119"/>
                <a:gd name="T32" fmla="*/ 8 w 96"/>
                <a:gd name="T33" fmla="*/ 28 h 119"/>
                <a:gd name="T34" fmla="*/ 6 w 96"/>
                <a:gd name="T35" fmla="*/ 38 h 119"/>
                <a:gd name="T36" fmla="*/ 18 w 96"/>
                <a:gd name="T37" fmla="*/ 49 h 119"/>
                <a:gd name="T38" fmla="*/ 16 w 96"/>
                <a:gd name="T39" fmla="*/ 60 h 119"/>
                <a:gd name="T40" fmla="*/ 24 w 96"/>
                <a:gd name="T41" fmla="*/ 73 h 119"/>
                <a:gd name="T42" fmla="*/ 30 w 96"/>
                <a:gd name="T43" fmla="*/ 92 h 119"/>
                <a:gd name="T44" fmla="*/ 34 w 96"/>
                <a:gd name="T45" fmla="*/ 101 h 119"/>
                <a:gd name="T46" fmla="*/ 35 w 96"/>
                <a:gd name="T47" fmla="*/ 94 h 119"/>
                <a:gd name="T48" fmla="*/ 37 w 96"/>
                <a:gd name="T49" fmla="*/ 97 h 119"/>
                <a:gd name="T50" fmla="*/ 38 w 96"/>
                <a:gd name="T51" fmla="*/ 92 h 119"/>
                <a:gd name="T52" fmla="*/ 36 w 96"/>
                <a:gd name="T53" fmla="*/ 88 h 119"/>
                <a:gd name="T54" fmla="*/ 38 w 96"/>
                <a:gd name="T55" fmla="*/ 88 h 119"/>
                <a:gd name="T56" fmla="*/ 40 w 96"/>
                <a:gd name="T57" fmla="*/ 92 h 119"/>
                <a:gd name="T58" fmla="*/ 40 w 96"/>
                <a:gd name="T59" fmla="*/ 99 h 119"/>
                <a:gd name="T60" fmla="*/ 41 w 96"/>
                <a:gd name="T61" fmla="*/ 95 h 119"/>
                <a:gd name="T62" fmla="*/ 44 w 96"/>
                <a:gd name="T63" fmla="*/ 95 h 119"/>
                <a:gd name="T64" fmla="*/ 43 w 96"/>
                <a:gd name="T65" fmla="*/ 92 h 119"/>
                <a:gd name="T66" fmla="*/ 46 w 96"/>
                <a:gd name="T67" fmla="*/ 84 h 119"/>
                <a:gd name="T68" fmla="*/ 47 w 96"/>
                <a:gd name="T69" fmla="*/ 93 h 119"/>
                <a:gd name="T70" fmla="*/ 48 w 96"/>
                <a:gd name="T71" fmla="*/ 93 h 119"/>
                <a:gd name="T72" fmla="*/ 49 w 96"/>
                <a:gd name="T73" fmla="*/ 97 h 119"/>
                <a:gd name="T74" fmla="*/ 50 w 96"/>
                <a:gd name="T75" fmla="*/ 95 h 119"/>
                <a:gd name="T76" fmla="*/ 56 w 96"/>
                <a:gd name="T77" fmla="*/ 88 h 119"/>
                <a:gd name="T78" fmla="*/ 51 w 96"/>
                <a:gd name="T79" fmla="*/ 78 h 119"/>
                <a:gd name="T80" fmla="*/ 53 w 96"/>
                <a:gd name="T81" fmla="*/ 73 h 119"/>
                <a:gd name="T82" fmla="*/ 51 w 96"/>
                <a:gd name="T83" fmla="*/ 66 h 119"/>
                <a:gd name="T84" fmla="*/ 42 w 96"/>
                <a:gd name="T85" fmla="*/ 60 h 119"/>
                <a:gd name="T86" fmla="*/ 29 w 96"/>
                <a:gd name="T87" fmla="*/ 55 h 119"/>
                <a:gd name="T88" fmla="*/ 36 w 96"/>
                <a:gd name="T89" fmla="*/ 54 h 119"/>
                <a:gd name="T90" fmla="*/ 41 w 96"/>
                <a:gd name="T91" fmla="*/ 59 h 119"/>
                <a:gd name="T92" fmla="*/ 50 w 96"/>
                <a:gd name="T93" fmla="*/ 61 h 119"/>
                <a:gd name="T94" fmla="*/ 54 w 96"/>
                <a:gd name="T95" fmla="*/ 67 h 119"/>
                <a:gd name="T96" fmla="*/ 58 w 96"/>
                <a:gd name="T97" fmla="*/ 74 h 119"/>
                <a:gd name="T98" fmla="*/ 68 w 96"/>
                <a:gd name="T99" fmla="*/ 77 h 119"/>
                <a:gd name="T100" fmla="*/ 70 w 96"/>
                <a:gd name="T101" fmla="*/ 75 h 119"/>
                <a:gd name="T102" fmla="*/ 77 w 96"/>
                <a:gd name="T103" fmla="*/ 88 h 119"/>
                <a:gd name="T104" fmla="*/ 82 w 96"/>
                <a:gd name="T105" fmla="*/ 98 h 119"/>
                <a:gd name="T106" fmla="*/ 86 w 96"/>
                <a:gd name="T107" fmla="*/ 107 h 119"/>
                <a:gd name="T108" fmla="*/ 89 w 96"/>
                <a:gd name="T109" fmla="*/ 112 h 119"/>
                <a:gd name="T110" fmla="*/ 88 w 96"/>
                <a:gd name="T111" fmla="*/ 105 h 119"/>
                <a:gd name="T112" fmla="*/ 96 w 96"/>
                <a:gd name="T113" fmla="*/ 107 h 1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6" h="119">
                  <a:moveTo>
                    <a:pt x="93" y="91"/>
                  </a:moveTo>
                  <a:lnTo>
                    <a:pt x="91" y="88"/>
                  </a:lnTo>
                  <a:lnTo>
                    <a:pt x="90" y="84"/>
                  </a:lnTo>
                  <a:lnTo>
                    <a:pt x="89" y="79"/>
                  </a:lnTo>
                  <a:lnTo>
                    <a:pt x="89" y="77"/>
                  </a:lnTo>
                  <a:lnTo>
                    <a:pt x="87" y="74"/>
                  </a:lnTo>
                  <a:lnTo>
                    <a:pt x="86" y="74"/>
                  </a:lnTo>
                  <a:lnTo>
                    <a:pt x="84" y="71"/>
                  </a:lnTo>
                  <a:lnTo>
                    <a:pt x="84" y="67"/>
                  </a:lnTo>
                  <a:lnTo>
                    <a:pt x="84" y="66"/>
                  </a:lnTo>
                  <a:lnTo>
                    <a:pt x="83" y="64"/>
                  </a:lnTo>
                  <a:lnTo>
                    <a:pt x="83" y="59"/>
                  </a:lnTo>
                  <a:lnTo>
                    <a:pt x="82" y="58"/>
                  </a:lnTo>
                  <a:lnTo>
                    <a:pt x="82" y="55"/>
                  </a:lnTo>
                  <a:lnTo>
                    <a:pt x="80" y="55"/>
                  </a:lnTo>
                  <a:lnTo>
                    <a:pt x="77" y="55"/>
                  </a:lnTo>
                  <a:lnTo>
                    <a:pt x="78" y="58"/>
                  </a:lnTo>
                  <a:lnTo>
                    <a:pt x="78" y="59"/>
                  </a:lnTo>
                  <a:lnTo>
                    <a:pt x="78" y="61"/>
                  </a:lnTo>
                  <a:lnTo>
                    <a:pt x="76" y="61"/>
                  </a:lnTo>
                  <a:lnTo>
                    <a:pt x="75" y="61"/>
                  </a:lnTo>
                  <a:lnTo>
                    <a:pt x="74" y="64"/>
                  </a:lnTo>
                  <a:lnTo>
                    <a:pt x="74" y="66"/>
                  </a:lnTo>
                  <a:lnTo>
                    <a:pt x="75" y="68"/>
                  </a:lnTo>
                  <a:lnTo>
                    <a:pt x="75" y="71"/>
                  </a:lnTo>
                  <a:lnTo>
                    <a:pt x="74" y="72"/>
                  </a:lnTo>
                  <a:lnTo>
                    <a:pt x="71" y="72"/>
                  </a:lnTo>
                  <a:lnTo>
                    <a:pt x="70" y="69"/>
                  </a:lnTo>
                  <a:lnTo>
                    <a:pt x="69" y="68"/>
                  </a:lnTo>
                  <a:lnTo>
                    <a:pt x="68" y="67"/>
                  </a:lnTo>
                  <a:lnTo>
                    <a:pt x="68" y="71"/>
                  </a:lnTo>
                  <a:lnTo>
                    <a:pt x="67" y="71"/>
                  </a:lnTo>
                  <a:lnTo>
                    <a:pt x="66" y="68"/>
                  </a:lnTo>
                  <a:lnTo>
                    <a:pt x="64" y="65"/>
                  </a:lnTo>
                  <a:lnTo>
                    <a:pt x="64" y="64"/>
                  </a:lnTo>
                  <a:lnTo>
                    <a:pt x="63" y="61"/>
                  </a:lnTo>
                  <a:lnTo>
                    <a:pt x="63" y="58"/>
                  </a:lnTo>
                  <a:lnTo>
                    <a:pt x="63" y="58"/>
                  </a:lnTo>
                  <a:lnTo>
                    <a:pt x="66" y="55"/>
                  </a:lnTo>
                  <a:lnTo>
                    <a:pt x="64" y="53"/>
                  </a:lnTo>
                  <a:lnTo>
                    <a:pt x="66" y="52"/>
                  </a:lnTo>
                  <a:lnTo>
                    <a:pt x="68" y="49"/>
                  </a:lnTo>
                  <a:lnTo>
                    <a:pt x="68" y="49"/>
                  </a:lnTo>
                  <a:lnTo>
                    <a:pt x="67" y="48"/>
                  </a:lnTo>
                  <a:lnTo>
                    <a:pt x="67" y="47"/>
                  </a:lnTo>
                  <a:lnTo>
                    <a:pt x="69" y="48"/>
                  </a:lnTo>
                  <a:lnTo>
                    <a:pt x="71" y="48"/>
                  </a:lnTo>
                  <a:lnTo>
                    <a:pt x="70" y="46"/>
                  </a:lnTo>
                  <a:lnTo>
                    <a:pt x="73" y="47"/>
                  </a:lnTo>
                  <a:lnTo>
                    <a:pt x="73" y="47"/>
                  </a:lnTo>
                  <a:lnTo>
                    <a:pt x="73" y="46"/>
                  </a:lnTo>
                  <a:lnTo>
                    <a:pt x="74" y="46"/>
                  </a:lnTo>
                  <a:lnTo>
                    <a:pt x="74" y="47"/>
                  </a:lnTo>
                  <a:lnTo>
                    <a:pt x="75" y="47"/>
                  </a:lnTo>
                  <a:lnTo>
                    <a:pt x="76" y="47"/>
                  </a:lnTo>
                  <a:lnTo>
                    <a:pt x="76" y="46"/>
                  </a:lnTo>
                  <a:lnTo>
                    <a:pt x="76" y="44"/>
                  </a:lnTo>
                  <a:lnTo>
                    <a:pt x="76" y="42"/>
                  </a:lnTo>
                  <a:lnTo>
                    <a:pt x="77" y="42"/>
                  </a:lnTo>
                  <a:lnTo>
                    <a:pt x="78" y="42"/>
                  </a:lnTo>
                  <a:lnTo>
                    <a:pt x="77" y="39"/>
                  </a:lnTo>
                  <a:lnTo>
                    <a:pt x="77" y="38"/>
                  </a:lnTo>
                  <a:lnTo>
                    <a:pt x="78" y="37"/>
                  </a:lnTo>
                  <a:lnTo>
                    <a:pt x="77" y="37"/>
                  </a:lnTo>
                  <a:lnTo>
                    <a:pt x="76" y="35"/>
                  </a:lnTo>
                  <a:lnTo>
                    <a:pt x="76" y="35"/>
                  </a:lnTo>
                  <a:lnTo>
                    <a:pt x="76" y="35"/>
                  </a:lnTo>
                  <a:lnTo>
                    <a:pt x="78" y="34"/>
                  </a:lnTo>
                  <a:lnTo>
                    <a:pt x="80" y="35"/>
                  </a:lnTo>
                  <a:lnTo>
                    <a:pt x="82" y="35"/>
                  </a:lnTo>
                  <a:lnTo>
                    <a:pt x="82" y="34"/>
                  </a:lnTo>
                  <a:lnTo>
                    <a:pt x="81" y="33"/>
                  </a:lnTo>
                  <a:lnTo>
                    <a:pt x="78" y="33"/>
                  </a:lnTo>
                  <a:lnTo>
                    <a:pt x="78" y="31"/>
                  </a:lnTo>
                  <a:lnTo>
                    <a:pt x="76" y="31"/>
                  </a:lnTo>
                  <a:lnTo>
                    <a:pt x="74" y="28"/>
                  </a:lnTo>
                  <a:lnTo>
                    <a:pt x="71" y="27"/>
                  </a:lnTo>
                  <a:lnTo>
                    <a:pt x="70" y="27"/>
                  </a:lnTo>
                  <a:lnTo>
                    <a:pt x="69" y="27"/>
                  </a:lnTo>
                  <a:lnTo>
                    <a:pt x="68" y="27"/>
                  </a:lnTo>
                  <a:lnTo>
                    <a:pt x="64" y="27"/>
                  </a:lnTo>
                  <a:lnTo>
                    <a:pt x="66" y="28"/>
                  </a:lnTo>
                  <a:lnTo>
                    <a:pt x="64" y="28"/>
                  </a:lnTo>
                  <a:lnTo>
                    <a:pt x="63" y="27"/>
                  </a:lnTo>
                  <a:lnTo>
                    <a:pt x="62" y="28"/>
                  </a:lnTo>
                  <a:lnTo>
                    <a:pt x="61" y="27"/>
                  </a:lnTo>
                  <a:lnTo>
                    <a:pt x="60" y="27"/>
                  </a:lnTo>
                  <a:lnTo>
                    <a:pt x="58" y="26"/>
                  </a:lnTo>
                  <a:lnTo>
                    <a:pt x="56" y="26"/>
                  </a:lnTo>
                  <a:lnTo>
                    <a:pt x="55" y="26"/>
                  </a:lnTo>
                  <a:lnTo>
                    <a:pt x="51" y="27"/>
                  </a:lnTo>
                  <a:lnTo>
                    <a:pt x="50" y="27"/>
                  </a:lnTo>
                  <a:lnTo>
                    <a:pt x="49" y="26"/>
                  </a:lnTo>
                  <a:lnTo>
                    <a:pt x="47" y="27"/>
                  </a:lnTo>
                  <a:lnTo>
                    <a:pt x="46" y="27"/>
                  </a:lnTo>
                  <a:lnTo>
                    <a:pt x="44" y="27"/>
                  </a:lnTo>
                  <a:lnTo>
                    <a:pt x="42" y="26"/>
                  </a:lnTo>
                  <a:lnTo>
                    <a:pt x="41" y="26"/>
                  </a:lnTo>
                  <a:lnTo>
                    <a:pt x="38" y="26"/>
                  </a:lnTo>
                  <a:lnTo>
                    <a:pt x="36" y="26"/>
                  </a:lnTo>
                  <a:lnTo>
                    <a:pt x="35" y="25"/>
                  </a:lnTo>
                  <a:lnTo>
                    <a:pt x="35" y="26"/>
                  </a:lnTo>
                  <a:lnTo>
                    <a:pt x="34" y="26"/>
                  </a:lnTo>
                  <a:lnTo>
                    <a:pt x="33" y="25"/>
                  </a:lnTo>
                  <a:lnTo>
                    <a:pt x="33" y="21"/>
                  </a:lnTo>
                  <a:lnTo>
                    <a:pt x="31" y="18"/>
                  </a:lnTo>
                  <a:lnTo>
                    <a:pt x="30" y="14"/>
                  </a:lnTo>
                  <a:lnTo>
                    <a:pt x="30" y="12"/>
                  </a:lnTo>
                  <a:lnTo>
                    <a:pt x="29" y="10"/>
                  </a:lnTo>
                  <a:lnTo>
                    <a:pt x="28" y="8"/>
                  </a:lnTo>
                  <a:lnTo>
                    <a:pt x="28" y="7"/>
                  </a:lnTo>
                  <a:lnTo>
                    <a:pt x="27" y="6"/>
                  </a:lnTo>
                  <a:lnTo>
                    <a:pt x="24" y="10"/>
                  </a:lnTo>
                  <a:lnTo>
                    <a:pt x="24" y="11"/>
                  </a:lnTo>
                  <a:lnTo>
                    <a:pt x="23" y="11"/>
                  </a:lnTo>
                  <a:lnTo>
                    <a:pt x="22" y="11"/>
                  </a:lnTo>
                  <a:lnTo>
                    <a:pt x="22" y="12"/>
                  </a:lnTo>
                  <a:lnTo>
                    <a:pt x="18" y="11"/>
                  </a:lnTo>
                  <a:lnTo>
                    <a:pt x="18" y="11"/>
                  </a:lnTo>
                  <a:lnTo>
                    <a:pt x="15" y="8"/>
                  </a:lnTo>
                  <a:lnTo>
                    <a:pt x="14" y="13"/>
                  </a:lnTo>
                  <a:lnTo>
                    <a:pt x="11" y="5"/>
                  </a:lnTo>
                  <a:lnTo>
                    <a:pt x="7" y="4"/>
                  </a:lnTo>
                  <a:lnTo>
                    <a:pt x="3" y="0"/>
                  </a:lnTo>
                  <a:lnTo>
                    <a:pt x="3" y="1"/>
                  </a:lnTo>
                  <a:lnTo>
                    <a:pt x="2" y="2"/>
                  </a:lnTo>
                  <a:lnTo>
                    <a:pt x="3" y="4"/>
                  </a:lnTo>
                  <a:lnTo>
                    <a:pt x="3" y="6"/>
                  </a:lnTo>
                  <a:lnTo>
                    <a:pt x="1" y="10"/>
                  </a:lnTo>
                  <a:lnTo>
                    <a:pt x="0" y="11"/>
                  </a:lnTo>
                  <a:lnTo>
                    <a:pt x="0" y="13"/>
                  </a:lnTo>
                  <a:lnTo>
                    <a:pt x="0" y="13"/>
                  </a:lnTo>
                  <a:lnTo>
                    <a:pt x="0" y="14"/>
                  </a:lnTo>
                  <a:lnTo>
                    <a:pt x="1" y="17"/>
                  </a:lnTo>
                  <a:lnTo>
                    <a:pt x="8" y="20"/>
                  </a:lnTo>
                  <a:lnTo>
                    <a:pt x="9" y="22"/>
                  </a:lnTo>
                  <a:lnTo>
                    <a:pt x="10" y="24"/>
                  </a:lnTo>
                  <a:lnTo>
                    <a:pt x="13" y="24"/>
                  </a:lnTo>
                  <a:lnTo>
                    <a:pt x="14" y="22"/>
                  </a:lnTo>
                  <a:lnTo>
                    <a:pt x="15" y="22"/>
                  </a:lnTo>
                  <a:lnTo>
                    <a:pt x="16" y="24"/>
                  </a:lnTo>
                  <a:lnTo>
                    <a:pt x="18" y="25"/>
                  </a:lnTo>
                  <a:lnTo>
                    <a:pt x="20" y="25"/>
                  </a:lnTo>
                  <a:lnTo>
                    <a:pt x="18" y="26"/>
                  </a:lnTo>
                  <a:lnTo>
                    <a:pt x="18" y="26"/>
                  </a:lnTo>
                  <a:lnTo>
                    <a:pt x="20" y="28"/>
                  </a:lnTo>
                  <a:lnTo>
                    <a:pt x="16" y="28"/>
                  </a:lnTo>
                  <a:lnTo>
                    <a:pt x="15" y="28"/>
                  </a:lnTo>
                  <a:lnTo>
                    <a:pt x="15" y="28"/>
                  </a:lnTo>
                  <a:lnTo>
                    <a:pt x="14" y="28"/>
                  </a:lnTo>
                  <a:lnTo>
                    <a:pt x="11" y="27"/>
                  </a:lnTo>
                  <a:lnTo>
                    <a:pt x="10" y="28"/>
                  </a:lnTo>
                  <a:lnTo>
                    <a:pt x="8" y="28"/>
                  </a:lnTo>
                  <a:lnTo>
                    <a:pt x="9" y="31"/>
                  </a:lnTo>
                  <a:lnTo>
                    <a:pt x="9" y="32"/>
                  </a:lnTo>
                  <a:lnTo>
                    <a:pt x="9" y="34"/>
                  </a:lnTo>
                  <a:lnTo>
                    <a:pt x="7" y="34"/>
                  </a:lnTo>
                  <a:lnTo>
                    <a:pt x="7" y="33"/>
                  </a:lnTo>
                  <a:lnTo>
                    <a:pt x="4" y="33"/>
                  </a:lnTo>
                  <a:lnTo>
                    <a:pt x="6" y="35"/>
                  </a:lnTo>
                  <a:lnTo>
                    <a:pt x="4" y="37"/>
                  </a:lnTo>
                  <a:lnTo>
                    <a:pt x="6" y="38"/>
                  </a:lnTo>
                  <a:lnTo>
                    <a:pt x="6" y="40"/>
                  </a:lnTo>
                  <a:lnTo>
                    <a:pt x="6" y="41"/>
                  </a:lnTo>
                  <a:lnTo>
                    <a:pt x="6" y="42"/>
                  </a:lnTo>
                  <a:lnTo>
                    <a:pt x="11" y="46"/>
                  </a:lnTo>
                  <a:lnTo>
                    <a:pt x="15" y="46"/>
                  </a:lnTo>
                  <a:lnTo>
                    <a:pt x="16" y="46"/>
                  </a:lnTo>
                  <a:lnTo>
                    <a:pt x="17" y="48"/>
                  </a:lnTo>
                  <a:lnTo>
                    <a:pt x="17" y="49"/>
                  </a:lnTo>
                  <a:lnTo>
                    <a:pt x="18" y="49"/>
                  </a:lnTo>
                  <a:lnTo>
                    <a:pt x="20" y="51"/>
                  </a:lnTo>
                  <a:lnTo>
                    <a:pt x="18" y="52"/>
                  </a:lnTo>
                  <a:lnTo>
                    <a:pt x="18" y="54"/>
                  </a:lnTo>
                  <a:lnTo>
                    <a:pt x="17" y="55"/>
                  </a:lnTo>
                  <a:lnTo>
                    <a:pt x="15" y="55"/>
                  </a:lnTo>
                  <a:lnTo>
                    <a:pt x="15" y="58"/>
                  </a:lnTo>
                  <a:lnTo>
                    <a:pt x="15" y="58"/>
                  </a:lnTo>
                  <a:lnTo>
                    <a:pt x="15" y="59"/>
                  </a:lnTo>
                  <a:lnTo>
                    <a:pt x="16" y="60"/>
                  </a:lnTo>
                  <a:lnTo>
                    <a:pt x="17" y="61"/>
                  </a:lnTo>
                  <a:lnTo>
                    <a:pt x="21" y="61"/>
                  </a:lnTo>
                  <a:lnTo>
                    <a:pt x="20" y="64"/>
                  </a:lnTo>
                  <a:lnTo>
                    <a:pt x="21" y="65"/>
                  </a:lnTo>
                  <a:lnTo>
                    <a:pt x="20" y="66"/>
                  </a:lnTo>
                  <a:lnTo>
                    <a:pt x="20" y="68"/>
                  </a:lnTo>
                  <a:lnTo>
                    <a:pt x="23" y="67"/>
                  </a:lnTo>
                  <a:lnTo>
                    <a:pt x="24" y="71"/>
                  </a:lnTo>
                  <a:lnTo>
                    <a:pt x="24" y="73"/>
                  </a:lnTo>
                  <a:lnTo>
                    <a:pt x="27" y="75"/>
                  </a:lnTo>
                  <a:lnTo>
                    <a:pt x="26" y="78"/>
                  </a:lnTo>
                  <a:lnTo>
                    <a:pt x="27" y="80"/>
                  </a:lnTo>
                  <a:lnTo>
                    <a:pt x="28" y="82"/>
                  </a:lnTo>
                  <a:lnTo>
                    <a:pt x="28" y="87"/>
                  </a:lnTo>
                  <a:lnTo>
                    <a:pt x="28" y="89"/>
                  </a:lnTo>
                  <a:lnTo>
                    <a:pt x="29" y="91"/>
                  </a:lnTo>
                  <a:lnTo>
                    <a:pt x="30" y="91"/>
                  </a:lnTo>
                  <a:lnTo>
                    <a:pt x="30" y="92"/>
                  </a:lnTo>
                  <a:lnTo>
                    <a:pt x="31" y="94"/>
                  </a:lnTo>
                  <a:lnTo>
                    <a:pt x="30" y="94"/>
                  </a:lnTo>
                  <a:lnTo>
                    <a:pt x="31" y="97"/>
                  </a:lnTo>
                  <a:lnTo>
                    <a:pt x="31" y="98"/>
                  </a:lnTo>
                  <a:lnTo>
                    <a:pt x="33" y="98"/>
                  </a:lnTo>
                  <a:lnTo>
                    <a:pt x="33" y="98"/>
                  </a:lnTo>
                  <a:lnTo>
                    <a:pt x="34" y="99"/>
                  </a:lnTo>
                  <a:lnTo>
                    <a:pt x="34" y="101"/>
                  </a:lnTo>
                  <a:lnTo>
                    <a:pt x="34" y="101"/>
                  </a:lnTo>
                  <a:lnTo>
                    <a:pt x="35" y="101"/>
                  </a:lnTo>
                  <a:lnTo>
                    <a:pt x="35" y="100"/>
                  </a:lnTo>
                  <a:lnTo>
                    <a:pt x="35" y="100"/>
                  </a:lnTo>
                  <a:lnTo>
                    <a:pt x="35" y="99"/>
                  </a:lnTo>
                  <a:lnTo>
                    <a:pt x="34" y="98"/>
                  </a:lnTo>
                  <a:lnTo>
                    <a:pt x="35" y="98"/>
                  </a:lnTo>
                  <a:lnTo>
                    <a:pt x="35" y="95"/>
                  </a:lnTo>
                  <a:lnTo>
                    <a:pt x="35" y="95"/>
                  </a:lnTo>
                  <a:lnTo>
                    <a:pt x="35" y="94"/>
                  </a:lnTo>
                  <a:lnTo>
                    <a:pt x="36" y="95"/>
                  </a:lnTo>
                  <a:lnTo>
                    <a:pt x="36" y="95"/>
                  </a:lnTo>
                  <a:lnTo>
                    <a:pt x="36" y="97"/>
                  </a:lnTo>
                  <a:lnTo>
                    <a:pt x="36" y="98"/>
                  </a:lnTo>
                  <a:lnTo>
                    <a:pt x="36" y="99"/>
                  </a:lnTo>
                  <a:lnTo>
                    <a:pt x="36" y="99"/>
                  </a:lnTo>
                  <a:lnTo>
                    <a:pt x="37" y="99"/>
                  </a:lnTo>
                  <a:lnTo>
                    <a:pt x="38" y="98"/>
                  </a:lnTo>
                  <a:lnTo>
                    <a:pt x="37" y="97"/>
                  </a:lnTo>
                  <a:lnTo>
                    <a:pt x="37" y="95"/>
                  </a:lnTo>
                  <a:lnTo>
                    <a:pt x="38" y="95"/>
                  </a:lnTo>
                  <a:lnTo>
                    <a:pt x="38" y="94"/>
                  </a:lnTo>
                  <a:lnTo>
                    <a:pt x="38" y="94"/>
                  </a:lnTo>
                  <a:lnTo>
                    <a:pt x="37" y="93"/>
                  </a:lnTo>
                  <a:lnTo>
                    <a:pt x="37" y="93"/>
                  </a:lnTo>
                  <a:lnTo>
                    <a:pt x="37" y="92"/>
                  </a:lnTo>
                  <a:lnTo>
                    <a:pt x="38" y="92"/>
                  </a:lnTo>
                  <a:lnTo>
                    <a:pt x="38" y="92"/>
                  </a:lnTo>
                  <a:lnTo>
                    <a:pt x="37" y="91"/>
                  </a:lnTo>
                  <a:lnTo>
                    <a:pt x="37" y="91"/>
                  </a:lnTo>
                  <a:lnTo>
                    <a:pt x="37" y="91"/>
                  </a:lnTo>
                  <a:lnTo>
                    <a:pt x="36" y="91"/>
                  </a:lnTo>
                  <a:lnTo>
                    <a:pt x="36" y="89"/>
                  </a:lnTo>
                  <a:lnTo>
                    <a:pt x="36" y="89"/>
                  </a:lnTo>
                  <a:lnTo>
                    <a:pt x="36" y="89"/>
                  </a:lnTo>
                  <a:lnTo>
                    <a:pt x="36" y="88"/>
                  </a:lnTo>
                  <a:lnTo>
                    <a:pt x="36" y="88"/>
                  </a:lnTo>
                  <a:lnTo>
                    <a:pt x="37" y="88"/>
                  </a:lnTo>
                  <a:lnTo>
                    <a:pt x="37" y="89"/>
                  </a:lnTo>
                  <a:lnTo>
                    <a:pt x="38" y="92"/>
                  </a:lnTo>
                  <a:lnTo>
                    <a:pt x="38" y="93"/>
                  </a:lnTo>
                  <a:lnTo>
                    <a:pt x="38" y="94"/>
                  </a:lnTo>
                  <a:lnTo>
                    <a:pt x="38" y="91"/>
                  </a:lnTo>
                  <a:lnTo>
                    <a:pt x="37" y="89"/>
                  </a:lnTo>
                  <a:lnTo>
                    <a:pt x="38" y="88"/>
                  </a:lnTo>
                  <a:lnTo>
                    <a:pt x="38" y="88"/>
                  </a:lnTo>
                  <a:lnTo>
                    <a:pt x="38" y="87"/>
                  </a:lnTo>
                  <a:lnTo>
                    <a:pt x="38" y="86"/>
                  </a:lnTo>
                  <a:lnTo>
                    <a:pt x="40" y="87"/>
                  </a:lnTo>
                  <a:lnTo>
                    <a:pt x="40" y="88"/>
                  </a:lnTo>
                  <a:lnTo>
                    <a:pt x="38" y="88"/>
                  </a:lnTo>
                  <a:lnTo>
                    <a:pt x="38" y="89"/>
                  </a:lnTo>
                  <a:lnTo>
                    <a:pt x="38" y="89"/>
                  </a:lnTo>
                  <a:lnTo>
                    <a:pt x="38" y="92"/>
                  </a:lnTo>
                  <a:lnTo>
                    <a:pt x="40" y="92"/>
                  </a:lnTo>
                  <a:lnTo>
                    <a:pt x="38" y="93"/>
                  </a:lnTo>
                  <a:lnTo>
                    <a:pt x="38" y="94"/>
                  </a:lnTo>
                  <a:lnTo>
                    <a:pt x="38" y="94"/>
                  </a:lnTo>
                  <a:lnTo>
                    <a:pt x="40" y="95"/>
                  </a:lnTo>
                  <a:lnTo>
                    <a:pt x="40" y="97"/>
                  </a:lnTo>
                  <a:lnTo>
                    <a:pt x="38" y="98"/>
                  </a:lnTo>
                  <a:lnTo>
                    <a:pt x="38" y="99"/>
                  </a:lnTo>
                  <a:lnTo>
                    <a:pt x="38" y="99"/>
                  </a:lnTo>
                  <a:lnTo>
                    <a:pt x="40" y="99"/>
                  </a:lnTo>
                  <a:lnTo>
                    <a:pt x="40" y="99"/>
                  </a:lnTo>
                  <a:lnTo>
                    <a:pt x="40" y="99"/>
                  </a:lnTo>
                  <a:lnTo>
                    <a:pt x="40" y="98"/>
                  </a:lnTo>
                  <a:lnTo>
                    <a:pt x="41" y="99"/>
                  </a:lnTo>
                  <a:lnTo>
                    <a:pt x="42" y="98"/>
                  </a:lnTo>
                  <a:lnTo>
                    <a:pt x="41" y="98"/>
                  </a:lnTo>
                  <a:lnTo>
                    <a:pt x="41" y="97"/>
                  </a:lnTo>
                  <a:lnTo>
                    <a:pt x="41" y="94"/>
                  </a:lnTo>
                  <a:lnTo>
                    <a:pt x="41" y="95"/>
                  </a:lnTo>
                  <a:lnTo>
                    <a:pt x="41" y="97"/>
                  </a:lnTo>
                  <a:lnTo>
                    <a:pt x="42" y="97"/>
                  </a:lnTo>
                  <a:lnTo>
                    <a:pt x="42" y="98"/>
                  </a:lnTo>
                  <a:lnTo>
                    <a:pt x="42" y="97"/>
                  </a:lnTo>
                  <a:lnTo>
                    <a:pt x="43" y="97"/>
                  </a:lnTo>
                  <a:lnTo>
                    <a:pt x="44" y="97"/>
                  </a:lnTo>
                  <a:lnTo>
                    <a:pt x="43" y="95"/>
                  </a:lnTo>
                  <a:lnTo>
                    <a:pt x="44" y="95"/>
                  </a:lnTo>
                  <a:lnTo>
                    <a:pt x="44" y="95"/>
                  </a:lnTo>
                  <a:lnTo>
                    <a:pt x="44" y="94"/>
                  </a:lnTo>
                  <a:lnTo>
                    <a:pt x="44" y="94"/>
                  </a:lnTo>
                  <a:lnTo>
                    <a:pt x="44" y="94"/>
                  </a:lnTo>
                  <a:lnTo>
                    <a:pt x="44" y="93"/>
                  </a:lnTo>
                  <a:lnTo>
                    <a:pt x="43" y="93"/>
                  </a:lnTo>
                  <a:lnTo>
                    <a:pt x="42" y="93"/>
                  </a:lnTo>
                  <a:lnTo>
                    <a:pt x="42" y="92"/>
                  </a:lnTo>
                  <a:lnTo>
                    <a:pt x="43" y="92"/>
                  </a:lnTo>
                  <a:lnTo>
                    <a:pt x="43" y="92"/>
                  </a:lnTo>
                  <a:lnTo>
                    <a:pt x="43" y="89"/>
                  </a:lnTo>
                  <a:lnTo>
                    <a:pt x="42" y="88"/>
                  </a:lnTo>
                  <a:lnTo>
                    <a:pt x="43" y="86"/>
                  </a:lnTo>
                  <a:lnTo>
                    <a:pt x="42" y="86"/>
                  </a:lnTo>
                  <a:lnTo>
                    <a:pt x="42" y="85"/>
                  </a:lnTo>
                  <a:lnTo>
                    <a:pt x="43" y="86"/>
                  </a:lnTo>
                  <a:lnTo>
                    <a:pt x="44" y="85"/>
                  </a:lnTo>
                  <a:lnTo>
                    <a:pt x="46" y="84"/>
                  </a:lnTo>
                  <a:lnTo>
                    <a:pt x="46" y="84"/>
                  </a:lnTo>
                  <a:lnTo>
                    <a:pt x="44" y="86"/>
                  </a:lnTo>
                  <a:lnTo>
                    <a:pt x="44" y="87"/>
                  </a:lnTo>
                  <a:lnTo>
                    <a:pt x="43" y="88"/>
                  </a:lnTo>
                  <a:lnTo>
                    <a:pt x="44" y="89"/>
                  </a:lnTo>
                  <a:lnTo>
                    <a:pt x="44" y="91"/>
                  </a:lnTo>
                  <a:lnTo>
                    <a:pt x="46" y="92"/>
                  </a:lnTo>
                  <a:lnTo>
                    <a:pt x="46" y="93"/>
                  </a:lnTo>
                  <a:lnTo>
                    <a:pt x="46" y="93"/>
                  </a:lnTo>
                  <a:lnTo>
                    <a:pt x="47" y="93"/>
                  </a:lnTo>
                  <a:lnTo>
                    <a:pt x="47" y="92"/>
                  </a:lnTo>
                  <a:lnTo>
                    <a:pt x="47" y="93"/>
                  </a:lnTo>
                  <a:lnTo>
                    <a:pt x="48" y="93"/>
                  </a:lnTo>
                  <a:lnTo>
                    <a:pt x="48" y="92"/>
                  </a:lnTo>
                  <a:lnTo>
                    <a:pt x="48" y="92"/>
                  </a:lnTo>
                  <a:lnTo>
                    <a:pt x="48" y="92"/>
                  </a:lnTo>
                  <a:lnTo>
                    <a:pt x="49" y="92"/>
                  </a:lnTo>
                  <a:lnTo>
                    <a:pt x="49" y="92"/>
                  </a:lnTo>
                  <a:lnTo>
                    <a:pt x="48" y="93"/>
                  </a:lnTo>
                  <a:lnTo>
                    <a:pt x="48" y="94"/>
                  </a:lnTo>
                  <a:lnTo>
                    <a:pt x="47" y="94"/>
                  </a:lnTo>
                  <a:lnTo>
                    <a:pt x="48" y="95"/>
                  </a:lnTo>
                  <a:lnTo>
                    <a:pt x="48" y="97"/>
                  </a:lnTo>
                  <a:lnTo>
                    <a:pt x="48" y="97"/>
                  </a:lnTo>
                  <a:lnTo>
                    <a:pt x="49" y="95"/>
                  </a:lnTo>
                  <a:lnTo>
                    <a:pt x="49" y="95"/>
                  </a:lnTo>
                  <a:lnTo>
                    <a:pt x="49" y="95"/>
                  </a:lnTo>
                  <a:lnTo>
                    <a:pt x="49" y="97"/>
                  </a:lnTo>
                  <a:lnTo>
                    <a:pt x="48" y="97"/>
                  </a:lnTo>
                  <a:lnTo>
                    <a:pt x="48" y="98"/>
                  </a:lnTo>
                  <a:lnTo>
                    <a:pt x="49" y="99"/>
                  </a:lnTo>
                  <a:lnTo>
                    <a:pt x="49" y="99"/>
                  </a:lnTo>
                  <a:lnTo>
                    <a:pt x="50" y="98"/>
                  </a:lnTo>
                  <a:lnTo>
                    <a:pt x="51" y="98"/>
                  </a:lnTo>
                  <a:lnTo>
                    <a:pt x="51" y="98"/>
                  </a:lnTo>
                  <a:lnTo>
                    <a:pt x="51" y="97"/>
                  </a:lnTo>
                  <a:lnTo>
                    <a:pt x="50" y="95"/>
                  </a:lnTo>
                  <a:lnTo>
                    <a:pt x="51" y="95"/>
                  </a:lnTo>
                  <a:lnTo>
                    <a:pt x="51" y="94"/>
                  </a:lnTo>
                  <a:lnTo>
                    <a:pt x="53" y="93"/>
                  </a:lnTo>
                  <a:lnTo>
                    <a:pt x="51" y="93"/>
                  </a:lnTo>
                  <a:lnTo>
                    <a:pt x="53" y="92"/>
                  </a:lnTo>
                  <a:lnTo>
                    <a:pt x="54" y="92"/>
                  </a:lnTo>
                  <a:lnTo>
                    <a:pt x="55" y="91"/>
                  </a:lnTo>
                  <a:lnTo>
                    <a:pt x="55" y="89"/>
                  </a:lnTo>
                  <a:lnTo>
                    <a:pt x="56" y="88"/>
                  </a:lnTo>
                  <a:lnTo>
                    <a:pt x="56" y="88"/>
                  </a:lnTo>
                  <a:lnTo>
                    <a:pt x="56" y="86"/>
                  </a:lnTo>
                  <a:lnTo>
                    <a:pt x="56" y="84"/>
                  </a:lnTo>
                  <a:lnTo>
                    <a:pt x="56" y="84"/>
                  </a:lnTo>
                  <a:lnTo>
                    <a:pt x="55" y="82"/>
                  </a:lnTo>
                  <a:lnTo>
                    <a:pt x="54" y="81"/>
                  </a:lnTo>
                  <a:lnTo>
                    <a:pt x="53" y="79"/>
                  </a:lnTo>
                  <a:lnTo>
                    <a:pt x="53" y="78"/>
                  </a:lnTo>
                  <a:lnTo>
                    <a:pt x="51" y="78"/>
                  </a:lnTo>
                  <a:lnTo>
                    <a:pt x="51" y="77"/>
                  </a:lnTo>
                  <a:lnTo>
                    <a:pt x="51" y="77"/>
                  </a:lnTo>
                  <a:lnTo>
                    <a:pt x="53" y="77"/>
                  </a:lnTo>
                  <a:lnTo>
                    <a:pt x="54" y="77"/>
                  </a:lnTo>
                  <a:lnTo>
                    <a:pt x="55" y="77"/>
                  </a:lnTo>
                  <a:lnTo>
                    <a:pt x="55" y="74"/>
                  </a:lnTo>
                  <a:lnTo>
                    <a:pt x="55" y="74"/>
                  </a:lnTo>
                  <a:lnTo>
                    <a:pt x="53" y="74"/>
                  </a:lnTo>
                  <a:lnTo>
                    <a:pt x="53" y="73"/>
                  </a:lnTo>
                  <a:lnTo>
                    <a:pt x="50" y="72"/>
                  </a:lnTo>
                  <a:lnTo>
                    <a:pt x="51" y="72"/>
                  </a:lnTo>
                  <a:lnTo>
                    <a:pt x="51" y="71"/>
                  </a:lnTo>
                  <a:lnTo>
                    <a:pt x="53" y="71"/>
                  </a:lnTo>
                  <a:lnTo>
                    <a:pt x="53" y="69"/>
                  </a:lnTo>
                  <a:lnTo>
                    <a:pt x="51" y="69"/>
                  </a:lnTo>
                  <a:lnTo>
                    <a:pt x="53" y="67"/>
                  </a:lnTo>
                  <a:lnTo>
                    <a:pt x="51" y="66"/>
                  </a:lnTo>
                  <a:lnTo>
                    <a:pt x="51" y="66"/>
                  </a:lnTo>
                  <a:lnTo>
                    <a:pt x="50" y="66"/>
                  </a:lnTo>
                  <a:lnTo>
                    <a:pt x="48" y="64"/>
                  </a:lnTo>
                  <a:lnTo>
                    <a:pt x="48" y="65"/>
                  </a:lnTo>
                  <a:lnTo>
                    <a:pt x="46" y="64"/>
                  </a:lnTo>
                  <a:lnTo>
                    <a:pt x="46" y="65"/>
                  </a:lnTo>
                  <a:lnTo>
                    <a:pt x="46" y="64"/>
                  </a:lnTo>
                  <a:lnTo>
                    <a:pt x="44" y="61"/>
                  </a:lnTo>
                  <a:lnTo>
                    <a:pt x="43" y="61"/>
                  </a:lnTo>
                  <a:lnTo>
                    <a:pt x="42" y="60"/>
                  </a:lnTo>
                  <a:lnTo>
                    <a:pt x="42" y="61"/>
                  </a:lnTo>
                  <a:lnTo>
                    <a:pt x="40" y="60"/>
                  </a:lnTo>
                  <a:lnTo>
                    <a:pt x="38" y="59"/>
                  </a:lnTo>
                  <a:lnTo>
                    <a:pt x="37" y="58"/>
                  </a:lnTo>
                  <a:lnTo>
                    <a:pt x="36" y="58"/>
                  </a:lnTo>
                  <a:lnTo>
                    <a:pt x="35" y="57"/>
                  </a:lnTo>
                  <a:lnTo>
                    <a:pt x="33" y="57"/>
                  </a:lnTo>
                  <a:lnTo>
                    <a:pt x="30" y="55"/>
                  </a:lnTo>
                  <a:lnTo>
                    <a:pt x="29" y="55"/>
                  </a:lnTo>
                  <a:lnTo>
                    <a:pt x="28" y="55"/>
                  </a:lnTo>
                  <a:lnTo>
                    <a:pt x="28" y="54"/>
                  </a:lnTo>
                  <a:lnTo>
                    <a:pt x="27" y="53"/>
                  </a:lnTo>
                  <a:lnTo>
                    <a:pt x="29" y="53"/>
                  </a:lnTo>
                  <a:lnTo>
                    <a:pt x="31" y="55"/>
                  </a:lnTo>
                  <a:lnTo>
                    <a:pt x="35" y="57"/>
                  </a:lnTo>
                  <a:lnTo>
                    <a:pt x="35" y="57"/>
                  </a:lnTo>
                  <a:lnTo>
                    <a:pt x="36" y="55"/>
                  </a:lnTo>
                  <a:lnTo>
                    <a:pt x="36" y="54"/>
                  </a:lnTo>
                  <a:lnTo>
                    <a:pt x="35" y="54"/>
                  </a:lnTo>
                  <a:lnTo>
                    <a:pt x="35" y="53"/>
                  </a:lnTo>
                  <a:lnTo>
                    <a:pt x="35" y="52"/>
                  </a:lnTo>
                  <a:lnTo>
                    <a:pt x="36" y="53"/>
                  </a:lnTo>
                  <a:lnTo>
                    <a:pt x="35" y="53"/>
                  </a:lnTo>
                  <a:lnTo>
                    <a:pt x="36" y="54"/>
                  </a:lnTo>
                  <a:lnTo>
                    <a:pt x="37" y="57"/>
                  </a:lnTo>
                  <a:lnTo>
                    <a:pt x="38" y="58"/>
                  </a:lnTo>
                  <a:lnTo>
                    <a:pt x="41" y="59"/>
                  </a:lnTo>
                  <a:lnTo>
                    <a:pt x="43" y="60"/>
                  </a:lnTo>
                  <a:lnTo>
                    <a:pt x="46" y="61"/>
                  </a:lnTo>
                  <a:lnTo>
                    <a:pt x="47" y="64"/>
                  </a:lnTo>
                  <a:lnTo>
                    <a:pt x="51" y="65"/>
                  </a:lnTo>
                  <a:lnTo>
                    <a:pt x="51" y="64"/>
                  </a:lnTo>
                  <a:lnTo>
                    <a:pt x="53" y="64"/>
                  </a:lnTo>
                  <a:lnTo>
                    <a:pt x="51" y="61"/>
                  </a:lnTo>
                  <a:lnTo>
                    <a:pt x="51" y="61"/>
                  </a:lnTo>
                  <a:lnTo>
                    <a:pt x="50" y="61"/>
                  </a:lnTo>
                  <a:lnTo>
                    <a:pt x="50" y="60"/>
                  </a:lnTo>
                  <a:lnTo>
                    <a:pt x="51" y="61"/>
                  </a:lnTo>
                  <a:lnTo>
                    <a:pt x="53" y="61"/>
                  </a:lnTo>
                  <a:lnTo>
                    <a:pt x="54" y="61"/>
                  </a:lnTo>
                  <a:lnTo>
                    <a:pt x="53" y="64"/>
                  </a:lnTo>
                  <a:lnTo>
                    <a:pt x="53" y="65"/>
                  </a:lnTo>
                  <a:lnTo>
                    <a:pt x="53" y="66"/>
                  </a:lnTo>
                  <a:lnTo>
                    <a:pt x="54" y="66"/>
                  </a:lnTo>
                  <a:lnTo>
                    <a:pt x="54" y="67"/>
                  </a:lnTo>
                  <a:lnTo>
                    <a:pt x="54" y="69"/>
                  </a:lnTo>
                  <a:lnTo>
                    <a:pt x="53" y="71"/>
                  </a:lnTo>
                  <a:lnTo>
                    <a:pt x="55" y="72"/>
                  </a:lnTo>
                  <a:lnTo>
                    <a:pt x="56" y="73"/>
                  </a:lnTo>
                  <a:lnTo>
                    <a:pt x="56" y="74"/>
                  </a:lnTo>
                  <a:lnTo>
                    <a:pt x="57" y="74"/>
                  </a:lnTo>
                  <a:lnTo>
                    <a:pt x="57" y="74"/>
                  </a:lnTo>
                  <a:lnTo>
                    <a:pt x="57" y="74"/>
                  </a:lnTo>
                  <a:lnTo>
                    <a:pt x="58" y="74"/>
                  </a:lnTo>
                  <a:lnTo>
                    <a:pt x="61" y="75"/>
                  </a:lnTo>
                  <a:lnTo>
                    <a:pt x="63" y="77"/>
                  </a:lnTo>
                  <a:lnTo>
                    <a:pt x="63" y="77"/>
                  </a:lnTo>
                  <a:lnTo>
                    <a:pt x="63" y="77"/>
                  </a:lnTo>
                  <a:lnTo>
                    <a:pt x="64" y="77"/>
                  </a:lnTo>
                  <a:lnTo>
                    <a:pt x="67" y="77"/>
                  </a:lnTo>
                  <a:lnTo>
                    <a:pt x="67" y="77"/>
                  </a:lnTo>
                  <a:lnTo>
                    <a:pt x="68" y="77"/>
                  </a:lnTo>
                  <a:lnTo>
                    <a:pt x="68" y="77"/>
                  </a:lnTo>
                  <a:lnTo>
                    <a:pt x="68" y="77"/>
                  </a:lnTo>
                  <a:lnTo>
                    <a:pt x="68" y="74"/>
                  </a:lnTo>
                  <a:lnTo>
                    <a:pt x="68" y="77"/>
                  </a:lnTo>
                  <a:lnTo>
                    <a:pt x="69" y="78"/>
                  </a:lnTo>
                  <a:lnTo>
                    <a:pt x="70" y="77"/>
                  </a:lnTo>
                  <a:lnTo>
                    <a:pt x="69" y="74"/>
                  </a:lnTo>
                  <a:lnTo>
                    <a:pt x="70" y="74"/>
                  </a:lnTo>
                  <a:lnTo>
                    <a:pt x="69" y="74"/>
                  </a:lnTo>
                  <a:lnTo>
                    <a:pt x="70" y="75"/>
                  </a:lnTo>
                  <a:lnTo>
                    <a:pt x="69" y="77"/>
                  </a:lnTo>
                  <a:lnTo>
                    <a:pt x="70" y="77"/>
                  </a:lnTo>
                  <a:lnTo>
                    <a:pt x="73" y="80"/>
                  </a:lnTo>
                  <a:lnTo>
                    <a:pt x="73" y="81"/>
                  </a:lnTo>
                  <a:lnTo>
                    <a:pt x="75" y="84"/>
                  </a:lnTo>
                  <a:lnTo>
                    <a:pt x="76" y="86"/>
                  </a:lnTo>
                  <a:lnTo>
                    <a:pt x="77" y="88"/>
                  </a:lnTo>
                  <a:lnTo>
                    <a:pt x="77" y="88"/>
                  </a:lnTo>
                  <a:lnTo>
                    <a:pt x="77" y="88"/>
                  </a:lnTo>
                  <a:lnTo>
                    <a:pt x="77" y="88"/>
                  </a:lnTo>
                  <a:lnTo>
                    <a:pt x="78" y="89"/>
                  </a:lnTo>
                  <a:lnTo>
                    <a:pt x="78" y="91"/>
                  </a:lnTo>
                  <a:lnTo>
                    <a:pt x="78" y="91"/>
                  </a:lnTo>
                  <a:lnTo>
                    <a:pt x="81" y="94"/>
                  </a:lnTo>
                  <a:lnTo>
                    <a:pt x="81" y="97"/>
                  </a:lnTo>
                  <a:lnTo>
                    <a:pt x="81" y="98"/>
                  </a:lnTo>
                  <a:lnTo>
                    <a:pt x="82" y="98"/>
                  </a:lnTo>
                  <a:lnTo>
                    <a:pt x="82" y="98"/>
                  </a:lnTo>
                  <a:lnTo>
                    <a:pt x="82" y="100"/>
                  </a:lnTo>
                  <a:lnTo>
                    <a:pt x="83" y="101"/>
                  </a:lnTo>
                  <a:lnTo>
                    <a:pt x="83" y="100"/>
                  </a:lnTo>
                  <a:lnTo>
                    <a:pt x="83" y="101"/>
                  </a:lnTo>
                  <a:lnTo>
                    <a:pt x="83" y="101"/>
                  </a:lnTo>
                  <a:lnTo>
                    <a:pt x="83" y="102"/>
                  </a:lnTo>
                  <a:lnTo>
                    <a:pt x="84" y="104"/>
                  </a:lnTo>
                  <a:lnTo>
                    <a:pt x="83" y="105"/>
                  </a:lnTo>
                  <a:lnTo>
                    <a:pt x="86" y="107"/>
                  </a:lnTo>
                  <a:lnTo>
                    <a:pt x="86" y="111"/>
                  </a:lnTo>
                  <a:lnTo>
                    <a:pt x="89" y="113"/>
                  </a:lnTo>
                  <a:lnTo>
                    <a:pt x="89" y="115"/>
                  </a:lnTo>
                  <a:lnTo>
                    <a:pt x="91" y="119"/>
                  </a:lnTo>
                  <a:lnTo>
                    <a:pt x="91" y="119"/>
                  </a:lnTo>
                  <a:lnTo>
                    <a:pt x="91" y="118"/>
                  </a:lnTo>
                  <a:lnTo>
                    <a:pt x="90" y="117"/>
                  </a:lnTo>
                  <a:lnTo>
                    <a:pt x="90" y="115"/>
                  </a:lnTo>
                  <a:lnTo>
                    <a:pt x="89" y="112"/>
                  </a:lnTo>
                  <a:lnTo>
                    <a:pt x="88" y="112"/>
                  </a:lnTo>
                  <a:lnTo>
                    <a:pt x="88" y="111"/>
                  </a:lnTo>
                  <a:lnTo>
                    <a:pt x="89" y="111"/>
                  </a:lnTo>
                  <a:lnTo>
                    <a:pt x="89" y="109"/>
                  </a:lnTo>
                  <a:lnTo>
                    <a:pt x="89" y="109"/>
                  </a:lnTo>
                  <a:lnTo>
                    <a:pt x="88" y="107"/>
                  </a:lnTo>
                  <a:lnTo>
                    <a:pt x="88" y="107"/>
                  </a:lnTo>
                  <a:lnTo>
                    <a:pt x="88" y="106"/>
                  </a:lnTo>
                  <a:lnTo>
                    <a:pt x="88" y="105"/>
                  </a:lnTo>
                  <a:lnTo>
                    <a:pt x="89" y="105"/>
                  </a:lnTo>
                  <a:lnTo>
                    <a:pt x="90" y="105"/>
                  </a:lnTo>
                  <a:lnTo>
                    <a:pt x="90" y="105"/>
                  </a:lnTo>
                  <a:lnTo>
                    <a:pt x="91" y="106"/>
                  </a:lnTo>
                  <a:lnTo>
                    <a:pt x="93" y="106"/>
                  </a:lnTo>
                  <a:lnTo>
                    <a:pt x="94" y="106"/>
                  </a:lnTo>
                  <a:lnTo>
                    <a:pt x="95" y="107"/>
                  </a:lnTo>
                  <a:lnTo>
                    <a:pt x="95" y="108"/>
                  </a:lnTo>
                  <a:lnTo>
                    <a:pt x="96" y="107"/>
                  </a:lnTo>
                  <a:lnTo>
                    <a:pt x="95" y="105"/>
                  </a:lnTo>
                  <a:lnTo>
                    <a:pt x="94" y="101"/>
                  </a:lnTo>
                  <a:lnTo>
                    <a:pt x="94" y="98"/>
                  </a:lnTo>
                  <a:lnTo>
                    <a:pt x="93" y="93"/>
                  </a:lnTo>
                  <a:lnTo>
                    <a:pt x="93" y="91"/>
                  </a:lnTo>
                  <a:lnTo>
                    <a:pt x="93" y="91"/>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52" name="Barbados">
              <a:extLst>
                <a:ext uri="{FF2B5EF4-FFF2-40B4-BE49-F238E27FC236}">
                  <a16:creationId xmlns:a16="http://schemas.microsoft.com/office/drawing/2014/main" id="{A55E5FC1-E65E-9947-8FC4-A0ED96E027F6}"/>
                </a:ext>
              </a:extLst>
            </p:cNvPr>
            <p:cNvSpPr>
              <a:spLocks/>
            </p:cNvSpPr>
            <p:nvPr/>
          </p:nvSpPr>
          <p:spPr bwMode="auto">
            <a:xfrm>
              <a:off x="4795036" y="3587053"/>
              <a:ext cx="5833" cy="7290"/>
            </a:xfrm>
            <a:custGeom>
              <a:avLst/>
              <a:gdLst>
                <a:gd name="T0" fmla="*/ 3 w 4"/>
                <a:gd name="T1" fmla="*/ 5 h 5"/>
                <a:gd name="T2" fmla="*/ 1 w 4"/>
                <a:gd name="T3" fmla="*/ 4 h 5"/>
                <a:gd name="T4" fmla="*/ 0 w 4"/>
                <a:gd name="T5" fmla="*/ 3 h 5"/>
                <a:gd name="T6" fmla="*/ 0 w 4"/>
                <a:gd name="T7" fmla="*/ 1 h 5"/>
                <a:gd name="T8" fmla="*/ 0 w 4"/>
                <a:gd name="T9" fmla="*/ 0 h 5"/>
                <a:gd name="T10" fmla="*/ 1 w 4"/>
                <a:gd name="T11" fmla="*/ 0 h 5"/>
                <a:gd name="T12" fmla="*/ 3 w 4"/>
                <a:gd name="T13" fmla="*/ 2 h 5"/>
                <a:gd name="T14" fmla="*/ 4 w 4"/>
                <a:gd name="T15" fmla="*/ 3 h 5"/>
                <a:gd name="T16" fmla="*/ 4 w 4"/>
                <a:gd name="T17" fmla="*/ 4 h 5"/>
                <a:gd name="T18" fmla="*/ 3 w 4"/>
                <a:gd name="T19" fmla="*/ 5 h 5"/>
                <a:gd name="T20" fmla="*/ 3 w 4"/>
                <a:gd name="T21"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5">
                  <a:moveTo>
                    <a:pt x="3" y="5"/>
                  </a:moveTo>
                  <a:lnTo>
                    <a:pt x="1" y="4"/>
                  </a:lnTo>
                  <a:lnTo>
                    <a:pt x="0" y="3"/>
                  </a:lnTo>
                  <a:lnTo>
                    <a:pt x="0" y="1"/>
                  </a:lnTo>
                  <a:lnTo>
                    <a:pt x="0" y="0"/>
                  </a:lnTo>
                  <a:lnTo>
                    <a:pt x="1" y="0"/>
                  </a:lnTo>
                  <a:lnTo>
                    <a:pt x="3" y="2"/>
                  </a:lnTo>
                  <a:lnTo>
                    <a:pt x="4" y="3"/>
                  </a:lnTo>
                  <a:lnTo>
                    <a:pt x="4" y="4"/>
                  </a:lnTo>
                  <a:lnTo>
                    <a:pt x="3" y="5"/>
                  </a:lnTo>
                  <a:lnTo>
                    <a:pt x="3" y="5"/>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53" name="Bahrain">
              <a:extLst>
                <a:ext uri="{FF2B5EF4-FFF2-40B4-BE49-F238E27FC236}">
                  <a16:creationId xmlns:a16="http://schemas.microsoft.com/office/drawing/2014/main" id="{FD90F49C-C5D3-6041-9D82-3AE7A668233B}"/>
                </a:ext>
              </a:extLst>
            </p:cNvPr>
            <p:cNvSpPr>
              <a:spLocks/>
            </p:cNvSpPr>
            <p:nvPr/>
          </p:nvSpPr>
          <p:spPr bwMode="auto">
            <a:xfrm>
              <a:off x="7655532" y="3200697"/>
              <a:ext cx="7290" cy="11663"/>
            </a:xfrm>
            <a:custGeom>
              <a:avLst/>
              <a:gdLst>
                <a:gd name="T0" fmla="*/ 2 w 5"/>
                <a:gd name="T1" fmla="*/ 0 h 8"/>
                <a:gd name="T2" fmla="*/ 2 w 5"/>
                <a:gd name="T3" fmla="*/ 0 h 8"/>
                <a:gd name="T4" fmla="*/ 4 w 5"/>
                <a:gd name="T5" fmla="*/ 0 h 8"/>
                <a:gd name="T6" fmla="*/ 4 w 5"/>
                <a:gd name="T7" fmla="*/ 0 h 8"/>
                <a:gd name="T8" fmla="*/ 4 w 5"/>
                <a:gd name="T9" fmla="*/ 0 h 8"/>
                <a:gd name="T10" fmla="*/ 4 w 5"/>
                <a:gd name="T11" fmla="*/ 1 h 8"/>
                <a:gd name="T12" fmla="*/ 5 w 5"/>
                <a:gd name="T13" fmla="*/ 2 h 8"/>
                <a:gd name="T14" fmla="*/ 5 w 5"/>
                <a:gd name="T15" fmla="*/ 5 h 8"/>
                <a:gd name="T16" fmla="*/ 4 w 5"/>
                <a:gd name="T17" fmla="*/ 8 h 8"/>
                <a:gd name="T18" fmla="*/ 4 w 5"/>
                <a:gd name="T19" fmla="*/ 8 h 8"/>
                <a:gd name="T20" fmla="*/ 2 w 5"/>
                <a:gd name="T21" fmla="*/ 7 h 8"/>
                <a:gd name="T22" fmla="*/ 1 w 5"/>
                <a:gd name="T23" fmla="*/ 7 h 8"/>
                <a:gd name="T24" fmla="*/ 0 w 5"/>
                <a:gd name="T25" fmla="*/ 6 h 8"/>
                <a:gd name="T26" fmla="*/ 1 w 5"/>
                <a:gd name="T27" fmla="*/ 4 h 8"/>
                <a:gd name="T28" fmla="*/ 0 w 5"/>
                <a:gd name="T29" fmla="*/ 1 h 8"/>
                <a:gd name="T30" fmla="*/ 1 w 5"/>
                <a:gd name="T31" fmla="*/ 0 h 8"/>
                <a:gd name="T32" fmla="*/ 2 w 5"/>
                <a:gd name="T33" fmla="*/ 0 h 8"/>
                <a:gd name="T34" fmla="*/ 2 w 5"/>
                <a:gd name="T35" fmla="*/ 0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5" h="8">
                  <a:moveTo>
                    <a:pt x="2" y="0"/>
                  </a:moveTo>
                  <a:lnTo>
                    <a:pt x="2" y="0"/>
                  </a:lnTo>
                  <a:lnTo>
                    <a:pt x="4" y="0"/>
                  </a:lnTo>
                  <a:lnTo>
                    <a:pt x="4" y="0"/>
                  </a:lnTo>
                  <a:lnTo>
                    <a:pt x="4" y="0"/>
                  </a:lnTo>
                  <a:lnTo>
                    <a:pt x="4" y="1"/>
                  </a:lnTo>
                  <a:lnTo>
                    <a:pt x="5" y="2"/>
                  </a:lnTo>
                  <a:lnTo>
                    <a:pt x="5" y="5"/>
                  </a:lnTo>
                  <a:lnTo>
                    <a:pt x="4" y="8"/>
                  </a:lnTo>
                  <a:lnTo>
                    <a:pt x="4" y="8"/>
                  </a:lnTo>
                  <a:lnTo>
                    <a:pt x="2" y="7"/>
                  </a:lnTo>
                  <a:lnTo>
                    <a:pt x="1" y="7"/>
                  </a:lnTo>
                  <a:lnTo>
                    <a:pt x="0" y="6"/>
                  </a:lnTo>
                  <a:lnTo>
                    <a:pt x="1" y="4"/>
                  </a:lnTo>
                  <a:lnTo>
                    <a:pt x="0" y="1"/>
                  </a:lnTo>
                  <a:lnTo>
                    <a:pt x="1" y="0"/>
                  </a:lnTo>
                  <a:lnTo>
                    <a:pt x="2" y="0"/>
                  </a:lnTo>
                  <a:lnTo>
                    <a:pt x="2" y="0"/>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54" name="The Bahamas">
              <a:extLst>
                <a:ext uri="{FF2B5EF4-FFF2-40B4-BE49-F238E27FC236}">
                  <a16:creationId xmlns:a16="http://schemas.microsoft.com/office/drawing/2014/main" id="{9FB61A41-8D00-734C-A490-E518C5155FC5}"/>
                </a:ext>
              </a:extLst>
            </p:cNvPr>
            <p:cNvSpPr>
              <a:spLocks noEditPoints="1"/>
            </p:cNvSpPr>
            <p:nvPr/>
          </p:nvSpPr>
          <p:spPr bwMode="auto">
            <a:xfrm>
              <a:off x="4331408" y="3178828"/>
              <a:ext cx="129758" cy="137047"/>
            </a:xfrm>
            <a:custGeom>
              <a:avLst/>
              <a:gdLst>
                <a:gd name="T0" fmla="*/ 65 w 89"/>
                <a:gd name="T1" fmla="*/ 75 h 94"/>
                <a:gd name="T2" fmla="*/ 65 w 89"/>
                <a:gd name="T3" fmla="*/ 71 h 94"/>
                <a:gd name="T4" fmla="*/ 63 w 89"/>
                <a:gd name="T5" fmla="*/ 66 h 94"/>
                <a:gd name="T6" fmla="*/ 69 w 89"/>
                <a:gd name="T7" fmla="*/ 76 h 94"/>
                <a:gd name="T8" fmla="*/ 71 w 89"/>
                <a:gd name="T9" fmla="*/ 82 h 94"/>
                <a:gd name="T10" fmla="*/ 3 w 89"/>
                <a:gd name="T11" fmla="*/ 4 h 94"/>
                <a:gd name="T12" fmla="*/ 13 w 89"/>
                <a:gd name="T13" fmla="*/ 3 h 94"/>
                <a:gd name="T14" fmla="*/ 10 w 89"/>
                <a:gd name="T15" fmla="*/ 6 h 94"/>
                <a:gd name="T16" fmla="*/ 47 w 89"/>
                <a:gd name="T17" fmla="*/ 44 h 94"/>
                <a:gd name="T18" fmla="*/ 47 w 89"/>
                <a:gd name="T19" fmla="*/ 42 h 94"/>
                <a:gd name="T20" fmla="*/ 48 w 89"/>
                <a:gd name="T21" fmla="*/ 38 h 94"/>
                <a:gd name="T22" fmla="*/ 41 w 89"/>
                <a:gd name="T23" fmla="*/ 31 h 94"/>
                <a:gd name="T24" fmla="*/ 38 w 89"/>
                <a:gd name="T25" fmla="*/ 27 h 94"/>
                <a:gd name="T26" fmla="*/ 48 w 89"/>
                <a:gd name="T27" fmla="*/ 35 h 94"/>
                <a:gd name="T28" fmla="*/ 48 w 89"/>
                <a:gd name="T29" fmla="*/ 46 h 94"/>
                <a:gd name="T30" fmla="*/ 11 w 89"/>
                <a:gd name="T31" fmla="*/ 50 h 94"/>
                <a:gd name="T32" fmla="*/ 7 w 89"/>
                <a:gd name="T33" fmla="*/ 46 h 94"/>
                <a:gd name="T34" fmla="*/ 9 w 89"/>
                <a:gd name="T35" fmla="*/ 47 h 94"/>
                <a:gd name="T36" fmla="*/ 10 w 89"/>
                <a:gd name="T37" fmla="*/ 43 h 94"/>
                <a:gd name="T38" fmla="*/ 11 w 89"/>
                <a:gd name="T39" fmla="*/ 36 h 94"/>
                <a:gd name="T40" fmla="*/ 20 w 89"/>
                <a:gd name="T41" fmla="*/ 44 h 94"/>
                <a:gd name="T42" fmla="*/ 17 w 89"/>
                <a:gd name="T43" fmla="*/ 51 h 94"/>
                <a:gd name="T44" fmla="*/ 60 w 89"/>
                <a:gd name="T45" fmla="*/ 55 h 94"/>
                <a:gd name="T46" fmla="*/ 57 w 89"/>
                <a:gd name="T47" fmla="*/ 48 h 94"/>
                <a:gd name="T48" fmla="*/ 56 w 89"/>
                <a:gd name="T49" fmla="*/ 44 h 94"/>
                <a:gd name="T50" fmla="*/ 63 w 89"/>
                <a:gd name="T51" fmla="*/ 55 h 94"/>
                <a:gd name="T52" fmla="*/ 21 w 89"/>
                <a:gd name="T53" fmla="*/ 64 h 94"/>
                <a:gd name="T54" fmla="*/ 21 w 89"/>
                <a:gd name="T55" fmla="*/ 62 h 94"/>
                <a:gd name="T56" fmla="*/ 18 w 89"/>
                <a:gd name="T57" fmla="*/ 61 h 94"/>
                <a:gd name="T58" fmla="*/ 20 w 89"/>
                <a:gd name="T59" fmla="*/ 53 h 94"/>
                <a:gd name="T60" fmla="*/ 20 w 89"/>
                <a:gd name="T61" fmla="*/ 57 h 94"/>
                <a:gd name="T62" fmla="*/ 23 w 89"/>
                <a:gd name="T63" fmla="*/ 57 h 94"/>
                <a:gd name="T64" fmla="*/ 22 w 89"/>
                <a:gd name="T65" fmla="*/ 64 h 94"/>
                <a:gd name="T66" fmla="*/ 28 w 89"/>
                <a:gd name="T67" fmla="*/ 21 h 94"/>
                <a:gd name="T68" fmla="*/ 29 w 89"/>
                <a:gd name="T69" fmla="*/ 13 h 94"/>
                <a:gd name="T70" fmla="*/ 27 w 89"/>
                <a:gd name="T71" fmla="*/ 6 h 94"/>
                <a:gd name="T72" fmla="*/ 16 w 89"/>
                <a:gd name="T73" fmla="*/ 0 h 94"/>
                <a:gd name="T74" fmla="*/ 25 w 89"/>
                <a:gd name="T75" fmla="*/ 2 h 94"/>
                <a:gd name="T76" fmla="*/ 30 w 89"/>
                <a:gd name="T77" fmla="*/ 13 h 94"/>
                <a:gd name="T78" fmla="*/ 28 w 89"/>
                <a:gd name="T79" fmla="*/ 21 h 94"/>
                <a:gd name="T80" fmla="*/ 87 w 89"/>
                <a:gd name="T81" fmla="*/ 90 h 94"/>
                <a:gd name="T82" fmla="*/ 89 w 89"/>
                <a:gd name="T83" fmla="*/ 88 h 94"/>
                <a:gd name="T84" fmla="*/ 88 w 89"/>
                <a:gd name="T85" fmla="*/ 84 h 94"/>
                <a:gd name="T86" fmla="*/ 87 w 89"/>
                <a:gd name="T87" fmla="*/ 91 h 94"/>
                <a:gd name="T88" fmla="*/ 29 w 89"/>
                <a:gd name="T89" fmla="*/ 40 h 94"/>
                <a:gd name="T90" fmla="*/ 29 w 89"/>
                <a:gd name="T91" fmla="*/ 37 h 94"/>
                <a:gd name="T92" fmla="*/ 34 w 89"/>
                <a:gd name="T93" fmla="*/ 38 h 94"/>
                <a:gd name="T94" fmla="*/ 32 w 89"/>
                <a:gd name="T95" fmla="*/ 41 h 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9" h="94">
                  <a:moveTo>
                    <a:pt x="71" y="82"/>
                  </a:moveTo>
                  <a:lnTo>
                    <a:pt x="69" y="77"/>
                  </a:lnTo>
                  <a:lnTo>
                    <a:pt x="64" y="75"/>
                  </a:lnTo>
                  <a:lnTo>
                    <a:pt x="65" y="75"/>
                  </a:lnTo>
                  <a:lnTo>
                    <a:pt x="67" y="76"/>
                  </a:lnTo>
                  <a:lnTo>
                    <a:pt x="65" y="75"/>
                  </a:lnTo>
                  <a:lnTo>
                    <a:pt x="67" y="74"/>
                  </a:lnTo>
                  <a:lnTo>
                    <a:pt x="65" y="71"/>
                  </a:lnTo>
                  <a:lnTo>
                    <a:pt x="64" y="70"/>
                  </a:lnTo>
                  <a:lnTo>
                    <a:pt x="63" y="66"/>
                  </a:lnTo>
                  <a:lnTo>
                    <a:pt x="63" y="66"/>
                  </a:lnTo>
                  <a:lnTo>
                    <a:pt x="63" y="66"/>
                  </a:lnTo>
                  <a:lnTo>
                    <a:pt x="67" y="71"/>
                  </a:lnTo>
                  <a:lnTo>
                    <a:pt x="67" y="75"/>
                  </a:lnTo>
                  <a:lnTo>
                    <a:pt x="68" y="76"/>
                  </a:lnTo>
                  <a:lnTo>
                    <a:pt x="69" y="76"/>
                  </a:lnTo>
                  <a:lnTo>
                    <a:pt x="70" y="77"/>
                  </a:lnTo>
                  <a:lnTo>
                    <a:pt x="71" y="81"/>
                  </a:lnTo>
                  <a:lnTo>
                    <a:pt x="71" y="82"/>
                  </a:lnTo>
                  <a:lnTo>
                    <a:pt x="71" y="82"/>
                  </a:lnTo>
                  <a:close/>
                  <a:moveTo>
                    <a:pt x="1" y="8"/>
                  </a:moveTo>
                  <a:lnTo>
                    <a:pt x="0" y="7"/>
                  </a:lnTo>
                  <a:lnTo>
                    <a:pt x="2" y="6"/>
                  </a:lnTo>
                  <a:lnTo>
                    <a:pt x="3" y="4"/>
                  </a:lnTo>
                  <a:lnTo>
                    <a:pt x="3" y="2"/>
                  </a:lnTo>
                  <a:lnTo>
                    <a:pt x="4" y="2"/>
                  </a:lnTo>
                  <a:lnTo>
                    <a:pt x="4" y="3"/>
                  </a:lnTo>
                  <a:lnTo>
                    <a:pt x="13" y="3"/>
                  </a:lnTo>
                  <a:lnTo>
                    <a:pt x="16" y="2"/>
                  </a:lnTo>
                  <a:lnTo>
                    <a:pt x="16" y="4"/>
                  </a:lnTo>
                  <a:lnTo>
                    <a:pt x="16" y="6"/>
                  </a:lnTo>
                  <a:lnTo>
                    <a:pt x="10" y="6"/>
                  </a:lnTo>
                  <a:lnTo>
                    <a:pt x="1" y="8"/>
                  </a:lnTo>
                  <a:lnTo>
                    <a:pt x="1" y="8"/>
                  </a:lnTo>
                  <a:close/>
                  <a:moveTo>
                    <a:pt x="48" y="46"/>
                  </a:moveTo>
                  <a:lnTo>
                    <a:pt x="47" y="44"/>
                  </a:lnTo>
                  <a:lnTo>
                    <a:pt x="47" y="43"/>
                  </a:lnTo>
                  <a:lnTo>
                    <a:pt x="44" y="42"/>
                  </a:lnTo>
                  <a:lnTo>
                    <a:pt x="44" y="42"/>
                  </a:lnTo>
                  <a:lnTo>
                    <a:pt x="47" y="42"/>
                  </a:lnTo>
                  <a:lnTo>
                    <a:pt x="47" y="41"/>
                  </a:lnTo>
                  <a:lnTo>
                    <a:pt x="47" y="41"/>
                  </a:lnTo>
                  <a:lnTo>
                    <a:pt x="47" y="38"/>
                  </a:lnTo>
                  <a:lnTo>
                    <a:pt x="48" y="38"/>
                  </a:lnTo>
                  <a:lnTo>
                    <a:pt x="48" y="36"/>
                  </a:lnTo>
                  <a:lnTo>
                    <a:pt x="47" y="35"/>
                  </a:lnTo>
                  <a:lnTo>
                    <a:pt x="45" y="34"/>
                  </a:lnTo>
                  <a:lnTo>
                    <a:pt x="41" y="31"/>
                  </a:lnTo>
                  <a:lnTo>
                    <a:pt x="37" y="29"/>
                  </a:lnTo>
                  <a:lnTo>
                    <a:pt x="36" y="30"/>
                  </a:lnTo>
                  <a:lnTo>
                    <a:pt x="37" y="27"/>
                  </a:lnTo>
                  <a:lnTo>
                    <a:pt x="38" y="27"/>
                  </a:lnTo>
                  <a:lnTo>
                    <a:pt x="38" y="28"/>
                  </a:lnTo>
                  <a:lnTo>
                    <a:pt x="42" y="31"/>
                  </a:lnTo>
                  <a:lnTo>
                    <a:pt x="45" y="33"/>
                  </a:lnTo>
                  <a:lnTo>
                    <a:pt x="48" y="35"/>
                  </a:lnTo>
                  <a:lnTo>
                    <a:pt x="49" y="37"/>
                  </a:lnTo>
                  <a:lnTo>
                    <a:pt x="47" y="43"/>
                  </a:lnTo>
                  <a:lnTo>
                    <a:pt x="48" y="46"/>
                  </a:lnTo>
                  <a:lnTo>
                    <a:pt x="48" y="46"/>
                  </a:lnTo>
                  <a:close/>
                  <a:moveTo>
                    <a:pt x="14" y="53"/>
                  </a:moveTo>
                  <a:lnTo>
                    <a:pt x="14" y="53"/>
                  </a:lnTo>
                  <a:lnTo>
                    <a:pt x="13" y="50"/>
                  </a:lnTo>
                  <a:lnTo>
                    <a:pt x="11" y="50"/>
                  </a:lnTo>
                  <a:lnTo>
                    <a:pt x="13" y="48"/>
                  </a:lnTo>
                  <a:lnTo>
                    <a:pt x="11" y="49"/>
                  </a:lnTo>
                  <a:lnTo>
                    <a:pt x="8" y="48"/>
                  </a:lnTo>
                  <a:lnTo>
                    <a:pt x="7" y="46"/>
                  </a:lnTo>
                  <a:lnTo>
                    <a:pt x="9" y="44"/>
                  </a:lnTo>
                  <a:lnTo>
                    <a:pt x="9" y="44"/>
                  </a:lnTo>
                  <a:lnTo>
                    <a:pt x="9" y="47"/>
                  </a:lnTo>
                  <a:lnTo>
                    <a:pt x="9" y="47"/>
                  </a:lnTo>
                  <a:lnTo>
                    <a:pt x="10" y="47"/>
                  </a:lnTo>
                  <a:lnTo>
                    <a:pt x="10" y="47"/>
                  </a:lnTo>
                  <a:lnTo>
                    <a:pt x="10" y="46"/>
                  </a:lnTo>
                  <a:lnTo>
                    <a:pt x="10" y="43"/>
                  </a:lnTo>
                  <a:lnTo>
                    <a:pt x="10" y="44"/>
                  </a:lnTo>
                  <a:lnTo>
                    <a:pt x="9" y="44"/>
                  </a:lnTo>
                  <a:lnTo>
                    <a:pt x="11" y="38"/>
                  </a:lnTo>
                  <a:lnTo>
                    <a:pt x="11" y="36"/>
                  </a:lnTo>
                  <a:lnTo>
                    <a:pt x="10" y="34"/>
                  </a:lnTo>
                  <a:lnTo>
                    <a:pt x="15" y="35"/>
                  </a:lnTo>
                  <a:lnTo>
                    <a:pt x="16" y="41"/>
                  </a:lnTo>
                  <a:lnTo>
                    <a:pt x="20" y="44"/>
                  </a:lnTo>
                  <a:lnTo>
                    <a:pt x="20" y="48"/>
                  </a:lnTo>
                  <a:lnTo>
                    <a:pt x="18" y="49"/>
                  </a:lnTo>
                  <a:lnTo>
                    <a:pt x="17" y="50"/>
                  </a:lnTo>
                  <a:lnTo>
                    <a:pt x="17" y="51"/>
                  </a:lnTo>
                  <a:lnTo>
                    <a:pt x="14" y="53"/>
                  </a:lnTo>
                  <a:lnTo>
                    <a:pt x="14" y="53"/>
                  </a:lnTo>
                  <a:close/>
                  <a:moveTo>
                    <a:pt x="61" y="56"/>
                  </a:moveTo>
                  <a:lnTo>
                    <a:pt x="60" y="55"/>
                  </a:lnTo>
                  <a:lnTo>
                    <a:pt x="61" y="54"/>
                  </a:lnTo>
                  <a:lnTo>
                    <a:pt x="61" y="53"/>
                  </a:lnTo>
                  <a:lnTo>
                    <a:pt x="60" y="53"/>
                  </a:lnTo>
                  <a:lnTo>
                    <a:pt x="57" y="48"/>
                  </a:lnTo>
                  <a:lnTo>
                    <a:pt x="57" y="48"/>
                  </a:lnTo>
                  <a:lnTo>
                    <a:pt x="57" y="47"/>
                  </a:lnTo>
                  <a:lnTo>
                    <a:pt x="55" y="46"/>
                  </a:lnTo>
                  <a:lnTo>
                    <a:pt x="56" y="44"/>
                  </a:lnTo>
                  <a:lnTo>
                    <a:pt x="57" y="46"/>
                  </a:lnTo>
                  <a:lnTo>
                    <a:pt x="58" y="48"/>
                  </a:lnTo>
                  <a:lnTo>
                    <a:pt x="62" y="53"/>
                  </a:lnTo>
                  <a:lnTo>
                    <a:pt x="63" y="55"/>
                  </a:lnTo>
                  <a:lnTo>
                    <a:pt x="62" y="55"/>
                  </a:lnTo>
                  <a:lnTo>
                    <a:pt x="61" y="56"/>
                  </a:lnTo>
                  <a:lnTo>
                    <a:pt x="61" y="56"/>
                  </a:lnTo>
                  <a:close/>
                  <a:moveTo>
                    <a:pt x="21" y="64"/>
                  </a:moveTo>
                  <a:lnTo>
                    <a:pt x="20" y="63"/>
                  </a:lnTo>
                  <a:lnTo>
                    <a:pt x="21" y="63"/>
                  </a:lnTo>
                  <a:lnTo>
                    <a:pt x="22" y="62"/>
                  </a:lnTo>
                  <a:lnTo>
                    <a:pt x="21" y="62"/>
                  </a:lnTo>
                  <a:lnTo>
                    <a:pt x="20" y="63"/>
                  </a:lnTo>
                  <a:lnTo>
                    <a:pt x="18" y="62"/>
                  </a:lnTo>
                  <a:lnTo>
                    <a:pt x="21" y="61"/>
                  </a:lnTo>
                  <a:lnTo>
                    <a:pt x="18" y="61"/>
                  </a:lnTo>
                  <a:lnTo>
                    <a:pt x="17" y="60"/>
                  </a:lnTo>
                  <a:lnTo>
                    <a:pt x="17" y="58"/>
                  </a:lnTo>
                  <a:lnTo>
                    <a:pt x="16" y="56"/>
                  </a:lnTo>
                  <a:lnTo>
                    <a:pt x="20" y="53"/>
                  </a:lnTo>
                  <a:lnTo>
                    <a:pt x="21" y="54"/>
                  </a:lnTo>
                  <a:lnTo>
                    <a:pt x="18" y="56"/>
                  </a:lnTo>
                  <a:lnTo>
                    <a:pt x="20" y="56"/>
                  </a:lnTo>
                  <a:lnTo>
                    <a:pt x="20" y="57"/>
                  </a:lnTo>
                  <a:lnTo>
                    <a:pt x="20" y="57"/>
                  </a:lnTo>
                  <a:lnTo>
                    <a:pt x="21" y="54"/>
                  </a:lnTo>
                  <a:lnTo>
                    <a:pt x="22" y="54"/>
                  </a:lnTo>
                  <a:lnTo>
                    <a:pt x="23" y="57"/>
                  </a:lnTo>
                  <a:lnTo>
                    <a:pt x="23" y="60"/>
                  </a:lnTo>
                  <a:lnTo>
                    <a:pt x="23" y="62"/>
                  </a:lnTo>
                  <a:lnTo>
                    <a:pt x="22" y="63"/>
                  </a:lnTo>
                  <a:lnTo>
                    <a:pt x="22" y="64"/>
                  </a:lnTo>
                  <a:lnTo>
                    <a:pt x="21" y="63"/>
                  </a:lnTo>
                  <a:lnTo>
                    <a:pt x="21" y="64"/>
                  </a:lnTo>
                  <a:lnTo>
                    <a:pt x="21" y="64"/>
                  </a:lnTo>
                  <a:close/>
                  <a:moveTo>
                    <a:pt x="28" y="21"/>
                  </a:moveTo>
                  <a:lnTo>
                    <a:pt x="25" y="17"/>
                  </a:lnTo>
                  <a:lnTo>
                    <a:pt x="29" y="15"/>
                  </a:lnTo>
                  <a:lnTo>
                    <a:pt x="28" y="14"/>
                  </a:lnTo>
                  <a:lnTo>
                    <a:pt x="29" y="13"/>
                  </a:lnTo>
                  <a:lnTo>
                    <a:pt x="29" y="9"/>
                  </a:lnTo>
                  <a:lnTo>
                    <a:pt x="30" y="8"/>
                  </a:lnTo>
                  <a:lnTo>
                    <a:pt x="30" y="7"/>
                  </a:lnTo>
                  <a:lnTo>
                    <a:pt x="27" y="6"/>
                  </a:lnTo>
                  <a:lnTo>
                    <a:pt x="25" y="4"/>
                  </a:lnTo>
                  <a:lnTo>
                    <a:pt x="24" y="4"/>
                  </a:lnTo>
                  <a:lnTo>
                    <a:pt x="23" y="1"/>
                  </a:lnTo>
                  <a:lnTo>
                    <a:pt x="16" y="0"/>
                  </a:lnTo>
                  <a:lnTo>
                    <a:pt x="15" y="0"/>
                  </a:lnTo>
                  <a:lnTo>
                    <a:pt x="17" y="0"/>
                  </a:lnTo>
                  <a:lnTo>
                    <a:pt x="22" y="0"/>
                  </a:lnTo>
                  <a:lnTo>
                    <a:pt x="25" y="2"/>
                  </a:lnTo>
                  <a:lnTo>
                    <a:pt x="29" y="6"/>
                  </a:lnTo>
                  <a:lnTo>
                    <a:pt x="31" y="8"/>
                  </a:lnTo>
                  <a:lnTo>
                    <a:pt x="32" y="11"/>
                  </a:lnTo>
                  <a:lnTo>
                    <a:pt x="30" y="13"/>
                  </a:lnTo>
                  <a:lnTo>
                    <a:pt x="29" y="15"/>
                  </a:lnTo>
                  <a:lnTo>
                    <a:pt x="29" y="20"/>
                  </a:lnTo>
                  <a:lnTo>
                    <a:pt x="28" y="21"/>
                  </a:lnTo>
                  <a:lnTo>
                    <a:pt x="28" y="21"/>
                  </a:lnTo>
                  <a:close/>
                  <a:moveTo>
                    <a:pt x="83" y="94"/>
                  </a:moveTo>
                  <a:lnTo>
                    <a:pt x="84" y="93"/>
                  </a:lnTo>
                  <a:lnTo>
                    <a:pt x="85" y="91"/>
                  </a:lnTo>
                  <a:lnTo>
                    <a:pt x="87" y="90"/>
                  </a:lnTo>
                  <a:lnTo>
                    <a:pt x="87" y="89"/>
                  </a:lnTo>
                  <a:lnTo>
                    <a:pt x="88" y="89"/>
                  </a:lnTo>
                  <a:lnTo>
                    <a:pt x="89" y="89"/>
                  </a:lnTo>
                  <a:lnTo>
                    <a:pt x="89" y="88"/>
                  </a:lnTo>
                  <a:lnTo>
                    <a:pt x="88" y="87"/>
                  </a:lnTo>
                  <a:lnTo>
                    <a:pt x="87" y="87"/>
                  </a:lnTo>
                  <a:lnTo>
                    <a:pt x="87" y="86"/>
                  </a:lnTo>
                  <a:lnTo>
                    <a:pt x="88" y="84"/>
                  </a:lnTo>
                  <a:lnTo>
                    <a:pt x="89" y="84"/>
                  </a:lnTo>
                  <a:lnTo>
                    <a:pt x="89" y="86"/>
                  </a:lnTo>
                  <a:lnTo>
                    <a:pt x="89" y="88"/>
                  </a:lnTo>
                  <a:lnTo>
                    <a:pt x="87" y="91"/>
                  </a:lnTo>
                  <a:lnTo>
                    <a:pt x="83" y="94"/>
                  </a:lnTo>
                  <a:lnTo>
                    <a:pt x="83" y="94"/>
                  </a:lnTo>
                  <a:close/>
                  <a:moveTo>
                    <a:pt x="32" y="41"/>
                  </a:moveTo>
                  <a:lnTo>
                    <a:pt x="29" y="40"/>
                  </a:lnTo>
                  <a:lnTo>
                    <a:pt x="28" y="40"/>
                  </a:lnTo>
                  <a:lnTo>
                    <a:pt x="28" y="38"/>
                  </a:lnTo>
                  <a:lnTo>
                    <a:pt x="28" y="37"/>
                  </a:lnTo>
                  <a:lnTo>
                    <a:pt x="29" y="37"/>
                  </a:lnTo>
                  <a:lnTo>
                    <a:pt x="31" y="37"/>
                  </a:lnTo>
                  <a:lnTo>
                    <a:pt x="32" y="38"/>
                  </a:lnTo>
                  <a:lnTo>
                    <a:pt x="32" y="38"/>
                  </a:lnTo>
                  <a:lnTo>
                    <a:pt x="34" y="38"/>
                  </a:lnTo>
                  <a:lnTo>
                    <a:pt x="35" y="41"/>
                  </a:lnTo>
                  <a:lnTo>
                    <a:pt x="34" y="41"/>
                  </a:lnTo>
                  <a:lnTo>
                    <a:pt x="32" y="41"/>
                  </a:lnTo>
                  <a:lnTo>
                    <a:pt x="32" y="41"/>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55" name="Antigua and Barbuda">
              <a:extLst>
                <a:ext uri="{FF2B5EF4-FFF2-40B4-BE49-F238E27FC236}">
                  <a16:creationId xmlns:a16="http://schemas.microsoft.com/office/drawing/2014/main" id="{F92CCC19-15A9-5743-99C0-56B1CAF9DEB0}"/>
                </a:ext>
              </a:extLst>
            </p:cNvPr>
            <p:cNvSpPr>
              <a:spLocks/>
            </p:cNvSpPr>
            <p:nvPr/>
          </p:nvSpPr>
          <p:spPr bwMode="auto">
            <a:xfrm>
              <a:off x="4745465" y="3473334"/>
              <a:ext cx="5833" cy="2915"/>
            </a:xfrm>
            <a:custGeom>
              <a:avLst/>
              <a:gdLst>
                <a:gd name="T0" fmla="*/ 1 w 4"/>
                <a:gd name="T1" fmla="*/ 2 h 2"/>
                <a:gd name="T2" fmla="*/ 0 w 4"/>
                <a:gd name="T3" fmla="*/ 2 h 2"/>
                <a:gd name="T4" fmla="*/ 1 w 4"/>
                <a:gd name="T5" fmla="*/ 0 h 2"/>
                <a:gd name="T6" fmla="*/ 1 w 4"/>
                <a:gd name="T7" fmla="*/ 0 h 2"/>
                <a:gd name="T8" fmla="*/ 3 w 4"/>
                <a:gd name="T9" fmla="*/ 0 h 2"/>
                <a:gd name="T10" fmla="*/ 4 w 4"/>
                <a:gd name="T11" fmla="*/ 2 h 2"/>
                <a:gd name="T12" fmla="*/ 3 w 4"/>
                <a:gd name="T13" fmla="*/ 2 h 2"/>
                <a:gd name="T14" fmla="*/ 1 w 4"/>
                <a:gd name="T15" fmla="*/ 2 h 2"/>
                <a:gd name="T16" fmla="*/ 1 w 4"/>
                <a:gd name="T17"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2">
                  <a:moveTo>
                    <a:pt x="1" y="2"/>
                  </a:moveTo>
                  <a:lnTo>
                    <a:pt x="0" y="2"/>
                  </a:lnTo>
                  <a:lnTo>
                    <a:pt x="1" y="0"/>
                  </a:lnTo>
                  <a:lnTo>
                    <a:pt x="1" y="0"/>
                  </a:lnTo>
                  <a:lnTo>
                    <a:pt x="3" y="0"/>
                  </a:lnTo>
                  <a:lnTo>
                    <a:pt x="4" y="2"/>
                  </a:lnTo>
                  <a:lnTo>
                    <a:pt x="3" y="2"/>
                  </a:lnTo>
                  <a:lnTo>
                    <a:pt x="1" y="2"/>
                  </a:lnTo>
                  <a:lnTo>
                    <a:pt x="1" y="2"/>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56" name="Andorra">
              <a:extLst>
                <a:ext uri="{FF2B5EF4-FFF2-40B4-BE49-F238E27FC236}">
                  <a16:creationId xmlns:a16="http://schemas.microsoft.com/office/drawing/2014/main" id="{314B085F-35F5-3B4A-9A7B-BECF1E2400CC}"/>
                </a:ext>
              </a:extLst>
            </p:cNvPr>
            <p:cNvSpPr>
              <a:spLocks/>
            </p:cNvSpPr>
            <p:nvPr/>
          </p:nvSpPr>
          <p:spPr bwMode="auto">
            <a:xfrm>
              <a:off x="6397321" y="2707910"/>
              <a:ext cx="8748" cy="8748"/>
            </a:xfrm>
            <a:custGeom>
              <a:avLst/>
              <a:gdLst>
                <a:gd name="T0" fmla="*/ 2 w 6"/>
                <a:gd name="T1" fmla="*/ 0 h 6"/>
                <a:gd name="T2" fmla="*/ 3 w 6"/>
                <a:gd name="T3" fmla="*/ 2 h 6"/>
                <a:gd name="T4" fmla="*/ 5 w 6"/>
                <a:gd name="T5" fmla="*/ 3 h 6"/>
                <a:gd name="T6" fmla="*/ 6 w 6"/>
                <a:gd name="T7" fmla="*/ 3 h 6"/>
                <a:gd name="T8" fmla="*/ 5 w 6"/>
                <a:gd name="T9" fmla="*/ 3 h 6"/>
                <a:gd name="T10" fmla="*/ 5 w 6"/>
                <a:gd name="T11" fmla="*/ 4 h 6"/>
                <a:gd name="T12" fmla="*/ 3 w 6"/>
                <a:gd name="T13" fmla="*/ 4 h 6"/>
                <a:gd name="T14" fmla="*/ 3 w 6"/>
                <a:gd name="T15" fmla="*/ 5 h 6"/>
                <a:gd name="T16" fmla="*/ 2 w 6"/>
                <a:gd name="T17" fmla="*/ 5 h 6"/>
                <a:gd name="T18" fmla="*/ 2 w 6"/>
                <a:gd name="T19" fmla="*/ 6 h 6"/>
                <a:gd name="T20" fmla="*/ 0 w 6"/>
                <a:gd name="T21" fmla="*/ 5 h 6"/>
                <a:gd name="T22" fmla="*/ 0 w 6"/>
                <a:gd name="T23" fmla="*/ 5 h 6"/>
                <a:gd name="T24" fmla="*/ 0 w 6"/>
                <a:gd name="T25" fmla="*/ 4 h 6"/>
                <a:gd name="T26" fmla="*/ 1 w 6"/>
                <a:gd name="T27" fmla="*/ 4 h 6"/>
                <a:gd name="T28" fmla="*/ 0 w 6"/>
                <a:gd name="T29" fmla="*/ 3 h 6"/>
                <a:gd name="T30" fmla="*/ 0 w 6"/>
                <a:gd name="T31" fmla="*/ 3 h 6"/>
                <a:gd name="T32" fmla="*/ 1 w 6"/>
                <a:gd name="T33" fmla="*/ 3 h 6"/>
                <a:gd name="T34" fmla="*/ 2 w 6"/>
                <a:gd name="T35" fmla="*/ 0 h 6"/>
                <a:gd name="T36" fmla="*/ 2 w 6"/>
                <a:gd name="T37"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6" h="6">
                  <a:moveTo>
                    <a:pt x="2" y="0"/>
                  </a:moveTo>
                  <a:lnTo>
                    <a:pt x="3" y="2"/>
                  </a:lnTo>
                  <a:lnTo>
                    <a:pt x="5" y="3"/>
                  </a:lnTo>
                  <a:lnTo>
                    <a:pt x="6" y="3"/>
                  </a:lnTo>
                  <a:lnTo>
                    <a:pt x="5" y="3"/>
                  </a:lnTo>
                  <a:lnTo>
                    <a:pt x="5" y="4"/>
                  </a:lnTo>
                  <a:lnTo>
                    <a:pt x="3" y="4"/>
                  </a:lnTo>
                  <a:lnTo>
                    <a:pt x="3" y="5"/>
                  </a:lnTo>
                  <a:lnTo>
                    <a:pt x="2" y="5"/>
                  </a:lnTo>
                  <a:lnTo>
                    <a:pt x="2" y="6"/>
                  </a:lnTo>
                  <a:lnTo>
                    <a:pt x="0" y="5"/>
                  </a:lnTo>
                  <a:lnTo>
                    <a:pt x="0" y="5"/>
                  </a:lnTo>
                  <a:lnTo>
                    <a:pt x="0" y="4"/>
                  </a:lnTo>
                  <a:lnTo>
                    <a:pt x="1" y="4"/>
                  </a:lnTo>
                  <a:lnTo>
                    <a:pt x="0" y="3"/>
                  </a:lnTo>
                  <a:lnTo>
                    <a:pt x="0" y="3"/>
                  </a:lnTo>
                  <a:lnTo>
                    <a:pt x="1" y="3"/>
                  </a:lnTo>
                  <a:lnTo>
                    <a:pt x="2" y="0"/>
                  </a:lnTo>
                  <a:lnTo>
                    <a:pt x="2" y="0"/>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57" name="Albania">
              <a:extLst>
                <a:ext uri="{FF2B5EF4-FFF2-40B4-BE49-F238E27FC236}">
                  <a16:creationId xmlns:a16="http://schemas.microsoft.com/office/drawing/2014/main" id="{FDD7AEA6-777C-1B47-B0A8-F3A268DB3F7E}"/>
                </a:ext>
              </a:extLst>
            </p:cNvPr>
            <p:cNvSpPr>
              <a:spLocks/>
            </p:cNvSpPr>
            <p:nvPr/>
          </p:nvSpPr>
          <p:spPr bwMode="auto">
            <a:xfrm>
              <a:off x="6827417" y="2710827"/>
              <a:ext cx="46655" cy="88935"/>
            </a:xfrm>
            <a:custGeom>
              <a:avLst/>
              <a:gdLst>
                <a:gd name="T0" fmla="*/ 1 w 32"/>
                <a:gd name="T1" fmla="*/ 11 h 61"/>
                <a:gd name="T2" fmla="*/ 2 w 32"/>
                <a:gd name="T3" fmla="*/ 6 h 61"/>
                <a:gd name="T4" fmla="*/ 4 w 32"/>
                <a:gd name="T5" fmla="*/ 1 h 61"/>
                <a:gd name="T6" fmla="*/ 7 w 32"/>
                <a:gd name="T7" fmla="*/ 0 h 61"/>
                <a:gd name="T8" fmla="*/ 8 w 32"/>
                <a:gd name="T9" fmla="*/ 3 h 61"/>
                <a:gd name="T10" fmla="*/ 11 w 32"/>
                <a:gd name="T11" fmla="*/ 1 h 61"/>
                <a:gd name="T12" fmla="*/ 14 w 32"/>
                <a:gd name="T13" fmla="*/ 4 h 61"/>
                <a:gd name="T14" fmla="*/ 19 w 32"/>
                <a:gd name="T15" fmla="*/ 7 h 61"/>
                <a:gd name="T16" fmla="*/ 21 w 32"/>
                <a:gd name="T17" fmla="*/ 11 h 61"/>
                <a:gd name="T18" fmla="*/ 22 w 32"/>
                <a:gd name="T19" fmla="*/ 14 h 61"/>
                <a:gd name="T20" fmla="*/ 21 w 32"/>
                <a:gd name="T21" fmla="*/ 18 h 61"/>
                <a:gd name="T22" fmla="*/ 21 w 32"/>
                <a:gd name="T23" fmla="*/ 23 h 61"/>
                <a:gd name="T24" fmla="*/ 22 w 32"/>
                <a:gd name="T25" fmla="*/ 26 h 61"/>
                <a:gd name="T26" fmla="*/ 24 w 32"/>
                <a:gd name="T27" fmla="*/ 30 h 61"/>
                <a:gd name="T28" fmla="*/ 26 w 32"/>
                <a:gd name="T29" fmla="*/ 35 h 61"/>
                <a:gd name="T30" fmla="*/ 29 w 32"/>
                <a:gd name="T31" fmla="*/ 34 h 61"/>
                <a:gd name="T32" fmla="*/ 29 w 32"/>
                <a:gd name="T33" fmla="*/ 37 h 61"/>
                <a:gd name="T34" fmla="*/ 31 w 32"/>
                <a:gd name="T35" fmla="*/ 44 h 61"/>
                <a:gd name="T36" fmla="*/ 27 w 32"/>
                <a:gd name="T37" fmla="*/ 44 h 61"/>
                <a:gd name="T38" fmla="*/ 26 w 32"/>
                <a:gd name="T39" fmla="*/ 49 h 61"/>
                <a:gd name="T40" fmla="*/ 26 w 32"/>
                <a:gd name="T41" fmla="*/ 51 h 61"/>
                <a:gd name="T42" fmla="*/ 22 w 32"/>
                <a:gd name="T43" fmla="*/ 53 h 61"/>
                <a:gd name="T44" fmla="*/ 21 w 32"/>
                <a:gd name="T45" fmla="*/ 55 h 61"/>
                <a:gd name="T46" fmla="*/ 22 w 32"/>
                <a:gd name="T47" fmla="*/ 58 h 61"/>
                <a:gd name="T48" fmla="*/ 20 w 32"/>
                <a:gd name="T49" fmla="*/ 61 h 61"/>
                <a:gd name="T50" fmla="*/ 15 w 32"/>
                <a:gd name="T51" fmla="*/ 60 h 61"/>
                <a:gd name="T52" fmla="*/ 14 w 32"/>
                <a:gd name="T53" fmla="*/ 56 h 61"/>
                <a:gd name="T54" fmla="*/ 13 w 32"/>
                <a:gd name="T55" fmla="*/ 53 h 61"/>
                <a:gd name="T56" fmla="*/ 11 w 32"/>
                <a:gd name="T57" fmla="*/ 51 h 61"/>
                <a:gd name="T58" fmla="*/ 6 w 32"/>
                <a:gd name="T59" fmla="*/ 49 h 61"/>
                <a:gd name="T60" fmla="*/ 5 w 32"/>
                <a:gd name="T61" fmla="*/ 46 h 61"/>
                <a:gd name="T62" fmla="*/ 4 w 32"/>
                <a:gd name="T63" fmla="*/ 44 h 61"/>
                <a:gd name="T64" fmla="*/ 6 w 32"/>
                <a:gd name="T65" fmla="*/ 47 h 61"/>
                <a:gd name="T66" fmla="*/ 5 w 32"/>
                <a:gd name="T67" fmla="*/ 43 h 61"/>
                <a:gd name="T68" fmla="*/ 5 w 32"/>
                <a:gd name="T69" fmla="*/ 42 h 61"/>
                <a:gd name="T70" fmla="*/ 4 w 32"/>
                <a:gd name="T71" fmla="*/ 38 h 61"/>
                <a:gd name="T72" fmla="*/ 4 w 32"/>
                <a:gd name="T73" fmla="*/ 36 h 61"/>
                <a:gd name="T74" fmla="*/ 5 w 32"/>
                <a:gd name="T75" fmla="*/ 36 h 61"/>
                <a:gd name="T76" fmla="*/ 6 w 32"/>
                <a:gd name="T77" fmla="*/ 34 h 61"/>
                <a:gd name="T78" fmla="*/ 5 w 32"/>
                <a:gd name="T79" fmla="*/ 33 h 61"/>
                <a:gd name="T80" fmla="*/ 5 w 32"/>
                <a:gd name="T81" fmla="*/ 30 h 61"/>
                <a:gd name="T82" fmla="*/ 5 w 32"/>
                <a:gd name="T83" fmla="*/ 27 h 61"/>
                <a:gd name="T84" fmla="*/ 4 w 32"/>
                <a:gd name="T85" fmla="*/ 27 h 61"/>
                <a:gd name="T86" fmla="*/ 5 w 32"/>
                <a:gd name="T87" fmla="*/ 26 h 61"/>
                <a:gd name="T88" fmla="*/ 5 w 32"/>
                <a:gd name="T89" fmla="*/ 24 h 61"/>
                <a:gd name="T90" fmla="*/ 4 w 32"/>
                <a:gd name="T91" fmla="*/ 23 h 61"/>
                <a:gd name="T92" fmla="*/ 6 w 32"/>
                <a:gd name="T93" fmla="*/ 21 h 61"/>
                <a:gd name="T94" fmla="*/ 5 w 32"/>
                <a:gd name="T95" fmla="*/ 20 h 61"/>
                <a:gd name="T96" fmla="*/ 5 w 32"/>
                <a:gd name="T97" fmla="*/ 18 h 61"/>
                <a:gd name="T98" fmla="*/ 5 w 32"/>
                <a:gd name="T99" fmla="*/ 15 h 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2" h="61">
                  <a:moveTo>
                    <a:pt x="2" y="16"/>
                  </a:moveTo>
                  <a:lnTo>
                    <a:pt x="1" y="15"/>
                  </a:lnTo>
                  <a:lnTo>
                    <a:pt x="2" y="14"/>
                  </a:lnTo>
                  <a:lnTo>
                    <a:pt x="1" y="11"/>
                  </a:lnTo>
                  <a:lnTo>
                    <a:pt x="2" y="10"/>
                  </a:lnTo>
                  <a:lnTo>
                    <a:pt x="0" y="9"/>
                  </a:lnTo>
                  <a:lnTo>
                    <a:pt x="1" y="7"/>
                  </a:lnTo>
                  <a:lnTo>
                    <a:pt x="2" y="6"/>
                  </a:lnTo>
                  <a:lnTo>
                    <a:pt x="2" y="4"/>
                  </a:lnTo>
                  <a:lnTo>
                    <a:pt x="4" y="3"/>
                  </a:lnTo>
                  <a:lnTo>
                    <a:pt x="4" y="2"/>
                  </a:lnTo>
                  <a:lnTo>
                    <a:pt x="4" y="1"/>
                  </a:lnTo>
                  <a:lnTo>
                    <a:pt x="4" y="1"/>
                  </a:lnTo>
                  <a:lnTo>
                    <a:pt x="5" y="1"/>
                  </a:lnTo>
                  <a:lnTo>
                    <a:pt x="5" y="0"/>
                  </a:lnTo>
                  <a:lnTo>
                    <a:pt x="7" y="0"/>
                  </a:lnTo>
                  <a:lnTo>
                    <a:pt x="7" y="0"/>
                  </a:lnTo>
                  <a:lnTo>
                    <a:pt x="7" y="1"/>
                  </a:lnTo>
                  <a:lnTo>
                    <a:pt x="7" y="2"/>
                  </a:lnTo>
                  <a:lnTo>
                    <a:pt x="8" y="3"/>
                  </a:lnTo>
                  <a:lnTo>
                    <a:pt x="9" y="3"/>
                  </a:lnTo>
                  <a:lnTo>
                    <a:pt x="11" y="2"/>
                  </a:lnTo>
                  <a:lnTo>
                    <a:pt x="12" y="2"/>
                  </a:lnTo>
                  <a:lnTo>
                    <a:pt x="11" y="1"/>
                  </a:lnTo>
                  <a:lnTo>
                    <a:pt x="12" y="1"/>
                  </a:lnTo>
                  <a:lnTo>
                    <a:pt x="14" y="2"/>
                  </a:lnTo>
                  <a:lnTo>
                    <a:pt x="14" y="3"/>
                  </a:lnTo>
                  <a:lnTo>
                    <a:pt x="14" y="4"/>
                  </a:lnTo>
                  <a:lnTo>
                    <a:pt x="15" y="6"/>
                  </a:lnTo>
                  <a:lnTo>
                    <a:pt x="15" y="7"/>
                  </a:lnTo>
                  <a:lnTo>
                    <a:pt x="18" y="7"/>
                  </a:lnTo>
                  <a:lnTo>
                    <a:pt x="19" y="7"/>
                  </a:lnTo>
                  <a:lnTo>
                    <a:pt x="20" y="8"/>
                  </a:lnTo>
                  <a:lnTo>
                    <a:pt x="20" y="9"/>
                  </a:lnTo>
                  <a:lnTo>
                    <a:pt x="21" y="10"/>
                  </a:lnTo>
                  <a:lnTo>
                    <a:pt x="21" y="11"/>
                  </a:lnTo>
                  <a:lnTo>
                    <a:pt x="22" y="13"/>
                  </a:lnTo>
                  <a:lnTo>
                    <a:pt x="21" y="13"/>
                  </a:lnTo>
                  <a:lnTo>
                    <a:pt x="22" y="14"/>
                  </a:lnTo>
                  <a:lnTo>
                    <a:pt x="22" y="14"/>
                  </a:lnTo>
                  <a:lnTo>
                    <a:pt x="22" y="15"/>
                  </a:lnTo>
                  <a:lnTo>
                    <a:pt x="21" y="16"/>
                  </a:lnTo>
                  <a:lnTo>
                    <a:pt x="21" y="17"/>
                  </a:lnTo>
                  <a:lnTo>
                    <a:pt x="21" y="18"/>
                  </a:lnTo>
                  <a:lnTo>
                    <a:pt x="21" y="18"/>
                  </a:lnTo>
                  <a:lnTo>
                    <a:pt x="21" y="20"/>
                  </a:lnTo>
                  <a:lnTo>
                    <a:pt x="22" y="21"/>
                  </a:lnTo>
                  <a:lnTo>
                    <a:pt x="21" y="23"/>
                  </a:lnTo>
                  <a:lnTo>
                    <a:pt x="22" y="24"/>
                  </a:lnTo>
                  <a:lnTo>
                    <a:pt x="22" y="24"/>
                  </a:lnTo>
                  <a:lnTo>
                    <a:pt x="22" y="26"/>
                  </a:lnTo>
                  <a:lnTo>
                    <a:pt x="22" y="26"/>
                  </a:lnTo>
                  <a:lnTo>
                    <a:pt x="22" y="27"/>
                  </a:lnTo>
                  <a:lnTo>
                    <a:pt x="22" y="27"/>
                  </a:lnTo>
                  <a:lnTo>
                    <a:pt x="22" y="29"/>
                  </a:lnTo>
                  <a:lnTo>
                    <a:pt x="24" y="30"/>
                  </a:lnTo>
                  <a:lnTo>
                    <a:pt x="24" y="31"/>
                  </a:lnTo>
                  <a:lnTo>
                    <a:pt x="24" y="31"/>
                  </a:lnTo>
                  <a:lnTo>
                    <a:pt x="25" y="31"/>
                  </a:lnTo>
                  <a:lnTo>
                    <a:pt x="26" y="35"/>
                  </a:lnTo>
                  <a:lnTo>
                    <a:pt x="27" y="35"/>
                  </a:lnTo>
                  <a:lnTo>
                    <a:pt x="27" y="34"/>
                  </a:lnTo>
                  <a:lnTo>
                    <a:pt x="28" y="35"/>
                  </a:lnTo>
                  <a:lnTo>
                    <a:pt x="29" y="34"/>
                  </a:lnTo>
                  <a:lnTo>
                    <a:pt x="29" y="35"/>
                  </a:lnTo>
                  <a:lnTo>
                    <a:pt x="29" y="36"/>
                  </a:lnTo>
                  <a:lnTo>
                    <a:pt x="29" y="37"/>
                  </a:lnTo>
                  <a:lnTo>
                    <a:pt x="29" y="37"/>
                  </a:lnTo>
                  <a:lnTo>
                    <a:pt x="31" y="41"/>
                  </a:lnTo>
                  <a:lnTo>
                    <a:pt x="32" y="42"/>
                  </a:lnTo>
                  <a:lnTo>
                    <a:pt x="31" y="43"/>
                  </a:lnTo>
                  <a:lnTo>
                    <a:pt x="31" y="44"/>
                  </a:lnTo>
                  <a:lnTo>
                    <a:pt x="29" y="44"/>
                  </a:lnTo>
                  <a:lnTo>
                    <a:pt x="29" y="44"/>
                  </a:lnTo>
                  <a:lnTo>
                    <a:pt x="28" y="44"/>
                  </a:lnTo>
                  <a:lnTo>
                    <a:pt x="27" y="44"/>
                  </a:lnTo>
                  <a:lnTo>
                    <a:pt x="27" y="46"/>
                  </a:lnTo>
                  <a:lnTo>
                    <a:pt x="27" y="47"/>
                  </a:lnTo>
                  <a:lnTo>
                    <a:pt x="26" y="48"/>
                  </a:lnTo>
                  <a:lnTo>
                    <a:pt x="26" y="49"/>
                  </a:lnTo>
                  <a:lnTo>
                    <a:pt x="26" y="49"/>
                  </a:lnTo>
                  <a:lnTo>
                    <a:pt x="26" y="50"/>
                  </a:lnTo>
                  <a:lnTo>
                    <a:pt x="26" y="51"/>
                  </a:lnTo>
                  <a:lnTo>
                    <a:pt x="26" y="51"/>
                  </a:lnTo>
                  <a:lnTo>
                    <a:pt x="25" y="53"/>
                  </a:lnTo>
                  <a:lnTo>
                    <a:pt x="24" y="51"/>
                  </a:lnTo>
                  <a:lnTo>
                    <a:pt x="24" y="53"/>
                  </a:lnTo>
                  <a:lnTo>
                    <a:pt x="22" y="53"/>
                  </a:lnTo>
                  <a:lnTo>
                    <a:pt x="22" y="53"/>
                  </a:lnTo>
                  <a:lnTo>
                    <a:pt x="21" y="53"/>
                  </a:lnTo>
                  <a:lnTo>
                    <a:pt x="21" y="55"/>
                  </a:lnTo>
                  <a:lnTo>
                    <a:pt x="21" y="55"/>
                  </a:lnTo>
                  <a:lnTo>
                    <a:pt x="22" y="56"/>
                  </a:lnTo>
                  <a:lnTo>
                    <a:pt x="22" y="58"/>
                  </a:lnTo>
                  <a:lnTo>
                    <a:pt x="22" y="58"/>
                  </a:lnTo>
                  <a:lnTo>
                    <a:pt x="22" y="58"/>
                  </a:lnTo>
                  <a:lnTo>
                    <a:pt x="22" y="58"/>
                  </a:lnTo>
                  <a:lnTo>
                    <a:pt x="21" y="58"/>
                  </a:lnTo>
                  <a:lnTo>
                    <a:pt x="20" y="60"/>
                  </a:lnTo>
                  <a:lnTo>
                    <a:pt x="20" y="61"/>
                  </a:lnTo>
                  <a:lnTo>
                    <a:pt x="19" y="61"/>
                  </a:lnTo>
                  <a:lnTo>
                    <a:pt x="18" y="61"/>
                  </a:lnTo>
                  <a:lnTo>
                    <a:pt x="17" y="61"/>
                  </a:lnTo>
                  <a:lnTo>
                    <a:pt x="15" y="60"/>
                  </a:lnTo>
                  <a:lnTo>
                    <a:pt x="17" y="58"/>
                  </a:lnTo>
                  <a:lnTo>
                    <a:pt x="15" y="57"/>
                  </a:lnTo>
                  <a:lnTo>
                    <a:pt x="15" y="56"/>
                  </a:lnTo>
                  <a:lnTo>
                    <a:pt x="14" y="56"/>
                  </a:lnTo>
                  <a:lnTo>
                    <a:pt x="14" y="55"/>
                  </a:lnTo>
                  <a:lnTo>
                    <a:pt x="14" y="54"/>
                  </a:lnTo>
                  <a:lnTo>
                    <a:pt x="14" y="53"/>
                  </a:lnTo>
                  <a:lnTo>
                    <a:pt x="13" y="53"/>
                  </a:lnTo>
                  <a:lnTo>
                    <a:pt x="13" y="51"/>
                  </a:lnTo>
                  <a:lnTo>
                    <a:pt x="12" y="53"/>
                  </a:lnTo>
                  <a:lnTo>
                    <a:pt x="11" y="51"/>
                  </a:lnTo>
                  <a:lnTo>
                    <a:pt x="11" y="51"/>
                  </a:lnTo>
                  <a:lnTo>
                    <a:pt x="9" y="50"/>
                  </a:lnTo>
                  <a:lnTo>
                    <a:pt x="9" y="50"/>
                  </a:lnTo>
                  <a:lnTo>
                    <a:pt x="8" y="50"/>
                  </a:lnTo>
                  <a:lnTo>
                    <a:pt x="6" y="49"/>
                  </a:lnTo>
                  <a:lnTo>
                    <a:pt x="6" y="48"/>
                  </a:lnTo>
                  <a:lnTo>
                    <a:pt x="5" y="47"/>
                  </a:lnTo>
                  <a:lnTo>
                    <a:pt x="5" y="47"/>
                  </a:lnTo>
                  <a:lnTo>
                    <a:pt x="5" y="46"/>
                  </a:lnTo>
                  <a:lnTo>
                    <a:pt x="4" y="46"/>
                  </a:lnTo>
                  <a:lnTo>
                    <a:pt x="4" y="46"/>
                  </a:lnTo>
                  <a:lnTo>
                    <a:pt x="4" y="44"/>
                  </a:lnTo>
                  <a:lnTo>
                    <a:pt x="4" y="44"/>
                  </a:lnTo>
                  <a:lnTo>
                    <a:pt x="5" y="46"/>
                  </a:lnTo>
                  <a:lnTo>
                    <a:pt x="5" y="46"/>
                  </a:lnTo>
                  <a:lnTo>
                    <a:pt x="5" y="47"/>
                  </a:lnTo>
                  <a:lnTo>
                    <a:pt x="6" y="47"/>
                  </a:lnTo>
                  <a:lnTo>
                    <a:pt x="6" y="47"/>
                  </a:lnTo>
                  <a:lnTo>
                    <a:pt x="7" y="46"/>
                  </a:lnTo>
                  <a:lnTo>
                    <a:pt x="6" y="44"/>
                  </a:lnTo>
                  <a:lnTo>
                    <a:pt x="5" y="43"/>
                  </a:lnTo>
                  <a:lnTo>
                    <a:pt x="6" y="43"/>
                  </a:lnTo>
                  <a:lnTo>
                    <a:pt x="6" y="42"/>
                  </a:lnTo>
                  <a:lnTo>
                    <a:pt x="5" y="42"/>
                  </a:lnTo>
                  <a:lnTo>
                    <a:pt x="5" y="42"/>
                  </a:lnTo>
                  <a:lnTo>
                    <a:pt x="4" y="42"/>
                  </a:lnTo>
                  <a:lnTo>
                    <a:pt x="2" y="41"/>
                  </a:lnTo>
                  <a:lnTo>
                    <a:pt x="4" y="40"/>
                  </a:lnTo>
                  <a:lnTo>
                    <a:pt x="4" y="38"/>
                  </a:lnTo>
                  <a:lnTo>
                    <a:pt x="4" y="37"/>
                  </a:lnTo>
                  <a:lnTo>
                    <a:pt x="5" y="37"/>
                  </a:lnTo>
                  <a:lnTo>
                    <a:pt x="5" y="36"/>
                  </a:lnTo>
                  <a:lnTo>
                    <a:pt x="4" y="36"/>
                  </a:lnTo>
                  <a:lnTo>
                    <a:pt x="4" y="35"/>
                  </a:lnTo>
                  <a:lnTo>
                    <a:pt x="5" y="35"/>
                  </a:lnTo>
                  <a:lnTo>
                    <a:pt x="5" y="35"/>
                  </a:lnTo>
                  <a:lnTo>
                    <a:pt x="5" y="36"/>
                  </a:lnTo>
                  <a:lnTo>
                    <a:pt x="5" y="35"/>
                  </a:lnTo>
                  <a:lnTo>
                    <a:pt x="5" y="36"/>
                  </a:lnTo>
                  <a:lnTo>
                    <a:pt x="6" y="35"/>
                  </a:lnTo>
                  <a:lnTo>
                    <a:pt x="6" y="34"/>
                  </a:lnTo>
                  <a:lnTo>
                    <a:pt x="6" y="33"/>
                  </a:lnTo>
                  <a:lnTo>
                    <a:pt x="5" y="34"/>
                  </a:lnTo>
                  <a:lnTo>
                    <a:pt x="5" y="34"/>
                  </a:lnTo>
                  <a:lnTo>
                    <a:pt x="5" y="33"/>
                  </a:lnTo>
                  <a:lnTo>
                    <a:pt x="5" y="33"/>
                  </a:lnTo>
                  <a:lnTo>
                    <a:pt x="5" y="33"/>
                  </a:lnTo>
                  <a:lnTo>
                    <a:pt x="5" y="31"/>
                  </a:lnTo>
                  <a:lnTo>
                    <a:pt x="5" y="30"/>
                  </a:lnTo>
                  <a:lnTo>
                    <a:pt x="5" y="29"/>
                  </a:lnTo>
                  <a:lnTo>
                    <a:pt x="6" y="28"/>
                  </a:lnTo>
                  <a:lnTo>
                    <a:pt x="6" y="28"/>
                  </a:lnTo>
                  <a:lnTo>
                    <a:pt x="5" y="27"/>
                  </a:lnTo>
                  <a:lnTo>
                    <a:pt x="5" y="28"/>
                  </a:lnTo>
                  <a:lnTo>
                    <a:pt x="4" y="28"/>
                  </a:lnTo>
                  <a:lnTo>
                    <a:pt x="4" y="27"/>
                  </a:lnTo>
                  <a:lnTo>
                    <a:pt x="4" y="27"/>
                  </a:lnTo>
                  <a:lnTo>
                    <a:pt x="4" y="26"/>
                  </a:lnTo>
                  <a:lnTo>
                    <a:pt x="4" y="26"/>
                  </a:lnTo>
                  <a:lnTo>
                    <a:pt x="4" y="26"/>
                  </a:lnTo>
                  <a:lnTo>
                    <a:pt x="5" y="26"/>
                  </a:lnTo>
                  <a:lnTo>
                    <a:pt x="5" y="24"/>
                  </a:lnTo>
                  <a:lnTo>
                    <a:pt x="4" y="24"/>
                  </a:lnTo>
                  <a:lnTo>
                    <a:pt x="4" y="24"/>
                  </a:lnTo>
                  <a:lnTo>
                    <a:pt x="5" y="24"/>
                  </a:lnTo>
                  <a:lnTo>
                    <a:pt x="5" y="23"/>
                  </a:lnTo>
                  <a:lnTo>
                    <a:pt x="6" y="23"/>
                  </a:lnTo>
                  <a:lnTo>
                    <a:pt x="5" y="23"/>
                  </a:lnTo>
                  <a:lnTo>
                    <a:pt x="4" y="23"/>
                  </a:lnTo>
                  <a:lnTo>
                    <a:pt x="4" y="22"/>
                  </a:lnTo>
                  <a:lnTo>
                    <a:pt x="4" y="21"/>
                  </a:lnTo>
                  <a:lnTo>
                    <a:pt x="5" y="22"/>
                  </a:lnTo>
                  <a:lnTo>
                    <a:pt x="6" y="21"/>
                  </a:lnTo>
                  <a:lnTo>
                    <a:pt x="5" y="21"/>
                  </a:lnTo>
                  <a:lnTo>
                    <a:pt x="6" y="21"/>
                  </a:lnTo>
                  <a:lnTo>
                    <a:pt x="6" y="20"/>
                  </a:lnTo>
                  <a:lnTo>
                    <a:pt x="5" y="20"/>
                  </a:lnTo>
                  <a:lnTo>
                    <a:pt x="5" y="20"/>
                  </a:lnTo>
                  <a:lnTo>
                    <a:pt x="6" y="20"/>
                  </a:lnTo>
                  <a:lnTo>
                    <a:pt x="6" y="18"/>
                  </a:lnTo>
                  <a:lnTo>
                    <a:pt x="5" y="18"/>
                  </a:lnTo>
                  <a:lnTo>
                    <a:pt x="6" y="17"/>
                  </a:lnTo>
                  <a:lnTo>
                    <a:pt x="6" y="16"/>
                  </a:lnTo>
                  <a:lnTo>
                    <a:pt x="6" y="16"/>
                  </a:lnTo>
                  <a:lnTo>
                    <a:pt x="5" y="15"/>
                  </a:lnTo>
                  <a:lnTo>
                    <a:pt x="4" y="16"/>
                  </a:lnTo>
                  <a:lnTo>
                    <a:pt x="2" y="16"/>
                  </a:lnTo>
                  <a:lnTo>
                    <a:pt x="2" y="16"/>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58" name="Afganistan">
              <a:extLst>
                <a:ext uri="{FF2B5EF4-FFF2-40B4-BE49-F238E27FC236}">
                  <a16:creationId xmlns:a16="http://schemas.microsoft.com/office/drawing/2014/main" id="{DF191C87-40B7-3D46-8B42-9BBA90A1F113}"/>
                </a:ext>
              </a:extLst>
            </p:cNvPr>
            <p:cNvSpPr>
              <a:spLocks/>
            </p:cNvSpPr>
            <p:nvPr/>
          </p:nvSpPr>
          <p:spPr bwMode="auto">
            <a:xfrm>
              <a:off x="7875682" y="2834752"/>
              <a:ext cx="339703" cy="271178"/>
            </a:xfrm>
            <a:custGeom>
              <a:avLst/>
              <a:gdLst>
                <a:gd name="T0" fmla="*/ 120 w 233"/>
                <a:gd name="T1" fmla="*/ 29 h 186"/>
                <a:gd name="T2" fmla="*/ 127 w 233"/>
                <a:gd name="T3" fmla="*/ 23 h 186"/>
                <a:gd name="T4" fmla="*/ 136 w 233"/>
                <a:gd name="T5" fmla="*/ 29 h 186"/>
                <a:gd name="T6" fmla="*/ 136 w 233"/>
                <a:gd name="T7" fmla="*/ 23 h 186"/>
                <a:gd name="T8" fmla="*/ 144 w 233"/>
                <a:gd name="T9" fmla="*/ 18 h 186"/>
                <a:gd name="T10" fmla="*/ 150 w 233"/>
                <a:gd name="T11" fmla="*/ 16 h 186"/>
                <a:gd name="T12" fmla="*/ 153 w 233"/>
                <a:gd name="T13" fmla="*/ 0 h 186"/>
                <a:gd name="T14" fmla="*/ 166 w 233"/>
                <a:gd name="T15" fmla="*/ 10 h 186"/>
                <a:gd name="T16" fmla="*/ 174 w 233"/>
                <a:gd name="T17" fmla="*/ 31 h 186"/>
                <a:gd name="T18" fmla="*/ 194 w 233"/>
                <a:gd name="T19" fmla="*/ 30 h 186"/>
                <a:gd name="T20" fmla="*/ 211 w 233"/>
                <a:gd name="T21" fmla="*/ 22 h 186"/>
                <a:gd name="T22" fmla="*/ 218 w 233"/>
                <a:gd name="T23" fmla="*/ 23 h 186"/>
                <a:gd name="T24" fmla="*/ 233 w 233"/>
                <a:gd name="T25" fmla="*/ 25 h 186"/>
                <a:gd name="T26" fmla="*/ 222 w 233"/>
                <a:gd name="T27" fmla="*/ 32 h 186"/>
                <a:gd name="T28" fmla="*/ 206 w 233"/>
                <a:gd name="T29" fmla="*/ 32 h 186"/>
                <a:gd name="T30" fmla="*/ 188 w 233"/>
                <a:gd name="T31" fmla="*/ 36 h 186"/>
                <a:gd name="T32" fmla="*/ 182 w 233"/>
                <a:gd name="T33" fmla="*/ 42 h 186"/>
                <a:gd name="T34" fmla="*/ 178 w 233"/>
                <a:gd name="T35" fmla="*/ 43 h 186"/>
                <a:gd name="T36" fmla="*/ 175 w 233"/>
                <a:gd name="T37" fmla="*/ 49 h 186"/>
                <a:gd name="T38" fmla="*/ 182 w 233"/>
                <a:gd name="T39" fmla="*/ 56 h 186"/>
                <a:gd name="T40" fmla="*/ 184 w 233"/>
                <a:gd name="T41" fmla="*/ 64 h 186"/>
                <a:gd name="T42" fmla="*/ 184 w 233"/>
                <a:gd name="T43" fmla="*/ 72 h 186"/>
                <a:gd name="T44" fmla="*/ 178 w 233"/>
                <a:gd name="T45" fmla="*/ 80 h 186"/>
                <a:gd name="T46" fmla="*/ 183 w 233"/>
                <a:gd name="T47" fmla="*/ 90 h 186"/>
                <a:gd name="T48" fmla="*/ 166 w 233"/>
                <a:gd name="T49" fmla="*/ 97 h 186"/>
                <a:gd name="T50" fmla="*/ 174 w 233"/>
                <a:gd name="T51" fmla="*/ 105 h 186"/>
                <a:gd name="T52" fmla="*/ 160 w 233"/>
                <a:gd name="T53" fmla="*/ 111 h 186"/>
                <a:gd name="T54" fmla="*/ 162 w 233"/>
                <a:gd name="T55" fmla="*/ 133 h 186"/>
                <a:gd name="T56" fmla="*/ 150 w 233"/>
                <a:gd name="T57" fmla="*/ 137 h 186"/>
                <a:gd name="T58" fmla="*/ 147 w 233"/>
                <a:gd name="T59" fmla="*/ 137 h 186"/>
                <a:gd name="T60" fmla="*/ 143 w 233"/>
                <a:gd name="T61" fmla="*/ 137 h 186"/>
                <a:gd name="T62" fmla="*/ 140 w 233"/>
                <a:gd name="T63" fmla="*/ 140 h 186"/>
                <a:gd name="T64" fmla="*/ 136 w 233"/>
                <a:gd name="T65" fmla="*/ 145 h 186"/>
                <a:gd name="T66" fmla="*/ 124 w 233"/>
                <a:gd name="T67" fmla="*/ 149 h 186"/>
                <a:gd name="T68" fmla="*/ 118 w 233"/>
                <a:gd name="T69" fmla="*/ 153 h 186"/>
                <a:gd name="T70" fmla="*/ 116 w 233"/>
                <a:gd name="T71" fmla="*/ 169 h 186"/>
                <a:gd name="T72" fmla="*/ 97 w 233"/>
                <a:gd name="T73" fmla="*/ 185 h 186"/>
                <a:gd name="T74" fmla="*/ 82 w 233"/>
                <a:gd name="T75" fmla="*/ 184 h 186"/>
                <a:gd name="T76" fmla="*/ 24 w 233"/>
                <a:gd name="T77" fmla="*/ 176 h 186"/>
                <a:gd name="T78" fmla="*/ 34 w 233"/>
                <a:gd name="T79" fmla="*/ 149 h 186"/>
                <a:gd name="T80" fmla="*/ 14 w 233"/>
                <a:gd name="T81" fmla="*/ 133 h 186"/>
                <a:gd name="T82" fmla="*/ 10 w 233"/>
                <a:gd name="T83" fmla="*/ 100 h 186"/>
                <a:gd name="T84" fmla="*/ 0 w 233"/>
                <a:gd name="T85" fmla="*/ 89 h 186"/>
                <a:gd name="T86" fmla="*/ 7 w 233"/>
                <a:gd name="T87" fmla="*/ 82 h 186"/>
                <a:gd name="T88" fmla="*/ 7 w 233"/>
                <a:gd name="T89" fmla="*/ 71 h 186"/>
                <a:gd name="T90" fmla="*/ 7 w 233"/>
                <a:gd name="T91" fmla="*/ 68 h 186"/>
                <a:gd name="T92" fmla="*/ 9 w 233"/>
                <a:gd name="T93" fmla="*/ 58 h 186"/>
                <a:gd name="T94" fmla="*/ 26 w 233"/>
                <a:gd name="T95" fmla="*/ 65 h 186"/>
                <a:gd name="T96" fmla="*/ 40 w 233"/>
                <a:gd name="T97" fmla="*/ 63 h 186"/>
                <a:gd name="T98" fmla="*/ 37 w 233"/>
                <a:gd name="T99" fmla="*/ 53 h 186"/>
                <a:gd name="T100" fmla="*/ 51 w 233"/>
                <a:gd name="T101" fmla="*/ 48 h 186"/>
                <a:gd name="T102" fmla="*/ 60 w 233"/>
                <a:gd name="T103" fmla="*/ 45 h 186"/>
                <a:gd name="T104" fmla="*/ 61 w 233"/>
                <a:gd name="T105" fmla="*/ 29 h 186"/>
                <a:gd name="T106" fmla="*/ 74 w 233"/>
                <a:gd name="T107" fmla="*/ 19 h 186"/>
                <a:gd name="T108" fmla="*/ 96 w 233"/>
                <a:gd name="T109" fmla="*/ 23 h 186"/>
                <a:gd name="T110" fmla="*/ 110 w 233"/>
                <a:gd name="T111" fmla="*/ 25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33" h="186">
                  <a:moveTo>
                    <a:pt x="110" y="25"/>
                  </a:moveTo>
                  <a:lnTo>
                    <a:pt x="110" y="29"/>
                  </a:lnTo>
                  <a:lnTo>
                    <a:pt x="113" y="28"/>
                  </a:lnTo>
                  <a:lnTo>
                    <a:pt x="120" y="29"/>
                  </a:lnTo>
                  <a:lnTo>
                    <a:pt x="126" y="26"/>
                  </a:lnTo>
                  <a:lnTo>
                    <a:pt x="126" y="24"/>
                  </a:lnTo>
                  <a:lnTo>
                    <a:pt x="128" y="25"/>
                  </a:lnTo>
                  <a:lnTo>
                    <a:pt x="127" y="23"/>
                  </a:lnTo>
                  <a:lnTo>
                    <a:pt x="128" y="24"/>
                  </a:lnTo>
                  <a:lnTo>
                    <a:pt x="128" y="23"/>
                  </a:lnTo>
                  <a:lnTo>
                    <a:pt x="130" y="24"/>
                  </a:lnTo>
                  <a:lnTo>
                    <a:pt x="136" y="29"/>
                  </a:lnTo>
                  <a:lnTo>
                    <a:pt x="138" y="26"/>
                  </a:lnTo>
                  <a:lnTo>
                    <a:pt x="138" y="25"/>
                  </a:lnTo>
                  <a:lnTo>
                    <a:pt x="137" y="24"/>
                  </a:lnTo>
                  <a:lnTo>
                    <a:pt x="136" y="23"/>
                  </a:lnTo>
                  <a:lnTo>
                    <a:pt x="136" y="23"/>
                  </a:lnTo>
                  <a:lnTo>
                    <a:pt x="135" y="20"/>
                  </a:lnTo>
                  <a:lnTo>
                    <a:pt x="138" y="18"/>
                  </a:lnTo>
                  <a:lnTo>
                    <a:pt x="144" y="18"/>
                  </a:lnTo>
                  <a:lnTo>
                    <a:pt x="147" y="18"/>
                  </a:lnTo>
                  <a:lnTo>
                    <a:pt x="149" y="19"/>
                  </a:lnTo>
                  <a:lnTo>
                    <a:pt x="150" y="17"/>
                  </a:lnTo>
                  <a:lnTo>
                    <a:pt x="150" y="16"/>
                  </a:lnTo>
                  <a:lnTo>
                    <a:pt x="147" y="11"/>
                  </a:lnTo>
                  <a:lnTo>
                    <a:pt x="148" y="11"/>
                  </a:lnTo>
                  <a:lnTo>
                    <a:pt x="151" y="8"/>
                  </a:lnTo>
                  <a:lnTo>
                    <a:pt x="153" y="0"/>
                  </a:lnTo>
                  <a:lnTo>
                    <a:pt x="158" y="0"/>
                  </a:lnTo>
                  <a:lnTo>
                    <a:pt x="164" y="3"/>
                  </a:lnTo>
                  <a:lnTo>
                    <a:pt x="166" y="6"/>
                  </a:lnTo>
                  <a:lnTo>
                    <a:pt x="166" y="10"/>
                  </a:lnTo>
                  <a:lnTo>
                    <a:pt x="166" y="11"/>
                  </a:lnTo>
                  <a:lnTo>
                    <a:pt x="170" y="10"/>
                  </a:lnTo>
                  <a:lnTo>
                    <a:pt x="171" y="12"/>
                  </a:lnTo>
                  <a:lnTo>
                    <a:pt x="174" y="31"/>
                  </a:lnTo>
                  <a:lnTo>
                    <a:pt x="178" y="36"/>
                  </a:lnTo>
                  <a:lnTo>
                    <a:pt x="182" y="36"/>
                  </a:lnTo>
                  <a:lnTo>
                    <a:pt x="188" y="30"/>
                  </a:lnTo>
                  <a:lnTo>
                    <a:pt x="194" y="30"/>
                  </a:lnTo>
                  <a:lnTo>
                    <a:pt x="196" y="25"/>
                  </a:lnTo>
                  <a:lnTo>
                    <a:pt x="198" y="24"/>
                  </a:lnTo>
                  <a:lnTo>
                    <a:pt x="203" y="20"/>
                  </a:lnTo>
                  <a:lnTo>
                    <a:pt x="211" y="22"/>
                  </a:lnTo>
                  <a:lnTo>
                    <a:pt x="211" y="23"/>
                  </a:lnTo>
                  <a:lnTo>
                    <a:pt x="209" y="24"/>
                  </a:lnTo>
                  <a:lnTo>
                    <a:pt x="210" y="25"/>
                  </a:lnTo>
                  <a:lnTo>
                    <a:pt x="218" y="23"/>
                  </a:lnTo>
                  <a:lnTo>
                    <a:pt x="218" y="22"/>
                  </a:lnTo>
                  <a:lnTo>
                    <a:pt x="221" y="22"/>
                  </a:lnTo>
                  <a:lnTo>
                    <a:pt x="227" y="22"/>
                  </a:lnTo>
                  <a:lnTo>
                    <a:pt x="233" y="25"/>
                  </a:lnTo>
                  <a:lnTo>
                    <a:pt x="233" y="31"/>
                  </a:lnTo>
                  <a:lnTo>
                    <a:pt x="227" y="35"/>
                  </a:lnTo>
                  <a:lnTo>
                    <a:pt x="223" y="30"/>
                  </a:lnTo>
                  <a:lnTo>
                    <a:pt x="222" y="32"/>
                  </a:lnTo>
                  <a:lnTo>
                    <a:pt x="218" y="33"/>
                  </a:lnTo>
                  <a:lnTo>
                    <a:pt x="211" y="32"/>
                  </a:lnTo>
                  <a:lnTo>
                    <a:pt x="207" y="32"/>
                  </a:lnTo>
                  <a:lnTo>
                    <a:pt x="206" y="32"/>
                  </a:lnTo>
                  <a:lnTo>
                    <a:pt x="202" y="32"/>
                  </a:lnTo>
                  <a:lnTo>
                    <a:pt x="201" y="32"/>
                  </a:lnTo>
                  <a:lnTo>
                    <a:pt x="198" y="33"/>
                  </a:lnTo>
                  <a:lnTo>
                    <a:pt x="188" y="36"/>
                  </a:lnTo>
                  <a:lnTo>
                    <a:pt x="188" y="37"/>
                  </a:lnTo>
                  <a:lnTo>
                    <a:pt x="186" y="37"/>
                  </a:lnTo>
                  <a:lnTo>
                    <a:pt x="187" y="39"/>
                  </a:lnTo>
                  <a:lnTo>
                    <a:pt x="182" y="42"/>
                  </a:lnTo>
                  <a:lnTo>
                    <a:pt x="182" y="42"/>
                  </a:lnTo>
                  <a:lnTo>
                    <a:pt x="180" y="42"/>
                  </a:lnTo>
                  <a:lnTo>
                    <a:pt x="180" y="42"/>
                  </a:lnTo>
                  <a:lnTo>
                    <a:pt x="178" y="43"/>
                  </a:lnTo>
                  <a:lnTo>
                    <a:pt x="180" y="44"/>
                  </a:lnTo>
                  <a:lnTo>
                    <a:pt x="177" y="46"/>
                  </a:lnTo>
                  <a:lnTo>
                    <a:pt x="176" y="46"/>
                  </a:lnTo>
                  <a:lnTo>
                    <a:pt x="175" y="49"/>
                  </a:lnTo>
                  <a:lnTo>
                    <a:pt x="174" y="50"/>
                  </a:lnTo>
                  <a:lnTo>
                    <a:pt x="177" y="51"/>
                  </a:lnTo>
                  <a:lnTo>
                    <a:pt x="178" y="51"/>
                  </a:lnTo>
                  <a:lnTo>
                    <a:pt x="182" y="56"/>
                  </a:lnTo>
                  <a:lnTo>
                    <a:pt x="181" y="58"/>
                  </a:lnTo>
                  <a:lnTo>
                    <a:pt x="184" y="59"/>
                  </a:lnTo>
                  <a:lnTo>
                    <a:pt x="184" y="63"/>
                  </a:lnTo>
                  <a:lnTo>
                    <a:pt x="184" y="64"/>
                  </a:lnTo>
                  <a:lnTo>
                    <a:pt x="186" y="66"/>
                  </a:lnTo>
                  <a:lnTo>
                    <a:pt x="186" y="68"/>
                  </a:lnTo>
                  <a:lnTo>
                    <a:pt x="186" y="69"/>
                  </a:lnTo>
                  <a:lnTo>
                    <a:pt x="184" y="72"/>
                  </a:lnTo>
                  <a:lnTo>
                    <a:pt x="183" y="75"/>
                  </a:lnTo>
                  <a:lnTo>
                    <a:pt x="180" y="78"/>
                  </a:lnTo>
                  <a:lnTo>
                    <a:pt x="180" y="79"/>
                  </a:lnTo>
                  <a:lnTo>
                    <a:pt x="178" y="80"/>
                  </a:lnTo>
                  <a:lnTo>
                    <a:pt x="181" y="84"/>
                  </a:lnTo>
                  <a:lnTo>
                    <a:pt x="183" y="84"/>
                  </a:lnTo>
                  <a:lnTo>
                    <a:pt x="183" y="88"/>
                  </a:lnTo>
                  <a:lnTo>
                    <a:pt x="183" y="90"/>
                  </a:lnTo>
                  <a:lnTo>
                    <a:pt x="177" y="92"/>
                  </a:lnTo>
                  <a:lnTo>
                    <a:pt x="162" y="91"/>
                  </a:lnTo>
                  <a:lnTo>
                    <a:pt x="162" y="93"/>
                  </a:lnTo>
                  <a:lnTo>
                    <a:pt x="166" y="97"/>
                  </a:lnTo>
                  <a:lnTo>
                    <a:pt x="168" y="97"/>
                  </a:lnTo>
                  <a:lnTo>
                    <a:pt x="170" y="103"/>
                  </a:lnTo>
                  <a:lnTo>
                    <a:pt x="171" y="104"/>
                  </a:lnTo>
                  <a:lnTo>
                    <a:pt x="174" y="105"/>
                  </a:lnTo>
                  <a:lnTo>
                    <a:pt x="170" y="108"/>
                  </a:lnTo>
                  <a:lnTo>
                    <a:pt x="167" y="111"/>
                  </a:lnTo>
                  <a:lnTo>
                    <a:pt x="163" y="110"/>
                  </a:lnTo>
                  <a:lnTo>
                    <a:pt x="160" y="111"/>
                  </a:lnTo>
                  <a:lnTo>
                    <a:pt x="162" y="116"/>
                  </a:lnTo>
                  <a:lnTo>
                    <a:pt x="158" y="123"/>
                  </a:lnTo>
                  <a:lnTo>
                    <a:pt x="160" y="130"/>
                  </a:lnTo>
                  <a:lnTo>
                    <a:pt x="162" y="133"/>
                  </a:lnTo>
                  <a:lnTo>
                    <a:pt x="161" y="136"/>
                  </a:lnTo>
                  <a:lnTo>
                    <a:pt x="158" y="140"/>
                  </a:lnTo>
                  <a:lnTo>
                    <a:pt x="154" y="140"/>
                  </a:lnTo>
                  <a:lnTo>
                    <a:pt x="150" y="137"/>
                  </a:lnTo>
                  <a:lnTo>
                    <a:pt x="150" y="137"/>
                  </a:lnTo>
                  <a:lnTo>
                    <a:pt x="149" y="137"/>
                  </a:lnTo>
                  <a:lnTo>
                    <a:pt x="149" y="136"/>
                  </a:lnTo>
                  <a:lnTo>
                    <a:pt x="147" y="137"/>
                  </a:lnTo>
                  <a:lnTo>
                    <a:pt x="149" y="137"/>
                  </a:lnTo>
                  <a:lnTo>
                    <a:pt x="149" y="138"/>
                  </a:lnTo>
                  <a:lnTo>
                    <a:pt x="146" y="137"/>
                  </a:lnTo>
                  <a:lnTo>
                    <a:pt x="143" y="137"/>
                  </a:lnTo>
                  <a:lnTo>
                    <a:pt x="142" y="137"/>
                  </a:lnTo>
                  <a:lnTo>
                    <a:pt x="142" y="138"/>
                  </a:lnTo>
                  <a:lnTo>
                    <a:pt x="141" y="138"/>
                  </a:lnTo>
                  <a:lnTo>
                    <a:pt x="140" y="140"/>
                  </a:lnTo>
                  <a:lnTo>
                    <a:pt x="137" y="140"/>
                  </a:lnTo>
                  <a:lnTo>
                    <a:pt x="137" y="140"/>
                  </a:lnTo>
                  <a:lnTo>
                    <a:pt x="134" y="143"/>
                  </a:lnTo>
                  <a:lnTo>
                    <a:pt x="136" y="145"/>
                  </a:lnTo>
                  <a:lnTo>
                    <a:pt x="136" y="145"/>
                  </a:lnTo>
                  <a:lnTo>
                    <a:pt x="137" y="146"/>
                  </a:lnTo>
                  <a:lnTo>
                    <a:pt x="130" y="149"/>
                  </a:lnTo>
                  <a:lnTo>
                    <a:pt x="124" y="149"/>
                  </a:lnTo>
                  <a:lnTo>
                    <a:pt x="126" y="147"/>
                  </a:lnTo>
                  <a:lnTo>
                    <a:pt x="121" y="147"/>
                  </a:lnTo>
                  <a:lnTo>
                    <a:pt x="120" y="149"/>
                  </a:lnTo>
                  <a:lnTo>
                    <a:pt x="118" y="153"/>
                  </a:lnTo>
                  <a:lnTo>
                    <a:pt x="116" y="155"/>
                  </a:lnTo>
                  <a:lnTo>
                    <a:pt x="115" y="163"/>
                  </a:lnTo>
                  <a:lnTo>
                    <a:pt x="116" y="165"/>
                  </a:lnTo>
                  <a:lnTo>
                    <a:pt x="116" y="169"/>
                  </a:lnTo>
                  <a:lnTo>
                    <a:pt x="115" y="172"/>
                  </a:lnTo>
                  <a:lnTo>
                    <a:pt x="117" y="175"/>
                  </a:lnTo>
                  <a:lnTo>
                    <a:pt x="116" y="177"/>
                  </a:lnTo>
                  <a:lnTo>
                    <a:pt x="97" y="185"/>
                  </a:lnTo>
                  <a:lnTo>
                    <a:pt x="94" y="183"/>
                  </a:lnTo>
                  <a:lnTo>
                    <a:pt x="89" y="183"/>
                  </a:lnTo>
                  <a:lnTo>
                    <a:pt x="84" y="183"/>
                  </a:lnTo>
                  <a:lnTo>
                    <a:pt x="82" y="184"/>
                  </a:lnTo>
                  <a:lnTo>
                    <a:pt x="81" y="186"/>
                  </a:lnTo>
                  <a:lnTo>
                    <a:pt x="71" y="184"/>
                  </a:lnTo>
                  <a:lnTo>
                    <a:pt x="51" y="186"/>
                  </a:lnTo>
                  <a:lnTo>
                    <a:pt x="24" y="176"/>
                  </a:lnTo>
                  <a:lnTo>
                    <a:pt x="36" y="157"/>
                  </a:lnTo>
                  <a:lnTo>
                    <a:pt x="35" y="155"/>
                  </a:lnTo>
                  <a:lnTo>
                    <a:pt x="36" y="152"/>
                  </a:lnTo>
                  <a:lnTo>
                    <a:pt x="34" y="149"/>
                  </a:lnTo>
                  <a:lnTo>
                    <a:pt x="33" y="146"/>
                  </a:lnTo>
                  <a:lnTo>
                    <a:pt x="31" y="145"/>
                  </a:lnTo>
                  <a:lnTo>
                    <a:pt x="16" y="143"/>
                  </a:lnTo>
                  <a:lnTo>
                    <a:pt x="14" y="133"/>
                  </a:lnTo>
                  <a:lnTo>
                    <a:pt x="14" y="131"/>
                  </a:lnTo>
                  <a:lnTo>
                    <a:pt x="14" y="127"/>
                  </a:lnTo>
                  <a:lnTo>
                    <a:pt x="6" y="109"/>
                  </a:lnTo>
                  <a:lnTo>
                    <a:pt x="10" y="100"/>
                  </a:lnTo>
                  <a:lnTo>
                    <a:pt x="6" y="99"/>
                  </a:lnTo>
                  <a:lnTo>
                    <a:pt x="3" y="99"/>
                  </a:lnTo>
                  <a:lnTo>
                    <a:pt x="1" y="97"/>
                  </a:lnTo>
                  <a:lnTo>
                    <a:pt x="0" y="89"/>
                  </a:lnTo>
                  <a:lnTo>
                    <a:pt x="3" y="85"/>
                  </a:lnTo>
                  <a:lnTo>
                    <a:pt x="6" y="85"/>
                  </a:lnTo>
                  <a:lnTo>
                    <a:pt x="4" y="83"/>
                  </a:lnTo>
                  <a:lnTo>
                    <a:pt x="7" y="82"/>
                  </a:lnTo>
                  <a:lnTo>
                    <a:pt x="2" y="80"/>
                  </a:lnTo>
                  <a:lnTo>
                    <a:pt x="6" y="78"/>
                  </a:lnTo>
                  <a:lnTo>
                    <a:pt x="7" y="72"/>
                  </a:lnTo>
                  <a:lnTo>
                    <a:pt x="7" y="71"/>
                  </a:lnTo>
                  <a:lnTo>
                    <a:pt x="7" y="70"/>
                  </a:lnTo>
                  <a:lnTo>
                    <a:pt x="7" y="69"/>
                  </a:lnTo>
                  <a:lnTo>
                    <a:pt x="7" y="68"/>
                  </a:lnTo>
                  <a:lnTo>
                    <a:pt x="7" y="68"/>
                  </a:lnTo>
                  <a:lnTo>
                    <a:pt x="7" y="66"/>
                  </a:lnTo>
                  <a:lnTo>
                    <a:pt x="7" y="59"/>
                  </a:lnTo>
                  <a:lnTo>
                    <a:pt x="7" y="58"/>
                  </a:lnTo>
                  <a:lnTo>
                    <a:pt x="9" y="58"/>
                  </a:lnTo>
                  <a:lnTo>
                    <a:pt x="9" y="59"/>
                  </a:lnTo>
                  <a:lnTo>
                    <a:pt x="13" y="62"/>
                  </a:lnTo>
                  <a:lnTo>
                    <a:pt x="21" y="62"/>
                  </a:lnTo>
                  <a:lnTo>
                    <a:pt x="26" y="65"/>
                  </a:lnTo>
                  <a:lnTo>
                    <a:pt x="27" y="68"/>
                  </a:lnTo>
                  <a:lnTo>
                    <a:pt x="29" y="65"/>
                  </a:lnTo>
                  <a:lnTo>
                    <a:pt x="31" y="66"/>
                  </a:lnTo>
                  <a:lnTo>
                    <a:pt x="40" y="63"/>
                  </a:lnTo>
                  <a:lnTo>
                    <a:pt x="39" y="58"/>
                  </a:lnTo>
                  <a:lnTo>
                    <a:pt x="41" y="57"/>
                  </a:lnTo>
                  <a:lnTo>
                    <a:pt x="39" y="56"/>
                  </a:lnTo>
                  <a:lnTo>
                    <a:pt x="37" y="53"/>
                  </a:lnTo>
                  <a:lnTo>
                    <a:pt x="41" y="53"/>
                  </a:lnTo>
                  <a:lnTo>
                    <a:pt x="44" y="51"/>
                  </a:lnTo>
                  <a:lnTo>
                    <a:pt x="51" y="50"/>
                  </a:lnTo>
                  <a:lnTo>
                    <a:pt x="51" y="48"/>
                  </a:lnTo>
                  <a:lnTo>
                    <a:pt x="55" y="46"/>
                  </a:lnTo>
                  <a:lnTo>
                    <a:pt x="56" y="48"/>
                  </a:lnTo>
                  <a:lnTo>
                    <a:pt x="57" y="46"/>
                  </a:lnTo>
                  <a:lnTo>
                    <a:pt x="60" y="45"/>
                  </a:lnTo>
                  <a:lnTo>
                    <a:pt x="61" y="42"/>
                  </a:lnTo>
                  <a:lnTo>
                    <a:pt x="60" y="37"/>
                  </a:lnTo>
                  <a:lnTo>
                    <a:pt x="61" y="31"/>
                  </a:lnTo>
                  <a:lnTo>
                    <a:pt x="61" y="29"/>
                  </a:lnTo>
                  <a:lnTo>
                    <a:pt x="64" y="25"/>
                  </a:lnTo>
                  <a:lnTo>
                    <a:pt x="73" y="25"/>
                  </a:lnTo>
                  <a:lnTo>
                    <a:pt x="73" y="23"/>
                  </a:lnTo>
                  <a:lnTo>
                    <a:pt x="74" y="19"/>
                  </a:lnTo>
                  <a:lnTo>
                    <a:pt x="74" y="18"/>
                  </a:lnTo>
                  <a:lnTo>
                    <a:pt x="84" y="24"/>
                  </a:lnTo>
                  <a:lnTo>
                    <a:pt x="89" y="24"/>
                  </a:lnTo>
                  <a:lnTo>
                    <a:pt x="96" y="23"/>
                  </a:lnTo>
                  <a:lnTo>
                    <a:pt x="102" y="26"/>
                  </a:lnTo>
                  <a:lnTo>
                    <a:pt x="104" y="24"/>
                  </a:lnTo>
                  <a:lnTo>
                    <a:pt x="107" y="25"/>
                  </a:lnTo>
                  <a:lnTo>
                    <a:pt x="110" y="25"/>
                  </a:lnTo>
                  <a:lnTo>
                    <a:pt x="110" y="25"/>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grpSp>
          <p:nvGrpSpPr>
            <p:cNvPr id="359" name="Coop">
              <a:extLst>
                <a:ext uri="{FF2B5EF4-FFF2-40B4-BE49-F238E27FC236}">
                  <a16:creationId xmlns:a16="http://schemas.microsoft.com/office/drawing/2014/main" id="{2C6A21C2-4BAA-974F-9FCC-A6900F7EB940}"/>
                </a:ext>
              </a:extLst>
            </p:cNvPr>
            <p:cNvGrpSpPr/>
            <p:nvPr/>
          </p:nvGrpSpPr>
          <p:grpSpPr>
            <a:xfrm>
              <a:off x="3396862" y="1647983"/>
              <a:ext cx="7346603" cy="4006443"/>
              <a:chOff x="3396862" y="1647983"/>
              <a:chExt cx="7346603" cy="4006443"/>
            </a:xfrm>
            <a:grpFill/>
          </p:grpSpPr>
          <p:sp>
            <p:nvSpPr>
              <p:cNvPr id="538" name="Luxemburg">
                <a:extLst>
                  <a:ext uri="{FF2B5EF4-FFF2-40B4-BE49-F238E27FC236}">
                    <a16:creationId xmlns:a16="http://schemas.microsoft.com/office/drawing/2014/main" id="{CF35E965-2DE6-6849-AB79-5732F14F0E66}"/>
                  </a:ext>
                </a:extLst>
              </p:cNvPr>
              <p:cNvSpPr>
                <a:spLocks/>
              </p:cNvSpPr>
              <p:nvPr/>
            </p:nvSpPr>
            <p:spPr bwMode="auto">
              <a:xfrm>
                <a:off x="6495003" y="2489219"/>
                <a:ext cx="14579" cy="20411"/>
              </a:xfrm>
              <a:custGeom>
                <a:avLst/>
                <a:gdLst>
                  <a:gd name="T0" fmla="*/ 2 w 10"/>
                  <a:gd name="T1" fmla="*/ 13 h 14"/>
                  <a:gd name="T2" fmla="*/ 3 w 10"/>
                  <a:gd name="T3" fmla="*/ 13 h 14"/>
                  <a:gd name="T4" fmla="*/ 3 w 10"/>
                  <a:gd name="T5" fmla="*/ 14 h 14"/>
                  <a:gd name="T6" fmla="*/ 6 w 10"/>
                  <a:gd name="T7" fmla="*/ 14 h 14"/>
                  <a:gd name="T8" fmla="*/ 7 w 10"/>
                  <a:gd name="T9" fmla="*/ 14 h 14"/>
                  <a:gd name="T10" fmla="*/ 8 w 10"/>
                  <a:gd name="T11" fmla="*/ 14 h 14"/>
                  <a:gd name="T12" fmla="*/ 9 w 10"/>
                  <a:gd name="T13" fmla="*/ 14 h 14"/>
                  <a:gd name="T14" fmla="*/ 9 w 10"/>
                  <a:gd name="T15" fmla="*/ 13 h 14"/>
                  <a:gd name="T16" fmla="*/ 10 w 10"/>
                  <a:gd name="T17" fmla="*/ 13 h 14"/>
                  <a:gd name="T18" fmla="*/ 9 w 10"/>
                  <a:gd name="T19" fmla="*/ 12 h 14"/>
                  <a:gd name="T20" fmla="*/ 10 w 10"/>
                  <a:gd name="T21" fmla="*/ 11 h 14"/>
                  <a:gd name="T22" fmla="*/ 10 w 10"/>
                  <a:gd name="T23" fmla="*/ 11 h 14"/>
                  <a:gd name="T24" fmla="*/ 10 w 10"/>
                  <a:gd name="T25" fmla="*/ 8 h 14"/>
                  <a:gd name="T26" fmla="*/ 9 w 10"/>
                  <a:gd name="T27" fmla="*/ 7 h 14"/>
                  <a:gd name="T28" fmla="*/ 9 w 10"/>
                  <a:gd name="T29" fmla="*/ 7 h 14"/>
                  <a:gd name="T30" fmla="*/ 9 w 10"/>
                  <a:gd name="T31" fmla="*/ 7 h 14"/>
                  <a:gd name="T32" fmla="*/ 8 w 10"/>
                  <a:gd name="T33" fmla="*/ 7 h 14"/>
                  <a:gd name="T34" fmla="*/ 8 w 10"/>
                  <a:gd name="T35" fmla="*/ 7 h 14"/>
                  <a:gd name="T36" fmla="*/ 8 w 10"/>
                  <a:gd name="T37" fmla="*/ 5 h 14"/>
                  <a:gd name="T38" fmla="*/ 7 w 10"/>
                  <a:gd name="T39" fmla="*/ 5 h 14"/>
                  <a:gd name="T40" fmla="*/ 7 w 10"/>
                  <a:gd name="T41" fmla="*/ 3 h 14"/>
                  <a:gd name="T42" fmla="*/ 7 w 10"/>
                  <a:gd name="T43" fmla="*/ 3 h 14"/>
                  <a:gd name="T44" fmla="*/ 7 w 10"/>
                  <a:gd name="T45" fmla="*/ 2 h 14"/>
                  <a:gd name="T46" fmla="*/ 7 w 10"/>
                  <a:gd name="T47" fmla="*/ 1 h 14"/>
                  <a:gd name="T48" fmla="*/ 7 w 10"/>
                  <a:gd name="T49" fmla="*/ 0 h 14"/>
                  <a:gd name="T50" fmla="*/ 6 w 10"/>
                  <a:gd name="T51" fmla="*/ 1 h 14"/>
                  <a:gd name="T52" fmla="*/ 5 w 10"/>
                  <a:gd name="T53" fmla="*/ 1 h 14"/>
                  <a:gd name="T54" fmla="*/ 5 w 10"/>
                  <a:gd name="T55" fmla="*/ 0 h 14"/>
                  <a:gd name="T56" fmla="*/ 5 w 10"/>
                  <a:gd name="T57" fmla="*/ 0 h 14"/>
                  <a:gd name="T58" fmla="*/ 3 w 10"/>
                  <a:gd name="T59" fmla="*/ 0 h 14"/>
                  <a:gd name="T60" fmla="*/ 3 w 10"/>
                  <a:gd name="T61" fmla="*/ 1 h 14"/>
                  <a:gd name="T62" fmla="*/ 1 w 10"/>
                  <a:gd name="T63" fmla="*/ 1 h 14"/>
                  <a:gd name="T64" fmla="*/ 0 w 10"/>
                  <a:gd name="T65" fmla="*/ 2 h 14"/>
                  <a:gd name="T66" fmla="*/ 0 w 10"/>
                  <a:gd name="T67" fmla="*/ 3 h 14"/>
                  <a:gd name="T68" fmla="*/ 0 w 10"/>
                  <a:gd name="T69" fmla="*/ 3 h 14"/>
                  <a:gd name="T70" fmla="*/ 0 w 10"/>
                  <a:gd name="T71" fmla="*/ 5 h 14"/>
                  <a:gd name="T72" fmla="*/ 0 w 10"/>
                  <a:gd name="T73" fmla="*/ 5 h 14"/>
                  <a:gd name="T74" fmla="*/ 0 w 10"/>
                  <a:gd name="T75" fmla="*/ 6 h 14"/>
                  <a:gd name="T76" fmla="*/ 0 w 10"/>
                  <a:gd name="T77" fmla="*/ 7 h 14"/>
                  <a:gd name="T78" fmla="*/ 0 w 10"/>
                  <a:gd name="T79" fmla="*/ 7 h 14"/>
                  <a:gd name="T80" fmla="*/ 0 w 10"/>
                  <a:gd name="T81" fmla="*/ 7 h 14"/>
                  <a:gd name="T82" fmla="*/ 0 w 10"/>
                  <a:gd name="T83" fmla="*/ 8 h 14"/>
                  <a:gd name="T84" fmla="*/ 0 w 10"/>
                  <a:gd name="T85" fmla="*/ 8 h 14"/>
                  <a:gd name="T86" fmla="*/ 1 w 10"/>
                  <a:gd name="T87" fmla="*/ 11 h 14"/>
                  <a:gd name="T88" fmla="*/ 1 w 10"/>
                  <a:gd name="T89" fmla="*/ 11 h 14"/>
                  <a:gd name="T90" fmla="*/ 1 w 10"/>
                  <a:gd name="T91" fmla="*/ 11 h 14"/>
                  <a:gd name="T92" fmla="*/ 1 w 10"/>
                  <a:gd name="T93" fmla="*/ 11 h 14"/>
                  <a:gd name="T94" fmla="*/ 2 w 10"/>
                  <a:gd name="T95" fmla="*/ 12 h 14"/>
                  <a:gd name="T96" fmla="*/ 1 w 10"/>
                  <a:gd name="T97" fmla="*/ 12 h 14"/>
                  <a:gd name="T98" fmla="*/ 1 w 10"/>
                  <a:gd name="T99" fmla="*/ 12 h 14"/>
                  <a:gd name="T100" fmla="*/ 1 w 10"/>
                  <a:gd name="T101" fmla="*/ 13 h 14"/>
                  <a:gd name="T102" fmla="*/ 2 w 10"/>
                  <a:gd name="T103" fmla="*/ 13 h 14"/>
                  <a:gd name="T104" fmla="*/ 2 w 10"/>
                  <a:gd name="T105"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0" h="14">
                    <a:moveTo>
                      <a:pt x="2" y="13"/>
                    </a:moveTo>
                    <a:lnTo>
                      <a:pt x="3" y="13"/>
                    </a:lnTo>
                    <a:lnTo>
                      <a:pt x="3" y="14"/>
                    </a:lnTo>
                    <a:lnTo>
                      <a:pt x="6" y="14"/>
                    </a:lnTo>
                    <a:lnTo>
                      <a:pt x="7" y="14"/>
                    </a:lnTo>
                    <a:lnTo>
                      <a:pt x="8" y="14"/>
                    </a:lnTo>
                    <a:lnTo>
                      <a:pt x="9" y="14"/>
                    </a:lnTo>
                    <a:lnTo>
                      <a:pt x="9" y="13"/>
                    </a:lnTo>
                    <a:lnTo>
                      <a:pt x="10" y="13"/>
                    </a:lnTo>
                    <a:lnTo>
                      <a:pt x="9" y="12"/>
                    </a:lnTo>
                    <a:lnTo>
                      <a:pt x="10" y="11"/>
                    </a:lnTo>
                    <a:lnTo>
                      <a:pt x="10" y="11"/>
                    </a:lnTo>
                    <a:lnTo>
                      <a:pt x="10" y="8"/>
                    </a:lnTo>
                    <a:lnTo>
                      <a:pt x="9" y="7"/>
                    </a:lnTo>
                    <a:lnTo>
                      <a:pt x="9" y="7"/>
                    </a:lnTo>
                    <a:lnTo>
                      <a:pt x="9" y="7"/>
                    </a:lnTo>
                    <a:lnTo>
                      <a:pt x="8" y="7"/>
                    </a:lnTo>
                    <a:lnTo>
                      <a:pt x="8" y="7"/>
                    </a:lnTo>
                    <a:lnTo>
                      <a:pt x="8" y="5"/>
                    </a:lnTo>
                    <a:lnTo>
                      <a:pt x="7" y="5"/>
                    </a:lnTo>
                    <a:lnTo>
                      <a:pt x="7" y="3"/>
                    </a:lnTo>
                    <a:lnTo>
                      <a:pt x="7" y="3"/>
                    </a:lnTo>
                    <a:lnTo>
                      <a:pt x="7" y="2"/>
                    </a:lnTo>
                    <a:lnTo>
                      <a:pt x="7" y="1"/>
                    </a:lnTo>
                    <a:lnTo>
                      <a:pt x="7" y="0"/>
                    </a:lnTo>
                    <a:lnTo>
                      <a:pt x="6" y="1"/>
                    </a:lnTo>
                    <a:lnTo>
                      <a:pt x="5" y="1"/>
                    </a:lnTo>
                    <a:lnTo>
                      <a:pt x="5" y="0"/>
                    </a:lnTo>
                    <a:lnTo>
                      <a:pt x="5" y="0"/>
                    </a:lnTo>
                    <a:lnTo>
                      <a:pt x="3" y="0"/>
                    </a:lnTo>
                    <a:lnTo>
                      <a:pt x="3" y="1"/>
                    </a:lnTo>
                    <a:lnTo>
                      <a:pt x="1" y="1"/>
                    </a:lnTo>
                    <a:lnTo>
                      <a:pt x="0" y="2"/>
                    </a:lnTo>
                    <a:lnTo>
                      <a:pt x="0" y="3"/>
                    </a:lnTo>
                    <a:lnTo>
                      <a:pt x="0" y="3"/>
                    </a:lnTo>
                    <a:lnTo>
                      <a:pt x="0" y="5"/>
                    </a:lnTo>
                    <a:lnTo>
                      <a:pt x="0" y="5"/>
                    </a:lnTo>
                    <a:lnTo>
                      <a:pt x="0" y="6"/>
                    </a:lnTo>
                    <a:lnTo>
                      <a:pt x="0" y="7"/>
                    </a:lnTo>
                    <a:lnTo>
                      <a:pt x="0" y="7"/>
                    </a:lnTo>
                    <a:lnTo>
                      <a:pt x="0" y="7"/>
                    </a:lnTo>
                    <a:lnTo>
                      <a:pt x="0" y="8"/>
                    </a:lnTo>
                    <a:lnTo>
                      <a:pt x="0" y="8"/>
                    </a:lnTo>
                    <a:lnTo>
                      <a:pt x="1" y="11"/>
                    </a:lnTo>
                    <a:lnTo>
                      <a:pt x="1" y="11"/>
                    </a:lnTo>
                    <a:lnTo>
                      <a:pt x="1" y="11"/>
                    </a:lnTo>
                    <a:lnTo>
                      <a:pt x="1" y="11"/>
                    </a:lnTo>
                    <a:lnTo>
                      <a:pt x="2" y="12"/>
                    </a:lnTo>
                    <a:lnTo>
                      <a:pt x="1" y="12"/>
                    </a:lnTo>
                    <a:lnTo>
                      <a:pt x="1" y="12"/>
                    </a:lnTo>
                    <a:lnTo>
                      <a:pt x="1" y="13"/>
                    </a:lnTo>
                    <a:lnTo>
                      <a:pt x="2" y="13"/>
                    </a:lnTo>
                    <a:lnTo>
                      <a:pt x="2" y="13"/>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grpSp>
            <p:nvGrpSpPr>
              <p:cNvPr id="539" name="Gruppe 3456">
                <a:extLst>
                  <a:ext uri="{FF2B5EF4-FFF2-40B4-BE49-F238E27FC236}">
                    <a16:creationId xmlns:a16="http://schemas.microsoft.com/office/drawing/2014/main" id="{6B87A372-0618-CA40-9C4E-18037660F74D}"/>
                  </a:ext>
                </a:extLst>
              </p:cNvPr>
              <p:cNvGrpSpPr/>
              <p:nvPr/>
            </p:nvGrpSpPr>
            <p:grpSpPr>
              <a:xfrm>
                <a:off x="3396862" y="1647983"/>
                <a:ext cx="7346603" cy="4006443"/>
                <a:chOff x="3396862" y="1647983"/>
                <a:chExt cx="7346603" cy="4006443"/>
              </a:xfrm>
              <a:grpFill/>
            </p:grpSpPr>
            <p:sp>
              <p:nvSpPr>
                <p:cNvPr id="540" name="Tunisia">
                  <a:extLst>
                    <a:ext uri="{FF2B5EF4-FFF2-40B4-BE49-F238E27FC236}">
                      <a16:creationId xmlns:a16="http://schemas.microsoft.com/office/drawing/2014/main" id="{08365784-C11D-A649-9826-0B1C257B7D1A}"/>
                    </a:ext>
                  </a:extLst>
                </p:cNvPr>
                <p:cNvSpPr>
                  <a:spLocks/>
                </p:cNvSpPr>
                <p:nvPr/>
              </p:nvSpPr>
              <p:spPr bwMode="auto">
                <a:xfrm>
                  <a:off x="6551864" y="2869742"/>
                  <a:ext cx="103514" cy="211402"/>
                </a:xfrm>
                <a:custGeom>
                  <a:avLst/>
                  <a:gdLst>
                    <a:gd name="T0" fmla="*/ 21 w 71"/>
                    <a:gd name="T1" fmla="*/ 7 h 145"/>
                    <a:gd name="T2" fmla="*/ 26 w 71"/>
                    <a:gd name="T3" fmla="*/ 4 h 145"/>
                    <a:gd name="T4" fmla="*/ 30 w 71"/>
                    <a:gd name="T5" fmla="*/ 1 h 145"/>
                    <a:gd name="T6" fmla="*/ 35 w 71"/>
                    <a:gd name="T7" fmla="*/ 0 h 145"/>
                    <a:gd name="T8" fmla="*/ 36 w 71"/>
                    <a:gd name="T9" fmla="*/ 1 h 145"/>
                    <a:gd name="T10" fmla="*/ 39 w 71"/>
                    <a:gd name="T11" fmla="*/ 4 h 145"/>
                    <a:gd name="T12" fmla="*/ 37 w 71"/>
                    <a:gd name="T13" fmla="*/ 2 h 145"/>
                    <a:gd name="T14" fmla="*/ 41 w 71"/>
                    <a:gd name="T15" fmla="*/ 1 h 145"/>
                    <a:gd name="T16" fmla="*/ 43 w 71"/>
                    <a:gd name="T17" fmla="*/ 2 h 145"/>
                    <a:gd name="T18" fmla="*/ 43 w 71"/>
                    <a:gd name="T19" fmla="*/ 4 h 145"/>
                    <a:gd name="T20" fmla="*/ 44 w 71"/>
                    <a:gd name="T21" fmla="*/ 4 h 145"/>
                    <a:gd name="T22" fmla="*/ 43 w 71"/>
                    <a:gd name="T23" fmla="*/ 7 h 145"/>
                    <a:gd name="T24" fmla="*/ 46 w 71"/>
                    <a:gd name="T25" fmla="*/ 9 h 145"/>
                    <a:gd name="T26" fmla="*/ 46 w 71"/>
                    <a:gd name="T27" fmla="*/ 11 h 145"/>
                    <a:gd name="T28" fmla="*/ 50 w 71"/>
                    <a:gd name="T29" fmla="*/ 9 h 145"/>
                    <a:gd name="T30" fmla="*/ 56 w 71"/>
                    <a:gd name="T31" fmla="*/ 5 h 145"/>
                    <a:gd name="T32" fmla="*/ 60 w 71"/>
                    <a:gd name="T33" fmla="*/ 9 h 145"/>
                    <a:gd name="T34" fmla="*/ 57 w 71"/>
                    <a:gd name="T35" fmla="*/ 15 h 145"/>
                    <a:gd name="T36" fmla="*/ 55 w 71"/>
                    <a:gd name="T37" fmla="*/ 18 h 145"/>
                    <a:gd name="T38" fmla="*/ 49 w 71"/>
                    <a:gd name="T39" fmla="*/ 26 h 145"/>
                    <a:gd name="T40" fmla="*/ 50 w 71"/>
                    <a:gd name="T41" fmla="*/ 28 h 145"/>
                    <a:gd name="T42" fmla="*/ 53 w 71"/>
                    <a:gd name="T43" fmla="*/ 32 h 145"/>
                    <a:gd name="T44" fmla="*/ 56 w 71"/>
                    <a:gd name="T45" fmla="*/ 33 h 145"/>
                    <a:gd name="T46" fmla="*/ 59 w 71"/>
                    <a:gd name="T47" fmla="*/ 36 h 145"/>
                    <a:gd name="T48" fmla="*/ 60 w 71"/>
                    <a:gd name="T49" fmla="*/ 39 h 145"/>
                    <a:gd name="T50" fmla="*/ 61 w 71"/>
                    <a:gd name="T51" fmla="*/ 42 h 145"/>
                    <a:gd name="T52" fmla="*/ 60 w 71"/>
                    <a:gd name="T53" fmla="*/ 46 h 145"/>
                    <a:gd name="T54" fmla="*/ 57 w 71"/>
                    <a:gd name="T55" fmla="*/ 51 h 145"/>
                    <a:gd name="T56" fmla="*/ 55 w 71"/>
                    <a:gd name="T57" fmla="*/ 54 h 145"/>
                    <a:gd name="T58" fmla="*/ 48 w 71"/>
                    <a:gd name="T59" fmla="*/ 59 h 145"/>
                    <a:gd name="T60" fmla="*/ 47 w 71"/>
                    <a:gd name="T61" fmla="*/ 60 h 145"/>
                    <a:gd name="T62" fmla="*/ 43 w 71"/>
                    <a:gd name="T63" fmla="*/ 64 h 145"/>
                    <a:gd name="T64" fmla="*/ 44 w 71"/>
                    <a:gd name="T65" fmla="*/ 69 h 145"/>
                    <a:gd name="T66" fmla="*/ 48 w 71"/>
                    <a:gd name="T67" fmla="*/ 72 h 145"/>
                    <a:gd name="T68" fmla="*/ 51 w 71"/>
                    <a:gd name="T69" fmla="*/ 74 h 145"/>
                    <a:gd name="T70" fmla="*/ 54 w 71"/>
                    <a:gd name="T71" fmla="*/ 75 h 145"/>
                    <a:gd name="T72" fmla="*/ 54 w 71"/>
                    <a:gd name="T73" fmla="*/ 68 h 145"/>
                    <a:gd name="T74" fmla="*/ 59 w 71"/>
                    <a:gd name="T75" fmla="*/ 68 h 145"/>
                    <a:gd name="T76" fmla="*/ 60 w 71"/>
                    <a:gd name="T77" fmla="*/ 74 h 145"/>
                    <a:gd name="T78" fmla="*/ 61 w 71"/>
                    <a:gd name="T79" fmla="*/ 76 h 145"/>
                    <a:gd name="T80" fmla="*/ 62 w 71"/>
                    <a:gd name="T81" fmla="*/ 81 h 145"/>
                    <a:gd name="T82" fmla="*/ 62 w 71"/>
                    <a:gd name="T83" fmla="*/ 82 h 145"/>
                    <a:gd name="T84" fmla="*/ 67 w 71"/>
                    <a:gd name="T85" fmla="*/ 85 h 145"/>
                    <a:gd name="T86" fmla="*/ 69 w 71"/>
                    <a:gd name="T87" fmla="*/ 86 h 145"/>
                    <a:gd name="T88" fmla="*/ 70 w 71"/>
                    <a:gd name="T89" fmla="*/ 99 h 145"/>
                    <a:gd name="T90" fmla="*/ 62 w 71"/>
                    <a:gd name="T91" fmla="*/ 105 h 145"/>
                    <a:gd name="T92" fmla="*/ 56 w 71"/>
                    <a:gd name="T93" fmla="*/ 111 h 145"/>
                    <a:gd name="T94" fmla="*/ 55 w 71"/>
                    <a:gd name="T95" fmla="*/ 112 h 145"/>
                    <a:gd name="T96" fmla="*/ 49 w 71"/>
                    <a:gd name="T97" fmla="*/ 116 h 145"/>
                    <a:gd name="T98" fmla="*/ 49 w 71"/>
                    <a:gd name="T99" fmla="*/ 128 h 145"/>
                    <a:gd name="T100" fmla="*/ 43 w 71"/>
                    <a:gd name="T101" fmla="*/ 142 h 145"/>
                    <a:gd name="T102" fmla="*/ 28 w 71"/>
                    <a:gd name="T103" fmla="*/ 107 h 145"/>
                    <a:gd name="T104" fmla="*/ 7 w 71"/>
                    <a:gd name="T105" fmla="*/ 85 h 145"/>
                    <a:gd name="T106" fmla="*/ 0 w 71"/>
                    <a:gd name="T107" fmla="*/ 71 h 145"/>
                    <a:gd name="T108" fmla="*/ 9 w 71"/>
                    <a:gd name="T109" fmla="*/ 56 h 145"/>
                    <a:gd name="T110" fmla="*/ 13 w 71"/>
                    <a:gd name="T111" fmla="*/ 48 h 145"/>
                    <a:gd name="T112" fmla="*/ 15 w 71"/>
                    <a:gd name="T113" fmla="*/ 41 h 145"/>
                    <a:gd name="T114" fmla="*/ 11 w 71"/>
                    <a:gd name="T115" fmla="*/ 32 h 145"/>
                    <a:gd name="T116" fmla="*/ 13 w 71"/>
                    <a:gd name="T117" fmla="*/ 21 h 145"/>
                    <a:gd name="T118" fmla="*/ 13 w 71"/>
                    <a:gd name="T119" fmla="*/ 14 h 145"/>
                    <a:gd name="T120" fmla="*/ 14 w 71"/>
                    <a:gd name="T121" fmla="*/ 11 h 145"/>
                    <a:gd name="T122" fmla="*/ 17 w 71"/>
                    <a:gd name="T123" fmla="*/ 9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1" h="145">
                      <a:moveTo>
                        <a:pt x="17" y="8"/>
                      </a:moveTo>
                      <a:lnTo>
                        <a:pt x="19" y="7"/>
                      </a:lnTo>
                      <a:lnTo>
                        <a:pt x="20" y="7"/>
                      </a:lnTo>
                      <a:lnTo>
                        <a:pt x="20" y="8"/>
                      </a:lnTo>
                      <a:lnTo>
                        <a:pt x="21" y="7"/>
                      </a:lnTo>
                      <a:lnTo>
                        <a:pt x="21" y="7"/>
                      </a:lnTo>
                      <a:lnTo>
                        <a:pt x="21" y="6"/>
                      </a:lnTo>
                      <a:lnTo>
                        <a:pt x="23" y="5"/>
                      </a:lnTo>
                      <a:lnTo>
                        <a:pt x="23" y="4"/>
                      </a:lnTo>
                      <a:lnTo>
                        <a:pt x="24" y="4"/>
                      </a:lnTo>
                      <a:lnTo>
                        <a:pt x="26" y="4"/>
                      </a:lnTo>
                      <a:lnTo>
                        <a:pt x="26" y="4"/>
                      </a:lnTo>
                      <a:lnTo>
                        <a:pt x="27" y="2"/>
                      </a:lnTo>
                      <a:lnTo>
                        <a:pt x="27" y="1"/>
                      </a:lnTo>
                      <a:lnTo>
                        <a:pt x="28" y="1"/>
                      </a:lnTo>
                      <a:lnTo>
                        <a:pt x="29" y="1"/>
                      </a:lnTo>
                      <a:lnTo>
                        <a:pt x="30" y="1"/>
                      </a:lnTo>
                      <a:lnTo>
                        <a:pt x="30" y="1"/>
                      </a:lnTo>
                      <a:lnTo>
                        <a:pt x="30" y="1"/>
                      </a:lnTo>
                      <a:lnTo>
                        <a:pt x="31" y="0"/>
                      </a:lnTo>
                      <a:lnTo>
                        <a:pt x="34" y="0"/>
                      </a:lnTo>
                      <a:lnTo>
                        <a:pt x="34" y="0"/>
                      </a:lnTo>
                      <a:lnTo>
                        <a:pt x="34" y="0"/>
                      </a:lnTo>
                      <a:lnTo>
                        <a:pt x="35" y="0"/>
                      </a:lnTo>
                      <a:lnTo>
                        <a:pt x="36" y="0"/>
                      </a:lnTo>
                      <a:lnTo>
                        <a:pt x="37" y="0"/>
                      </a:lnTo>
                      <a:lnTo>
                        <a:pt x="37" y="0"/>
                      </a:lnTo>
                      <a:lnTo>
                        <a:pt x="37" y="0"/>
                      </a:lnTo>
                      <a:lnTo>
                        <a:pt x="37" y="1"/>
                      </a:lnTo>
                      <a:lnTo>
                        <a:pt x="36" y="1"/>
                      </a:lnTo>
                      <a:lnTo>
                        <a:pt x="36" y="2"/>
                      </a:lnTo>
                      <a:lnTo>
                        <a:pt x="36" y="4"/>
                      </a:lnTo>
                      <a:lnTo>
                        <a:pt x="37" y="4"/>
                      </a:lnTo>
                      <a:lnTo>
                        <a:pt x="37" y="4"/>
                      </a:lnTo>
                      <a:lnTo>
                        <a:pt x="39" y="4"/>
                      </a:lnTo>
                      <a:lnTo>
                        <a:pt x="39" y="4"/>
                      </a:lnTo>
                      <a:lnTo>
                        <a:pt x="39" y="4"/>
                      </a:lnTo>
                      <a:lnTo>
                        <a:pt x="39" y="2"/>
                      </a:lnTo>
                      <a:lnTo>
                        <a:pt x="39" y="2"/>
                      </a:lnTo>
                      <a:lnTo>
                        <a:pt x="37" y="2"/>
                      </a:lnTo>
                      <a:lnTo>
                        <a:pt x="37" y="2"/>
                      </a:lnTo>
                      <a:lnTo>
                        <a:pt x="37" y="2"/>
                      </a:lnTo>
                      <a:lnTo>
                        <a:pt x="37" y="1"/>
                      </a:lnTo>
                      <a:lnTo>
                        <a:pt x="39" y="1"/>
                      </a:lnTo>
                      <a:lnTo>
                        <a:pt x="39" y="1"/>
                      </a:lnTo>
                      <a:lnTo>
                        <a:pt x="40" y="1"/>
                      </a:lnTo>
                      <a:lnTo>
                        <a:pt x="41" y="1"/>
                      </a:lnTo>
                      <a:lnTo>
                        <a:pt x="41" y="1"/>
                      </a:lnTo>
                      <a:lnTo>
                        <a:pt x="41" y="1"/>
                      </a:lnTo>
                      <a:lnTo>
                        <a:pt x="42" y="1"/>
                      </a:lnTo>
                      <a:lnTo>
                        <a:pt x="42" y="1"/>
                      </a:lnTo>
                      <a:lnTo>
                        <a:pt x="42" y="1"/>
                      </a:lnTo>
                      <a:lnTo>
                        <a:pt x="43" y="1"/>
                      </a:lnTo>
                      <a:lnTo>
                        <a:pt x="43" y="2"/>
                      </a:lnTo>
                      <a:lnTo>
                        <a:pt x="43" y="2"/>
                      </a:lnTo>
                      <a:lnTo>
                        <a:pt x="44" y="2"/>
                      </a:lnTo>
                      <a:lnTo>
                        <a:pt x="44" y="2"/>
                      </a:lnTo>
                      <a:lnTo>
                        <a:pt x="44" y="4"/>
                      </a:lnTo>
                      <a:lnTo>
                        <a:pt x="44" y="4"/>
                      </a:lnTo>
                      <a:lnTo>
                        <a:pt x="43" y="4"/>
                      </a:lnTo>
                      <a:lnTo>
                        <a:pt x="43" y="4"/>
                      </a:lnTo>
                      <a:lnTo>
                        <a:pt x="42" y="4"/>
                      </a:lnTo>
                      <a:lnTo>
                        <a:pt x="42" y="4"/>
                      </a:lnTo>
                      <a:lnTo>
                        <a:pt x="43" y="4"/>
                      </a:lnTo>
                      <a:lnTo>
                        <a:pt x="44" y="4"/>
                      </a:lnTo>
                      <a:lnTo>
                        <a:pt x="44" y="4"/>
                      </a:lnTo>
                      <a:lnTo>
                        <a:pt x="44" y="5"/>
                      </a:lnTo>
                      <a:lnTo>
                        <a:pt x="43" y="5"/>
                      </a:lnTo>
                      <a:lnTo>
                        <a:pt x="43" y="5"/>
                      </a:lnTo>
                      <a:lnTo>
                        <a:pt x="43" y="5"/>
                      </a:lnTo>
                      <a:lnTo>
                        <a:pt x="43" y="6"/>
                      </a:lnTo>
                      <a:lnTo>
                        <a:pt x="43" y="7"/>
                      </a:lnTo>
                      <a:lnTo>
                        <a:pt x="46" y="8"/>
                      </a:lnTo>
                      <a:lnTo>
                        <a:pt x="47" y="9"/>
                      </a:lnTo>
                      <a:lnTo>
                        <a:pt x="47" y="9"/>
                      </a:lnTo>
                      <a:lnTo>
                        <a:pt x="46" y="9"/>
                      </a:lnTo>
                      <a:lnTo>
                        <a:pt x="46" y="11"/>
                      </a:lnTo>
                      <a:lnTo>
                        <a:pt x="46" y="9"/>
                      </a:lnTo>
                      <a:lnTo>
                        <a:pt x="44" y="9"/>
                      </a:lnTo>
                      <a:lnTo>
                        <a:pt x="43" y="9"/>
                      </a:lnTo>
                      <a:lnTo>
                        <a:pt x="43" y="11"/>
                      </a:lnTo>
                      <a:lnTo>
                        <a:pt x="44" y="11"/>
                      </a:lnTo>
                      <a:lnTo>
                        <a:pt x="46" y="11"/>
                      </a:lnTo>
                      <a:lnTo>
                        <a:pt x="46" y="11"/>
                      </a:lnTo>
                      <a:lnTo>
                        <a:pt x="46" y="12"/>
                      </a:lnTo>
                      <a:lnTo>
                        <a:pt x="48" y="12"/>
                      </a:lnTo>
                      <a:lnTo>
                        <a:pt x="48" y="12"/>
                      </a:lnTo>
                      <a:lnTo>
                        <a:pt x="49" y="12"/>
                      </a:lnTo>
                      <a:lnTo>
                        <a:pt x="50" y="11"/>
                      </a:lnTo>
                      <a:lnTo>
                        <a:pt x="50" y="9"/>
                      </a:lnTo>
                      <a:lnTo>
                        <a:pt x="50" y="9"/>
                      </a:lnTo>
                      <a:lnTo>
                        <a:pt x="53" y="9"/>
                      </a:lnTo>
                      <a:lnTo>
                        <a:pt x="55" y="7"/>
                      </a:lnTo>
                      <a:lnTo>
                        <a:pt x="56" y="7"/>
                      </a:lnTo>
                      <a:lnTo>
                        <a:pt x="56" y="6"/>
                      </a:lnTo>
                      <a:lnTo>
                        <a:pt x="56" y="5"/>
                      </a:lnTo>
                      <a:lnTo>
                        <a:pt x="57" y="5"/>
                      </a:lnTo>
                      <a:lnTo>
                        <a:pt x="59" y="5"/>
                      </a:lnTo>
                      <a:lnTo>
                        <a:pt x="59" y="6"/>
                      </a:lnTo>
                      <a:lnTo>
                        <a:pt x="59" y="6"/>
                      </a:lnTo>
                      <a:lnTo>
                        <a:pt x="60" y="8"/>
                      </a:lnTo>
                      <a:lnTo>
                        <a:pt x="60" y="9"/>
                      </a:lnTo>
                      <a:lnTo>
                        <a:pt x="57" y="11"/>
                      </a:lnTo>
                      <a:lnTo>
                        <a:pt x="57" y="12"/>
                      </a:lnTo>
                      <a:lnTo>
                        <a:pt x="56" y="13"/>
                      </a:lnTo>
                      <a:lnTo>
                        <a:pt x="56" y="14"/>
                      </a:lnTo>
                      <a:lnTo>
                        <a:pt x="57" y="14"/>
                      </a:lnTo>
                      <a:lnTo>
                        <a:pt x="57" y="15"/>
                      </a:lnTo>
                      <a:lnTo>
                        <a:pt x="59" y="15"/>
                      </a:lnTo>
                      <a:lnTo>
                        <a:pt x="59" y="15"/>
                      </a:lnTo>
                      <a:lnTo>
                        <a:pt x="59" y="16"/>
                      </a:lnTo>
                      <a:lnTo>
                        <a:pt x="57" y="16"/>
                      </a:lnTo>
                      <a:lnTo>
                        <a:pt x="55" y="18"/>
                      </a:lnTo>
                      <a:lnTo>
                        <a:pt x="55" y="18"/>
                      </a:lnTo>
                      <a:lnTo>
                        <a:pt x="53" y="18"/>
                      </a:lnTo>
                      <a:lnTo>
                        <a:pt x="50" y="20"/>
                      </a:lnTo>
                      <a:lnTo>
                        <a:pt x="49" y="21"/>
                      </a:lnTo>
                      <a:lnTo>
                        <a:pt x="49" y="25"/>
                      </a:lnTo>
                      <a:lnTo>
                        <a:pt x="49" y="26"/>
                      </a:lnTo>
                      <a:lnTo>
                        <a:pt x="49" y="26"/>
                      </a:lnTo>
                      <a:lnTo>
                        <a:pt x="50" y="27"/>
                      </a:lnTo>
                      <a:lnTo>
                        <a:pt x="50" y="27"/>
                      </a:lnTo>
                      <a:lnTo>
                        <a:pt x="50" y="27"/>
                      </a:lnTo>
                      <a:lnTo>
                        <a:pt x="50" y="27"/>
                      </a:lnTo>
                      <a:lnTo>
                        <a:pt x="50" y="27"/>
                      </a:lnTo>
                      <a:lnTo>
                        <a:pt x="50" y="28"/>
                      </a:lnTo>
                      <a:lnTo>
                        <a:pt x="51" y="28"/>
                      </a:lnTo>
                      <a:lnTo>
                        <a:pt x="51" y="29"/>
                      </a:lnTo>
                      <a:lnTo>
                        <a:pt x="51" y="31"/>
                      </a:lnTo>
                      <a:lnTo>
                        <a:pt x="51" y="31"/>
                      </a:lnTo>
                      <a:lnTo>
                        <a:pt x="53" y="31"/>
                      </a:lnTo>
                      <a:lnTo>
                        <a:pt x="53" y="32"/>
                      </a:lnTo>
                      <a:lnTo>
                        <a:pt x="54" y="32"/>
                      </a:lnTo>
                      <a:lnTo>
                        <a:pt x="55" y="32"/>
                      </a:lnTo>
                      <a:lnTo>
                        <a:pt x="55" y="32"/>
                      </a:lnTo>
                      <a:lnTo>
                        <a:pt x="55" y="33"/>
                      </a:lnTo>
                      <a:lnTo>
                        <a:pt x="55" y="33"/>
                      </a:lnTo>
                      <a:lnTo>
                        <a:pt x="56" y="33"/>
                      </a:lnTo>
                      <a:lnTo>
                        <a:pt x="56" y="34"/>
                      </a:lnTo>
                      <a:lnTo>
                        <a:pt x="59" y="33"/>
                      </a:lnTo>
                      <a:lnTo>
                        <a:pt x="59" y="34"/>
                      </a:lnTo>
                      <a:lnTo>
                        <a:pt x="60" y="35"/>
                      </a:lnTo>
                      <a:lnTo>
                        <a:pt x="59" y="36"/>
                      </a:lnTo>
                      <a:lnTo>
                        <a:pt x="59" y="36"/>
                      </a:lnTo>
                      <a:lnTo>
                        <a:pt x="60" y="36"/>
                      </a:lnTo>
                      <a:lnTo>
                        <a:pt x="60" y="38"/>
                      </a:lnTo>
                      <a:lnTo>
                        <a:pt x="61" y="38"/>
                      </a:lnTo>
                      <a:lnTo>
                        <a:pt x="61" y="38"/>
                      </a:lnTo>
                      <a:lnTo>
                        <a:pt x="61" y="38"/>
                      </a:lnTo>
                      <a:lnTo>
                        <a:pt x="60" y="39"/>
                      </a:lnTo>
                      <a:lnTo>
                        <a:pt x="59" y="39"/>
                      </a:lnTo>
                      <a:lnTo>
                        <a:pt x="59" y="40"/>
                      </a:lnTo>
                      <a:lnTo>
                        <a:pt x="59" y="40"/>
                      </a:lnTo>
                      <a:lnTo>
                        <a:pt x="60" y="41"/>
                      </a:lnTo>
                      <a:lnTo>
                        <a:pt x="60" y="41"/>
                      </a:lnTo>
                      <a:lnTo>
                        <a:pt x="61" y="42"/>
                      </a:lnTo>
                      <a:lnTo>
                        <a:pt x="61" y="42"/>
                      </a:lnTo>
                      <a:lnTo>
                        <a:pt x="61" y="42"/>
                      </a:lnTo>
                      <a:lnTo>
                        <a:pt x="61" y="42"/>
                      </a:lnTo>
                      <a:lnTo>
                        <a:pt x="60" y="44"/>
                      </a:lnTo>
                      <a:lnTo>
                        <a:pt x="60" y="45"/>
                      </a:lnTo>
                      <a:lnTo>
                        <a:pt x="60" y="46"/>
                      </a:lnTo>
                      <a:lnTo>
                        <a:pt x="60" y="47"/>
                      </a:lnTo>
                      <a:lnTo>
                        <a:pt x="59" y="47"/>
                      </a:lnTo>
                      <a:lnTo>
                        <a:pt x="57" y="48"/>
                      </a:lnTo>
                      <a:lnTo>
                        <a:pt x="57" y="49"/>
                      </a:lnTo>
                      <a:lnTo>
                        <a:pt x="57" y="51"/>
                      </a:lnTo>
                      <a:lnTo>
                        <a:pt x="57" y="51"/>
                      </a:lnTo>
                      <a:lnTo>
                        <a:pt x="57" y="52"/>
                      </a:lnTo>
                      <a:lnTo>
                        <a:pt x="57" y="52"/>
                      </a:lnTo>
                      <a:lnTo>
                        <a:pt x="57" y="53"/>
                      </a:lnTo>
                      <a:lnTo>
                        <a:pt x="56" y="52"/>
                      </a:lnTo>
                      <a:lnTo>
                        <a:pt x="55" y="52"/>
                      </a:lnTo>
                      <a:lnTo>
                        <a:pt x="55" y="54"/>
                      </a:lnTo>
                      <a:lnTo>
                        <a:pt x="55" y="54"/>
                      </a:lnTo>
                      <a:lnTo>
                        <a:pt x="54" y="54"/>
                      </a:lnTo>
                      <a:lnTo>
                        <a:pt x="53" y="55"/>
                      </a:lnTo>
                      <a:lnTo>
                        <a:pt x="51" y="56"/>
                      </a:lnTo>
                      <a:lnTo>
                        <a:pt x="50" y="58"/>
                      </a:lnTo>
                      <a:lnTo>
                        <a:pt x="48" y="59"/>
                      </a:lnTo>
                      <a:lnTo>
                        <a:pt x="48" y="60"/>
                      </a:lnTo>
                      <a:lnTo>
                        <a:pt x="48" y="60"/>
                      </a:lnTo>
                      <a:lnTo>
                        <a:pt x="48" y="60"/>
                      </a:lnTo>
                      <a:lnTo>
                        <a:pt x="48" y="60"/>
                      </a:lnTo>
                      <a:lnTo>
                        <a:pt x="48" y="60"/>
                      </a:lnTo>
                      <a:lnTo>
                        <a:pt x="47" y="60"/>
                      </a:lnTo>
                      <a:lnTo>
                        <a:pt x="47" y="60"/>
                      </a:lnTo>
                      <a:lnTo>
                        <a:pt x="44" y="61"/>
                      </a:lnTo>
                      <a:lnTo>
                        <a:pt x="44" y="61"/>
                      </a:lnTo>
                      <a:lnTo>
                        <a:pt x="43" y="62"/>
                      </a:lnTo>
                      <a:lnTo>
                        <a:pt x="43" y="64"/>
                      </a:lnTo>
                      <a:lnTo>
                        <a:pt x="43" y="64"/>
                      </a:lnTo>
                      <a:lnTo>
                        <a:pt x="42" y="65"/>
                      </a:lnTo>
                      <a:lnTo>
                        <a:pt x="42" y="65"/>
                      </a:lnTo>
                      <a:lnTo>
                        <a:pt x="43" y="67"/>
                      </a:lnTo>
                      <a:lnTo>
                        <a:pt x="43" y="68"/>
                      </a:lnTo>
                      <a:lnTo>
                        <a:pt x="44" y="69"/>
                      </a:lnTo>
                      <a:lnTo>
                        <a:pt x="44" y="69"/>
                      </a:lnTo>
                      <a:lnTo>
                        <a:pt x="44" y="69"/>
                      </a:lnTo>
                      <a:lnTo>
                        <a:pt x="44" y="71"/>
                      </a:lnTo>
                      <a:lnTo>
                        <a:pt x="46" y="71"/>
                      </a:lnTo>
                      <a:lnTo>
                        <a:pt x="46" y="71"/>
                      </a:lnTo>
                      <a:lnTo>
                        <a:pt x="47" y="72"/>
                      </a:lnTo>
                      <a:lnTo>
                        <a:pt x="48" y="72"/>
                      </a:lnTo>
                      <a:lnTo>
                        <a:pt x="48" y="74"/>
                      </a:lnTo>
                      <a:lnTo>
                        <a:pt x="48" y="73"/>
                      </a:lnTo>
                      <a:lnTo>
                        <a:pt x="49" y="74"/>
                      </a:lnTo>
                      <a:lnTo>
                        <a:pt x="49" y="75"/>
                      </a:lnTo>
                      <a:lnTo>
                        <a:pt x="50" y="75"/>
                      </a:lnTo>
                      <a:lnTo>
                        <a:pt x="51" y="74"/>
                      </a:lnTo>
                      <a:lnTo>
                        <a:pt x="53" y="74"/>
                      </a:lnTo>
                      <a:lnTo>
                        <a:pt x="53" y="75"/>
                      </a:lnTo>
                      <a:lnTo>
                        <a:pt x="54" y="75"/>
                      </a:lnTo>
                      <a:lnTo>
                        <a:pt x="55" y="76"/>
                      </a:lnTo>
                      <a:lnTo>
                        <a:pt x="55" y="75"/>
                      </a:lnTo>
                      <a:lnTo>
                        <a:pt x="54" y="75"/>
                      </a:lnTo>
                      <a:lnTo>
                        <a:pt x="54" y="74"/>
                      </a:lnTo>
                      <a:lnTo>
                        <a:pt x="54" y="73"/>
                      </a:lnTo>
                      <a:lnTo>
                        <a:pt x="55" y="72"/>
                      </a:lnTo>
                      <a:lnTo>
                        <a:pt x="54" y="71"/>
                      </a:lnTo>
                      <a:lnTo>
                        <a:pt x="54" y="69"/>
                      </a:lnTo>
                      <a:lnTo>
                        <a:pt x="54" y="68"/>
                      </a:lnTo>
                      <a:lnTo>
                        <a:pt x="54" y="68"/>
                      </a:lnTo>
                      <a:lnTo>
                        <a:pt x="54" y="68"/>
                      </a:lnTo>
                      <a:lnTo>
                        <a:pt x="55" y="68"/>
                      </a:lnTo>
                      <a:lnTo>
                        <a:pt x="56" y="68"/>
                      </a:lnTo>
                      <a:lnTo>
                        <a:pt x="57" y="68"/>
                      </a:lnTo>
                      <a:lnTo>
                        <a:pt x="59" y="68"/>
                      </a:lnTo>
                      <a:lnTo>
                        <a:pt x="60" y="69"/>
                      </a:lnTo>
                      <a:lnTo>
                        <a:pt x="60" y="69"/>
                      </a:lnTo>
                      <a:lnTo>
                        <a:pt x="60" y="72"/>
                      </a:lnTo>
                      <a:lnTo>
                        <a:pt x="59" y="73"/>
                      </a:lnTo>
                      <a:lnTo>
                        <a:pt x="59" y="73"/>
                      </a:lnTo>
                      <a:lnTo>
                        <a:pt x="60" y="74"/>
                      </a:lnTo>
                      <a:lnTo>
                        <a:pt x="60" y="74"/>
                      </a:lnTo>
                      <a:lnTo>
                        <a:pt x="60" y="75"/>
                      </a:lnTo>
                      <a:lnTo>
                        <a:pt x="60" y="75"/>
                      </a:lnTo>
                      <a:lnTo>
                        <a:pt x="60" y="76"/>
                      </a:lnTo>
                      <a:lnTo>
                        <a:pt x="61" y="76"/>
                      </a:lnTo>
                      <a:lnTo>
                        <a:pt x="61" y="76"/>
                      </a:lnTo>
                      <a:lnTo>
                        <a:pt x="62" y="78"/>
                      </a:lnTo>
                      <a:lnTo>
                        <a:pt x="62" y="79"/>
                      </a:lnTo>
                      <a:lnTo>
                        <a:pt x="62" y="80"/>
                      </a:lnTo>
                      <a:lnTo>
                        <a:pt x="62" y="80"/>
                      </a:lnTo>
                      <a:lnTo>
                        <a:pt x="62" y="81"/>
                      </a:lnTo>
                      <a:lnTo>
                        <a:pt x="62" y="81"/>
                      </a:lnTo>
                      <a:lnTo>
                        <a:pt x="63" y="81"/>
                      </a:lnTo>
                      <a:lnTo>
                        <a:pt x="63" y="82"/>
                      </a:lnTo>
                      <a:lnTo>
                        <a:pt x="64" y="82"/>
                      </a:lnTo>
                      <a:lnTo>
                        <a:pt x="63" y="82"/>
                      </a:lnTo>
                      <a:lnTo>
                        <a:pt x="62" y="82"/>
                      </a:lnTo>
                      <a:lnTo>
                        <a:pt x="62" y="82"/>
                      </a:lnTo>
                      <a:lnTo>
                        <a:pt x="63" y="84"/>
                      </a:lnTo>
                      <a:lnTo>
                        <a:pt x="63" y="84"/>
                      </a:lnTo>
                      <a:lnTo>
                        <a:pt x="63" y="84"/>
                      </a:lnTo>
                      <a:lnTo>
                        <a:pt x="64" y="84"/>
                      </a:lnTo>
                      <a:lnTo>
                        <a:pt x="66" y="85"/>
                      </a:lnTo>
                      <a:lnTo>
                        <a:pt x="67" y="85"/>
                      </a:lnTo>
                      <a:lnTo>
                        <a:pt x="68" y="85"/>
                      </a:lnTo>
                      <a:lnTo>
                        <a:pt x="66" y="82"/>
                      </a:lnTo>
                      <a:lnTo>
                        <a:pt x="68" y="84"/>
                      </a:lnTo>
                      <a:lnTo>
                        <a:pt x="68" y="85"/>
                      </a:lnTo>
                      <a:lnTo>
                        <a:pt x="68" y="85"/>
                      </a:lnTo>
                      <a:lnTo>
                        <a:pt x="69" y="86"/>
                      </a:lnTo>
                      <a:lnTo>
                        <a:pt x="68" y="91"/>
                      </a:lnTo>
                      <a:lnTo>
                        <a:pt x="69" y="92"/>
                      </a:lnTo>
                      <a:lnTo>
                        <a:pt x="69" y="95"/>
                      </a:lnTo>
                      <a:lnTo>
                        <a:pt x="69" y="98"/>
                      </a:lnTo>
                      <a:lnTo>
                        <a:pt x="70" y="98"/>
                      </a:lnTo>
                      <a:lnTo>
                        <a:pt x="70" y="99"/>
                      </a:lnTo>
                      <a:lnTo>
                        <a:pt x="71" y="99"/>
                      </a:lnTo>
                      <a:lnTo>
                        <a:pt x="70" y="100"/>
                      </a:lnTo>
                      <a:lnTo>
                        <a:pt x="68" y="102"/>
                      </a:lnTo>
                      <a:lnTo>
                        <a:pt x="67" y="103"/>
                      </a:lnTo>
                      <a:lnTo>
                        <a:pt x="66" y="103"/>
                      </a:lnTo>
                      <a:lnTo>
                        <a:pt x="62" y="105"/>
                      </a:lnTo>
                      <a:lnTo>
                        <a:pt x="59" y="106"/>
                      </a:lnTo>
                      <a:lnTo>
                        <a:pt x="57" y="108"/>
                      </a:lnTo>
                      <a:lnTo>
                        <a:pt x="57" y="108"/>
                      </a:lnTo>
                      <a:lnTo>
                        <a:pt x="56" y="108"/>
                      </a:lnTo>
                      <a:lnTo>
                        <a:pt x="56" y="109"/>
                      </a:lnTo>
                      <a:lnTo>
                        <a:pt x="56" y="111"/>
                      </a:lnTo>
                      <a:lnTo>
                        <a:pt x="55" y="109"/>
                      </a:lnTo>
                      <a:lnTo>
                        <a:pt x="55" y="108"/>
                      </a:lnTo>
                      <a:lnTo>
                        <a:pt x="55" y="109"/>
                      </a:lnTo>
                      <a:lnTo>
                        <a:pt x="55" y="109"/>
                      </a:lnTo>
                      <a:lnTo>
                        <a:pt x="55" y="111"/>
                      </a:lnTo>
                      <a:lnTo>
                        <a:pt x="55" y="112"/>
                      </a:lnTo>
                      <a:lnTo>
                        <a:pt x="54" y="113"/>
                      </a:lnTo>
                      <a:lnTo>
                        <a:pt x="53" y="114"/>
                      </a:lnTo>
                      <a:lnTo>
                        <a:pt x="53" y="114"/>
                      </a:lnTo>
                      <a:lnTo>
                        <a:pt x="51" y="115"/>
                      </a:lnTo>
                      <a:lnTo>
                        <a:pt x="50" y="116"/>
                      </a:lnTo>
                      <a:lnTo>
                        <a:pt x="49" y="116"/>
                      </a:lnTo>
                      <a:lnTo>
                        <a:pt x="49" y="116"/>
                      </a:lnTo>
                      <a:lnTo>
                        <a:pt x="49" y="118"/>
                      </a:lnTo>
                      <a:lnTo>
                        <a:pt x="48" y="119"/>
                      </a:lnTo>
                      <a:lnTo>
                        <a:pt x="47" y="120"/>
                      </a:lnTo>
                      <a:lnTo>
                        <a:pt x="47" y="121"/>
                      </a:lnTo>
                      <a:lnTo>
                        <a:pt x="49" y="128"/>
                      </a:lnTo>
                      <a:lnTo>
                        <a:pt x="49" y="129"/>
                      </a:lnTo>
                      <a:lnTo>
                        <a:pt x="49" y="132"/>
                      </a:lnTo>
                      <a:lnTo>
                        <a:pt x="48" y="135"/>
                      </a:lnTo>
                      <a:lnTo>
                        <a:pt x="48" y="136"/>
                      </a:lnTo>
                      <a:lnTo>
                        <a:pt x="46" y="139"/>
                      </a:lnTo>
                      <a:lnTo>
                        <a:pt x="43" y="142"/>
                      </a:lnTo>
                      <a:lnTo>
                        <a:pt x="41" y="141"/>
                      </a:lnTo>
                      <a:lnTo>
                        <a:pt x="40" y="142"/>
                      </a:lnTo>
                      <a:lnTo>
                        <a:pt x="37" y="145"/>
                      </a:lnTo>
                      <a:lnTo>
                        <a:pt x="31" y="129"/>
                      </a:lnTo>
                      <a:lnTo>
                        <a:pt x="29" y="121"/>
                      </a:lnTo>
                      <a:lnTo>
                        <a:pt x="28" y="107"/>
                      </a:lnTo>
                      <a:lnTo>
                        <a:pt x="22" y="101"/>
                      </a:lnTo>
                      <a:lnTo>
                        <a:pt x="15" y="98"/>
                      </a:lnTo>
                      <a:lnTo>
                        <a:pt x="14" y="92"/>
                      </a:lnTo>
                      <a:lnTo>
                        <a:pt x="9" y="86"/>
                      </a:lnTo>
                      <a:lnTo>
                        <a:pt x="9" y="86"/>
                      </a:lnTo>
                      <a:lnTo>
                        <a:pt x="7" y="85"/>
                      </a:lnTo>
                      <a:lnTo>
                        <a:pt x="4" y="85"/>
                      </a:lnTo>
                      <a:lnTo>
                        <a:pt x="4" y="84"/>
                      </a:lnTo>
                      <a:lnTo>
                        <a:pt x="3" y="80"/>
                      </a:lnTo>
                      <a:lnTo>
                        <a:pt x="1" y="73"/>
                      </a:lnTo>
                      <a:lnTo>
                        <a:pt x="0" y="72"/>
                      </a:lnTo>
                      <a:lnTo>
                        <a:pt x="0" y="71"/>
                      </a:lnTo>
                      <a:lnTo>
                        <a:pt x="0" y="66"/>
                      </a:lnTo>
                      <a:lnTo>
                        <a:pt x="2" y="64"/>
                      </a:lnTo>
                      <a:lnTo>
                        <a:pt x="4" y="62"/>
                      </a:lnTo>
                      <a:lnTo>
                        <a:pt x="6" y="60"/>
                      </a:lnTo>
                      <a:lnTo>
                        <a:pt x="6" y="59"/>
                      </a:lnTo>
                      <a:lnTo>
                        <a:pt x="9" y="56"/>
                      </a:lnTo>
                      <a:lnTo>
                        <a:pt x="10" y="56"/>
                      </a:lnTo>
                      <a:lnTo>
                        <a:pt x="10" y="55"/>
                      </a:lnTo>
                      <a:lnTo>
                        <a:pt x="11" y="54"/>
                      </a:lnTo>
                      <a:lnTo>
                        <a:pt x="11" y="53"/>
                      </a:lnTo>
                      <a:lnTo>
                        <a:pt x="13" y="52"/>
                      </a:lnTo>
                      <a:lnTo>
                        <a:pt x="13" y="48"/>
                      </a:lnTo>
                      <a:lnTo>
                        <a:pt x="13" y="47"/>
                      </a:lnTo>
                      <a:lnTo>
                        <a:pt x="13" y="45"/>
                      </a:lnTo>
                      <a:lnTo>
                        <a:pt x="14" y="44"/>
                      </a:lnTo>
                      <a:lnTo>
                        <a:pt x="14" y="44"/>
                      </a:lnTo>
                      <a:lnTo>
                        <a:pt x="15" y="42"/>
                      </a:lnTo>
                      <a:lnTo>
                        <a:pt x="15" y="41"/>
                      </a:lnTo>
                      <a:lnTo>
                        <a:pt x="13" y="41"/>
                      </a:lnTo>
                      <a:lnTo>
                        <a:pt x="13" y="40"/>
                      </a:lnTo>
                      <a:lnTo>
                        <a:pt x="13" y="39"/>
                      </a:lnTo>
                      <a:lnTo>
                        <a:pt x="14" y="36"/>
                      </a:lnTo>
                      <a:lnTo>
                        <a:pt x="13" y="33"/>
                      </a:lnTo>
                      <a:lnTo>
                        <a:pt x="11" y="32"/>
                      </a:lnTo>
                      <a:lnTo>
                        <a:pt x="11" y="31"/>
                      </a:lnTo>
                      <a:lnTo>
                        <a:pt x="11" y="29"/>
                      </a:lnTo>
                      <a:lnTo>
                        <a:pt x="11" y="26"/>
                      </a:lnTo>
                      <a:lnTo>
                        <a:pt x="13" y="24"/>
                      </a:lnTo>
                      <a:lnTo>
                        <a:pt x="13" y="22"/>
                      </a:lnTo>
                      <a:lnTo>
                        <a:pt x="13" y="21"/>
                      </a:lnTo>
                      <a:lnTo>
                        <a:pt x="14" y="20"/>
                      </a:lnTo>
                      <a:lnTo>
                        <a:pt x="13" y="18"/>
                      </a:lnTo>
                      <a:lnTo>
                        <a:pt x="11" y="18"/>
                      </a:lnTo>
                      <a:lnTo>
                        <a:pt x="10" y="18"/>
                      </a:lnTo>
                      <a:lnTo>
                        <a:pt x="10" y="14"/>
                      </a:lnTo>
                      <a:lnTo>
                        <a:pt x="13" y="14"/>
                      </a:lnTo>
                      <a:lnTo>
                        <a:pt x="14" y="14"/>
                      </a:lnTo>
                      <a:lnTo>
                        <a:pt x="14" y="14"/>
                      </a:lnTo>
                      <a:lnTo>
                        <a:pt x="15" y="13"/>
                      </a:lnTo>
                      <a:lnTo>
                        <a:pt x="14" y="12"/>
                      </a:lnTo>
                      <a:lnTo>
                        <a:pt x="14" y="12"/>
                      </a:lnTo>
                      <a:lnTo>
                        <a:pt x="14" y="11"/>
                      </a:lnTo>
                      <a:lnTo>
                        <a:pt x="15" y="11"/>
                      </a:lnTo>
                      <a:lnTo>
                        <a:pt x="15" y="12"/>
                      </a:lnTo>
                      <a:lnTo>
                        <a:pt x="17" y="12"/>
                      </a:lnTo>
                      <a:lnTo>
                        <a:pt x="17" y="12"/>
                      </a:lnTo>
                      <a:lnTo>
                        <a:pt x="17" y="11"/>
                      </a:lnTo>
                      <a:lnTo>
                        <a:pt x="17" y="9"/>
                      </a:lnTo>
                      <a:lnTo>
                        <a:pt x="17" y="9"/>
                      </a:lnTo>
                      <a:lnTo>
                        <a:pt x="17" y="8"/>
                      </a:lnTo>
                      <a:lnTo>
                        <a:pt x="17" y="8"/>
                      </a:lnTo>
                      <a:lnTo>
                        <a:pt x="17" y="8"/>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541" name="Taiwan">
                  <a:extLst>
                    <a:ext uri="{FF2B5EF4-FFF2-40B4-BE49-F238E27FC236}">
                      <a16:creationId xmlns:a16="http://schemas.microsoft.com/office/drawing/2014/main" id="{D8ECB10D-AA0F-304A-9988-0B58592A6B92}"/>
                    </a:ext>
                  </a:extLst>
                </p:cNvPr>
                <p:cNvSpPr>
                  <a:spLocks/>
                </p:cNvSpPr>
                <p:nvPr>
                  <p:custDataLst>
                    <p:tags r:id="rId16"/>
                  </p:custDataLst>
                </p:nvPr>
              </p:nvSpPr>
              <p:spPr bwMode="auto">
                <a:xfrm>
                  <a:off x="9466303" y="3224024"/>
                  <a:ext cx="45197" cy="104973"/>
                </a:xfrm>
                <a:custGeom>
                  <a:avLst/>
                  <a:gdLst>
                    <a:gd name="T0" fmla="*/ 23 w 31"/>
                    <a:gd name="T1" fmla="*/ 72 h 72"/>
                    <a:gd name="T2" fmla="*/ 21 w 31"/>
                    <a:gd name="T3" fmla="*/ 71 h 72"/>
                    <a:gd name="T4" fmla="*/ 19 w 31"/>
                    <a:gd name="T5" fmla="*/ 69 h 72"/>
                    <a:gd name="T6" fmla="*/ 18 w 31"/>
                    <a:gd name="T7" fmla="*/ 65 h 72"/>
                    <a:gd name="T8" fmla="*/ 17 w 31"/>
                    <a:gd name="T9" fmla="*/ 64 h 72"/>
                    <a:gd name="T10" fmla="*/ 13 w 31"/>
                    <a:gd name="T11" fmla="*/ 63 h 72"/>
                    <a:gd name="T12" fmla="*/ 10 w 31"/>
                    <a:gd name="T13" fmla="*/ 62 h 72"/>
                    <a:gd name="T14" fmla="*/ 7 w 31"/>
                    <a:gd name="T15" fmla="*/ 59 h 72"/>
                    <a:gd name="T16" fmla="*/ 6 w 31"/>
                    <a:gd name="T17" fmla="*/ 56 h 72"/>
                    <a:gd name="T18" fmla="*/ 7 w 31"/>
                    <a:gd name="T19" fmla="*/ 57 h 72"/>
                    <a:gd name="T20" fmla="*/ 5 w 31"/>
                    <a:gd name="T21" fmla="*/ 52 h 72"/>
                    <a:gd name="T22" fmla="*/ 4 w 31"/>
                    <a:gd name="T23" fmla="*/ 53 h 72"/>
                    <a:gd name="T24" fmla="*/ 4 w 31"/>
                    <a:gd name="T25" fmla="*/ 51 h 72"/>
                    <a:gd name="T26" fmla="*/ 3 w 31"/>
                    <a:gd name="T27" fmla="*/ 46 h 72"/>
                    <a:gd name="T28" fmla="*/ 1 w 31"/>
                    <a:gd name="T29" fmla="*/ 47 h 72"/>
                    <a:gd name="T30" fmla="*/ 3 w 31"/>
                    <a:gd name="T31" fmla="*/ 45 h 72"/>
                    <a:gd name="T32" fmla="*/ 0 w 31"/>
                    <a:gd name="T33" fmla="*/ 40 h 72"/>
                    <a:gd name="T34" fmla="*/ 1 w 31"/>
                    <a:gd name="T35" fmla="*/ 37 h 72"/>
                    <a:gd name="T36" fmla="*/ 3 w 31"/>
                    <a:gd name="T37" fmla="*/ 36 h 72"/>
                    <a:gd name="T38" fmla="*/ 1 w 31"/>
                    <a:gd name="T39" fmla="*/ 32 h 72"/>
                    <a:gd name="T40" fmla="*/ 3 w 31"/>
                    <a:gd name="T41" fmla="*/ 29 h 72"/>
                    <a:gd name="T42" fmla="*/ 4 w 31"/>
                    <a:gd name="T43" fmla="*/ 23 h 72"/>
                    <a:gd name="T44" fmla="*/ 5 w 31"/>
                    <a:gd name="T45" fmla="*/ 22 h 72"/>
                    <a:gd name="T46" fmla="*/ 6 w 31"/>
                    <a:gd name="T47" fmla="*/ 19 h 72"/>
                    <a:gd name="T48" fmla="*/ 8 w 31"/>
                    <a:gd name="T49" fmla="*/ 16 h 72"/>
                    <a:gd name="T50" fmla="*/ 11 w 31"/>
                    <a:gd name="T51" fmla="*/ 12 h 72"/>
                    <a:gd name="T52" fmla="*/ 10 w 31"/>
                    <a:gd name="T53" fmla="*/ 12 h 72"/>
                    <a:gd name="T54" fmla="*/ 12 w 31"/>
                    <a:gd name="T55" fmla="*/ 7 h 72"/>
                    <a:gd name="T56" fmla="*/ 13 w 31"/>
                    <a:gd name="T57" fmla="*/ 5 h 72"/>
                    <a:gd name="T58" fmla="*/ 13 w 31"/>
                    <a:gd name="T59" fmla="*/ 5 h 72"/>
                    <a:gd name="T60" fmla="*/ 18 w 31"/>
                    <a:gd name="T61" fmla="*/ 5 h 72"/>
                    <a:gd name="T62" fmla="*/ 18 w 31"/>
                    <a:gd name="T63" fmla="*/ 3 h 72"/>
                    <a:gd name="T64" fmla="*/ 20 w 31"/>
                    <a:gd name="T65" fmla="*/ 0 h 72"/>
                    <a:gd name="T66" fmla="*/ 21 w 31"/>
                    <a:gd name="T67" fmla="*/ 2 h 72"/>
                    <a:gd name="T68" fmla="*/ 26 w 31"/>
                    <a:gd name="T69" fmla="*/ 2 h 72"/>
                    <a:gd name="T70" fmla="*/ 28 w 31"/>
                    <a:gd name="T71" fmla="*/ 4 h 72"/>
                    <a:gd name="T72" fmla="*/ 30 w 31"/>
                    <a:gd name="T73" fmla="*/ 6 h 72"/>
                    <a:gd name="T74" fmla="*/ 27 w 31"/>
                    <a:gd name="T75" fmla="*/ 9 h 72"/>
                    <a:gd name="T76" fmla="*/ 30 w 31"/>
                    <a:gd name="T77" fmla="*/ 12 h 72"/>
                    <a:gd name="T78" fmla="*/ 28 w 31"/>
                    <a:gd name="T79" fmla="*/ 15 h 72"/>
                    <a:gd name="T80" fmla="*/ 31 w 31"/>
                    <a:gd name="T81" fmla="*/ 16 h 72"/>
                    <a:gd name="T82" fmla="*/ 28 w 31"/>
                    <a:gd name="T83" fmla="*/ 19 h 72"/>
                    <a:gd name="T84" fmla="*/ 28 w 31"/>
                    <a:gd name="T85" fmla="*/ 23 h 72"/>
                    <a:gd name="T86" fmla="*/ 28 w 31"/>
                    <a:gd name="T87" fmla="*/ 27 h 72"/>
                    <a:gd name="T88" fmla="*/ 26 w 31"/>
                    <a:gd name="T89" fmla="*/ 30 h 72"/>
                    <a:gd name="T90" fmla="*/ 27 w 31"/>
                    <a:gd name="T91" fmla="*/ 35 h 72"/>
                    <a:gd name="T92" fmla="*/ 27 w 31"/>
                    <a:gd name="T93" fmla="*/ 37 h 72"/>
                    <a:gd name="T94" fmla="*/ 28 w 31"/>
                    <a:gd name="T95" fmla="*/ 42 h 72"/>
                    <a:gd name="T96" fmla="*/ 28 w 31"/>
                    <a:gd name="T97" fmla="*/ 49 h 72"/>
                    <a:gd name="T98" fmla="*/ 27 w 31"/>
                    <a:gd name="T99" fmla="*/ 51 h 72"/>
                    <a:gd name="T100" fmla="*/ 26 w 31"/>
                    <a:gd name="T101" fmla="*/ 53 h 72"/>
                    <a:gd name="T102" fmla="*/ 23 w 31"/>
                    <a:gd name="T103" fmla="*/ 57 h 72"/>
                    <a:gd name="T104" fmla="*/ 23 w 31"/>
                    <a:gd name="T105" fmla="*/ 59 h 72"/>
                    <a:gd name="T106" fmla="*/ 23 w 31"/>
                    <a:gd name="T107" fmla="*/ 64 h 72"/>
                    <a:gd name="T108" fmla="*/ 24 w 31"/>
                    <a:gd name="T109" fmla="*/ 66 h 72"/>
                    <a:gd name="T110" fmla="*/ 24 w 31"/>
                    <a:gd name="T111" fmla="*/ 70 h 72"/>
                    <a:gd name="T112" fmla="*/ 25 w 31"/>
                    <a:gd name="T113" fmla="*/ 7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1" h="72">
                      <a:moveTo>
                        <a:pt x="25" y="72"/>
                      </a:moveTo>
                      <a:lnTo>
                        <a:pt x="25" y="72"/>
                      </a:lnTo>
                      <a:lnTo>
                        <a:pt x="24" y="72"/>
                      </a:lnTo>
                      <a:lnTo>
                        <a:pt x="23" y="72"/>
                      </a:lnTo>
                      <a:lnTo>
                        <a:pt x="23" y="71"/>
                      </a:lnTo>
                      <a:lnTo>
                        <a:pt x="21" y="71"/>
                      </a:lnTo>
                      <a:lnTo>
                        <a:pt x="21" y="72"/>
                      </a:lnTo>
                      <a:lnTo>
                        <a:pt x="21" y="71"/>
                      </a:lnTo>
                      <a:lnTo>
                        <a:pt x="20" y="71"/>
                      </a:lnTo>
                      <a:lnTo>
                        <a:pt x="20" y="70"/>
                      </a:lnTo>
                      <a:lnTo>
                        <a:pt x="20" y="70"/>
                      </a:lnTo>
                      <a:lnTo>
                        <a:pt x="19" y="69"/>
                      </a:lnTo>
                      <a:lnTo>
                        <a:pt x="19" y="69"/>
                      </a:lnTo>
                      <a:lnTo>
                        <a:pt x="19" y="67"/>
                      </a:lnTo>
                      <a:lnTo>
                        <a:pt x="19" y="66"/>
                      </a:lnTo>
                      <a:lnTo>
                        <a:pt x="18" y="65"/>
                      </a:lnTo>
                      <a:lnTo>
                        <a:pt x="18" y="65"/>
                      </a:lnTo>
                      <a:lnTo>
                        <a:pt x="18" y="65"/>
                      </a:lnTo>
                      <a:lnTo>
                        <a:pt x="17" y="65"/>
                      </a:lnTo>
                      <a:lnTo>
                        <a:pt x="17" y="64"/>
                      </a:lnTo>
                      <a:lnTo>
                        <a:pt x="17" y="63"/>
                      </a:lnTo>
                      <a:lnTo>
                        <a:pt x="15" y="63"/>
                      </a:lnTo>
                      <a:lnTo>
                        <a:pt x="14" y="63"/>
                      </a:lnTo>
                      <a:lnTo>
                        <a:pt x="13" y="63"/>
                      </a:lnTo>
                      <a:lnTo>
                        <a:pt x="12" y="63"/>
                      </a:lnTo>
                      <a:lnTo>
                        <a:pt x="11" y="63"/>
                      </a:lnTo>
                      <a:lnTo>
                        <a:pt x="10" y="62"/>
                      </a:lnTo>
                      <a:lnTo>
                        <a:pt x="10" y="62"/>
                      </a:lnTo>
                      <a:lnTo>
                        <a:pt x="10" y="62"/>
                      </a:lnTo>
                      <a:lnTo>
                        <a:pt x="8" y="62"/>
                      </a:lnTo>
                      <a:lnTo>
                        <a:pt x="7" y="60"/>
                      </a:lnTo>
                      <a:lnTo>
                        <a:pt x="7" y="59"/>
                      </a:lnTo>
                      <a:lnTo>
                        <a:pt x="7" y="59"/>
                      </a:lnTo>
                      <a:lnTo>
                        <a:pt x="6" y="58"/>
                      </a:lnTo>
                      <a:lnTo>
                        <a:pt x="6" y="57"/>
                      </a:lnTo>
                      <a:lnTo>
                        <a:pt x="6" y="56"/>
                      </a:lnTo>
                      <a:lnTo>
                        <a:pt x="7" y="58"/>
                      </a:lnTo>
                      <a:lnTo>
                        <a:pt x="7" y="57"/>
                      </a:lnTo>
                      <a:lnTo>
                        <a:pt x="7" y="57"/>
                      </a:lnTo>
                      <a:lnTo>
                        <a:pt x="7" y="57"/>
                      </a:lnTo>
                      <a:lnTo>
                        <a:pt x="6" y="56"/>
                      </a:lnTo>
                      <a:lnTo>
                        <a:pt x="6" y="56"/>
                      </a:lnTo>
                      <a:lnTo>
                        <a:pt x="6" y="55"/>
                      </a:lnTo>
                      <a:lnTo>
                        <a:pt x="5" y="52"/>
                      </a:lnTo>
                      <a:lnTo>
                        <a:pt x="5" y="52"/>
                      </a:lnTo>
                      <a:lnTo>
                        <a:pt x="5" y="52"/>
                      </a:lnTo>
                      <a:lnTo>
                        <a:pt x="4" y="53"/>
                      </a:lnTo>
                      <a:lnTo>
                        <a:pt x="4" y="53"/>
                      </a:lnTo>
                      <a:lnTo>
                        <a:pt x="3" y="52"/>
                      </a:lnTo>
                      <a:lnTo>
                        <a:pt x="3" y="51"/>
                      </a:lnTo>
                      <a:lnTo>
                        <a:pt x="3" y="51"/>
                      </a:lnTo>
                      <a:lnTo>
                        <a:pt x="4" y="51"/>
                      </a:lnTo>
                      <a:lnTo>
                        <a:pt x="3" y="50"/>
                      </a:lnTo>
                      <a:lnTo>
                        <a:pt x="3" y="49"/>
                      </a:lnTo>
                      <a:lnTo>
                        <a:pt x="3" y="46"/>
                      </a:lnTo>
                      <a:lnTo>
                        <a:pt x="3" y="46"/>
                      </a:lnTo>
                      <a:lnTo>
                        <a:pt x="1" y="46"/>
                      </a:lnTo>
                      <a:lnTo>
                        <a:pt x="1" y="47"/>
                      </a:lnTo>
                      <a:lnTo>
                        <a:pt x="1" y="47"/>
                      </a:lnTo>
                      <a:lnTo>
                        <a:pt x="1" y="47"/>
                      </a:lnTo>
                      <a:lnTo>
                        <a:pt x="1" y="46"/>
                      </a:lnTo>
                      <a:lnTo>
                        <a:pt x="1" y="45"/>
                      </a:lnTo>
                      <a:lnTo>
                        <a:pt x="3" y="45"/>
                      </a:lnTo>
                      <a:lnTo>
                        <a:pt x="3" y="45"/>
                      </a:lnTo>
                      <a:lnTo>
                        <a:pt x="1" y="43"/>
                      </a:lnTo>
                      <a:lnTo>
                        <a:pt x="1" y="43"/>
                      </a:lnTo>
                      <a:lnTo>
                        <a:pt x="1" y="42"/>
                      </a:lnTo>
                      <a:lnTo>
                        <a:pt x="0" y="40"/>
                      </a:lnTo>
                      <a:lnTo>
                        <a:pt x="0" y="39"/>
                      </a:lnTo>
                      <a:lnTo>
                        <a:pt x="1" y="39"/>
                      </a:lnTo>
                      <a:lnTo>
                        <a:pt x="1" y="38"/>
                      </a:lnTo>
                      <a:lnTo>
                        <a:pt x="1" y="37"/>
                      </a:lnTo>
                      <a:lnTo>
                        <a:pt x="1" y="36"/>
                      </a:lnTo>
                      <a:lnTo>
                        <a:pt x="1" y="35"/>
                      </a:lnTo>
                      <a:lnTo>
                        <a:pt x="1" y="36"/>
                      </a:lnTo>
                      <a:lnTo>
                        <a:pt x="3" y="36"/>
                      </a:lnTo>
                      <a:lnTo>
                        <a:pt x="3" y="35"/>
                      </a:lnTo>
                      <a:lnTo>
                        <a:pt x="3" y="35"/>
                      </a:lnTo>
                      <a:lnTo>
                        <a:pt x="1" y="33"/>
                      </a:lnTo>
                      <a:lnTo>
                        <a:pt x="1" y="32"/>
                      </a:lnTo>
                      <a:lnTo>
                        <a:pt x="1" y="30"/>
                      </a:lnTo>
                      <a:lnTo>
                        <a:pt x="1" y="29"/>
                      </a:lnTo>
                      <a:lnTo>
                        <a:pt x="3" y="30"/>
                      </a:lnTo>
                      <a:lnTo>
                        <a:pt x="3" y="29"/>
                      </a:lnTo>
                      <a:lnTo>
                        <a:pt x="3" y="27"/>
                      </a:lnTo>
                      <a:lnTo>
                        <a:pt x="3" y="26"/>
                      </a:lnTo>
                      <a:lnTo>
                        <a:pt x="4" y="25"/>
                      </a:lnTo>
                      <a:lnTo>
                        <a:pt x="4" y="23"/>
                      </a:lnTo>
                      <a:lnTo>
                        <a:pt x="4" y="23"/>
                      </a:lnTo>
                      <a:lnTo>
                        <a:pt x="4" y="23"/>
                      </a:lnTo>
                      <a:lnTo>
                        <a:pt x="5" y="23"/>
                      </a:lnTo>
                      <a:lnTo>
                        <a:pt x="5" y="22"/>
                      </a:lnTo>
                      <a:lnTo>
                        <a:pt x="6" y="22"/>
                      </a:lnTo>
                      <a:lnTo>
                        <a:pt x="6" y="22"/>
                      </a:lnTo>
                      <a:lnTo>
                        <a:pt x="6" y="22"/>
                      </a:lnTo>
                      <a:lnTo>
                        <a:pt x="6" y="19"/>
                      </a:lnTo>
                      <a:lnTo>
                        <a:pt x="7" y="18"/>
                      </a:lnTo>
                      <a:lnTo>
                        <a:pt x="8" y="17"/>
                      </a:lnTo>
                      <a:lnTo>
                        <a:pt x="7" y="17"/>
                      </a:lnTo>
                      <a:lnTo>
                        <a:pt x="8" y="16"/>
                      </a:lnTo>
                      <a:lnTo>
                        <a:pt x="8" y="16"/>
                      </a:lnTo>
                      <a:lnTo>
                        <a:pt x="10" y="15"/>
                      </a:lnTo>
                      <a:lnTo>
                        <a:pt x="11" y="13"/>
                      </a:lnTo>
                      <a:lnTo>
                        <a:pt x="11" y="12"/>
                      </a:lnTo>
                      <a:lnTo>
                        <a:pt x="11" y="11"/>
                      </a:lnTo>
                      <a:lnTo>
                        <a:pt x="11" y="10"/>
                      </a:lnTo>
                      <a:lnTo>
                        <a:pt x="10" y="12"/>
                      </a:lnTo>
                      <a:lnTo>
                        <a:pt x="10" y="12"/>
                      </a:lnTo>
                      <a:lnTo>
                        <a:pt x="10" y="11"/>
                      </a:lnTo>
                      <a:lnTo>
                        <a:pt x="10" y="9"/>
                      </a:lnTo>
                      <a:lnTo>
                        <a:pt x="11" y="9"/>
                      </a:lnTo>
                      <a:lnTo>
                        <a:pt x="12" y="7"/>
                      </a:lnTo>
                      <a:lnTo>
                        <a:pt x="12" y="6"/>
                      </a:lnTo>
                      <a:lnTo>
                        <a:pt x="12" y="6"/>
                      </a:lnTo>
                      <a:lnTo>
                        <a:pt x="12" y="5"/>
                      </a:lnTo>
                      <a:lnTo>
                        <a:pt x="13" y="5"/>
                      </a:lnTo>
                      <a:lnTo>
                        <a:pt x="12" y="6"/>
                      </a:lnTo>
                      <a:lnTo>
                        <a:pt x="13" y="6"/>
                      </a:lnTo>
                      <a:lnTo>
                        <a:pt x="13" y="6"/>
                      </a:lnTo>
                      <a:lnTo>
                        <a:pt x="13" y="5"/>
                      </a:lnTo>
                      <a:lnTo>
                        <a:pt x="14" y="5"/>
                      </a:lnTo>
                      <a:lnTo>
                        <a:pt x="15" y="5"/>
                      </a:lnTo>
                      <a:lnTo>
                        <a:pt x="17" y="5"/>
                      </a:lnTo>
                      <a:lnTo>
                        <a:pt x="18" y="5"/>
                      </a:lnTo>
                      <a:lnTo>
                        <a:pt x="18" y="5"/>
                      </a:lnTo>
                      <a:lnTo>
                        <a:pt x="18" y="5"/>
                      </a:lnTo>
                      <a:lnTo>
                        <a:pt x="19" y="4"/>
                      </a:lnTo>
                      <a:lnTo>
                        <a:pt x="18" y="3"/>
                      </a:lnTo>
                      <a:lnTo>
                        <a:pt x="18" y="2"/>
                      </a:lnTo>
                      <a:lnTo>
                        <a:pt x="19" y="2"/>
                      </a:lnTo>
                      <a:lnTo>
                        <a:pt x="19" y="0"/>
                      </a:lnTo>
                      <a:lnTo>
                        <a:pt x="20" y="0"/>
                      </a:lnTo>
                      <a:lnTo>
                        <a:pt x="20" y="0"/>
                      </a:lnTo>
                      <a:lnTo>
                        <a:pt x="21" y="0"/>
                      </a:lnTo>
                      <a:lnTo>
                        <a:pt x="21" y="2"/>
                      </a:lnTo>
                      <a:lnTo>
                        <a:pt x="21" y="2"/>
                      </a:lnTo>
                      <a:lnTo>
                        <a:pt x="21" y="2"/>
                      </a:lnTo>
                      <a:lnTo>
                        <a:pt x="23" y="3"/>
                      </a:lnTo>
                      <a:lnTo>
                        <a:pt x="25" y="2"/>
                      </a:lnTo>
                      <a:lnTo>
                        <a:pt x="26" y="2"/>
                      </a:lnTo>
                      <a:lnTo>
                        <a:pt x="27" y="2"/>
                      </a:lnTo>
                      <a:lnTo>
                        <a:pt x="27" y="3"/>
                      </a:lnTo>
                      <a:lnTo>
                        <a:pt x="28" y="3"/>
                      </a:lnTo>
                      <a:lnTo>
                        <a:pt x="28" y="4"/>
                      </a:lnTo>
                      <a:lnTo>
                        <a:pt x="30" y="4"/>
                      </a:lnTo>
                      <a:lnTo>
                        <a:pt x="30" y="4"/>
                      </a:lnTo>
                      <a:lnTo>
                        <a:pt x="31" y="5"/>
                      </a:lnTo>
                      <a:lnTo>
                        <a:pt x="30" y="6"/>
                      </a:lnTo>
                      <a:lnTo>
                        <a:pt x="28" y="6"/>
                      </a:lnTo>
                      <a:lnTo>
                        <a:pt x="27" y="6"/>
                      </a:lnTo>
                      <a:lnTo>
                        <a:pt x="27" y="7"/>
                      </a:lnTo>
                      <a:lnTo>
                        <a:pt x="27" y="9"/>
                      </a:lnTo>
                      <a:lnTo>
                        <a:pt x="27" y="10"/>
                      </a:lnTo>
                      <a:lnTo>
                        <a:pt x="28" y="11"/>
                      </a:lnTo>
                      <a:lnTo>
                        <a:pt x="28" y="11"/>
                      </a:lnTo>
                      <a:lnTo>
                        <a:pt x="30" y="12"/>
                      </a:lnTo>
                      <a:lnTo>
                        <a:pt x="30" y="12"/>
                      </a:lnTo>
                      <a:lnTo>
                        <a:pt x="28" y="12"/>
                      </a:lnTo>
                      <a:lnTo>
                        <a:pt x="28" y="13"/>
                      </a:lnTo>
                      <a:lnTo>
                        <a:pt x="28" y="15"/>
                      </a:lnTo>
                      <a:lnTo>
                        <a:pt x="30" y="16"/>
                      </a:lnTo>
                      <a:lnTo>
                        <a:pt x="30" y="16"/>
                      </a:lnTo>
                      <a:lnTo>
                        <a:pt x="31" y="15"/>
                      </a:lnTo>
                      <a:lnTo>
                        <a:pt x="31" y="16"/>
                      </a:lnTo>
                      <a:lnTo>
                        <a:pt x="31" y="17"/>
                      </a:lnTo>
                      <a:lnTo>
                        <a:pt x="30" y="17"/>
                      </a:lnTo>
                      <a:lnTo>
                        <a:pt x="30" y="18"/>
                      </a:lnTo>
                      <a:lnTo>
                        <a:pt x="28" y="19"/>
                      </a:lnTo>
                      <a:lnTo>
                        <a:pt x="28" y="22"/>
                      </a:lnTo>
                      <a:lnTo>
                        <a:pt x="28" y="22"/>
                      </a:lnTo>
                      <a:lnTo>
                        <a:pt x="28" y="22"/>
                      </a:lnTo>
                      <a:lnTo>
                        <a:pt x="28" y="23"/>
                      </a:lnTo>
                      <a:lnTo>
                        <a:pt x="27" y="24"/>
                      </a:lnTo>
                      <a:lnTo>
                        <a:pt x="27" y="24"/>
                      </a:lnTo>
                      <a:lnTo>
                        <a:pt x="28" y="26"/>
                      </a:lnTo>
                      <a:lnTo>
                        <a:pt x="28" y="27"/>
                      </a:lnTo>
                      <a:lnTo>
                        <a:pt x="27" y="29"/>
                      </a:lnTo>
                      <a:lnTo>
                        <a:pt x="27" y="29"/>
                      </a:lnTo>
                      <a:lnTo>
                        <a:pt x="27" y="30"/>
                      </a:lnTo>
                      <a:lnTo>
                        <a:pt x="26" y="30"/>
                      </a:lnTo>
                      <a:lnTo>
                        <a:pt x="26" y="31"/>
                      </a:lnTo>
                      <a:lnTo>
                        <a:pt x="26" y="32"/>
                      </a:lnTo>
                      <a:lnTo>
                        <a:pt x="27" y="33"/>
                      </a:lnTo>
                      <a:lnTo>
                        <a:pt x="27" y="35"/>
                      </a:lnTo>
                      <a:lnTo>
                        <a:pt x="28" y="36"/>
                      </a:lnTo>
                      <a:lnTo>
                        <a:pt x="28" y="36"/>
                      </a:lnTo>
                      <a:lnTo>
                        <a:pt x="28" y="36"/>
                      </a:lnTo>
                      <a:lnTo>
                        <a:pt x="27" y="37"/>
                      </a:lnTo>
                      <a:lnTo>
                        <a:pt x="27" y="38"/>
                      </a:lnTo>
                      <a:lnTo>
                        <a:pt x="27" y="39"/>
                      </a:lnTo>
                      <a:lnTo>
                        <a:pt x="28" y="40"/>
                      </a:lnTo>
                      <a:lnTo>
                        <a:pt x="28" y="42"/>
                      </a:lnTo>
                      <a:lnTo>
                        <a:pt x="30" y="44"/>
                      </a:lnTo>
                      <a:lnTo>
                        <a:pt x="28" y="45"/>
                      </a:lnTo>
                      <a:lnTo>
                        <a:pt x="28" y="47"/>
                      </a:lnTo>
                      <a:lnTo>
                        <a:pt x="28" y="49"/>
                      </a:lnTo>
                      <a:lnTo>
                        <a:pt x="28" y="50"/>
                      </a:lnTo>
                      <a:lnTo>
                        <a:pt x="27" y="50"/>
                      </a:lnTo>
                      <a:lnTo>
                        <a:pt x="27" y="51"/>
                      </a:lnTo>
                      <a:lnTo>
                        <a:pt x="27" y="51"/>
                      </a:lnTo>
                      <a:lnTo>
                        <a:pt x="26" y="52"/>
                      </a:lnTo>
                      <a:lnTo>
                        <a:pt x="25" y="52"/>
                      </a:lnTo>
                      <a:lnTo>
                        <a:pt x="25" y="53"/>
                      </a:lnTo>
                      <a:lnTo>
                        <a:pt x="26" y="53"/>
                      </a:lnTo>
                      <a:lnTo>
                        <a:pt x="25" y="55"/>
                      </a:lnTo>
                      <a:lnTo>
                        <a:pt x="24" y="56"/>
                      </a:lnTo>
                      <a:lnTo>
                        <a:pt x="24" y="56"/>
                      </a:lnTo>
                      <a:lnTo>
                        <a:pt x="23" y="57"/>
                      </a:lnTo>
                      <a:lnTo>
                        <a:pt x="23" y="57"/>
                      </a:lnTo>
                      <a:lnTo>
                        <a:pt x="23" y="58"/>
                      </a:lnTo>
                      <a:lnTo>
                        <a:pt x="24" y="59"/>
                      </a:lnTo>
                      <a:lnTo>
                        <a:pt x="23" y="59"/>
                      </a:lnTo>
                      <a:lnTo>
                        <a:pt x="23" y="60"/>
                      </a:lnTo>
                      <a:lnTo>
                        <a:pt x="21" y="63"/>
                      </a:lnTo>
                      <a:lnTo>
                        <a:pt x="21" y="64"/>
                      </a:lnTo>
                      <a:lnTo>
                        <a:pt x="23" y="64"/>
                      </a:lnTo>
                      <a:lnTo>
                        <a:pt x="23" y="65"/>
                      </a:lnTo>
                      <a:lnTo>
                        <a:pt x="23" y="65"/>
                      </a:lnTo>
                      <a:lnTo>
                        <a:pt x="23" y="65"/>
                      </a:lnTo>
                      <a:lnTo>
                        <a:pt x="24" y="66"/>
                      </a:lnTo>
                      <a:lnTo>
                        <a:pt x="24" y="67"/>
                      </a:lnTo>
                      <a:lnTo>
                        <a:pt x="24" y="67"/>
                      </a:lnTo>
                      <a:lnTo>
                        <a:pt x="24" y="69"/>
                      </a:lnTo>
                      <a:lnTo>
                        <a:pt x="24" y="70"/>
                      </a:lnTo>
                      <a:lnTo>
                        <a:pt x="24" y="70"/>
                      </a:lnTo>
                      <a:lnTo>
                        <a:pt x="24" y="71"/>
                      </a:lnTo>
                      <a:lnTo>
                        <a:pt x="24" y="71"/>
                      </a:lnTo>
                      <a:lnTo>
                        <a:pt x="25" y="71"/>
                      </a:lnTo>
                      <a:lnTo>
                        <a:pt x="25" y="71"/>
                      </a:lnTo>
                      <a:lnTo>
                        <a:pt x="25" y="72"/>
                      </a:lnTo>
                      <a:lnTo>
                        <a:pt x="25" y="72"/>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542" name="Morocco">
                  <a:extLst>
                    <a:ext uri="{FF2B5EF4-FFF2-40B4-BE49-F238E27FC236}">
                      <a16:creationId xmlns:a16="http://schemas.microsoft.com/office/drawing/2014/main" id="{E1E04AF6-A399-2147-8926-E107B01038B6}"/>
                    </a:ext>
                  </a:extLst>
                </p:cNvPr>
                <p:cNvSpPr>
                  <a:spLocks/>
                </p:cNvSpPr>
                <p:nvPr/>
              </p:nvSpPr>
              <p:spPr bwMode="auto">
                <a:xfrm>
                  <a:off x="6021170" y="2910565"/>
                  <a:ext cx="316375" cy="247851"/>
                </a:xfrm>
                <a:custGeom>
                  <a:avLst/>
                  <a:gdLst>
                    <a:gd name="T0" fmla="*/ 191 w 217"/>
                    <a:gd name="T1" fmla="*/ 18 h 170"/>
                    <a:gd name="T2" fmla="*/ 186 w 217"/>
                    <a:gd name="T3" fmla="*/ 16 h 170"/>
                    <a:gd name="T4" fmla="*/ 185 w 217"/>
                    <a:gd name="T5" fmla="*/ 14 h 170"/>
                    <a:gd name="T6" fmla="*/ 181 w 217"/>
                    <a:gd name="T7" fmla="*/ 13 h 170"/>
                    <a:gd name="T8" fmla="*/ 173 w 217"/>
                    <a:gd name="T9" fmla="*/ 14 h 170"/>
                    <a:gd name="T10" fmla="*/ 168 w 217"/>
                    <a:gd name="T11" fmla="*/ 16 h 170"/>
                    <a:gd name="T12" fmla="*/ 161 w 217"/>
                    <a:gd name="T13" fmla="*/ 16 h 170"/>
                    <a:gd name="T14" fmla="*/ 151 w 217"/>
                    <a:gd name="T15" fmla="*/ 13 h 170"/>
                    <a:gd name="T16" fmla="*/ 145 w 217"/>
                    <a:gd name="T17" fmla="*/ 7 h 170"/>
                    <a:gd name="T18" fmla="*/ 144 w 217"/>
                    <a:gd name="T19" fmla="*/ 0 h 170"/>
                    <a:gd name="T20" fmla="*/ 140 w 217"/>
                    <a:gd name="T21" fmla="*/ 1 h 170"/>
                    <a:gd name="T22" fmla="*/ 134 w 217"/>
                    <a:gd name="T23" fmla="*/ 3 h 170"/>
                    <a:gd name="T24" fmla="*/ 128 w 217"/>
                    <a:gd name="T25" fmla="*/ 14 h 170"/>
                    <a:gd name="T26" fmla="*/ 124 w 217"/>
                    <a:gd name="T27" fmla="*/ 23 h 170"/>
                    <a:gd name="T28" fmla="*/ 119 w 217"/>
                    <a:gd name="T29" fmla="*/ 30 h 170"/>
                    <a:gd name="T30" fmla="*/ 117 w 217"/>
                    <a:gd name="T31" fmla="*/ 38 h 170"/>
                    <a:gd name="T32" fmla="*/ 108 w 217"/>
                    <a:gd name="T33" fmla="*/ 44 h 170"/>
                    <a:gd name="T34" fmla="*/ 100 w 217"/>
                    <a:gd name="T35" fmla="*/ 46 h 170"/>
                    <a:gd name="T36" fmla="*/ 97 w 217"/>
                    <a:gd name="T37" fmla="*/ 48 h 170"/>
                    <a:gd name="T38" fmla="*/ 88 w 217"/>
                    <a:gd name="T39" fmla="*/ 52 h 170"/>
                    <a:gd name="T40" fmla="*/ 81 w 217"/>
                    <a:gd name="T41" fmla="*/ 61 h 170"/>
                    <a:gd name="T42" fmla="*/ 72 w 217"/>
                    <a:gd name="T43" fmla="*/ 72 h 170"/>
                    <a:gd name="T44" fmla="*/ 72 w 217"/>
                    <a:gd name="T45" fmla="*/ 78 h 170"/>
                    <a:gd name="T46" fmla="*/ 64 w 217"/>
                    <a:gd name="T47" fmla="*/ 87 h 170"/>
                    <a:gd name="T48" fmla="*/ 61 w 217"/>
                    <a:gd name="T49" fmla="*/ 98 h 170"/>
                    <a:gd name="T50" fmla="*/ 60 w 217"/>
                    <a:gd name="T51" fmla="*/ 107 h 170"/>
                    <a:gd name="T52" fmla="*/ 64 w 217"/>
                    <a:gd name="T53" fmla="*/ 112 h 170"/>
                    <a:gd name="T54" fmla="*/ 60 w 217"/>
                    <a:gd name="T55" fmla="*/ 124 h 170"/>
                    <a:gd name="T56" fmla="*/ 57 w 217"/>
                    <a:gd name="T57" fmla="*/ 133 h 170"/>
                    <a:gd name="T58" fmla="*/ 50 w 217"/>
                    <a:gd name="T59" fmla="*/ 140 h 170"/>
                    <a:gd name="T60" fmla="*/ 38 w 217"/>
                    <a:gd name="T61" fmla="*/ 146 h 170"/>
                    <a:gd name="T62" fmla="*/ 32 w 217"/>
                    <a:gd name="T63" fmla="*/ 153 h 170"/>
                    <a:gd name="T64" fmla="*/ 19 w 217"/>
                    <a:gd name="T65" fmla="*/ 159 h 170"/>
                    <a:gd name="T66" fmla="*/ 5 w 217"/>
                    <a:gd name="T67" fmla="*/ 163 h 170"/>
                    <a:gd name="T68" fmla="*/ 83 w 217"/>
                    <a:gd name="T69" fmla="*/ 148 h 170"/>
                    <a:gd name="T70" fmla="*/ 90 w 217"/>
                    <a:gd name="T71" fmla="*/ 144 h 170"/>
                    <a:gd name="T72" fmla="*/ 100 w 217"/>
                    <a:gd name="T73" fmla="*/ 135 h 170"/>
                    <a:gd name="T74" fmla="*/ 107 w 217"/>
                    <a:gd name="T75" fmla="*/ 132 h 170"/>
                    <a:gd name="T76" fmla="*/ 120 w 217"/>
                    <a:gd name="T77" fmla="*/ 131 h 170"/>
                    <a:gd name="T78" fmla="*/ 125 w 217"/>
                    <a:gd name="T79" fmla="*/ 126 h 170"/>
                    <a:gd name="T80" fmla="*/ 138 w 217"/>
                    <a:gd name="T81" fmla="*/ 125 h 170"/>
                    <a:gd name="T82" fmla="*/ 146 w 217"/>
                    <a:gd name="T83" fmla="*/ 114 h 170"/>
                    <a:gd name="T84" fmla="*/ 153 w 217"/>
                    <a:gd name="T85" fmla="*/ 110 h 170"/>
                    <a:gd name="T86" fmla="*/ 159 w 217"/>
                    <a:gd name="T87" fmla="*/ 108 h 170"/>
                    <a:gd name="T88" fmla="*/ 164 w 217"/>
                    <a:gd name="T89" fmla="*/ 104 h 170"/>
                    <a:gd name="T90" fmla="*/ 167 w 217"/>
                    <a:gd name="T91" fmla="*/ 103 h 170"/>
                    <a:gd name="T92" fmla="*/ 172 w 217"/>
                    <a:gd name="T93" fmla="*/ 99 h 170"/>
                    <a:gd name="T94" fmla="*/ 167 w 217"/>
                    <a:gd name="T95" fmla="*/ 98 h 170"/>
                    <a:gd name="T96" fmla="*/ 171 w 217"/>
                    <a:gd name="T97" fmla="*/ 94 h 170"/>
                    <a:gd name="T98" fmla="*/ 167 w 217"/>
                    <a:gd name="T99" fmla="*/ 92 h 170"/>
                    <a:gd name="T100" fmla="*/ 173 w 217"/>
                    <a:gd name="T101" fmla="*/ 87 h 170"/>
                    <a:gd name="T102" fmla="*/ 184 w 217"/>
                    <a:gd name="T103" fmla="*/ 84 h 170"/>
                    <a:gd name="T104" fmla="*/ 194 w 217"/>
                    <a:gd name="T105" fmla="*/ 78 h 170"/>
                    <a:gd name="T106" fmla="*/ 213 w 217"/>
                    <a:gd name="T107" fmla="*/ 79 h 170"/>
                    <a:gd name="T108" fmla="*/ 213 w 217"/>
                    <a:gd name="T109" fmla="*/ 77 h 170"/>
                    <a:gd name="T110" fmla="*/ 216 w 217"/>
                    <a:gd name="T111" fmla="*/ 68 h 170"/>
                    <a:gd name="T112" fmla="*/ 208 w 217"/>
                    <a:gd name="T113" fmla="*/ 63 h 170"/>
                    <a:gd name="T114" fmla="*/ 206 w 217"/>
                    <a:gd name="T115" fmla="*/ 57 h 170"/>
                    <a:gd name="T116" fmla="*/ 207 w 217"/>
                    <a:gd name="T117" fmla="*/ 48 h 170"/>
                    <a:gd name="T118" fmla="*/ 206 w 217"/>
                    <a:gd name="T119" fmla="*/ 38 h 170"/>
                    <a:gd name="T120" fmla="*/ 204 w 217"/>
                    <a:gd name="T121" fmla="*/ 28 h 170"/>
                    <a:gd name="T122" fmla="*/ 203 w 217"/>
                    <a:gd name="T123" fmla="*/ 24 h 170"/>
                    <a:gd name="T124" fmla="*/ 196 w 217"/>
                    <a:gd name="T125" fmla="*/ 19 h 1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17" h="170">
                      <a:moveTo>
                        <a:pt x="196" y="16"/>
                      </a:moveTo>
                      <a:lnTo>
                        <a:pt x="194" y="17"/>
                      </a:lnTo>
                      <a:lnTo>
                        <a:pt x="193" y="17"/>
                      </a:lnTo>
                      <a:lnTo>
                        <a:pt x="192" y="18"/>
                      </a:lnTo>
                      <a:lnTo>
                        <a:pt x="191" y="18"/>
                      </a:lnTo>
                      <a:lnTo>
                        <a:pt x="190" y="18"/>
                      </a:lnTo>
                      <a:lnTo>
                        <a:pt x="187" y="17"/>
                      </a:lnTo>
                      <a:lnTo>
                        <a:pt x="185" y="14"/>
                      </a:lnTo>
                      <a:lnTo>
                        <a:pt x="185" y="14"/>
                      </a:lnTo>
                      <a:lnTo>
                        <a:pt x="186" y="16"/>
                      </a:lnTo>
                      <a:lnTo>
                        <a:pt x="187" y="17"/>
                      </a:lnTo>
                      <a:lnTo>
                        <a:pt x="185" y="17"/>
                      </a:lnTo>
                      <a:lnTo>
                        <a:pt x="185" y="16"/>
                      </a:lnTo>
                      <a:lnTo>
                        <a:pt x="185" y="14"/>
                      </a:lnTo>
                      <a:lnTo>
                        <a:pt x="185" y="14"/>
                      </a:lnTo>
                      <a:lnTo>
                        <a:pt x="184" y="12"/>
                      </a:lnTo>
                      <a:lnTo>
                        <a:pt x="184" y="11"/>
                      </a:lnTo>
                      <a:lnTo>
                        <a:pt x="184" y="11"/>
                      </a:lnTo>
                      <a:lnTo>
                        <a:pt x="183" y="13"/>
                      </a:lnTo>
                      <a:lnTo>
                        <a:pt x="181" y="13"/>
                      </a:lnTo>
                      <a:lnTo>
                        <a:pt x="181" y="13"/>
                      </a:lnTo>
                      <a:lnTo>
                        <a:pt x="180" y="14"/>
                      </a:lnTo>
                      <a:lnTo>
                        <a:pt x="178" y="16"/>
                      </a:lnTo>
                      <a:lnTo>
                        <a:pt x="176" y="16"/>
                      </a:lnTo>
                      <a:lnTo>
                        <a:pt x="173" y="14"/>
                      </a:lnTo>
                      <a:lnTo>
                        <a:pt x="172" y="13"/>
                      </a:lnTo>
                      <a:lnTo>
                        <a:pt x="171" y="14"/>
                      </a:lnTo>
                      <a:lnTo>
                        <a:pt x="171" y="16"/>
                      </a:lnTo>
                      <a:lnTo>
                        <a:pt x="170" y="16"/>
                      </a:lnTo>
                      <a:lnTo>
                        <a:pt x="168" y="16"/>
                      </a:lnTo>
                      <a:lnTo>
                        <a:pt x="167" y="14"/>
                      </a:lnTo>
                      <a:lnTo>
                        <a:pt x="167" y="14"/>
                      </a:lnTo>
                      <a:lnTo>
                        <a:pt x="166" y="14"/>
                      </a:lnTo>
                      <a:lnTo>
                        <a:pt x="164" y="16"/>
                      </a:lnTo>
                      <a:lnTo>
                        <a:pt x="161" y="16"/>
                      </a:lnTo>
                      <a:lnTo>
                        <a:pt x="160" y="16"/>
                      </a:lnTo>
                      <a:lnTo>
                        <a:pt x="158" y="16"/>
                      </a:lnTo>
                      <a:lnTo>
                        <a:pt x="154" y="16"/>
                      </a:lnTo>
                      <a:lnTo>
                        <a:pt x="152" y="14"/>
                      </a:lnTo>
                      <a:lnTo>
                        <a:pt x="151" y="13"/>
                      </a:lnTo>
                      <a:lnTo>
                        <a:pt x="150" y="11"/>
                      </a:lnTo>
                      <a:lnTo>
                        <a:pt x="148" y="11"/>
                      </a:lnTo>
                      <a:lnTo>
                        <a:pt x="147" y="10"/>
                      </a:lnTo>
                      <a:lnTo>
                        <a:pt x="146" y="8"/>
                      </a:lnTo>
                      <a:lnTo>
                        <a:pt x="145" y="7"/>
                      </a:lnTo>
                      <a:lnTo>
                        <a:pt x="145" y="5"/>
                      </a:lnTo>
                      <a:lnTo>
                        <a:pt x="144" y="5"/>
                      </a:lnTo>
                      <a:lnTo>
                        <a:pt x="144" y="3"/>
                      </a:lnTo>
                      <a:lnTo>
                        <a:pt x="144" y="1"/>
                      </a:lnTo>
                      <a:lnTo>
                        <a:pt x="144" y="0"/>
                      </a:lnTo>
                      <a:lnTo>
                        <a:pt x="143" y="0"/>
                      </a:lnTo>
                      <a:lnTo>
                        <a:pt x="141" y="0"/>
                      </a:lnTo>
                      <a:lnTo>
                        <a:pt x="140" y="0"/>
                      </a:lnTo>
                      <a:lnTo>
                        <a:pt x="140" y="0"/>
                      </a:lnTo>
                      <a:lnTo>
                        <a:pt x="140" y="1"/>
                      </a:lnTo>
                      <a:lnTo>
                        <a:pt x="139" y="1"/>
                      </a:lnTo>
                      <a:lnTo>
                        <a:pt x="138" y="1"/>
                      </a:lnTo>
                      <a:lnTo>
                        <a:pt x="137" y="1"/>
                      </a:lnTo>
                      <a:lnTo>
                        <a:pt x="137" y="3"/>
                      </a:lnTo>
                      <a:lnTo>
                        <a:pt x="134" y="3"/>
                      </a:lnTo>
                      <a:lnTo>
                        <a:pt x="132" y="4"/>
                      </a:lnTo>
                      <a:lnTo>
                        <a:pt x="130" y="7"/>
                      </a:lnTo>
                      <a:lnTo>
                        <a:pt x="130" y="10"/>
                      </a:lnTo>
                      <a:lnTo>
                        <a:pt x="128" y="12"/>
                      </a:lnTo>
                      <a:lnTo>
                        <a:pt x="128" y="14"/>
                      </a:lnTo>
                      <a:lnTo>
                        <a:pt x="128" y="16"/>
                      </a:lnTo>
                      <a:lnTo>
                        <a:pt x="127" y="17"/>
                      </a:lnTo>
                      <a:lnTo>
                        <a:pt x="126" y="18"/>
                      </a:lnTo>
                      <a:lnTo>
                        <a:pt x="125" y="21"/>
                      </a:lnTo>
                      <a:lnTo>
                        <a:pt x="124" y="23"/>
                      </a:lnTo>
                      <a:lnTo>
                        <a:pt x="123" y="26"/>
                      </a:lnTo>
                      <a:lnTo>
                        <a:pt x="121" y="28"/>
                      </a:lnTo>
                      <a:lnTo>
                        <a:pt x="120" y="28"/>
                      </a:lnTo>
                      <a:lnTo>
                        <a:pt x="120" y="30"/>
                      </a:lnTo>
                      <a:lnTo>
                        <a:pt x="119" y="30"/>
                      </a:lnTo>
                      <a:lnTo>
                        <a:pt x="119" y="31"/>
                      </a:lnTo>
                      <a:lnTo>
                        <a:pt x="119" y="33"/>
                      </a:lnTo>
                      <a:lnTo>
                        <a:pt x="118" y="34"/>
                      </a:lnTo>
                      <a:lnTo>
                        <a:pt x="117" y="36"/>
                      </a:lnTo>
                      <a:lnTo>
                        <a:pt x="117" y="38"/>
                      </a:lnTo>
                      <a:lnTo>
                        <a:pt x="116" y="38"/>
                      </a:lnTo>
                      <a:lnTo>
                        <a:pt x="114" y="39"/>
                      </a:lnTo>
                      <a:lnTo>
                        <a:pt x="113" y="41"/>
                      </a:lnTo>
                      <a:lnTo>
                        <a:pt x="111" y="43"/>
                      </a:lnTo>
                      <a:lnTo>
                        <a:pt x="108" y="44"/>
                      </a:lnTo>
                      <a:lnTo>
                        <a:pt x="106" y="44"/>
                      </a:lnTo>
                      <a:lnTo>
                        <a:pt x="105" y="46"/>
                      </a:lnTo>
                      <a:lnTo>
                        <a:pt x="103" y="47"/>
                      </a:lnTo>
                      <a:lnTo>
                        <a:pt x="101" y="46"/>
                      </a:lnTo>
                      <a:lnTo>
                        <a:pt x="100" y="46"/>
                      </a:lnTo>
                      <a:lnTo>
                        <a:pt x="100" y="46"/>
                      </a:lnTo>
                      <a:lnTo>
                        <a:pt x="99" y="47"/>
                      </a:lnTo>
                      <a:lnTo>
                        <a:pt x="98" y="48"/>
                      </a:lnTo>
                      <a:lnTo>
                        <a:pt x="98" y="47"/>
                      </a:lnTo>
                      <a:lnTo>
                        <a:pt x="97" y="48"/>
                      </a:lnTo>
                      <a:lnTo>
                        <a:pt x="96" y="48"/>
                      </a:lnTo>
                      <a:lnTo>
                        <a:pt x="93" y="50"/>
                      </a:lnTo>
                      <a:lnTo>
                        <a:pt x="91" y="51"/>
                      </a:lnTo>
                      <a:lnTo>
                        <a:pt x="91" y="51"/>
                      </a:lnTo>
                      <a:lnTo>
                        <a:pt x="88" y="52"/>
                      </a:lnTo>
                      <a:lnTo>
                        <a:pt x="87" y="52"/>
                      </a:lnTo>
                      <a:lnTo>
                        <a:pt x="85" y="54"/>
                      </a:lnTo>
                      <a:lnTo>
                        <a:pt x="85" y="57"/>
                      </a:lnTo>
                      <a:lnTo>
                        <a:pt x="83" y="59"/>
                      </a:lnTo>
                      <a:lnTo>
                        <a:pt x="81" y="61"/>
                      </a:lnTo>
                      <a:lnTo>
                        <a:pt x="79" y="63"/>
                      </a:lnTo>
                      <a:lnTo>
                        <a:pt x="77" y="65"/>
                      </a:lnTo>
                      <a:lnTo>
                        <a:pt x="74" y="66"/>
                      </a:lnTo>
                      <a:lnTo>
                        <a:pt x="73" y="70"/>
                      </a:lnTo>
                      <a:lnTo>
                        <a:pt x="72" y="72"/>
                      </a:lnTo>
                      <a:lnTo>
                        <a:pt x="72" y="73"/>
                      </a:lnTo>
                      <a:lnTo>
                        <a:pt x="72" y="74"/>
                      </a:lnTo>
                      <a:lnTo>
                        <a:pt x="73" y="75"/>
                      </a:lnTo>
                      <a:lnTo>
                        <a:pt x="73" y="77"/>
                      </a:lnTo>
                      <a:lnTo>
                        <a:pt x="72" y="78"/>
                      </a:lnTo>
                      <a:lnTo>
                        <a:pt x="70" y="79"/>
                      </a:lnTo>
                      <a:lnTo>
                        <a:pt x="68" y="81"/>
                      </a:lnTo>
                      <a:lnTo>
                        <a:pt x="67" y="84"/>
                      </a:lnTo>
                      <a:lnTo>
                        <a:pt x="65" y="86"/>
                      </a:lnTo>
                      <a:lnTo>
                        <a:pt x="64" y="87"/>
                      </a:lnTo>
                      <a:lnTo>
                        <a:pt x="64" y="90"/>
                      </a:lnTo>
                      <a:lnTo>
                        <a:pt x="63" y="92"/>
                      </a:lnTo>
                      <a:lnTo>
                        <a:pt x="61" y="93"/>
                      </a:lnTo>
                      <a:lnTo>
                        <a:pt x="61" y="95"/>
                      </a:lnTo>
                      <a:lnTo>
                        <a:pt x="61" y="98"/>
                      </a:lnTo>
                      <a:lnTo>
                        <a:pt x="63" y="99"/>
                      </a:lnTo>
                      <a:lnTo>
                        <a:pt x="61" y="101"/>
                      </a:lnTo>
                      <a:lnTo>
                        <a:pt x="60" y="103"/>
                      </a:lnTo>
                      <a:lnTo>
                        <a:pt x="60" y="105"/>
                      </a:lnTo>
                      <a:lnTo>
                        <a:pt x="60" y="107"/>
                      </a:lnTo>
                      <a:lnTo>
                        <a:pt x="61" y="108"/>
                      </a:lnTo>
                      <a:lnTo>
                        <a:pt x="63" y="110"/>
                      </a:lnTo>
                      <a:lnTo>
                        <a:pt x="64" y="110"/>
                      </a:lnTo>
                      <a:lnTo>
                        <a:pt x="64" y="111"/>
                      </a:lnTo>
                      <a:lnTo>
                        <a:pt x="64" y="112"/>
                      </a:lnTo>
                      <a:lnTo>
                        <a:pt x="64" y="114"/>
                      </a:lnTo>
                      <a:lnTo>
                        <a:pt x="64" y="117"/>
                      </a:lnTo>
                      <a:lnTo>
                        <a:pt x="63" y="119"/>
                      </a:lnTo>
                      <a:lnTo>
                        <a:pt x="61" y="120"/>
                      </a:lnTo>
                      <a:lnTo>
                        <a:pt x="60" y="124"/>
                      </a:lnTo>
                      <a:lnTo>
                        <a:pt x="60" y="125"/>
                      </a:lnTo>
                      <a:lnTo>
                        <a:pt x="59" y="127"/>
                      </a:lnTo>
                      <a:lnTo>
                        <a:pt x="58" y="130"/>
                      </a:lnTo>
                      <a:lnTo>
                        <a:pt x="58" y="132"/>
                      </a:lnTo>
                      <a:lnTo>
                        <a:pt x="57" y="133"/>
                      </a:lnTo>
                      <a:lnTo>
                        <a:pt x="56" y="134"/>
                      </a:lnTo>
                      <a:lnTo>
                        <a:pt x="54" y="135"/>
                      </a:lnTo>
                      <a:lnTo>
                        <a:pt x="53" y="137"/>
                      </a:lnTo>
                      <a:lnTo>
                        <a:pt x="52" y="139"/>
                      </a:lnTo>
                      <a:lnTo>
                        <a:pt x="50" y="140"/>
                      </a:lnTo>
                      <a:lnTo>
                        <a:pt x="47" y="141"/>
                      </a:lnTo>
                      <a:lnTo>
                        <a:pt x="45" y="143"/>
                      </a:lnTo>
                      <a:lnTo>
                        <a:pt x="44" y="144"/>
                      </a:lnTo>
                      <a:lnTo>
                        <a:pt x="41" y="145"/>
                      </a:lnTo>
                      <a:lnTo>
                        <a:pt x="38" y="146"/>
                      </a:lnTo>
                      <a:lnTo>
                        <a:pt x="36" y="148"/>
                      </a:lnTo>
                      <a:lnTo>
                        <a:pt x="34" y="150"/>
                      </a:lnTo>
                      <a:lnTo>
                        <a:pt x="34" y="151"/>
                      </a:lnTo>
                      <a:lnTo>
                        <a:pt x="32" y="152"/>
                      </a:lnTo>
                      <a:lnTo>
                        <a:pt x="32" y="153"/>
                      </a:lnTo>
                      <a:lnTo>
                        <a:pt x="30" y="155"/>
                      </a:lnTo>
                      <a:lnTo>
                        <a:pt x="26" y="157"/>
                      </a:lnTo>
                      <a:lnTo>
                        <a:pt x="25" y="159"/>
                      </a:lnTo>
                      <a:lnTo>
                        <a:pt x="21" y="160"/>
                      </a:lnTo>
                      <a:lnTo>
                        <a:pt x="19" y="159"/>
                      </a:lnTo>
                      <a:lnTo>
                        <a:pt x="16" y="160"/>
                      </a:lnTo>
                      <a:lnTo>
                        <a:pt x="16" y="161"/>
                      </a:lnTo>
                      <a:lnTo>
                        <a:pt x="11" y="161"/>
                      </a:lnTo>
                      <a:lnTo>
                        <a:pt x="7" y="161"/>
                      </a:lnTo>
                      <a:lnTo>
                        <a:pt x="5" y="163"/>
                      </a:lnTo>
                      <a:lnTo>
                        <a:pt x="3" y="165"/>
                      </a:lnTo>
                      <a:lnTo>
                        <a:pt x="0" y="170"/>
                      </a:lnTo>
                      <a:lnTo>
                        <a:pt x="38" y="170"/>
                      </a:lnTo>
                      <a:lnTo>
                        <a:pt x="83" y="170"/>
                      </a:lnTo>
                      <a:lnTo>
                        <a:pt x="83" y="148"/>
                      </a:lnTo>
                      <a:lnTo>
                        <a:pt x="86" y="147"/>
                      </a:lnTo>
                      <a:lnTo>
                        <a:pt x="86" y="146"/>
                      </a:lnTo>
                      <a:lnTo>
                        <a:pt x="87" y="145"/>
                      </a:lnTo>
                      <a:lnTo>
                        <a:pt x="88" y="144"/>
                      </a:lnTo>
                      <a:lnTo>
                        <a:pt x="90" y="144"/>
                      </a:lnTo>
                      <a:lnTo>
                        <a:pt x="93" y="143"/>
                      </a:lnTo>
                      <a:lnTo>
                        <a:pt x="96" y="139"/>
                      </a:lnTo>
                      <a:lnTo>
                        <a:pt x="99" y="137"/>
                      </a:lnTo>
                      <a:lnTo>
                        <a:pt x="99" y="135"/>
                      </a:lnTo>
                      <a:lnTo>
                        <a:pt x="100" y="135"/>
                      </a:lnTo>
                      <a:lnTo>
                        <a:pt x="101" y="134"/>
                      </a:lnTo>
                      <a:lnTo>
                        <a:pt x="104" y="134"/>
                      </a:lnTo>
                      <a:lnTo>
                        <a:pt x="105" y="134"/>
                      </a:lnTo>
                      <a:lnTo>
                        <a:pt x="106" y="133"/>
                      </a:lnTo>
                      <a:lnTo>
                        <a:pt x="107" y="132"/>
                      </a:lnTo>
                      <a:lnTo>
                        <a:pt x="110" y="130"/>
                      </a:lnTo>
                      <a:lnTo>
                        <a:pt x="113" y="130"/>
                      </a:lnTo>
                      <a:lnTo>
                        <a:pt x="116" y="130"/>
                      </a:lnTo>
                      <a:lnTo>
                        <a:pt x="117" y="131"/>
                      </a:lnTo>
                      <a:lnTo>
                        <a:pt x="120" y="131"/>
                      </a:lnTo>
                      <a:lnTo>
                        <a:pt x="121" y="130"/>
                      </a:lnTo>
                      <a:lnTo>
                        <a:pt x="121" y="127"/>
                      </a:lnTo>
                      <a:lnTo>
                        <a:pt x="123" y="126"/>
                      </a:lnTo>
                      <a:lnTo>
                        <a:pt x="123" y="126"/>
                      </a:lnTo>
                      <a:lnTo>
                        <a:pt x="125" y="126"/>
                      </a:lnTo>
                      <a:lnTo>
                        <a:pt x="126" y="126"/>
                      </a:lnTo>
                      <a:lnTo>
                        <a:pt x="127" y="125"/>
                      </a:lnTo>
                      <a:lnTo>
                        <a:pt x="130" y="125"/>
                      </a:lnTo>
                      <a:lnTo>
                        <a:pt x="133" y="126"/>
                      </a:lnTo>
                      <a:lnTo>
                        <a:pt x="138" y="125"/>
                      </a:lnTo>
                      <a:lnTo>
                        <a:pt x="141" y="123"/>
                      </a:lnTo>
                      <a:lnTo>
                        <a:pt x="144" y="119"/>
                      </a:lnTo>
                      <a:lnTo>
                        <a:pt x="145" y="118"/>
                      </a:lnTo>
                      <a:lnTo>
                        <a:pt x="146" y="118"/>
                      </a:lnTo>
                      <a:lnTo>
                        <a:pt x="146" y="114"/>
                      </a:lnTo>
                      <a:lnTo>
                        <a:pt x="148" y="113"/>
                      </a:lnTo>
                      <a:lnTo>
                        <a:pt x="150" y="112"/>
                      </a:lnTo>
                      <a:lnTo>
                        <a:pt x="151" y="111"/>
                      </a:lnTo>
                      <a:lnTo>
                        <a:pt x="152" y="110"/>
                      </a:lnTo>
                      <a:lnTo>
                        <a:pt x="153" y="110"/>
                      </a:lnTo>
                      <a:lnTo>
                        <a:pt x="156" y="110"/>
                      </a:lnTo>
                      <a:lnTo>
                        <a:pt x="157" y="110"/>
                      </a:lnTo>
                      <a:lnTo>
                        <a:pt x="158" y="108"/>
                      </a:lnTo>
                      <a:lnTo>
                        <a:pt x="158" y="108"/>
                      </a:lnTo>
                      <a:lnTo>
                        <a:pt x="159" y="108"/>
                      </a:lnTo>
                      <a:lnTo>
                        <a:pt x="160" y="107"/>
                      </a:lnTo>
                      <a:lnTo>
                        <a:pt x="161" y="107"/>
                      </a:lnTo>
                      <a:lnTo>
                        <a:pt x="163" y="106"/>
                      </a:lnTo>
                      <a:lnTo>
                        <a:pt x="163" y="105"/>
                      </a:lnTo>
                      <a:lnTo>
                        <a:pt x="164" y="104"/>
                      </a:lnTo>
                      <a:lnTo>
                        <a:pt x="165" y="103"/>
                      </a:lnTo>
                      <a:lnTo>
                        <a:pt x="166" y="103"/>
                      </a:lnTo>
                      <a:lnTo>
                        <a:pt x="166" y="103"/>
                      </a:lnTo>
                      <a:lnTo>
                        <a:pt x="167" y="103"/>
                      </a:lnTo>
                      <a:lnTo>
                        <a:pt x="167" y="103"/>
                      </a:lnTo>
                      <a:lnTo>
                        <a:pt x="170" y="103"/>
                      </a:lnTo>
                      <a:lnTo>
                        <a:pt x="171" y="103"/>
                      </a:lnTo>
                      <a:lnTo>
                        <a:pt x="171" y="103"/>
                      </a:lnTo>
                      <a:lnTo>
                        <a:pt x="172" y="101"/>
                      </a:lnTo>
                      <a:lnTo>
                        <a:pt x="172" y="99"/>
                      </a:lnTo>
                      <a:lnTo>
                        <a:pt x="171" y="98"/>
                      </a:lnTo>
                      <a:lnTo>
                        <a:pt x="170" y="99"/>
                      </a:lnTo>
                      <a:lnTo>
                        <a:pt x="170" y="98"/>
                      </a:lnTo>
                      <a:lnTo>
                        <a:pt x="168" y="99"/>
                      </a:lnTo>
                      <a:lnTo>
                        <a:pt x="167" y="98"/>
                      </a:lnTo>
                      <a:lnTo>
                        <a:pt x="167" y="97"/>
                      </a:lnTo>
                      <a:lnTo>
                        <a:pt x="167" y="95"/>
                      </a:lnTo>
                      <a:lnTo>
                        <a:pt x="168" y="94"/>
                      </a:lnTo>
                      <a:lnTo>
                        <a:pt x="170" y="94"/>
                      </a:lnTo>
                      <a:lnTo>
                        <a:pt x="171" y="94"/>
                      </a:lnTo>
                      <a:lnTo>
                        <a:pt x="171" y="93"/>
                      </a:lnTo>
                      <a:lnTo>
                        <a:pt x="171" y="93"/>
                      </a:lnTo>
                      <a:lnTo>
                        <a:pt x="170" y="93"/>
                      </a:lnTo>
                      <a:lnTo>
                        <a:pt x="168" y="92"/>
                      </a:lnTo>
                      <a:lnTo>
                        <a:pt x="167" y="92"/>
                      </a:lnTo>
                      <a:lnTo>
                        <a:pt x="167" y="90"/>
                      </a:lnTo>
                      <a:lnTo>
                        <a:pt x="168" y="88"/>
                      </a:lnTo>
                      <a:lnTo>
                        <a:pt x="168" y="87"/>
                      </a:lnTo>
                      <a:lnTo>
                        <a:pt x="171" y="86"/>
                      </a:lnTo>
                      <a:lnTo>
                        <a:pt x="173" y="87"/>
                      </a:lnTo>
                      <a:lnTo>
                        <a:pt x="176" y="87"/>
                      </a:lnTo>
                      <a:lnTo>
                        <a:pt x="178" y="86"/>
                      </a:lnTo>
                      <a:lnTo>
                        <a:pt x="179" y="86"/>
                      </a:lnTo>
                      <a:lnTo>
                        <a:pt x="183" y="85"/>
                      </a:lnTo>
                      <a:lnTo>
                        <a:pt x="184" y="84"/>
                      </a:lnTo>
                      <a:lnTo>
                        <a:pt x="183" y="81"/>
                      </a:lnTo>
                      <a:lnTo>
                        <a:pt x="184" y="80"/>
                      </a:lnTo>
                      <a:lnTo>
                        <a:pt x="187" y="79"/>
                      </a:lnTo>
                      <a:lnTo>
                        <a:pt x="191" y="78"/>
                      </a:lnTo>
                      <a:lnTo>
                        <a:pt x="194" y="78"/>
                      </a:lnTo>
                      <a:lnTo>
                        <a:pt x="199" y="79"/>
                      </a:lnTo>
                      <a:lnTo>
                        <a:pt x="204" y="79"/>
                      </a:lnTo>
                      <a:lnTo>
                        <a:pt x="207" y="78"/>
                      </a:lnTo>
                      <a:lnTo>
                        <a:pt x="210" y="79"/>
                      </a:lnTo>
                      <a:lnTo>
                        <a:pt x="213" y="79"/>
                      </a:lnTo>
                      <a:lnTo>
                        <a:pt x="214" y="79"/>
                      </a:lnTo>
                      <a:lnTo>
                        <a:pt x="214" y="78"/>
                      </a:lnTo>
                      <a:lnTo>
                        <a:pt x="214" y="77"/>
                      </a:lnTo>
                      <a:lnTo>
                        <a:pt x="211" y="78"/>
                      </a:lnTo>
                      <a:lnTo>
                        <a:pt x="213" y="77"/>
                      </a:lnTo>
                      <a:lnTo>
                        <a:pt x="213" y="75"/>
                      </a:lnTo>
                      <a:lnTo>
                        <a:pt x="214" y="73"/>
                      </a:lnTo>
                      <a:lnTo>
                        <a:pt x="216" y="73"/>
                      </a:lnTo>
                      <a:lnTo>
                        <a:pt x="217" y="71"/>
                      </a:lnTo>
                      <a:lnTo>
                        <a:pt x="216" y="68"/>
                      </a:lnTo>
                      <a:lnTo>
                        <a:pt x="213" y="67"/>
                      </a:lnTo>
                      <a:lnTo>
                        <a:pt x="212" y="67"/>
                      </a:lnTo>
                      <a:lnTo>
                        <a:pt x="211" y="67"/>
                      </a:lnTo>
                      <a:lnTo>
                        <a:pt x="208" y="65"/>
                      </a:lnTo>
                      <a:lnTo>
                        <a:pt x="208" y="63"/>
                      </a:lnTo>
                      <a:lnTo>
                        <a:pt x="208" y="60"/>
                      </a:lnTo>
                      <a:lnTo>
                        <a:pt x="208" y="59"/>
                      </a:lnTo>
                      <a:lnTo>
                        <a:pt x="208" y="58"/>
                      </a:lnTo>
                      <a:lnTo>
                        <a:pt x="206" y="58"/>
                      </a:lnTo>
                      <a:lnTo>
                        <a:pt x="206" y="57"/>
                      </a:lnTo>
                      <a:lnTo>
                        <a:pt x="206" y="56"/>
                      </a:lnTo>
                      <a:lnTo>
                        <a:pt x="206" y="54"/>
                      </a:lnTo>
                      <a:lnTo>
                        <a:pt x="206" y="53"/>
                      </a:lnTo>
                      <a:lnTo>
                        <a:pt x="207" y="50"/>
                      </a:lnTo>
                      <a:lnTo>
                        <a:pt x="207" y="48"/>
                      </a:lnTo>
                      <a:lnTo>
                        <a:pt x="206" y="47"/>
                      </a:lnTo>
                      <a:lnTo>
                        <a:pt x="205" y="46"/>
                      </a:lnTo>
                      <a:lnTo>
                        <a:pt x="206" y="45"/>
                      </a:lnTo>
                      <a:lnTo>
                        <a:pt x="205" y="43"/>
                      </a:lnTo>
                      <a:lnTo>
                        <a:pt x="206" y="38"/>
                      </a:lnTo>
                      <a:lnTo>
                        <a:pt x="205" y="37"/>
                      </a:lnTo>
                      <a:lnTo>
                        <a:pt x="204" y="36"/>
                      </a:lnTo>
                      <a:lnTo>
                        <a:pt x="204" y="32"/>
                      </a:lnTo>
                      <a:lnTo>
                        <a:pt x="205" y="30"/>
                      </a:lnTo>
                      <a:lnTo>
                        <a:pt x="204" y="28"/>
                      </a:lnTo>
                      <a:lnTo>
                        <a:pt x="203" y="27"/>
                      </a:lnTo>
                      <a:lnTo>
                        <a:pt x="204" y="26"/>
                      </a:lnTo>
                      <a:lnTo>
                        <a:pt x="204" y="25"/>
                      </a:lnTo>
                      <a:lnTo>
                        <a:pt x="205" y="24"/>
                      </a:lnTo>
                      <a:lnTo>
                        <a:pt x="203" y="24"/>
                      </a:lnTo>
                      <a:lnTo>
                        <a:pt x="200" y="23"/>
                      </a:lnTo>
                      <a:lnTo>
                        <a:pt x="200" y="21"/>
                      </a:lnTo>
                      <a:lnTo>
                        <a:pt x="199" y="21"/>
                      </a:lnTo>
                      <a:lnTo>
                        <a:pt x="197" y="19"/>
                      </a:lnTo>
                      <a:lnTo>
                        <a:pt x="196" y="19"/>
                      </a:lnTo>
                      <a:lnTo>
                        <a:pt x="197" y="18"/>
                      </a:lnTo>
                      <a:lnTo>
                        <a:pt x="196" y="16"/>
                      </a:lnTo>
                      <a:lnTo>
                        <a:pt x="196" y="16"/>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543" name="Ghana">
                  <a:extLst>
                    <a:ext uri="{FF2B5EF4-FFF2-40B4-BE49-F238E27FC236}">
                      <a16:creationId xmlns:a16="http://schemas.microsoft.com/office/drawing/2014/main" id="{EADB4BE7-FF0A-1747-A9E3-D287B897381C}"/>
                    </a:ext>
                  </a:extLst>
                </p:cNvPr>
                <p:cNvSpPr>
                  <a:spLocks/>
                </p:cNvSpPr>
                <p:nvPr/>
              </p:nvSpPr>
              <p:spPr bwMode="auto">
                <a:xfrm>
                  <a:off x="6279228" y="3652662"/>
                  <a:ext cx="116636" cy="192450"/>
                </a:xfrm>
                <a:custGeom>
                  <a:avLst/>
                  <a:gdLst>
                    <a:gd name="T0" fmla="*/ 9 w 80"/>
                    <a:gd name="T1" fmla="*/ 39 h 132"/>
                    <a:gd name="T2" fmla="*/ 10 w 80"/>
                    <a:gd name="T3" fmla="*/ 64 h 132"/>
                    <a:gd name="T4" fmla="*/ 1 w 80"/>
                    <a:gd name="T5" fmla="*/ 84 h 132"/>
                    <a:gd name="T6" fmla="*/ 3 w 80"/>
                    <a:gd name="T7" fmla="*/ 112 h 132"/>
                    <a:gd name="T8" fmla="*/ 8 w 80"/>
                    <a:gd name="T9" fmla="*/ 119 h 132"/>
                    <a:gd name="T10" fmla="*/ 1 w 80"/>
                    <a:gd name="T11" fmla="*/ 125 h 132"/>
                    <a:gd name="T12" fmla="*/ 15 w 80"/>
                    <a:gd name="T13" fmla="*/ 129 h 132"/>
                    <a:gd name="T14" fmla="*/ 21 w 80"/>
                    <a:gd name="T15" fmla="*/ 132 h 132"/>
                    <a:gd name="T16" fmla="*/ 26 w 80"/>
                    <a:gd name="T17" fmla="*/ 129 h 132"/>
                    <a:gd name="T18" fmla="*/ 30 w 80"/>
                    <a:gd name="T19" fmla="*/ 125 h 132"/>
                    <a:gd name="T20" fmla="*/ 39 w 80"/>
                    <a:gd name="T21" fmla="*/ 123 h 132"/>
                    <a:gd name="T22" fmla="*/ 42 w 80"/>
                    <a:gd name="T23" fmla="*/ 123 h 132"/>
                    <a:gd name="T24" fmla="*/ 46 w 80"/>
                    <a:gd name="T25" fmla="*/ 119 h 132"/>
                    <a:gd name="T26" fmla="*/ 56 w 80"/>
                    <a:gd name="T27" fmla="*/ 116 h 132"/>
                    <a:gd name="T28" fmla="*/ 60 w 80"/>
                    <a:gd name="T29" fmla="*/ 112 h 132"/>
                    <a:gd name="T30" fmla="*/ 70 w 80"/>
                    <a:gd name="T31" fmla="*/ 111 h 132"/>
                    <a:gd name="T32" fmla="*/ 66 w 80"/>
                    <a:gd name="T33" fmla="*/ 105 h 132"/>
                    <a:gd name="T34" fmla="*/ 64 w 80"/>
                    <a:gd name="T35" fmla="*/ 105 h 132"/>
                    <a:gd name="T36" fmla="*/ 62 w 80"/>
                    <a:gd name="T37" fmla="*/ 104 h 132"/>
                    <a:gd name="T38" fmla="*/ 66 w 80"/>
                    <a:gd name="T39" fmla="*/ 104 h 132"/>
                    <a:gd name="T40" fmla="*/ 69 w 80"/>
                    <a:gd name="T41" fmla="*/ 110 h 132"/>
                    <a:gd name="T42" fmla="*/ 73 w 80"/>
                    <a:gd name="T43" fmla="*/ 112 h 132"/>
                    <a:gd name="T44" fmla="*/ 75 w 80"/>
                    <a:gd name="T45" fmla="*/ 110 h 132"/>
                    <a:gd name="T46" fmla="*/ 77 w 80"/>
                    <a:gd name="T47" fmla="*/ 103 h 132"/>
                    <a:gd name="T48" fmla="*/ 69 w 80"/>
                    <a:gd name="T49" fmla="*/ 93 h 132"/>
                    <a:gd name="T50" fmla="*/ 69 w 80"/>
                    <a:gd name="T51" fmla="*/ 82 h 132"/>
                    <a:gd name="T52" fmla="*/ 69 w 80"/>
                    <a:gd name="T53" fmla="*/ 71 h 132"/>
                    <a:gd name="T54" fmla="*/ 69 w 80"/>
                    <a:gd name="T55" fmla="*/ 62 h 132"/>
                    <a:gd name="T56" fmla="*/ 66 w 80"/>
                    <a:gd name="T57" fmla="*/ 52 h 132"/>
                    <a:gd name="T58" fmla="*/ 67 w 80"/>
                    <a:gd name="T59" fmla="*/ 39 h 132"/>
                    <a:gd name="T60" fmla="*/ 61 w 80"/>
                    <a:gd name="T61" fmla="*/ 36 h 132"/>
                    <a:gd name="T62" fmla="*/ 63 w 80"/>
                    <a:gd name="T63" fmla="*/ 32 h 132"/>
                    <a:gd name="T64" fmla="*/ 64 w 80"/>
                    <a:gd name="T65" fmla="*/ 26 h 132"/>
                    <a:gd name="T66" fmla="*/ 66 w 80"/>
                    <a:gd name="T67" fmla="*/ 18 h 132"/>
                    <a:gd name="T68" fmla="*/ 56 w 80"/>
                    <a:gd name="T69" fmla="*/ 9 h 132"/>
                    <a:gd name="T70" fmla="*/ 54 w 80"/>
                    <a:gd name="T71" fmla="*/ 0 h 132"/>
                    <a:gd name="T72" fmla="*/ 50 w 80"/>
                    <a:gd name="T73" fmla="*/ 2 h 132"/>
                    <a:gd name="T74" fmla="*/ 46 w 80"/>
                    <a:gd name="T75" fmla="*/ 4 h 132"/>
                    <a:gd name="T76" fmla="*/ 42 w 80"/>
                    <a:gd name="T77" fmla="*/ 5 h 132"/>
                    <a:gd name="T78" fmla="*/ 28 w 80"/>
                    <a:gd name="T79" fmla="*/ 3 h 132"/>
                    <a:gd name="T80" fmla="*/ 7 w 80"/>
                    <a:gd name="T81" fmla="*/ 4 h 132"/>
                    <a:gd name="T82" fmla="*/ 6 w 80"/>
                    <a:gd name="T83" fmla="*/ 9 h 132"/>
                    <a:gd name="T84" fmla="*/ 6 w 80"/>
                    <a:gd name="T85" fmla="*/ 12 h 132"/>
                    <a:gd name="T86" fmla="*/ 8 w 80"/>
                    <a:gd name="T87" fmla="*/ 16 h 132"/>
                    <a:gd name="T88" fmla="*/ 8 w 80"/>
                    <a:gd name="T89" fmla="*/ 18 h 132"/>
                    <a:gd name="T90" fmla="*/ 8 w 80"/>
                    <a:gd name="T91" fmla="*/ 20 h 132"/>
                    <a:gd name="T92" fmla="*/ 8 w 80"/>
                    <a:gd name="T93" fmla="*/ 27 h 132"/>
                    <a:gd name="T94" fmla="*/ 8 w 80"/>
                    <a:gd name="T95" fmla="*/ 32 h 132"/>
                    <a:gd name="T96" fmla="*/ 9 w 80"/>
                    <a:gd name="T97" fmla="*/ 35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80" h="132">
                      <a:moveTo>
                        <a:pt x="9" y="35"/>
                      </a:moveTo>
                      <a:lnTo>
                        <a:pt x="9" y="37"/>
                      </a:lnTo>
                      <a:lnTo>
                        <a:pt x="9" y="39"/>
                      </a:lnTo>
                      <a:lnTo>
                        <a:pt x="8" y="43"/>
                      </a:lnTo>
                      <a:lnTo>
                        <a:pt x="13" y="60"/>
                      </a:lnTo>
                      <a:lnTo>
                        <a:pt x="10" y="64"/>
                      </a:lnTo>
                      <a:lnTo>
                        <a:pt x="8" y="65"/>
                      </a:lnTo>
                      <a:lnTo>
                        <a:pt x="4" y="80"/>
                      </a:lnTo>
                      <a:lnTo>
                        <a:pt x="1" y="84"/>
                      </a:lnTo>
                      <a:lnTo>
                        <a:pt x="0" y="91"/>
                      </a:lnTo>
                      <a:lnTo>
                        <a:pt x="0" y="100"/>
                      </a:lnTo>
                      <a:lnTo>
                        <a:pt x="3" y="112"/>
                      </a:lnTo>
                      <a:lnTo>
                        <a:pt x="4" y="113"/>
                      </a:lnTo>
                      <a:lnTo>
                        <a:pt x="8" y="115"/>
                      </a:lnTo>
                      <a:lnTo>
                        <a:pt x="8" y="119"/>
                      </a:lnTo>
                      <a:lnTo>
                        <a:pt x="8" y="122"/>
                      </a:lnTo>
                      <a:lnTo>
                        <a:pt x="1" y="124"/>
                      </a:lnTo>
                      <a:lnTo>
                        <a:pt x="1" y="125"/>
                      </a:lnTo>
                      <a:lnTo>
                        <a:pt x="6" y="126"/>
                      </a:lnTo>
                      <a:lnTo>
                        <a:pt x="11" y="126"/>
                      </a:lnTo>
                      <a:lnTo>
                        <a:pt x="15" y="129"/>
                      </a:lnTo>
                      <a:lnTo>
                        <a:pt x="19" y="130"/>
                      </a:lnTo>
                      <a:lnTo>
                        <a:pt x="20" y="132"/>
                      </a:lnTo>
                      <a:lnTo>
                        <a:pt x="21" y="132"/>
                      </a:lnTo>
                      <a:lnTo>
                        <a:pt x="22" y="132"/>
                      </a:lnTo>
                      <a:lnTo>
                        <a:pt x="24" y="131"/>
                      </a:lnTo>
                      <a:lnTo>
                        <a:pt x="26" y="129"/>
                      </a:lnTo>
                      <a:lnTo>
                        <a:pt x="27" y="127"/>
                      </a:lnTo>
                      <a:lnTo>
                        <a:pt x="28" y="126"/>
                      </a:lnTo>
                      <a:lnTo>
                        <a:pt x="30" y="125"/>
                      </a:lnTo>
                      <a:lnTo>
                        <a:pt x="36" y="124"/>
                      </a:lnTo>
                      <a:lnTo>
                        <a:pt x="37" y="123"/>
                      </a:lnTo>
                      <a:lnTo>
                        <a:pt x="39" y="123"/>
                      </a:lnTo>
                      <a:lnTo>
                        <a:pt x="40" y="122"/>
                      </a:lnTo>
                      <a:lnTo>
                        <a:pt x="41" y="122"/>
                      </a:lnTo>
                      <a:lnTo>
                        <a:pt x="42" y="123"/>
                      </a:lnTo>
                      <a:lnTo>
                        <a:pt x="43" y="123"/>
                      </a:lnTo>
                      <a:lnTo>
                        <a:pt x="44" y="123"/>
                      </a:lnTo>
                      <a:lnTo>
                        <a:pt x="46" y="119"/>
                      </a:lnTo>
                      <a:lnTo>
                        <a:pt x="48" y="119"/>
                      </a:lnTo>
                      <a:lnTo>
                        <a:pt x="50" y="117"/>
                      </a:lnTo>
                      <a:lnTo>
                        <a:pt x="56" y="116"/>
                      </a:lnTo>
                      <a:lnTo>
                        <a:pt x="57" y="115"/>
                      </a:lnTo>
                      <a:lnTo>
                        <a:pt x="58" y="113"/>
                      </a:lnTo>
                      <a:lnTo>
                        <a:pt x="60" y="112"/>
                      </a:lnTo>
                      <a:lnTo>
                        <a:pt x="63" y="111"/>
                      </a:lnTo>
                      <a:lnTo>
                        <a:pt x="69" y="111"/>
                      </a:lnTo>
                      <a:lnTo>
                        <a:pt x="70" y="111"/>
                      </a:lnTo>
                      <a:lnTo>
                        <a:pt x="68" y="107"/>
                      </a:lnTo>
                      <a:lnTo>
                        <a:pt x="67" y="105"/>
                      </a:lnTo>
                      <a:lnTo>
                        <a:pt x="66" y="105"/>
                      </a:lnTo>
                      <a:lnTo>
                        <a:pt x="64" y="105"/>
                      </a:lnTo>
                      <a:lnTo>
                        <a:pt x="64" y="105"/>
                      </a:lnTo>
                      <a:lnTo>
                        <a:pt x="64" y="105"/>
                      </a:lnTo>
                      <a:lnTo>
                        <a:pt x="61" y="105"/>
                      </a:lnTo>
                      <a:lnTo>
                        <a:pt x="61" y="105"/>
                      </a:lnTo>
                      <a:lnTo>
                        <a:pt x="62" y="104"/>
                      </a:lnTo>
                      <a:lnTo>
                        <a:pt x="63" y="105"/>
                      </a:lnTo>
                      <a:lnTo>
                        <a:pt x="63" y="104"/>
                      </a:lnTo>
                      <a:lnTo>
                        <a:pt x="66" y="104"/>
                      </a:lnTo>
                      <a:lnTo>
                        <a:pt x="67" y="105"/>
                      </a:lnTo>
                      <a:lnTo>
                        <a:pt x="69" y="107"/>
                      </a:lnTo>
                      <a:lnTo>
                        <a:pt x="69" y="110"/>
                      </a:lnTo>
                      <a:lnTo>
                        <a:pt x="70" y="111"/>
                      </a:lnTo>
                      <a:lnTo>
                        <a:pt x="71" y="111"/>
                      </a:lnTo>
                      <a:lnTo>
                        <a:pt x="73" y="112"/>
                      </a:lnTo>
                      <a:lnTo>
                        <a:pt x="74" y="111"/>
                      </a:lnTo>
                      <a:lnTo>
                        <a:pt x="75" y="111"/>
                      </a:lnTo>
                      <a:lnTo>
                        <a:pt x="75" y="110"/>
                      </a:lnTo>
                      <a:lnTo>
                        <a:pt x="77" y="105"/>
                      </a:lnTo>
                      <a:lnTo>
                        <a:pt x="80" y="104"/>
                      </a:lnTo>
                      <a:lnTo>
                        <a:pt x="77" y="103"/>
                      </a:lnTo>
                      <a:lnTo>
                        <a:pt x="74" y="99"/>
                      </a:lnTo>
                      <a:lnTo>
                        <a:pt x="71" y="93"/>
                      </a:lnTo>
                      <a:lnTo>
                        <a:pt x="69" y="93"/>
                      </a:lnTo>
                      <a:lnTo>
                        <a:pt x="68" y="90"/>
                      </a:lnTo>
                      <a:lnTo>
                        <a:pt x="69" y="85"/>
                      </a:lnTo>
                      <a:lnTo>
                        <a:pt x="69" y="82"/>
                      </a:lnTo>
                      <a:lnTo>
                        <a:pt x="69" y="78"/>
                      </a:lnTo>
                      <a:lnTo>
                        <a:pt x="67" y="76"/>
                      </a:lnTo>
                      <a:lnTo>
                        <a:pt x="69" y="71"/>
                      </a:lnTo>
                      <a:lnTo>
                        <a:pt x="69" y="69"/>
                      </a:lnTo>
                      <a:lnTo>
                        <a:pt x="68" y="62"/>
                      </a:lnTo>
                      <a:lnTo>
                        <a:pt x="69" y="62"/>
                      </a:lnTo>
                      <a:lnTo>
                        <a:pt x="70" y="60"/>
                      </a:lnTo>
                      <a:lnTo>
                        <a:pt x="69" y="55"/>
                      </a:lnTo>
                      <a:lnTo>
                        <a:pt x="66" y="52"/>
                      </a:lnTo>
                      <a:lnTo>
                        <a:pt x="67" y="50"/>
                      </a:lnTo>
                      <a:lnTo>
                        <a:pt x="66" y="44"/>
                      </a:lnTo>
                      <a:lnTo>
                        <a:pt x="67" y="39"/>
                      </a:lnTo>
                      <a:lnTo>
                        <a:pt x="68" y="36"/>
                      </a:lnTo>
                      <a:lnTo>
                        <a:pt x="63" y="35"/>
                      </a:lnTo>
                      <a:lnTo>
                        <a:pt x="61" y="36"/>
                      </a:lnTo>
                      <a:lnTo>
                        <a:pt x="60" y="35"/>
                      </a:lnTo>
                      <a:lnTo>
                        <a:pt x="60" y="33"/>
                      </a:lnTo>
                      <a:lnTo>
                        <a:pt x="63" y="32"/>
                      </a:lnTo>
                      <a:lnTo>
                        <a:pt x="63" y="30"/>
                      </a:lnTo>
                      <a:lnTo>
                        <a:pt x="63" y="29"/>
                      </a:lnTo>
                      <a:lnTo>
                        <a:pt x="64" y="26"/>
                      </a:lnTo>
                      <a:lnTo>
                        <a:pt x="64" y="23"/>
                      </a:lnTo>
                      <a:lnTo>
                        <a:pt x="64" y="22"/>
                      </a:lnTo>
                      <a:lnTo>
                        <a:pt x="66" y="18"/>
                      </a:lnTo>
                      <a:lnTo>
                        <a:pt x="63" y="15"/>
                      </a:lnTo>
                      <a:lnTo>
                        <a:pt x="58" y="12"/>
                      </a:lnTo>
                      <a:lnTo>
                        <a:pt x="56" y="9"/>
                      </a:lnTo>
                      <a:lnTo>
                        <a:pt x="57" y="5"/>
                      </a:lnTo>
                      <a:lnTo>
                        <a:pt x="60" y="0"/>
                      </a:lnTo>
                      <a:lnTo>
                        <a:pt x="54" y="0"/>
                      </a:lnTo>
                      <a:lnTo>
                        <a:pt x="53" y="2"/>
                      </a:lnTo>
                      <a:lnTo>
                        <a:pt x="51" y="2"/>
                      </a:lnTo>
                      <a:lnTo>
                        <a:pt x="50" y="2"/>
                      </a:lnTo>
                      <a:lnTo>
                        <a:pt x="50" y="3"/>
                      </a:lnTo>
                      <a:lnTo>
                        <a:pt x="47" y="5"/>
                      </a:lnTo>
                      <a:lnTo>
                        <a:pt x="46" y="4"/>
                      </a:lnTo>
                      <a:lnTo>
                        <a:pt x="46" y="3"/>
                      </a:lnTo>
                      <a:lnTo>
                        <a:pt x="43" y="3"/>
                      </a:lnTo>
                      <a:lnTo>
                        <a:pt x="42" y="5"/>
                      </a:lnTo>
                      <a:lnTo>
                        <a:pt x="42" y="4"/>
                      </a:lnTo>
                      <a:lnTo>
                        <a:pt x="41" y="3"/>
                      </a:lnTo>
                      <a:lnTo>
                        <a:pt x="28" y="3"/>
                      </a:lnTo>
                      <a:lnTo>
                        <a:pt x="11" y="3"/>
                      </a:lnTo>
                      <a:lnTo>
                        <a:pt x="7" y="3"/>
                      </a:lnTo>
                      <a:lnTo>
                        <a:pt x="7" y="4"/>
                      </a:lnTo>
                      <a:lnTo>
                        <a:pt x="7" y="6"/>
                      </a:lnTo>
                      <a:lnTo>
                        <a:pt x="6" y="7"/>
                      </a:lnTo>
                      <a:lnTo>
                        <a:pt x="6" y="9"/>
                      </a:lnTo>
                      <a:lnTo>
                        <a:pt x="4" y="10"/>
                      </a:lnTo>
                      <a:lnTo>
                        <a:pt x="6" y="11"/>
                      </a:lnTo>
                      <a:lnTo>
                        <a:pt x="6" y="12"/>
                      </a:lnTo>
                      <a:lnTo>
                        <a:pt x="8" y="13"/>
                      </a:lnTo>
                      <a:lnTo>
                        <a:pt x="8" y="16"/>
                      </a:lnTo>
                      <a:lnTo>
                        <a:pt x="8" y="16"/>
                      </a:lnTo>
                      <a:lnTo>
                        <a:pt x="7" y="16"/>
                      </a:lnTo>
                      <a:lnTo>
                        <a:pt x="7" y="17"/>
                      </a:lnTo>
                      <a:lnTo>
                        <a:pt x="8" y="18"/>
                      </a:lnTo>
                      <a:lnTo>
                        <a:pt x="8" y="19"/>
                      </a:lnTo>
                      <a:lnTo>
                        <a:pt x="7" y="20"/>
                      </a:lnTo>
                      <a:lnTo>
                        <a:pt x="8" y="20"/>
                      </a:lnTo>
                      <a:lnTo>
                        <a:pt x="7" y="23"/>
                      </a:lnTo>
                      <a:lnTo>
                        <a:pt x="8" y="25"/>
                      </a:lnTo>
                      <a:lnTo>
                        <a:pt x="8" y="27"/>
                      </a:lnTo>
                      <a:lnTo>
                        <a:pt x="7" y="29"/>
                      </a:lnTo>
                      <a:lnTo>
                        <a:pt x="9" y="31"/>
                      </a:lnTo>
                      <a:lnTo>
                        <a:pt x="8" y="32"/>
                      </a:lnTo>
                      <a:lnTo>
                        <a:pt x="8" y="33"/>
                      </a:lnTo>
                      <a:lnTo>
                        <a:pt x="9" y="35"/>
                      </a:lnTo>
                      <a:lnTo>
                        <a:pt x="9" y="35"/>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544" name="Costa Rica">
                  <a:extLst>
                    <a:ext uri="{FF2B5EF4-FFF2-40B4-BE49-F238E27FC236}">
                      <a16:creationId xmlns:a16="http://schemas.microsoft.com/office/drawing/2014/main" id="{C9FC6BDB-3A63-BD4D-BED9-CD3F23DC6C07}"/>
                    </a:ext>
                  </a:extLst>
                </p:cNvPr>
                <p:cNvSpPr>
                  <a:spLocks/>
                </p:cNvSpPr>
                <p:nvPr/>
              </p:nvSpPr>
              <p:spPr bwMode="auto">
                <a:xfrm>
                  <a:off x="4102510" y="3651203"/>
                  <a:ext cx="86019" cy="96225"/>
                </a:xfrm>
                <a:custGeom>
                  <a:avLst/>
                  <a:gdLst>
                    <a:gd name="T0" fmla="*/ 7 w 59"/>
                    <a:gd name="T1" fmla="*/ 1 h 66"/>
                    <a:gd name="T2" fmla="*/ 21 w 59"/>
                    <a:gd name="T3" fmla="*/ 6 h 66"/>
                    <a:gd name="T4" fmla="*/ 26 w 59"/>
                    <a:gd name="T5" fmla="*/ 5 h 66"/>
                    <a:gd name="T6" fmla="*/ 28 w 59"/>
                    <a:gd name="T7" fmla="*/ 6 h 66"/>
                    <a:gd name="T8" fmla="*/ 33 w 59"/>
                    <a:gd name="T9" fmla="*/ 10 h 66"/>
                    <a:gd name="T10" fmla="*/ 35 w 59"/>
                    <a:gd name="T11" fmla="*/ 10 h 66"/>
                    <a:gd name="T12" fmla="*/ 41 w 59"/>
                    <a:gd name="T13" fmla="*/ 6 h 66"/>
                    <a:gd name="T14" fmla="*/ 41 w 59"/>
                    <a:gd name="T15" fmla="*/ 10 h 66"/>
                    <a:gd name="T16" fmla="*/ 44 w 59"/>
                    <a:gd name="T17" fmla="*/ 16 h 66"/>
                    <a:gd name="T18" fmla="*/ 50 w 59"/>
                    <a:gd name="T19" fmla="*/ 25 h 66"/>
                    <a:gd name="T20" fmla="*/ 51 w 59"/>
                    <a:gd name="T21" fmla="*/ 27 h 66"/>
                    <a:gd name="T22" fmla="*/ 55 w 59"/>
                    <a:gd name="T23" fmla="*/ 32 h 66"/>
                    <a:gd name="T24" fmla="*/ 59 w 59"/>
                    <a:gd name="T25" fmla="*/ 36 h 66"/>
                    <a:gd name="T26" fmla="*/ 54 w 59"/>
                    <a:gd name="T27" fmla="*/ 33 h 66"/>
                    <a:gd name="T28" fmla="*/ 52 w 59"/>
                    <a:gd name="T29" fmla="*/ 37 h 66"/>
                    <a:gd name="T30" fmla="*/ 55 w 59"/>
                    <a:gd name="T31" fmla="*/ 48 h 66"/>
                    <a:gd name="T32" fmla="*/ 53 w 59"/>
                    <a:gd name="T33" fmla="*/ 50 h 66"/>
                    <a:gd name="T34" fmla="*/ 50 w 59"/>
                    <a:gd name="T35" fmla="*/ 60 h 66"/>
                    <a:gd name="T36" fmla="*/ 52 w 59"/>
                    <a:gd name="T37" fmla="*/ 66 h 66"/>
                    <a:gd name="T38" fmla="*/ 47 w 59"/>
                    <a:gd name="T39" fmla="*/ 59 h 66"/>
                    <a:gd name="T40" fmla="*/ 47 w 59"/>
                    <a:gd name="T41" fmla="*/ 56 h 66"/>
                    <a:gd name="T42" fmla="*/ 48 w 59"/>
                    <a:gd name="T43" fmla="*/ 54 h 66"/>
                    <a:gd name="T44" fmla="*/ 45 w 59"/>
                    <a:gd name="T45" fmla="*/ 53 h 66"/>
                    <a:gd name="T46" fmla="*/ 41 w 59"/>
                    <a:gd name="T47" fmla="*/ 52 h 66"/>
                    <a:gd name="T48" fmla="*/ 46 w 59"/>
                    <a:gd name="T49" fmla="*/ 57 h 66"/>
                    <a:gd name="T50" fmla="*/ 44 w 59"/>
                    <a:gd name="T51" fmla="*/ 58 h 66"/>
                    <a:gd name="T52" fmla="*/ 38 w 59"/>
                    <a:gd name="T53" fmla="*/ 54 h 66"/>
                    <a:gd name="T54" fmla="*/ 39 w 59"/>
                    <a:gd name="T55" fmla="*/ 51 h 66"/>
                    <a:gd name="T56" fmla="*/ 40 w 59"/>
                    <a:gd name="T57" fmla="*/ 50 h 66"/>
                    <a:gd name="T58" fmla="*/ 40 w 59"/>
                    <a:gd name="T59" fmla="*/ 47 h 66"/>
                    <a:gd name="T60" fmla="*/ 34 w 59"/>
                    <a:gd name="T61" fmla="*/ 39 h 66"/>
                    <a:gd name="T62" fmla="*/ 24 w 59"/>
                    <a:gd name="T63" fmla="*/ 36 h 66"/>
                    <a:gd name="T64" fmla="*/ 21 w 59"/>
                    <a:gd name="T65" fmla="*/ 32 h 66"/>
                    <a:gd name="T66" fmla="*/ 20 w 59"/>
                    <a:gd name="T67" fmla="*/ 26 h 66"/>
                    <a:gd name="T68" fmla="*/ 18 w 59"/>
                    <a:gd name="T69" fmla="*/ 25 h 66"/>
                    <a:gd name="T70" fmla="*/ 12 w 59"/>
                    <a:gd name="T71" fmla="*/ 20 h 66"/>
                    <a:gd name="T72" fmla="*/ 12 w 59"/>
                    <a:gd name="T73" fmla="*/ 24 h 66"/>
                    <a:gd name="T74" fmla="*/ 17 w 59"/>
                    <a:gd name="T75" fmla="*/ 27 h 66"/>
                    <a:gd name="T76" fmla="*/ 18 w 59"/>
                    <a:gd name="T77" fmla="*/ 30 h 66"/>
                    <a:gd name="T78" fmla="*/ 13 w 59"/>
                    <a:gd name="T79" fmla="*/ 34 h 66"/>
                    <a:gd name="T80" fmla="*/ 10 w 59"/>
                    <a:gd name="T81" fmla="*/ 28 h 66"/>
                    <a:gd name="T82" fmla="*/ 4 w 59"/>
                    <a:gd name="T83" fmla="*/ 26 h 66"/>
                    <a:gd name="T84" fmla="*/ 0 w 59"/>
                    <a:gd name="T85" fmla="*/ 18 h 66"/>
                    <a:gd name="T86" fmla="*/ 5 w 59"/>
                    <a:gd name="T87" fmla="*/ 12 h 66"/>
                    <a:gd name="T88" fmla="*/ 5 w 59"/>
                    <a:gd name="T89" fmla="*/ 12 h 66"/>
                    <a:gd name="T90" fmla="*/ 2 w 59"/>
                    <a:gd name="T91" fmla="*/ 8 h 66"/>
                    <a:gd name="T92" fmla="*/ 1 w 59"/>
                    <a:gd name="T93" fmla="*/ 6 h 66"/>
                    <a:gd name="T94" fmla="*/ 2 w 59"/>
                    <a:gd name="T95" fmla="*/ 6 h 66"/>
                    <a:gd name="T96" fmla="*/ 4 w 59"/>
                    <a:gd name="T97" fmla="*/ 4 h 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59" h="66">
                      <a:moveTo>
                        <a:pt x="5" y="4"/>
                      </a:moveTo>
                      <a:lnTo>
                        <a:pt x="6" y="0"/>
                      </a:lnTo>
                      <a:lnTo>
                        <a:pt x="7" y="0"/>
                      </a:lnTo>
                      <a:lnTo>
                        <a:pt x="7" y="1"/>
                      </a:lnTo>
                      <a:lnTo>
                        <a:pt x="11" y="3"/>
                      </a:lnTo>
                      <a:lnTo>
                        <a:pt x="14" y="5"/>
                      </a:lnTo>
                      <a:lnTo>
                        <a:pt x="19" y="6"/>
                      </a:lnTo>
                      <a:lnTo>
                        <a:pt x="21" y="6"/>
                      </a:lnTo>
                      <a:lnTo>
                        <a:pt x="24" y="4"/>
                      </a:lnTo>
                      <a:lnTo>
                        <a:pt x="25" y="4"/>
                      </a:lnTo>
                      <a:lnTo>
                        <a:pt x="25" y="4"/>
                      </a:lnTo>
                      <a:lnTo>
                        <a:pt x="26" y="5"/>
                      </a:lnTo>
                      <a:lnTo>
                        <a:pt x="27" y="5"/>
                      </a:lnTo>
                      <a:lnTo>
                        <a:pt x="28" y="5"/>
                      </a:lnTo>
                      <a:lnTo>
                        <a:pt x="30" y="5"/>
                      </a:lnTo>
                      <a:lnTo>
                        <a:pt x="28" y="6"/>
                      </a:lnTo>
                      <a:lnTo>
                        <a:pt x="32" y="8"/>
                      </a:lnTo>
                      <a:lnTo>
                        <a:pt x="31" y="8"/>
                      </a:lnTo>
                      <a:lnTo>
                        <a:pt x="32" y="10"/>
                      </a:lnTo>
                      <a:lnTo>
                        <a:pt x="33" y="10"/>
                      </a:lnTo>
                      <a:lnTo>
                        <a:pt x="33" y="10"/>
                      </a:lnTo>
                      <a:lnTo>
                        <a:pt x="33" y="10"/>
                      </a:lnTo>
                      <a:lnTo>
                        <a:pt x="34" y="10"/>
                      </a:lnTo>
                      <a:lnTo>
                        <a:pt x="35" y="10"/>
                      </a:lnTo>
                      <a:lnTo>
                        <a:pt x="35" y="11"/>
                      </a:lnTo>
                      <a:lnTo>
                        <a:pt x="38" y="11"/>
                      </a:lnTo>
                      <a:lnTo>
                        <a:pt x="41" y="8"/>
                      </a:lnTo>
                      <a:lnTo>
                        <a:pt x="41" y="6"/>
                      </a:lnTo>
                      <a:lnTo>
                        <a:pt x="42" y="7"/>
                      </a:lnTo>
                      <a:lnTo>
                        <a:pt x="44" y="8"/>
                      </a:lnTo>
                      <a:lnTo>
                        <a:pt x="42" y="7"/>
                      </a:lnTo>
                      <a:lnTo>
                        <a:pt x="41" y="10"/>
                      </a:lnTo>
                      <a:lnTo>
                        <a:pt x="42" y="11"/>
                      </a:lnTo>
                      <a:lnTo>
                        <a:pt x="42" y="10"/>
                      </a:lnTo>
                      <a:lnTo>
                        <a:pt x="42" y="12"/>
                      </a:lnTo>
                      <a:lnTo>
                        <a:pt x="44" y="16"/>
                      </a:lnTo>
                      <a:lnTo>
                        <a:pt x="46" y="18"/>
                      </a:lnTo>
                      <a:lnTo>
                        <a:pt x="47" y="20"/>
                      </a:lnTo>
                      <a:lnTo>
                        <a:pt x="48" y="23"/>
                      </a:lnTo>
                      <a:lnTo>
                        <a:pt x="50" y="25"/>
                      </a:lnTo>
                      <a:lnTo>
                        <a:pt x="51" y="26"/>
                      </a:lnTo>
                      <a:lnTo>
                        <a:pt x="52" y="25"/>
                      </a:lnTo>
                      <a:lnTo>
                        <a:pt x="52" y="26"/>
                      </a:lnTo>
                      <a:lnTo>
                        <a:pt x="51" y="27"/>
                      </a:lnTo>
                      <a:lnTo>
                        <a:pt x="53" y="31"/>
                      </a:lnTo>
                      <a:lnTo>
                        <a:pt x="54" y="30"/>
                      </a:lnTo>
                      <a:lnTo>
                        <a:pt x="55" y="31"/>
                      </a:lnTo>
                      <a:lnTo>
                        <a:pt x="55" y="32"/>
                      </a:lnTo>
                      <a:lnTo>
                        <a:pt x="58" y="33"/>
                      </a:lnTo>
                      <a:lnTo>
                        <a:pt x="59" y="34"/>
                      </a:lnTo>
                      <a:lnTo>
                        <a:pt x="59" y="36"/>
                      </a:lnTo>
                      <a:lnTo>
                        <a:pt x="59" y="36"/>
                      </a:lnTo>
                      <a:lnTo>
                        <a:pt x="59" y="36"/>
                      </a:lnTo>
                      <a:lnTo>
                        <a:pt x="57" y="34"/>
                      </a:lnTo>
                      <a:lnTo>
                        <a:pt x="55" y="34"/>
                      </a:lnTo>
                      <a:lnTo>
                        <a:pt x="54" y="33"/>
                      </a:lnTo>
                      <a:lnTo>
                        <a:pt x="54" y="34"/>
                      </a:lnTo>
                      <a:lnTo>
                        <a:pt x="53" y="36"/>
                      </a:lnTo>
                      <a:lnTo>
                        <a:pt x="54" y="36"/>
                      </a:lnTo>
                      <a:lnTo>
                        <a:pt x="52" y="37"/>
                      </a:lnTo>
                      <a:lnTo>
                        <a:pt x="52" y="45"/>
                      </a:lnTo>
                      <a:lnTo>
                        <a:pt x="53" y="45"/>
                      </a:lnTo>
                      <a:lnTo>
                        <a:pt x="55" y="47"/>
                      </a:lnTo>
                      <a:lnTo>
                        <a:pt x="55" y="48"/>
                      </a:lnTo>
                      <a:lnTo>
                        <a:pt x="53" y="50"/>
                      </a:lnTo>
                      <a:lnTo>
                        <a:pt x="53" y="50"/>
                      </a:lnTo>
                      <a:lnTo>
                        <a:pt x="53" y="50"/>
                      </a:lnTo>
                      <a:lnTo>
                        <a:pt x="53" y="50"/>
                      </a:lnTo>
                      <a:lnTo>
                        <a:pt x="52" y="51"/>
                      </a:lnTo>
                      <a:lnTo>
                        <a:pt x="53" y="53"/>
                      </a:lnTo>
                      <a:lnTo>
                        <a:pt x="53" y="57"/>
                      </a:lnTo>
                      <a:lnTo>
                        <a:pt x="50" y="60"/>
                      </a:lnTo>
                      <a:lnTo>
                        <a:pt x="51" y="60"/>
                      </a:lnTo>
                      <a:lnTo>
                        <a:pt x="51" y="61"/>
                      </a:lnTo>
                      <a:lnTo>
                        <a:pt x="52" y="65"/>
                      </a:lnTo>
                      <a:lnTo>
                        <a:pt x="52" y="66"/>
                      </a:lnTo>
                      <a:lnTo>
                        <a:pt x="51" y="64"/>
                      </a:lnTo>
                      <a:lnTo>
                        <a:pt x="50" y="63"/>
                      </a:lnTo>
                      <a:lnTo>
                        <a:pt x="51" y="61"/>
                      </a:lnTo>
                      <a:lnTo>
                        <a:pt x="47" y="59"/>
                      </a:lnTo>
                      <a:lnTo>
                        <a:pt x="48" y="58"/>
                      </a:lnTo>
                      <a:lnTo>
                        <a:pt x="47" y="56"/>
                      </a:lnTo>
                      <a:lnTo>
                        <a:pt x="48" y="56"/>
                      </a:lnTo>
                      <a:lnTo>
                        <a:pt x="47" y="56"/>
                      </a:lnTo>
                      <a:lnTo>
                        <a:pt x="47" y="54"/>
                      </a:lnTo>
                      <a:lnTo>
                        <a:pt x="47" y="54"/>
                      </a:lnTo>
                      <a:lnTo>
                        <a:pt x="47" y="56"/>
                      </a:lnTo>
                      <a:lnTo>
                        <a:pt x="48" y="54"/>
                      </a:lnTo>
                      <a:lnTo>
                        <a:pt x="47" y="53"/>
                      </a:lnTo>
                      <a:lnTo>
                        <a:pt x="46" y="53"/>
                      </a:lnTo>
                      <a:lnTo>
                        <a:pt x="46" y="53"/>
                      </a:lnTo>
                      <a:lnTo>
                        <a:pt x="45" y="53"/>
                      </a:lnTo>
                      <a:lnTo>
                        <a:pt x="45" y="52"/>
                      </a:lnTo>
                      <a:lnTo>
                        <a:pt x="42" y="51"/>
                      </a:lnTo>
                      <a:lnTo>
                        <a:pt x="41" y="52"/>
                      </a:lnTo>
                      <a:lnTo>
                        <a:pt x="41" y="52"/>
                      </a:lnTo>
                      <a:lnTo>
                        <a:pt x="42" y="53"/>
                      </a:lnTo>
                      <a:lnTo>
                        <a:pt x="44" y="54"/>
                      </a:lnTo>
                      <a:lnTo>
                        <a:pt x="45" y="56"/>
                      </a:lnTo>
                      <a:lnTo>
                        <a:pt x="46" y="57"/>
                      </a:lnTo>
                      <a:lnTo>
                        <a:pt x="45" y="59"/>
                      </a:lnTo>
                      <a:lnTo>
                        <a:pt x="44" y="59"/>
                      </a:lnTo>
                      <a:lnTo>
                        <a:pt x="44" y="58"/>
                      </a:lnTo>
                      <a:lnTo>
                        <a:pt x="44" y="58"/>
                      </a:lnTo>
                      <a:lnTo>
                        <a:pt x="42" y="58"/>
                      </a:lnTo>
                      <a:lnTo>
                        <a:pt x="40" y="58"/>
                      </a:lnTo>
                      <a:lnTo>
                        <a:pt x="38" y="57"/>
                      </a:lnTo>
                      <a:lnTo>
                        <a:pt x="38" y="54"/>
                      </a:lnTo>
                      <a:lnTo>
                        <a:pt x="37" y="54"/>
                      </a:lnTo>
                      <a:lnTo>
                        <a:pt x="38" y="52"/>
                      </a:lnTo>
                      <a:lnTo>
                        <a:pt x="39" y="52"/>
                      </a:lnTo>
                      <a:lnTo>
                        <a:pt x="39" y="51"/>
                      </a:lnTo>
                      <a:lnTo>
                        <a:pt x="40" y="51"/>
                      </a:lnTo>
                      <a:lnTo>
                        <a:pt x="39" y="51"/>
                      </a:lnTo>
                      <a:lnTo>
                        <a:pt x="39" y="50"/>
                      </a:lnTo>
                      <a:lnTo>
                        <a:pt x="40" y="50"/>
                      </a:lnTo>
                      <a:lnTo>
                        <a:pt x="39" y="48"/>
                      </a:lnTo>
                      <a:lnTo>
                        <a:pt x="40" y="48"/>
                      </a:lnTo>
                      <a:lnTo>
                        <a:pt x="39" y="47"/>
                      </a:lnTo>
                      <a:lnTo>
                        <a:pt x="40" y="47"/>
                      </a:lnTo>
                      <a:lnTo>
                        <a:pt x="39" y="45"/>
                      </a:lnTo>
                      <a:lnTo>
                        <a:pt x="37" y="43"/>
                      </a:lnTo>
                      <a:lnTo>
                        <a:pt x="37" y="41"/>
                      </a:lnTo>
                      <a:lnTo>
                        <a:pt x="34" y="39"/>
                      </a:lnTo>
                      <a:lnTo>
                        <a:pt x="30" y="38"/>
                      </a:lnTo>
                      <a:lnTo>
                        <a:pt x="30" y="37"/>
                      </a:lnTo>
                      <a:lnTo>
                        <a:pt x="25" y="36"/>
                      </a:lnTo>
                      <a:lnTo>
                        <a:pt x="24" y="36"/>
                      </a:lnTo>
                      <a:lnTo>
                        <a:pt x="22" y="34"/>
                      </a:lnTo>
                      <a:lnTo>
                        <a:pt x="21" y="33"/>
                      </a:lnTo>
                      <a:lnTo>
                        <a:pt x="21" y="32"/>
                      </a:lnTo>
                      <a:lnTo>
                        <a:pt x="21" y="32"/>
                      </a:lnTo>
                      <a:lnTo>
                        <a:pt x="22" y="30"/>
                      </a:lnTo>
                      <a:lnTo>
                        <a:pt x="21" y="27"/>
                      </a:lnTo>
                      <a:lnTo>
                        <a:pt x="21" y="27"/>
                      </a:lnTo>
                      <a:lnTo>
                        <a:pt x="20" y="26"/>
                      </a:lnTo>
                      <a:lnTo>
                        <a:pt x="18" y="26"/>
                      </a:lnTo>
                      <a:lnTo>
                        <a:pt x="19" y="26"/>
                      </a:lnTo>
                      <a:lnTo>
                        <a:pt x="18" y="25"/>
                      </a:lnTo>
                      <a:lnTo>
                        <a:pt x="18" y="25"/>
                      </a:lnTo>
                      <a:lnTo>
                        <a:pt x="14" y="21"/>
                      </a:lnTo>
                      <a:lnTo>
                        <a:pt x="13" y="23"/>
                      </a:lnTo>
                      <a:lnTo>
                        <a:pt x="12" y="21"/>
                      </a:lnTo>
                      <a:lnTo>
                        <a:pt x="12" y="20"/>
                      </a:lnTo>
                      <a:lnTo>
                        <a:pt x="12" y="20"/>
                      </a:lnTo>
                      <a:lnTo>
                        <a:pt x="11" y="19"/>
                      </a:lnTo>
                      <a:lnTo>
                        <a:pt x="11" y="21"/>
                      </a:lnTo>
                      <a:lnTo>
                        <a:pt x="12" y="24"/>
                      </a:lnTo>
                      <a:lnTo>
                        <a:pt x="13" y="25"/>
                      </a:lnTo>
                      <a:lnTo>
                        <a:pt x="13" y="25"/>
                      </a:lnTo>
                      <a:lnTo>
                        <a:pt x="15" y="27"/>
                      </a:lnTo>
                      <a:lnTo>
                        <a:pt x="17" y="27"/>
                      </a:lnTo>
                      <a:lnTo>
                        <a:pt x="17" y="27"/>
                      </a:lnTo>
                      <a:lnTo>
                        <a:pt x="17" y="28"/>
                      </a:lnTo>
                      <a:lnTo>
                        <a:pt x="17" y="28"/>
                      </a:lnTo>
                      <a:lnTo>
                        <a:pt x="18" y="30"/>
                      </a:lnTo>
                      <a:lnTo>
                        <a:pt x="17" y="31"/>
                      </a:lnTo>
                      <a:lnTo>
                        <a:pt x="15" y="31"/>
                      </a:lnTo>
                      <a:lnTo>
                        <a:pt x="14" y="33"/>
                      </a:lnTo>
                      <a:lnTo>
                        <a:pt x="13" y="34"/>
                      </a:lnTo>
                      <a:lnTo>
                        <a:pt x="11" y="33"/>
                      </a:lnTo>
                      <a:lnTo>
                        <a:pt x="11" y="30"/>
                      </a:lnTo>
                      <a:lnTo>
                        <a:pt x="10" y="28"/>
                      </a:lnTo>
                      <a:lnTo>
                        <a:pt x="10" y="28"/>
                      </a:lnTo>
                      <a:lnTo>
                        <a:pt x="6" y="27"/>
                      </a:lnTo>
                      <a:lnTo>
                        <a:pt x="4" y="27"/>
                      </a:lnTo>
                      <a:lnTo>
                        <a:pt x="2" y="26"/>
                      </a:lnTo>
                      <a:lnTo>
                        <a:pt x="4" y="26"/>
                      </a:lnTo>
                      <a:lnTo>
                        <a:pt x="1" y="24"/>
                      </a:lnTo>
                      <a:lnTo>
                        <a:pt x="1" y="20"/>
                      </a:lnTo>
                      <a:lnTo>
                        <a:pt x="1" y="19"/>
                      </a:lnTo>
                      <a:lnTo>
                        <a:pt x="0" y="18"/>
                      </a:lnTo>
                      <a:lnTo>
                        <a:pt x="2" y="16"/>
                      </a:lnTo>
                      <a:lnTo>
                        <a:pt x="2" y="14"/>
                      </a:lnTo>
                      <a:lnTo>
                        <a:pt x="5" y="13"/>
                      </a:lnTo>
                      <a:lnTo>
                        <a:pt x="5" y="12"/>
                      </a:lnTo>
                      <a:lnTo>
                        <a:pt x="4" y="13"/>
                      </a:lnTo>
                      <a:lnTo>
                        <a:pt x="4" y="13"/>
                      </a:lnTo>
                      <a:lnTo>
                        <a:pt x="5" y="12"/>
                      </a:lnTo>
                      <a:lnTo>
                        <a:pt x="5" y="12"/>
                      </a:lnTo>
                      <a:lnTo>
                        <a:pt x="5" y="12"/>
                      </a:lnTo>
                      <a:lnTo>
                        <a:pt x="5" y="10"/>
                      </a:lnTo>
                      <a:lnTo>
                        <a:pt x="4" y="8"/>
                      </a:lnTo>
                      <a:lnTo>
                        <a:pt x="2" y="8"/>
                      </a:lnTo>
                      <a:lnTo>
                        <a:pt x="2" y="7"/>
                      </a:lnTo>
                      <a:lnTo>
                        <a:pt x="0" y="8"/>
                      </a:lnTo>
                      <a:lnTo>
                        <a:pt x="0" y="7"/>
                      </a:lnTo>
                      <a:lnTo>
                        <a:pt x="1" y="6"/>
                      </a:lnTo>
                      <a:lnTo>
                        <a:pt x="1" y="6"/>
                      </a:lnTo>
                      <a:lnTo>
                        <a:pt x="2" y="6"/>
                      </a:lnTo>
                      <a:lnTo>
                        <a:pt x="2" y="6"/>
                      </a:lnTo>
                      <a:lnTo>
                        <a:pt x="2" y="6"/>
                      </a:lnTo>
                      <a:lnTo>
                        <a:pt x="4" y="6"/>
                      </a:lnTo>
                      <a:lnTo>
                        <a:pt x="5" y="5"/>
                      </a:lnTo>
                      <a:lnTo>
                        <a:pt x="4" y="5"/>
                      </a:lnTo>
                      <a:lnTo>
                        <a:pt x="4" y="4"/>
                      </a:lnTo>
                      <a:lnTo>
                        <a:pt x="5" y="4"/>
                      </a:lnTo>
                      <a:lnTo>
                        <a:pt x="5" y="4"/>
                      </a:lnTo>
                      <a:lnTo>
                        <a:pt x="5" y="4"/>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545" name="Belgium">
                  <a:extLst>
                    <a:ext uri="{FF2B5EF4-FFF2-40B4-BE49-F238E27FC236}">
                      <a16:creationId xmlns:a16="http://schemas.microsoft.com/office/drawing/2014/main" id="{485B5320-41BB-9E4C-9B58-B5539851B84F}"/>
                    </a:ext>
                  </a:extLst>
                </p:cNvPr>
                <p:cNvSpPr>
                  <a:spLocks/>
                </p:cNvSpPr>
                <p:nvPr/>
              </p:nvSpPr>
              <p:spPr bwMode="auto">
                <a:xfrm>
                  <a:off x="6419191" y="2451312"/>
                  <a:ext cx="88935" cy="58318"/>
                </a:xfrm>
                <a:custGeom>
                  <a:avLst/>
                  <a:gdLst>
                    <a:gd name="T0" fmla="*/ 57 w 61"/>
                    <a:gd name="T1" fmla="*/ 14 h 40"/>
                    <a:gd name="T2" fmla="*/ 51 w 61"/>
                    <a:gd name="T3" fmla="*/ 14 h 40"/>
                    <a:gd name="T4" fmla="*/ 50 w 61"/>
                    <a:gd name="T5" fmla="*/ 14 h 40"/>
                    <a:gd name="T6" fmla="*/ 51 w 61"/>
                    <a:gd name="T7" fmla="*/ 11 h 40"/>
                    <a:gd name="T8" fmla="*/ 52 w 61"/>
                    <a:gd name="T9" fmla="*/ 8 h 40"/>
                    <a:gd name="T10" fmla="*/ 50 w 61"/>
                    <a:gd name="T11" fmla="*/ 6 h 40"/>
                    <a:gd name="T12" fmla="*/ 47 w 61"/>
                    <a:gd name="T13" fmla="*/ 5 h 40"/>
                    <a:gd name="T14" fmla="*/ 42 w 61"/>
                    <a:gd name="T15" fmla="*/ 5 h 40"/>
                    <a:gd name="T16" fmla="*/ 41 w 61"/>
                    <a:gd name="T17" fmla="*/ 2 h 40"/>
                    <a:gd name="T18" fmla="*/ 41 w 61"/>
                    <a:gd name="T19" fmla="*/ 1 h 40"/>
                    <a:gd name="T20" fmla="*/ 39 w 61"/>
                    <a:gd name="T21" fmla="*/ 1 h 40"/>
                    <a:gd name="T22" fmla="*/ 37 w 61"/>
                    <a:gd name="T23" fmla="*/ 2 h 40"/>
                    <a:gd name="T24" fmla="*/ 35 w 61"/>
                    <a:gd name="T25" fmla="*/ 0 h 40"/>
                    <a:gd name="T26" fmla="*/ 33 w 61"/>
                    <a:gd name="T27" fmla="*/ 1 h 40"/>
                    <a:gd name="T28" fmla="*/ 32 w 61"/>
                    <a:gd name="T29" fmla="*/ 1 h 40"/>
                    <a:gd name="T30" fmla="*/ 31 w 61"/>
                    <a:gd name="T31" fmla="*/ 0 h 40"/>
                    <a:gd name="T32" fmla="*/ 30 w 61"/>
                    <a:gd name="T33" fmla="*/ 2 h 40"/>
                    <a:gd name="T34" fmla="*/ 28 w 61"/>
                    <a:gd name="T35" fmla="*/ 4 h 40"/>
                    <a:gd name="T36" fmla="*/ 26 w 61"/>
                    <a:gd name="T37" fmla="*/ 5 h 40"/>
                    <a:gd name="T38" fmla="*/ 20 w 61"/>
                    <a:gd name="T39" fmla="*/ 6 h 40"/>
                    <a:gd name="T40" fmla="*/ 15 w 61"/>
                    <a:gd name="T41" fmla="*/ 5 h 40"/>
                    <a:gd name="T42" fmla="*/ 14 w 61"/>
                    <a:gd name="T43" fmla="*/ 4 h 40"/>
                    <a:gd name="T44" fmla="*/ 12 w 61"/>
                    <a:gd name="T45" fmla="*/ 2 h 40"/>
                    <a:gd name="T46" fmla="*/ 7 w 61"/>
                    <a:gd name="T47" fmla="*/ 4 h 40"/>
                    <a:gd name="T48" fmla="*/ 5 w 61"/>
                    <a:gd name="T49" fmla="*/ 5 h 40"/>
                    <a:gd name="T50" fmla="*/ 2 w 61"/>
                    <a:gd name="T51" fmla="*/ 6 h 40"/>
                    <a:gd name="T52" fmla="*/ 0 w 61"/>
                    <a:gd name="T53" fmla="*/ 8 h 40"/>
                    <a:gd name="T54" fmla="*/ 2 w 61"/>
                    <a:gd name="T55" fmla="*/ 12 h 40"/>
                    <a:gd name="T56" fmla="*/ 4 w 61"/>
                    <a:gd name="T57" fmla="*/ 13 h 40"/>
                    <a:gd name="T58" fmla="*/ 7 w 61"/>
                    <a:gd name="T59" fmla="*/ 15 h 40"/>
                    <a:gd name="T60" fmla="*/ 10 w 61"/>
                    <a:gd name="T61" fmla="*/ 14 h 40"/>
                    <a:gd name="T62" fmla="*/ 12 w 61"/>
                    <a:gd name="T63" fmla="*/ 17 h 40"/>
                    <a:gd name="T64" fmla="*/ 13 w 61"/>
                    <a:gd name="T65" fmla="*/ 20 h 40"/>
                    <a:gd name="T66" fmla="*/ 15 w 61"/>
                    <a:gd name="T67" fmla="*/ 20 h 40"/>
                    <a:gd name="T68" fmla="*/ 19 w 61"/>
                    <a:gd name="T69" fmla="*/ 21 h 40"/>
                    <a:gd name="T70" fmla="*/ 21 w 61"/>
                    <a:gd name="T71" fmla="*/ 22 h 40"/>
                    <a:gd name="T72" fmla="*/ 26 w 61"/>
                    <a:gd name="T73" fmla="*/ 25 h 40"/>
                    <a:gd name="T74" fmla="*/ 27 w 61"/>
                    <a:gd name="T75" fmla="*/ 28 h 40"/>
                    <a:gd name="T76" fmla="*/ 27 w 61"/>
                    <a:gd name="T77" fmla="*/ 31 h 40"/>
                    <a:gd name="T78" fmla="*/ 32 w 61"/>
                    <a:gd name="T79" fmla="*/ 32 h 40"/>
                    <a:gd name="T80" fmla="*/ 37 w 61"/>
                    <a:gd name="T81" fmla="*/ 26 h 40"/>
                    <a:gd name="T82" fmla="*/ 37 w 61"/>
                    <a:gd name="T83" fmla="*/ 31 h 40"/>
                    <a:gd name="T84" fmla="*/ 38 w 61"/>
                    <a:gd name="T85" fmla="*/ 33 h 40"/>
                    <a:gd name="T86" fmla="*/ 41 w 61"/>
                    <a:gd name="T87" fmla="*/ 35 h 40"/>
                    <a:gd name="T88" fmla="*/ 44 w 61"/>
                    <a:gd name="T89" fmla="*/ 37 h 40"/>
                    <a:gd name="T90" fmla="*/ 47 w 61"/>
                    <a:gd name="T91" fmla="*/ 39 h 40"/>
                    <a:gd name="T92" fmla="*/ 51 w 61"/>
                    <a:gd name="T93" fmla="*/ 40 h 40"/>
                    <a:gd name="T94" fmla="*/ 53 w 61"/>
                    <a:gd name="T95" fmla="*/ 39 h 40"/>
                    <a:gd name="T96" fmla="*/ 54 w 61"/>
                    <a:gd name="T97" fmla="*/ 38 h 40"/>
                    <a:gd name="T98" fmla="*/ 53 w 61"/>
                    <a:gd name="T99" fmla="*/ 37 h 40"/>
                    <a:gd name="T100" fmla="*/ 52 w 61"/>
                    <a:gd name="T101" fmla="*/ 34 h 40"/>
                    <a:gd name="T102" fmla="*/ 52 w 61"/>
                    <a:gd name="T103" fmla="*/ 33 h 40"/>
                    <a:gd name="T104" fmla="*/ 52 w 61"/>
                    <a:gd name="T105" fmla="*/ 31 h 40"/>
                    <a:gd name="T106" fmla="*/ 52 w 61"/>
                    <a:gd name="T107" fmla="*/ 28 h 40"/>
                    <a:gd name="T108" fmla="*/ 55 w 61"/>
                    <a:gd name="T109" fmla="*/ 26 h 40"/>
                    <a:gd name="T110" fmla="*/ 57 w 61"/>
                    <a:gd name="T111" fmla="*/ 27 h 40"/>
                    <a:gd name="T112" fmla="*/ 60 w 61"/>
                    <a:gd name="T113" fmla="*/ 26 h 40"/>
                    <a:gd name="T114" fmla="*/ 61 w 61"/>
                    <a:gd name="T115" fmla="*/ 24 h 40"/>
                    <a:gd name="T116" fmla="*/ 60 w 61"/>
                    <a:gd name="T117" fmla="*/ 21 h 40"/>
                    <a:gd name="T118" fmla="*/ 58 w 61"/>
                    <a:gd name="T119" fmla="*/ 20 h 40"/>
                    <a:gd name="T120" fmla="*/ 58 w 61"/>
                    <a:gd name="T121" fmla="*/ 17 h 40"/>
                    <a:gd name="T122" fmla="*/ 58 w 61"/>
                    <a:gd name="T123" fmla="*/ 15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61" h="40">
                      <a:moveTo>
                        <a:pt x="58" y="15"/>
                      </a:moveTo>
                      <a:lnTo>
                        <a:pt x="57" y="15"/>
                      </a:lnTo>
                      <a:lnTo>
                        <a:pt x="57" y="14"/>
                      </a:lnTo>
                      <a:lnTo>
                        <a:pt x="54" y="15"/>
                      </a:lnTo>
                      <a:lnTo>
                        <a:pt x="52" y="15"/>
                      </a:lnTo>
                      <a:lnTo>
                        <a:pt x="51" y="14"/>
                      </a:lnTo>
                      <a:lnTo>
                        <a:pt x="51" y="14"/>
                      </a:lnTo>
                      <a:lnTo>
                        <a:pt x="51" y="14"/>
                      </a:lnTo>
                      <a:lnTo>
                        <a:pt x="50" y="14"/>
                      </a:lnTo>
                      <a:lnTo>
                        <a:pt x="50" y="12"/>
                      </a:lnTo>
                      <a:lnTo>
                        <a:pt x="51" y="11"/>
                      </a:lnTo>
                      <a:lnTo>
                        <a:pt x="51" y="11"/>
                      </a:lnTo>
                      <a:lnTo>
                        <a:pt x="51" y="11"/>
                      </a:lnTo>
                      <a:lnTo>
                        <a:pt x="52" y="9"/>
                      </a:lnTo>
                      <a:lnTo>
                        <a:pt x="52" y="8"/>
                      </a:lnTo>
                      <a:lnTo>
                        <a:pt x="52" y="7"/>
                      </a:lnTo>
                      <a:lnTo>
                        <a:pt x="51" y="6"/>
                      </a:lnTo>
                      <a:lnTo>
                        <a:pt x="50" y="6"/>
                      </a:lnTo>
                      <a:lnTo>
                        <a:pt x="47" y="6"/>
                      </a:lnTo>
                      <a:lnTo>
                        <a:pt x="47" y="5"/>
                      </a:lnTo>
                      <a:lnTo>
                        <a:pt x="47" y="5"/>
                      </a:lnTo>
                      <a:lnTo>
                        <a:pt x="45" y="5"/>
                      </a:lnTo>
                      <a:lnTo>
                        <a:pt x="42" y="5"/>
                      </a:lnTo>
                      <a:lnTo>
                        <a:pt x="42" y="5"/>
                      </a:lnTo>
                      <a:lnTo>
                        <a:pt x="42" y="4"/>
                      </a:lnTo>
                      <a:lnTo>
                        <a:pt x="41" y="4"/>
                      </a:lnTo>
                      <a:lnTo>
                        <a:pt x="41" y="2"/>
                      </a:lnTo>
                      <a:lnTo>
                        <a:pt x="41" y="2"/>
                      </a:lnTo>
                      <a:lnTo>
                        <a:pt x="40" y="2"/>
                      </a:lnTo>
                      <a:lnTo>
                        <a:pt x="41" y="1"/>
                      </a:lnTo>
                      <a:lnTo>
                        <a:pt x="40" y="0"/>
                      </a:lnTo>
                      <a:lnTo>
                        <a:pt x="39" y="0"/>
                      </a:lnTo>
                      <a:lnTo>
                        <a:pt x="39" y="1"/>
                      </a:lnTo>
                      <a:lnTo>
                        <a:pt x="39" y="1"/>
                      </a:lnTo>
                      <a:lnTo>
                        <a:pt x="38" y="2"/>
                      </a:lnTo>
                      <a:lnTo>
                        <a:pt x="37" y="2"/>
                      </a:lnTo>
                      <a:lnTo>
                        <a:pt x="35" y="1"/>
                      </a:lnTo>
                      <a:lnTo>
                        <a:pt x="35" y="1"/>
                      </a:lnTo>
                      <a:lnTo>
                        <a:pt x="35" y="0"/>
                      </a:lnTo>
                      <a:lnTo>
                        <a:pt x="34" y="0"/>
                      </a:lnTo>
                      <a:lnTo>
                        <a:pt x="33" y="1"/>
                      </a:lnTo>
                      <a:lnTo>
                        <a:pt x="33" y="1"/>
                      </a:lnTo>
                      <a:lnTo>
                        <a:pt x="32" y="1"/>
                      </a:lnTo>
                      <a:lnTo>
                        <a:pt x="32" y="1"/>
                      </a:lnTo>
                      <a:lnTo>
                        <a:pt x="32" y="1"/>
                      </a:lnTo>
                      <a:lnTo>
                        <a:pt x="32" y="1"/>
                      </a:lnTo>
                      <a:lnTo>
                        <a:pt x="32" y="0"/>
                      </a:lnTo>
                      <a:lnTo>
                        <a:pt x="31" y="0"/>
                      </a:lnTo>
                      <a:lnTo>
                        <a:pt x="30" y="1"/>
                      </a:lnTo>
                      <a:lnTo>
                        <a:pt x="31" y="2"/>
                      </a:lnTo>
                      <a:lnTo>
                        <a:pt x="30" y="2"/>
                      </a:lnTo>
                      <a:lnTo>
                        <a:pt x="31" y="2"/>
                      </a:lnTo>
                      <a:lnTo>
                        <a:pt x="31" y="4"/>
                      </a:lnTo>
                      <a:lnTo>
                        <a:pt x="28" y="4"/>
                      </a:lnTo>
                      <a:lnTo>
                        <a:pt x="28" y="2"/>
                      </a:lnTo>
                      <a:lnTo>
                        <a:pt x="27" y="4"/>
                      </a:lnTo>
                      <a:lnTo>
                        <a:pt x="26" y="5"/>
                      </a:lnTo>
                      <a:lnTo>
                        <a:pt x="22" y="6"/>
                      </a:lnTo>
                      <a:lnTo>
                        <a:pt x="21" y="6"/>
                      </a:lnTo>
                      <a:lnTo>
                        <a:pt x="20" y="6"/>
                      </a:lnTo>
                      <a:lnTo>
                        <a:pt x="20" y="5"/>
                      </a:lnTo>
                      <a:lnTo>
                        <a:pt x="17" y="4"/>
                      </a:lnTo>
                      <a:lnTo>
                        <a:pt x="15" y="5"/>
                      </a:lnTo>
                      <a:lnTo>
                        <a:pt x="14" y="5"/>
                      </a:lnTo>
                      <a:lnTo>
                        <a:pt x="14" y="4"/>
                      </a:lnTo>
                      <a:lnTo>
                        <a:pt x="14" y="4"/>
                      </a:lnTo>
                      <a:lnTo>
                        <a:pt x="13" y="4"/>
                      </a:lnTo>
                      <a:lnTo>
                        <a:pt x="14" y="2"/>
                      </a:lnTo>
                      <a:lnTo>
                        <a:pt x="12" y="2"/>
                      </a:lnTo>
                      <a:lnTo>
                        <a:pt x="11" y="4"/>
                      </a:lnTo>
                      <a:lnTo>
                        <a:pt x="10" y="2"/>
                      </a:lnTo>
                      <a:lnTo>
                        <a:pt x="7" y="4"/>
                      </a:lnTo>
                      <a:lnTo>
                        <a:pt x="7" y="2"/>
                      </a:lnTo>
                      <a:lnTo>
                        <a:pt x="6" y="2"/>
                      </a:lnTo>
                      <a:lnTo>
                        <a:pt x="5" y="5"/>
                      </a:lnTo>
                      <a:lnTo>
                        <a:pt x="4" y="6"/>
                      </a:lnTo>
                      <a:lnTo>
                        <a:pt x="2" y="6"/>
                      </a:lnTo>
                      <a:lnTo>
                        <a:pt x="2" y="6"/>
                      </a:lnTo>
                      <a:lnTo>
                        <a:pt x="2" y="7"/>
                      </a:lnTo>
                      <a:lnTo>
                        <a:pt x="1" y="8"/>
                      </a:lnTo>
                      <a:lnTo>
                        <a:pt x="0" y="8"/>
                      </a:lnTo>
                      <a:lnTo>
                        <a:pt x="2" y="9"/>
                      </a:lnTo>
                      <a:lnTo>
                        <a:pt x="2" y="11"/>
                      </a:lnTo>
                      <a:lnTo>
                        <a:pt x="2" y="12"/>
                      </a:lnTo>
                      <a:lnTo>
                        <a:pt x="2" y="13"/>
                      </a:lnTo>
                      <a:lnTo>
                        <a:pt x="2" y="13"/>
                      </a:lnTo>
                      <a:lnTo>
                        <a:pt x="4" y="13"/>
                      </a:lnTo>
                      <a:lnTo>
                        <a:pt x="5" y="15"/>
                      </a:lnTo>
                      <a:lnTo>
                        <a:pt x="7" y="15"/>
                      </a:lnTo>
                      <a:lnTo>
                        <a:pt x="7" y="15"/>
                      </a:lnTo>
                      <a:lnTo>
                        <a:pt x="7" y="15"/>
                      </a:lnTo>
                      <a:lnTo>
                        <a:pt x="8" y="14"/>
                      </a:lnTo>
                      <a:lnTo>
                        <a:pt x="10" y="14"/>
                      </a:lnTo>
                      <a:lnTo>
                        <a:pt x="11" y="14"/>
                      </a:lnTo>
                      <a:lnTo>
                        <a:pt x="12" y="15"/>
                      </a:lnTo>
                      <a:lnTo>
                        <a:pt x="12" y="17"/>
                      </a:lnTo>
                      <a:lnTo>
                        <a:pt x="12" y="17"/>
                      </a:lnTo>
                      <a:lnTo>
                        <a:pt x="13" y="19"/>
                      </a:lnTo>
                      <a:lnTo>
                        <a:pt x="13" y="20"/>
                      </a:lnTo>
                      <a:lnTo>
                        <a:pt x="14" y="20"/>
                      </a:lnTo>
                      <a:lnTo>
                        <a:pt x="14" y="20"/>
                      </a:lnTo>
                      <a:lnTo>
                        <a:pt x="15" y="20"/>
                      </a:lnTo>
                      <a:lnTo>
                        <a:pt x="17" y="21"/>
                      </a:lnTo>
                      <a:lnTo>
                        <a:pt x="18" y="21"/>
                      </a:lnTo>
                      <a:lnTo>
                        <a:pt x="19" y="21"/>
                      </a:lnTo>
                      <a:lnTo>
                        <a:pt x="19" y="22"/>
                      </a:lnTo>
                      <a:lnTo>
                        <a:pt x="19" y="24"/>
                      </a:lnTo>
                      <a:lnTo>
                        <a:pt x="21" y="22"/>
                      </a:lnTo>
                      <a:lnTo>
                        <a:pt x="24" y="22"/>
                      </a:lnTo>
                      <a:lnTo>
                        <a:pt x="25" y="24"/>
                      </a:lnTo>
                      <a:lnTo>
                        <a:pt x="26" y="25"/>
                      </a:lnTo>
                      <a:lnTo>
                        <a:pt x="26" y="27"/>
                      </a:lnTo>
                      <a:lnTo>
                        <a:pt x="27" y="27"/>
                      </a:lnTo>
                      <a:lnTo>
                        <a:pt x="27" y="28"/>
                      </a:lnTo>
                      <a:lnTo>
                        <a:pt x="26" y="28"/>
                      </a:lnTo>
                      <a:lnTo>
                        <a:pt x="26" y="31"/>
                      </a:lnTo>
                      <a:lnTo>
                        <a:pt x="27" y="31"/>
                      </a:lnTo>
                      <a:lnTo>
                        <a:pt x="28" y="31"/>
                      </a:lnTo>
                      <a:lnTo>
                        <a:pt x="30" y="31"/>
                      </a:lnTo>
                      <a:lnTo>
                        <a:pt x="32" y="32"/>
                      </a:lnTo>
                      <a:lnTo>
                        <a:pt x="34" y="31"/>
                      </a:lnTo>
                      <a:lnTo>
                        <a:pt x="34" y="28"/>
                      </a:lnTo>
                      <a:lnTo>
                        <a:pt x="37" y="26"/>
                      </a:lnTo>
                      <a:lnTo>
                        <a:pt x="38" y="27"/>
                      </a:lnTo>
                      <a:lnTo>
                        <a:pt x="37" y="29"/>
                      </a:lnTo>
                      <a:lnTo>
                        <a:pt x="37" y="31"/>
                      </a:lnTo>
                      <a:lnTo>
                        <a:pt x="38" y="32"/>
                      </a:lnTo>
                      <a:lnTo>
                        <a:pt x="37" y="33"/>
                      </a:lnTo>
                      <a:lnTo>
                        <a:pt x="38" y="33"/>
                      </a:lnTo>
                      <a:lnTo>
                        <a:pt x="38" y="33"/>
                      </a:lnTo>
                      <a:lnTo>
                        <a:pt x="39" y="34"/>
                      </a:lnTo>
                      <a:lnTo>
                        <a:pt x="41" y="35"/>
                      </a:lnTo>
                      <a:lnTo>
                        <a:pt x="42" y="35"/>
                      </a:lnTo>
                      <a:lnTo>
                        <a:pt x="42" y="37"/>
                      </a:lnTo>
                      <a:lnTo>
                        <a:pt x="44" y="37"/>
                      </a:lnTo>
                      <a:lnTo>
                        <a:pt x="45" y="38"/>
                      </a:lnTo>
                      <a:lnTo>
                        <a:pt x="46" y="39"/>
                      </a:lnTo>
                      <a:lnTo>
                        <a:pt x="47" y="39"/>
                      </a:lnTo>
                      <a:lnTo>
                        <a:pt x="48" y="40"/>
                      </a:lnTo>
                      <a:lnTo>
                        <a:pt x="50" y="39"/>
                      </a:lnTo>
                      <a:lnTo>
                        <a:pt x="51" y="40"/>
                      </a:lnTo>
                      <a:lnTo>
                        <a:pt x="52" y="39"/>
                      </a:lnTo>
                      <a:lnTo>
                        <a:pt x="54" y="39"/>
                      </a:lnTo>
                      <a:lnTo>
                        <a:pt x="53" y="39"/>
                      </a:lnTo>
                      <a:lnTo>
                        <a:pt x="53" y="38"/>
                      </a:lnTo>
                      <a:lnTo>
                        <a:pt x="53" y="38"/>
                      </a:lnTo>
                      <a:lnTo>
                        <a:pt x="54" y="38"/>
                      </a:lnTo>
                      <a:lnTo>
                        <a:pt x="53" y="37"/>
                      </a:lnTo>
                      <a:lnTo>
                        <a:pt x="53" y="37"/>
                      </a:lnTo>
                      <a:lnTo>
                        <a:pt x="53" y="37"/>
                      </a:lnTo>
                      <a:lnTo>
                        <a:pt x="53" y="37"/>
                      </a:lnTo>
                      <a:lnTo>
                        <a:pt x="52" y="34"/>
                      </a:lnTo>
                      <a:lnTo>
                        <a:pt x="52" y="34"/>
                      </a:lnTo>
                      <a:lnTo>
                        <a:pt x="52" y="33"/>
                      </a:lnTo>
                      <a:lnTo>
                        <a:pt x="52" y="33"/>
                      </a:lnTo>
                      <a:lnTo>
                        <a:pt x="52" y="33"/>
                      </a:lnTo>
                      <a:lnTo>
                        <a:pt x="52" y="32"/>
                      </a:lnTo>
                      <a:lnTo>
                        <a:pt x="52" y="31"/>
                      </a:lnTo>
                      <a:lnTo>
                        <a:pt x="52" y="31"/>
                      </a:lnTo>
                      <a:lnTo>
                        <a:pt x="52" y="29"/>
                      </a:lnTo>
                      <a:lnTo>
                        <a:pt x="52" y="29"/>
                      </a:lnTo>
                      <a:lnTo>
                        <a:pt x="52" y="28"/>
                      </a:lnTo>
                      <a:lnTo>
                        <a:pt x="53" y="27"/>
                      </a:lnTo>
                      <a:lnTo>
                        <a:pt x="55" y="27"/>
                      </a:lnTo>
                      <a:lnTo>
                        <a:pt x="55" y="26"/>
                      </a:lnTo>
                      <a:lnTo>
                        <a:pt x="57" y="26"/>
                      </a:lnTo>
                      <a:lnTo>
                        <a:pt x="57" y="26"/>
                      </a:lnTo>
                      <a:lnTo>
                        <a:pt x="57" y="27"/>
                      </a:lnTo>
                      <a:lnTo>
                        <a:pt x="58" y="27"/>
                      </a:lnTo>
                      <a:lnTo>
                        <a:pt x="59" y="26"/>
                      </a:lnTo>
                      <a:lnTo>
                        <a:pt x="60" y="26"/>
                      </a:lnTo>
                      <a:lnTo>
                        <a:pt x="60" y="25"/>
                      </a:lnTo>
                      <a:lnTo>
                        <a:pt x="60" y="24"/>
                      </a:lnTo>
                      <a:lnTo>
                        <a:pt x="61" y="24"/>
                      </a:lnTo>
                      <a:lnTo>
                        <a:pt x="61" y="24"/>
                      </a:lnTo>
                      <a:lnTo>
                        <a:pt x="60" y="22"/>
                      </a:lnTo>
                      <a:lnTo>
                        <a:pt x="60" y="21"/>
                      </a:lnTo>
                      <a:lnTo>
                        <a:pt x="60" y="21"/>
                      </a:lnTo>
                      <a:lnTo>
                        <a:pt x="59" y="20"/>
                      </a:lnTo>
                      <a:lnTo>
                        <a:pt x="58" y="20"/>
                      </a:lnTo>
                      <a:lnTo>
                        <a:pt x="59" y="19"/>
                      </a:lnTo>
                      <a:lnTo>
                        <a:pt x="59" y="18"/>
                      </a:lnTo>
                      <a:lnTo>
                        <a:pt x="58" y="17"/>
                      </a:lnTo>
                      <a:lnTo>
                        <a:pt x="58" y="17"/>
                      </a:lnTo>
                      <a:lnTo>
                        <a:pt x="58" y="15"/>
                      </a:lnTo>
                      <a:lnTo>
                        <a:pt x="58" y="15"/>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546" name="Zambia">
                  <a:extLst>
                    <a:ext uri="{FF2B5EF4-FFF2-40B4-BE49-F238E27FC236}">
                      <a16:creationId xmlns:a16="http://schemas.microsoft.com/office/drawing/2014/main" id="{F0AA4F2C-3239-8340-BBA7-81BA3D7E2C4E}"/>
                    </a:ext>
                  </a:extLst>
                </p:cNvPr>
                <p:cNvSpPr>
                  <a:spLocks/>
                </p:cNvSpPr>
                <p:nvPr/>
              </p:nvSpPr>
              <p:spPr bwMode="auto">
                <a:xfrm>
                  <a:off x="6939678" y="4231468"/>
                  <a:ext cx="312002" cy="295964"/>
                </a:xfrm>
                <a:custGeom>
                  <a:avLst/>
                  <a:gdLst>
                    <a:gd name="T0" fmla="*/ 204 w 214"/>
                    <a:gd name="T1" fmla="*/ 32 h 203"/>
                    <a:gd name="T2" fmla="*/ 208 w 214"/>
                    <a:gd name="T3" fmla="*/ 35 h 203"/>
                    <a:gd name="T4" fmla="*/ 210 w 214"/>
                    <a:gd name="T5" fmla="*/ 51 h 203"/>
                    <a:gd name="T6" fmla="*/ 205 w 214"/>
                    <a:gd name="T7" fmla="*/ 55 h 203"/>
                    <a:gd name="T8" fmla="*/ 204 w 214"/>
                    <a:gd name="T9" fmla="*/ 69 h 203"/>
                    <a:gd name="T10" fmla="*/ 208 w 214"/>
                    <a:gd name="T11" fmla="*/ 86 h 203"/>
                    <a:gd name="T12" fmla="*/ 198 w 214"/>
                    <a:gd name="T13" fmla="*/ 94 h 203"/>
                    <a:gd name="T14" fmla="*/ 198 w 214"/>
                    <a:gd name="T15" fmla="*/ 104 h 203"/>
                    <a:gd name="T16" fmla="*/ 194 w 214"/>
                    <a:gd name="T17" fmla="*/ 115 h 203"/>
                    <a:gd name="T18" fmla="*/ 201 w 214"/>
                    <a:gd name="T19" fmla="*/ 117 h 203"/>
                    <a:gd name="T20" fmla="*/ 155 w 214"/>
                    <a:gd name="T21" fmla="*/ 139 h 203"/>
                    <a:gd name="T22" fmla="*/ 150 w 214"/>
                    <a:gd name="T23" fmla="*/ 147 h 203"/>
                    <a:gd name="T24" fmla="*/ 148 w 214"/>
                    <a:gd name="T25" fmla="*/ 154 h 203"/>
                    <a:gd name="T26" fmla="*/ 127 w 214"/>
                    <a:gd name="T27" fmla="*/ 159 h 203"/>
                    <a:gd name="T28" fmla="*/ 122 w 214"/>
                    <a:gd name="T29" fmla="*/ 171 h 203"/>
                    <a:gd name="T30" fmla="*/ 99 w 214"/>
                    <a:gd name="T31" fmla="*/ 186 h 203"/>
                    <a:gd name="T32" fmla="*/ 83 w 214"/>
                    <a:gd name="T33" fmla="*/ 203 h 203"/>
                    <a:gd name="T34" fmla="*/ 71 w 214"/>
                    <a:gd name="T35" fmla="*/ 202 h 203"/>
                    <a:gd name="T36" fmla="*/ 65 w 214"/>
                    <a:gd name="T37" fmla="*/ 198 h 203"/>
                    <a:gd name="T38" fmla="*/ 57 w 214"/>
                    <a:gd name="T39" fmla="*/ 197 h 203"/>
                    <a:gd name="T40" fmla="*/ 54 w 214"/>
                    <a:gd name="T41" fmla="*/ 194 h 203"/>
                    <a:gd name="T42" fmla="*/ 48 w 214"/>
                    <a:gd name="T43" fmla="*/ 193 h 203"/>
                    <a:gd name="T44" fmla="*/ 43 w 214"/>
                    <a:gd name="T45" fmla="*/ 191 h 203"/>
                    <a:gd name="T46" fmla="*/ 37 w 214"/>
                    <a:gd name="T47" fmla="*/ 191 h 203"/>
                    <a:gd name="T48" fmla="*/ 8 w 214"/>
                    <a:gd name="T49" fmla="*/ 176 h 203"/>
                    <a:gd name="T50" fmla="*/ 1 w 214"/>
                    <a:gd name="T51" fmla="*/ 167 h 203"/>
                    <a:gd name="T52" fmla="*/ 36 w 214"/>
                    <a:gd name="T53" fmla="*/ 90 h 203"/>
                    <a:gd name="T54" fmla="*/ 38 w 214"/>
                    <a:gd name="T55" fmla="*/ 75 h 203"/>
                    <a:gd name="T56" fmla="*/ 38 w 214"/>
                    <a:gd name="T57" fmla="*/ 63 h 203"/>
                    <a:gd name="T58" fmla="*/ 42 w 214"/>
                    <a:gd name="T59" fmla="*/ 60 h 203"/>
                    <a:gd name="T60" fmla="*/ 45 w 214"/>
                    <a:gd name="T61" fmla="*/ 67 h 203"/>
                    <a:gd name="T62" fmla="*/ 49 w 214"/>
                    <a:gd name="T63" fmla="*/ 70 h 203"/>
                    <a:gd name="T64" fmla="*/ 62 w 214"/>
                    <a:gd name="T65" fmla="*/ 66 h 203"/>
                    <a:gd name="T66" fmla="*/ 63 w 214"/>
                    <a:gd name="T67" fmla="*/ 70 h 203"/>
                    <a:gd name="T68" fmla="*/ 69 w 214"/>
                    <a:gd name="T69" fmla="*/ 74 h 203"/>
                    <a:gd name="T70" fmla="*/ 78 w 214"/>
                    <a:gd name="T71" fmla="*/ 77 h 203"/>
                    <a:gd name="T72" fmla="*/ 85 w 214"/>
                    <a:gd name="T73" fmla="*/ 77 h 203"/>
                    <a:gd name="T74" fmla="*/ 91 w 214"/>
                    <a:gd name="T75" fmla="*/ 74 h 203"/>
                    <a:gd name="T76" fmla="*/ 96 w 214"/>
                    <a:gd name="T77" fmla="*/ 70 h 203"/>
                    <a:gd name="T78" fmla="*/ 102 w 214"/>
                    <a:gd name="T79" fmla="*/ 83 h 203"/>
                    <a:gd name="T80" fmla="*/ 107 w 214"/>
                    <a:gd name="T81" fmla="*/ 83 h 203"/>
                    <a:gd name="T82" fmla="*/ 112 w 214"/>
                    <a:gd name="T83" fmla="*/ 87 h 203"/>
                    <a:gd name="T84" fmla="*/ 118 w 214"/>
                    <a:gd name="T85" fmla="*/ 91 h 203"/>
                    <a:gd name="T86" fmla="*/ 122 w 214"/>
                    <a:gd name="T87" fmla="*/ 97 h 203"/>
                    <a:gd name="T88" fmla="*/ 127 w 214"/>
                    <a:gd name="T89" fmla="*/ 107 h 203"/>
                    <a:gd name="T90" fmla="*/ 132 w 214"/>
                    <a:gd name="T91" fmla="*/ 107 h 203"/>
                    <a:gd name="T92" fmla="*/ 138 w 214"/>
                    <a:gd name="T93" fmla="*/ 104 h 203"/>
                    <a:gd name="T94" fmla="*/ 139 w 214"/>
                    <a:gd name="T95" fmla="*/ 108 h 203"/>
                    <a:gd name="T96" fmla="*/ 139 w 214"/>
                    <a:gd name="T97" fmla="*/ 84 h 203"/>
                    <a:gd name="T98" fmla="*/ 135 w 214"/>
                    <a:gd name="T99" fmla="*/ 84 h 203"/>
                    <a:gd name="T100" fmla="*/ 135 w 214"/>
                    <a:gd name="T101" fmla="*/ 89 h 203"/>
                    <a:gd name="T102" fmla="*/ 127 w 214"/>
                    <a:gd name="T103" fmla="*/ 83 h 203"/>
                    <a:gd name="T104" fmla="*/ 121 w 214"/>
                    <a:gd name="T105" fmla="*/ 77 h 203"/>
                    <a:gd name="T106" fmla="*/ 118 w 214"/>
                    <a:gd name="T107" fmla="*/ 66 h 203"/>
                    <a:gd name="T108" fmla="*/ 121 w 214"/>
                    <a:gd name="T109" fmla="*/ 42 h 203"/>
                    <a:gd name="T110" fmla="*/ 119 w 214"/>
                    <a:gd name="T111" fmla="*/ 24 h 203"/>
                    <a:gd name="T112" fmla="*/ 128 w 214"/>
                    <a:gd name="T113" fmla="*/ 8 h 203"/>
                    <a:gd name="T114" fmla="*/ 169 w 214"/>
                    <a:gd name="T115" fmla="*/ 9 h 203"/>
                    <a:gd name="T116" fmla="*/ 179 w 214"/>
                    <a:gd name="T117" fmla="*/ 15 h 203"/>
                    <a:gd name="T118" fmla="*/ 188 w 214"/>
                    <a:gd name="T119" fmla="*/ 20 h 203"/>
                    <a:gd name="T120" fmla="*/ 199 w 214"/>
                    <a:gd name="T121" fmla="*/ 24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4" h="203">
                      <a:moveTo>
                        <a:pt x="199" y="24"/>
                      </a:moveTo>
                      <a:lnTo>
                        <a:pt x="202" y="27"/>
                      </a:lnTo>
                      <a:lnTo>
                        <a:pt x="202" y="30"/>
                      </a:lnTo>
                      <a:lnTo>
                        <a:pt x="203" y="30"/>
                      </a:lnTo>
                      <a:lnTo>
                        <a:pt x="204" y="32"/>
                      </a:lnTo>
                      <a:lnTo>
                        <a:pt x="203" y="29"/>
                      </a:lnTo>
                      <a:lnTo>
                        <a:pt x="204" y="29"/>
                      </a:lnTo>
                      <a:lnTo>
                        <a:pt x="207" y="33"/>
                      </a:lnTo>
                      <a:lnTo>
                        <a:pt x="208" y="34"/>
                      </a:lnTo>
                      <a:lnTo>
                        <a:pt x="208" y="35"/>
                      </a:lnTo>
                      <a:lnTo>
                        <a:pt x="207" y="39"/>
                      </a:lnTo>
                      <a:lnTo>
                        <a:pt x="210" y="42"/>
                      </a:lnTo>
                      <a:lnTo>
                        <a:pt x="210" y="46"/>
                      </a:lnTo>
                      <a:lnTo>
                        <a:pt x="214" y="49"/>
                      </a:lnTo>
                      <a:lnTo>
                        <a:pt x="210" y="51"/>
                      </a:lnTo>
                      <a:lnTo>
                        <a:pt x="209" y="54"/>
                      </a:lnTo>
                      <a:lnTo>
                        <a:pt x="207" y="54"/>
                      </a:lnTo>
                      <a:lnTo>
                        <a:pt x="207" y="55"/>
                      </a:lnTo>
                      <a:lnTo>
                        <a:pt x="205" y="55"/>
                      </a:lnTo>
                      <a:lnTo>
                        <a:pt x="205" y="55"/>
                      </a:lnTo>
                      <a:lnTo>
                        <a:pt x="208" y="61"/>
                      </a:lnTo>
                      <a:lnTo>
                        <a:pt x="205" y="66"/>
                      </a:lnTo>
                      <a:lnTo>
                        <a:pt x="204" y="67"/>
                      </a:lnTo>
                      <a:lnTo>
                        <a:pt x="205" y="69"/>
                      </a:lnTo>
                      <a:lnTo>
                        <a:pt x="204" y="69"/>
                      </a:lnTo>
                      <a:lnTo>
                        <a:pt x="205" y="70"/>
                      </a:lnTo>
                      <a:lnTo>
                        <a:pt x="207" y="77"/>
                      </a:lnTo>
                      <a:lnTo>
                        <a:pt x="204" y="81"/>
                      </a:lnTo>
                      <a:lnTo>
                        <a:pt x="207" y="86"/>
                      </a:lnTo>
                      <a:lnTo>
                        <a:pt x="208" y="86"/>
                      </a:lnTo>
                      <a:lnTo>
                        <a:pt x="209" y="87"/>
                      </a:lnTo>
                      <a:lnTo>
                        <a:pt x="208" y="88"/>
                      </a:lnTo>
                      <a:lnTo>
                        <a:pt x="203" y="91"/>
                      </a:lnTo>
                      <a:lnTo>
                        <a:pt x="201" y="90"/>
                      </a:lnTo>
                      <a:lnTo>
                        <a:pt x="198" y="94"/>
                      </a:lnTo>
                      <a:lnTo>
                        <a:pt x="198" y="96"/>
                      </a:lnTo>
                      <a:lnTo>
                        <a:pt x="199" y="96"/>
                      </a:lnTo>
                      <a:lnTo>
                        <a:pt x="198" y="101"/>
                      </a:lnTo>
                      <a:lnTo>
                        <a:pt x="199" y="103"/>
                      </a:lnTo>
                      <a:lnTo>
                        <a:pt x="198" y="104"/>
                      </a:lnTo>
                      <a:lnTo>
                        <a:pt x="196" y="109"/>
                      </a:lnTo>
                      <a:lnTo>
                        <a:pt x="194" y="110"/>
                      </a:lnTo>
                      <a:lnTo>
                        <a:pt x="192" y="111"/>
                      </a:lnTo>
                      <a:lnTo>
                        <a:pt x="196" y="114"/>
                      </a:lnTo>
                      <a:lnTo>
                        <a:pt x="194" y="115"/>
                      </a:lnTo>
                      <a:lnTo>
                        <a:pt x="197" y="116"/>
                      </a:lnTo>
                      <a:lnTo>
                        <a:pt x="199" y="121"/>
                      </a:lnTo>
                      <a:lnTo>
                        <a:pt x="199" y="120"/>
                      </a:lnTo>
                      <a:lnTo>
                        <a:pt x="201" y="119"/>
                      </a:lnTo>
                      <a:lnTo>
                        <a:pt x="201" y="117"/>
                      </a:lnTo>
                      <a:lnTo>
                        <a:pt x="203" y="120"/>
                      </a:lnTo>
                      <a:lnTo>
                        <a:pt x="183" y="127"/>
                      </a:lnTo>
                      <a:lnTo>
                        <a:pt x="170" y="133"/>
                      </a:lnTo>
                      <a:lnTo>
                        <a:pt x="159" y="136"/>
                      </a:lnTo>
                      <a:lnTo>
                        <a:pt x="155" y="139"/>
                      </a:lnTo>
                      <a:lnTo>
                        <a:pt x="150" y="140"/>
                      </a:lnTo>
                      <a:lnTo>
                        <a:pt x="148" y="140"/>
                      </a:lnTo>
                      <a:lnTo>
                        <a:pt x="148" y="142"/>
                      </a:lnTo>
                      <a:lnTo>
                        <a:pt x="148" y="144"/>
                      </a:lnTo>
                      <a:lnTo>
                        <a:pt x="150" y="147"/>
                      </a:lnTo>
                      <a:lnTo>
                        <a:pt x="150" y="150"/>
                      </a:lnTo>
                      <a:lnTo>
                        <a:pt x="150" y="151"/>
                      </a:lnTo>
                      <a:lnTo>
                        <a:pt x="150" y="153"/>
                      </a:lnTo>
                      <a:lnTo>
                        <a:pt x="151" y="154"/>
                      </a:lnTo>
                      <a:lnTo>
                        <a:pt x="148" y="154"/>
                      </a:lnTo>
                      <a:lnTo>
                        <a:pt x="139" y="154"/>
                      </a:lnTo>
                      <a:lnTo>
                        <a:pt x="135" y="154"/>
                      </a:lnTo>
                      <a:lnTo>
                        <a:pt x="130" y="156"/>
                      </a:lnTo>
                      <a:lnTo>
                        <a:pt x="129" y="157"/>
                      </a:lnTo>
                      <a:lnTo>
                        <a:pt x="127" y="159"/>
                      </a:lnTo>
                      <a:lnTo>
                        <a:pt x="125" y="160"/>
                      </a:lnTo>
                      <a:lnTo>
                        <a:pt x="124" y="160"/>
                      </a:lnTo>
                      <a:lnTo>
                        <a:pt x="123" y="162"/>
                      </a:lnTo>
                      <a:lnTo>
                        <a:pt x="122" y="169"/>
                      </a:lnTo>
                      <a:lnTo>
                        <a:pt x="122" y="171"/>
                      </a:lnTo>
                      <a:lnTo>
                        <a:pt x="121" y="171"/>
                      </a:lnTo>
                      <a:lnTo>
                        <a:pt x="118" y="173"/>
                      </a:lnTo>
                      <a:lnTo>
                        <a:pt x="111" y="176"/>
                      </a:lnTo>
                      <a:lnTo>
                        <a:pt x="103" y="181"/>
                      </a:lnTo>
                      <a:lnTo>
                        <a:pt x="99" y="186"/>
                      </a:lnTo>
                      <a:lnTo>
                        <a:pt x="99" y="188"/>
                      </a:lnTo>
                      <a:lnTo>
                        <a:pt x="94" y="194"/>
                      </a:lnTo>
                      <a:lnTo>
                        <a:pt x="88" y="202"/>
                      </a:lnTo>
                      <a:lnTo>
                        <a:pt x="84" y="202"/>
                      </a:lnTo>
                      <a:lnTo>
                        <a:pt x="83" y="203"/>
                      </a:lnTo>
                      <a:lnTo>
                        <a:pt x="77" y="201"/>
                      </a:lnTo>
                      <a:lnTo>
                        <a:pt x="74" y="201"/>
                      </a:lnTo>
                      <a:lnTo>
                        <a:pt x="74" y="200"/>
                      </a:lnTo>
                      <a:lnTo>
                        <a:pt x="71" y="201"/>
                      </a:lnTo>
                      <a:lnTo>
                        <a:pt x="71" y="202"/>
                      </a:lnTo>
                      <a:lnTo>
                        <a:pt x="69" y="202"/>
                      </a:lnTo>
                      <a:lnTo>
                        <a:pt x="68" y="202"/>
                      </a:lnTo>
                      <a:lnTo>
                        <a:pt x="67" y="201"/>
                      </a:lnTo>
                      <a:lnTo>
                        <a:pt x="67" y="200"/>
                      </a:lnTo>
                      <a:lnTo>
                        <a:pt x="65" y="198"/>
                      </a:lnTo>
                      <a:lnTo>
                        <a:pt x="64" y="198"/>
                      </a:lnTo>
                      <a:lnTo>
                        <a:pt x="63" y="198"/>
                      </a:lnTo>
                      <a:lnTo>
                        <a:pt x="62" y="198"/>
                      </a:lnTo>
                      <a:lnTo>
                        <a:pt x="58" y="198"/>
                      </a:lnTo>
                      <a:lnTo>
                        <a:pt x="57" y="197"/>
                      </a:lnTo>
                      <a:lnTo>
                        <a:pt x="56" y="197"/>
                      </a:lnTo>
                      <a:lnTo>
                        <a:pt x="55" y="197"/>
                      </a:lnTo>
                      <a:lnTo>
                        <a:pt x="55" y="196"/>
                      </a:lnTo>
                      <a:lnTo>
                        <a:pt x="54" y="196"/>
                      </a:lnTo>
                      <a:lnTo>
                        <a:pt x="54" y="194"/>
                      </a:lnTo>
                      <a:lnTo>
                        <a:pt x="52" y="194"/>
                      </a:lnTo>
                      <a:lnTo>
                        <a:pt x="52" y="194"/>
                      </a:lnTo>
                      <a:lnTo>
                        <a:pt x="51" y="193"/>
                      </a:lnTo>
                      <a:lnTo>
                        <a:pt x="50" y="193"/>
                      </a:lnTo>
                      <a:lnTo>
                        <a:pt x="48" y="193"/>
                      </a:lnTo>
                      <a:lnTo>
                        <a:pt x="47" y="191"/>
                      </a:lnTo>
                      <a:lnTo>
                        <a:pt x="45" y="191"/>
                      </a:lnTo>
                      <a:lnTo>
                        <a:pt x="45" y="193"/>
                      </a:lnTo>
                      <a:lnTo>
                        <a:pt x="44" y="193"/>
                      </a:lnTo>
                      <a:lnTo>
                        <a:pt x="43" y="191"/>
                      </a:lnTo>
                      <a:lnTo>
                        <a:pt x="41" y="191"/>
                      </a:lnTo>
                      <a:lnTo>
                        <a:pt x="41" y="191"/>
                      </a:lnTo>
                      <a:lnTo>
                        <a:pt x="39" y="191"/>
                      </a:lnTo>
                      <a:lnTo>
                        <a:pt x="39" y="191"/>
                      </a:lnTo>
                      <a:lnTo>
                        <a:pt x="37" y="191"/>
                      </a:lnTo>
                      <a:lnTo>
                        <a:pt x="25" y="195"/>
                      </a:lnTo>
                      <a:lnTo>
                        <a:pt x="20" y="191"/>
                      </a:lnTo>
                      <a:lnTo>
                        <a:pt x="18" y="188"/>
                      </a:lnTo>
                      <a:lnTo>
                        <a:pt x="11" y="182"/>
                      </a:lnTo>
                      <a:lnTo>
                        <a:pt x="8" y="176"/>
                      </a:lnTo>
                      <a:lnTo>
                        <a:pt x="4" y="174"/>
                      </a:lnTo>
                      <a:lnTo>
                        <a:pt x="4" y="173"/>
                      </a:lnTo>
                      <a:lnTo>
                        <a:pt x="2" y="171"/>
                      </a:lnTo>
                      <a:lnTo>
                        <a:pt x="2" y="168"/>
                      </a:lnTo>
                      <a:lnTo>
                        <a:pt x="1" y="167"/>
                      </a:lnTo>
                      <a:lnTo>
                        <a:pt x="0" y="164"/>
                      </a:lnTo>
                      <a:lnTo>
                        <a:pt x="1" y="100"/>
                      </a:lnTo>
                      <a:lnTo>
                        <a:pt x="37" y="100"/>
                      </a:lnTo>
                      <a:lnTo>
                        <a:pt x="35" y="95"/>
                      </a:lnTo>
                      <a:lnTo>
                        <a:pt x="36" y="90"/>
                      </a:lnTo>
                      <a:lnTo>
                        <a:pt x="38" y="87"/>
                      </a:lnTo>
                      <a:lnTo>
                        <a:pt x="37" y="84"/>
                      </a:lnTo>
                      <a:lnTo>
                        <a:pt x="37" y="83"/>
                      </a:lnTo>
                      <a:lnTo>
                        <a:pt x="37" y="76"/>
                      </a:lnTo>
                      <a:lnTo>
                        <a:pt x="38" y="75"/>
                      </a:lnTo>
                      <a:lnTo>
                        <a:pt x="37" y="73"/>
                      </a:lnTo>
                      <a:lnTo>
                        <a:pt x="38" y="69"/>
                      </a:lnTo>
                      <a:lnTo>
                        <a:pt x="38" y="67"/>
                      </a:lnTo>
                      <a:lnTo>
                        <a:pt x="39" y="67"/>
                      </a:lnTo>
                      <a:lnTo>
                        <a:pt x="38" y="63"/>
                      </a:lnTo>
                      <a:lnTo>
                        <a:pt x="38" y="60"/>
                      </a:lnTo>
                      <a:lnTo>
                        <a:pt x="37" y="57"/>
                      </a:lnTo>
                      <a:lnTo>
                        <a:pt x="39" y="57"/>
                      </a:lnTo>
                      <a:lnTo>
                        <a:pt x="41" y="59"/>
                      </a:lnTo>
                      <a:lnTo>
                        <a:pt x="42" y="60"/>
                      </a:lnTo>
                      <a:lnTo>
                        <a:pt x="41" y="61"/>
                      </a:lnTo>
                      <a:lnTo>
                        <a:pt x="43" y="61"/>
                      </a:lnTo>
                      <a:lnTo>
                        <a:pt x="45" y="61"/>
                      </a:lnTo>
                      <a:lnTo>
                        <a:pt x="47" y="66"/>
                      </a:lnTo>
                      <a:lnTo>
                        <a:pt x="45" y="67"/>
                      </a:lnTo>
                      <a:lnTo>
                        <a:pt x="44" y="67"/>
                      </a:lnTo>
                      <a:lnTo>
                        <a:pt x="44" y="68"/>
                      </a:lnTo>
                      <a:lnTo>
                        <a:pt x="45" y="69"/>
                      </a:lnTo>
                      <a:lnTo>
                        <a:pt x="47" y="70"/>
                      </a:lnTo>
                      <a:lnTo>
                        <a:pt x="49" y="70"/>
                      </a:lnTo>
                      <a:lnTo>
                        <a:pt x="51" y="68"/>
                      </a:lnTo>
                      <a:lnTo>
                        <a:pt x="52" y="67"/>
                      </a:lnTo>
                      <a:lnTo>
                        <a:pt x="54" y="67"/>
                      </a:lnTo>
                      <a:lnTo>
                        <a:pt x="57" y="66"/>
                      </a:lnTo>
                      <a:lnTo>
                        <a:pt x="62" y="66"/>
                      </a:lnTo>
                      <a:lnTo>
                        <a:pt x="64" y="64"/>
                      </a:lnTo>
                      <a:lnTo>
                        <a:pt x="64" y="66"/>
                      </a:lnTo>
                      <a:lnTo>
                        <a:pt x="63" y="66"/>
                      </a:lnTo>
                      <a:lnTo>
                        <a:pt x="62" y="69"/>
                      </a:lnTo>
                      <a:lnTo>
                        <a:pt x="63" y="70"/>
                      </a:lnTo>
                      <a:lnTo>
                        <a:pt x="63" y="71"/>
                      </a:lnTo>
                      <a:lnTo>
                        <a:pt x="65" y="74"/>
                      </a:lnTo>
                      <a:lnTo>
                        <a:pt x="67" y="75"/>
                      </a:lnTo>
                      <a:lnTo>
                        <a:pt x="68" y="74"/>
                      </a:lnTo>
                      <a:lnTo>
                        <a:pt x="69" y="74"/>
                      </a:lnTo>
                      <a:lnTo>
                        <a:pt x="71" y="74"/>
                      </a:lnTo>
                      <a:lnTo>
                        <a:pt x="72" y="76"/>
                      </a:lnTo>
                      <a:lnTo>
                        <a:pt x="74" y="76"/>
                      </a:lnTo>
                      <a:lnTo>
                        <a:pt x="77" y="76"/>
                      </a:lnTo>
                      <a:lnTo>
                        <a:pt x="78" y="77"/>
                      </a:lnTo>
                      <a:lnTo>
                        <a:pt x="79" y="77"/>
                      </a:lnTo>
                      <a:lnTo>
                        <a:pt x="79" y="76"/>
                      </a:lnTo>
                      <a:lnTo>
                        <a:pt x="83" y="76"/>
                      </a:lnTo>
                      <a:lnTo>
                        <a:pt x="83" y="77"/>
                      </a:lnTo>
                      <a:lnTo>
                        <a:pt x="85" y="77"/>
                      </a:lnTo>
                      <a:lnTo>
                        <a:pt x="87" y="80"/>
                      </a:lnTo>
                      <a:lnTo>
                        <a:pt x="88" y="77"/>
                      </a:lnTo>
                      <a:lnTo>
                        <a:pt x="90" y="77"/>
                      </a:lnTo>
                      <a:lnTo>
                        <a:pt x="91" y="76"/>
                      </a:lnTo>
                      <a:lnTo>
                        <a:pt x="91" y="74"/>
                      </a:lnTo>
                      <a:lnTo>
                        <a:pt x="92" y="73"/>
                      </a:lnTo>
                      <a:lnTo>
                        <a:pt x="92" y="70"/>
                      </a:lnTo>
                      <a:lnTo>
                        <a:pt x="95" y="70"/>
                      </a:lnTo>
                      <a:lnTo>
                        <a:pt x="95" y="70"/>
                      </a:lnTo>
                      <a:lnTo>
                        <a:pt x="96" y="70"/>
                      </a:lnTo>
                      <a:lnTo>
                        <a:pt x="96" y="74"/>
                      </a:lnTo>
                      <a:lnTo>
                        <a:pt x="101" y="77"/>
                      </a:lnTo>
                      <a:lnTo>
                        <a:pt x="101" y="81"/>
                      </a:lnTo>
                      <a:lnTo>
                        <a:pt x="102" y="81"/>
                      </a:lnTo>
                      <a:lnTo>
                        <a:pt x="102" y="83"/>
                      </a:lnTo>
                      <a:lnTo>
                        <a:pt x="103" y="84"/>
                      </a:lnTo>
                      <a:lnTo>
                        <a:pt x="103" y="84"/>
                      </a:lnTo>
                      <a:lnTo>
                        <a:pt x="105" y="86"/>
                      </a:lnTo>
                      <a:lnTo>
                        <a:pt x="107" y="86"/>
                      </a:lnTo>
                      <a:lnTo>
                        <a:pt x="107" y="83"/>
                      </a:lnTo>
                      <a:lnTo>
                        <a:pt x="109" y="86"/>
                      </a:lnTo>
                      <a:lnTo>
                        <a:pt x="109" y="87"/>
                      </a:lnTo>
                      <a:lnTo>
                        <a:pt x="111" y="87"/>
                      </a:lnTo>
                      <a:lnTo>
                        <a:pt x="111" y="88"/>
                      </a:lnTo>
                      <a:lnTo>
                        <a:pt x="112" y="87"/>
                      </a:lnTo>
                      <a:lnTo>
                        <a:pt x="115" y="88"/>
                      </a:lnTo>
                      <a:lnTo>
                        <a:pt x="116" y="88"/>
                      </a:lnTo>
                      <a:lnTo>
                        <a:pt x="117" y="89"/>
                      </a:lnTo>
                      <a:lnTo>
                        <a:pt x="117" y="91"/>
                      </a:lnTo>
                      <a:lnTo>
                        <a:pt x="118" y="91"/>
                      </a:lnTo>
                      <a:lnTo>
                        <a:pt x="118" y="94"/>
                      </a:lnTo>
                      <a:lnTo>
                        <a:pt x="117" y="95"/>
                      </a:lnTo>
                      <a:lnTo>
                        <a:pt x="119" y="96"/>
                      </a:lnTo>
                      <a:lnTo>
                        <a:pt x="119" y="95"/>
                      </a:lnTo>
                      <a:lnTo>
                        <a:pt x="122" y="97"/>
                      </a:lnTo>
                      <a:lnTo>
                        <a:pt x="124" y="97"/>
                      </a:lnTo>
                      <a:lnTo>
                        <a:pt x="123" y="99"/>
                      </a:lnTo>
                      <a:lnTo>
                        <a:pt x="124" y="101"/>
                      </a:lnTo>
                      <a:lnTo>
                        <a:pt x="125" y="103"/>
                      </a:lnTo>
                      <a:lnTo>
                        <a:pt x="127" y="107"/>
                      </a:lnTo>
                      <a:lnTo>
                        <a:pt x="127" y="107"/>
                      </a:lnTo>
                      <a:lnTo>
                        <a:pt x="129" y="108"/>
                      </a:lnTo>
                      <a:lnTo>
                        <a:pt x="129" y="108"/>
                      </a:lnTo>
                      <a:lnTo>
                        <a:pt x="130" y="108"/>
                      </a:lnTo>
                      <a:lnTo>
                        <a:pt x="132" y="107"/>
                      </a:lnTo>
                      <a:lnTo>
                        <a:pt x="134" y="106"/>
                      </a:lnTo>
                      <a:lnTo>
                        <a:pt x="135" y="106"/>
                      </a:lnTo>
                      <a:lnTo>
                        <a:pt x="136" y="104"/>
                      </a:lnTo>
                      <a:lnTo>
                        <a:pt x="138" y="103"/>
                      </a:lnTo>
                      <a:lnTo>
                        <a:pt x="138" y="104"/>
                      </a:lnTo>
                      <a:lnTo>
                        <a:pt x="139" y="106"/>
                      </a:lnTo>
                      <a:lnTo>
                        <a:pt x="138" y="107"/>
                      </a:lnTo>
                      <a:lnTo>
                        <a:pt x="137" y="107"/>
                      </a:lnTo>
                      <a:lnTo>
                        <a:pt x="138" y="109"/>
                      </a:lnTo>
                      <a:lnTo>
                        <a:pt x="139" y="108"/>
                      </a:lnTo>
                      <a:lnTo>
                        <a:pt x="142" y="108"/>
                      </a:lnTo>
                      <a:lnTo>
                        <a:pt x="142" y="82"/>
                      </a:lnTo>
                      <a:lnTo>
                        <a:pt x="141" y="82"/>
                      </a:lnTo>
                      <a:lnTo>
                        <a:pt x="141" y="82"/>
                      </a:lnTo>
                      <a:lnTo>
                        <a:pt x="139" y="84"/>
                      </a:lnTo>
                      <a:lnTo>
                        <a:pt x="138" y="82"/>
                      </a:lnTo>
                      <a:lnTo>
                        <a:pt x="138" y="82"/>
                      </a:lnTo>
                      <a:lnTo>
                        <a:pt x="137" y="83"/>
                      </a:lnTo>
                      <a:lnTo>
                        <a:pt x="136" y="83"/>
                      </a:lnTo>
                      <a:lnTo>
                        <a:pt x="135" y="84"/>
                      </a:lnTo>
                      <a:lnTo>
                        <a:pt x="136" y="87"/>
                      </a:lnTo>
                      <a:lnTo>
                        <a:pt x="137" y="88"/>
                      </a:lnTo>
                      <a:lnTo>
                        <a:pt x="138" y="88"/>
                      </a:lnTo>
                      <a:lnTo>
                        <a:pt x="137" y="89"/>
                      </a:lnTo>
                      <a:lnTo>
                        <a:pt x="135" y="89"/>
                      </a:lnTo>
                      <a:lnTo>
                        <a:pt x="132" y="88"/>
                      </a:lnTo>
                      <a:lnTo>
                        <a:pt x="130" y="88"/>
                      </a:lnTo>
                      <a:lnTo>
                        <a:pt x="128" y="88"/>
                      </a:lnTo>
                      <a:lnTo>
                        <a:pt x="127" y="84"/>
                      </a:lnTo>
                      <a:lnTo>
                        <a:pt x="127" y="83"/>
                      </a:lnTo>
                      <a:lnTo>
                        <a:pt x="125" y="81"/>
                      </a:lnTo>
                      <a:lnTo>
                        <a:pt x="124" y="81"/>
                      </a:lnTo>
                      <a:lnTo>
                        <a:pt x="123" y="80"/>
                      </a:lnTo>
                      <a:lnTo>
                        <a:pt x="122" y="79"/>
                      </a:lnTo>
                      <a:lnTo>
                        <a:pt x="121" y="77"/>
                      </a:lnTo>
                      <a:lnTo>
                        <a:pt x="121" y="76"/>
                      </a:lnTo>
                      <a:lnTo>
                        <a:pt x="118" y="75"/>
                      </a:lnTo>
                      <a:lnTo>
                        <a:pt x="118" y="75"/>
                      </a:lnTo>
                      <a:lnTo>
                        <a:pt x="117" y="68"/>
                      </a:lnTo>
                      <a:lnTo>
                        <a:pt x="118" y="66"/>
                      </a:lnTo>
                      <a:lnTo>
                        <a:pt x="119" y="55"/>
                      </a:lnTo>
                      <a:lnTo>
                        <a:pt x="123" y="51"/>
                      </a:lnTo>
                      <a:lnTo>
                        <a:pt x="122" y="48"/>
                      </a:lnTo>
                      <a:lnTo>
                        <a:pt x="122" y="43"/>
                      </a:lnTo>
                      <a:lnTo>
                        <a:pt x="121" y="42"/>
                      </a:lnTo>
                      <a:lnTo>
                        <a:pt x="123" y="33"/>
                      </a:lnTo>
                      <a:lnTo>
                        <a:pt x="123" y="30"/>
                      </a:lnTo>
                      <a:lnTo>
                        <a:pt x="122" y="29"/>
                      </a:lnTo>
                      <a:lnTo>
                        <a:pt x="121" y="27"/>
                      </a:lnTo>
                      <a:lnTo>
                        <a:pt x="119" y="24"/>
                      </a:lnTo>
                      <a:lnTo>
                        <a:pt x="119" y="21"/>
                      </a:lnTo>
                      <a:lnTo>
                        <a:pt x="122" y="20"/>
                      </a:lnTo>
                      <a:lnTo>
                        <a:pt x="127" y="15"/>
                      </a:lnTo>
                      <a:lnTo>
                        <a:pt x="129" y="12"/>
                      </a:lnTo>
                      <a:lnTo>
                        <a:pt x="128" y="8"/>
                      </a:lnTo>
                      <a:lnTo>
                        <a:pt x="162" y="0"/>
                      </a:lnTo>
                      <a:lnTo>
                        <a:pt x="163" y="4"/>
                      </a:lnTo>
                      <a:lnTo>
                        <a:pt x="165" y="8"/>
                      </a:lnTo>
                      <a:lnTo>
                        <a:pt x="168" y="9"/>
                      </a:lnTo>
                      <a:lnTo>
                        <a:pt x="169" y="9"/>
                      </a:lnTo>
                      <a:lnTo>
                        <a:pt x="172" y="9"/>
                      </a:lnTo>
                      <a:lnTo>
                        <a:pt x="176" y="12"/>
                      </a:lnTo>
                      <a:lnTo>
                        <a:pt x="176" y="14"/>
                      </a:lnTo>
                      <a:lnTo>
                        <a:pt x="178" y="16"/>
                      </a:lnTo>
                      <a:lnTo>
                        <a:pt x="179" y="15"/>
                      </a:lnTo>
                      <a:lnTo>
                        <a:pt x="182" y="16"/>
                      </a:lnTo>
                      <a:lnTo>
                        <a:pt x="182" y="17"/>
                      </a:lnTo>
                      <a:lnTo>
                        <a:pt x="183" y="19"/>
                      </a:lnTo>
                      <a:lnTo>
                        <a:pt x="184" y="17"/>
                      </a:lnTo>
                      <a:lnTo>
                        <a:pt x="188" y="20"/>
                      </a:lnTo>
                      <a:lnTo>
                        <a:pt x="192" y="20"/>
                      </a:lnTo>
                      <a:lnTo>
                        <a:pt x="194" y="21"/>
                      </a:lnTo>
                      <a:lnTo>
                        <a:pt x="197" y="21"/>
                      </a:lnTo>
                      <a:lnTo>
                        <a:pt x="197" y="22"/>
                      </a:lnTo>
                      <a:lnTo>
                        <a:pt x="199" y="24"/>
                      </a:lnTo>
                      <a:lnTo>
                        <a:pt x="199" y="24"/>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547" name="Tanzania">
                  <a:extLst>
                    <a:ext uri="{FF2B5EF4-FFF2-40B4-BE49-F238E27FC236}">
                      <a16:creationId xmlns:a16="http://schemas.microsoft.com/office/drawing/2014/main" id="{B1A34868-7701-AF4D-B39B-6ED274EE91F0}"/>
                    </a:ext>
                  </a:extLst>
                </p:cNvPr>
                <p:cNvSpPr>
                  <a:spLocks noEditPoints="1"/>
                </p:cNvSpPr>
                <p:nvPr/>
              </p:nvSpPr>
              <p:spPr bwMode="auto">
                <a:xfrm>
                  <a:off x="7137959" y="4015691"/>
                  <a:ext cx="291590" cy="322207"/>
                </a:xfrm>
                <a:custGeom>
                  <a:avLst/>
                  <a:gdLst>
                    <a:gd name="T0" fmla="*/ 180 w 200"/>
                    <a:gd name="T1" fmla="*/ 110 h 221"/>
                    <a:gd name="T2" fmla="*/ 183 w 200"/>
                    <a:gd name="T3" fmla="*/ 112 h 221"/>
                    <a:gd name="T4" fmla="*/ 183 w 200"/>
                    <a:gd name="T5" fmla="*/ 105 h 221"/>
                    <a:gd name="T6" fmla="*/ 181 w 200"/>
                    <a:gd name="T7" fmla="*/ 98 h 221"/>
                    <a:gd name="T8" fmla="*/ 179 w 200"/>
                    <a:gd name="T9" fmla="*/ 102 h 221"/>
                    <a:gd name="T10" fmla="*/ 27 w 200"/>
                    <a:gd name="T11" fmla="*/ 10 h 221"/>
                    <a:gd name="T12" fmla="*/ 25 w 200"/>
                    <a:gd name="T13" fmla="*/ 29 h 221"/>
                    <a:gd name="T14" fmla="*/ 22 w 200"/>
                    <a:gd name="T15" fmla="*/ 41 h 221"/>
                    <a:gd name="T16" fmla="*/ 25 w 200"/>
                    <a:gd name="T17" fmla="*/ 48 h 221"/>
                    <a:gd name="T18" fmla="*/ 15 w 200"/>
                    <a:gd name="T19" fmla="*/ 64 h 221"/>
                    <a:gd name="T20" fmla="*/ 2 w 200"/>
                    <a:gd name="T21" fmla="*/ 74 h 221"/>
                    <a:gd name="T22" fmla="*/ 6 w 200"/>
                    <a:gd name="T23" fmla="*/ 97 h 221"/>
                    <a:gd name="T24" fmla="*/ 6 w 200"/>
                    <a:gd name="T25" fmla="*/ 112 h 221"/>
                    <a:gd name="T26" fmla="*/ 18 w 200"/>
                    <a:gd name="T27" fmla="*/ 127 h 221"/>
                    <a:gd name="T28" fmla="*/ 29 w 200"/>
                    <a:gd name="T29" fmla="*/ 156 h 221"/>
                    <a:gd name="T30" fmla="*/ 43 w 200"/>
                    <a:gd name="T31" fmla="*/ 163 h 221"/>
                    <a:gd name="T32" fmla="*/ 58 w 200"/>
                    <a:gd name="T33" fmla="*/ 169 h 221"/>
                    <a:gd name="T34" fmla="*/ 73 w 200"/>
                    <a:gd name="T35" fmla="*/ 177 h 221"/>
                    <a:gd name="T36" fmla="*/ 88 w 200"/>
                    <a:gd name="T37" fmla="*/ 180 h 221"/>
                    <a:gd name="T38" fmla="*/ 95 w 200"/>
                    <a:gd name="T39" fmla="*/ 210 h 221"/>
                    <a:gd name="T40" fmla="*/ 108 w 200"/>
                    <a:gd name="T41" fmla="*/ 218 h 221"/>
                    <a:gd name="T42" fmla="*/ 121 w 200"/>
                    <a:gd name="T43" fmla="*/ 221 h 221"/>
                    <a:gd name="T44" fmla="*/ 136 w 200"/>
                    <a:gd name="T45" fmla="*/ 217 h 221"/>
                    <a:gd name="T46" fmla="*/ 148 w 200"/>
                    <a:gd name="T47" fmla="*/ 218 h 221"/>
                    <a:gd name="T48" fmla="*/ 168 w 200"/>
                    <a:gd name="T49" fmla="*/ 211 h 221"/>
                    <a:gd name="T50" fmla="*/ 200 w 200"/>
                    <a:gd name="T51" fmla="*/ 194 h 221"/>
                    <a:gd name="T52" fmla="*/ 198 w 200"/>
                    <a:gd name="T53" fmla="*/ 194 h 221"/>
                    <a:gd name="T54" fmla="*/ 195 w 200"/>
                    <a:gd name="T55" fmla="*/ 191 h 221"/>
                    <a:gd name="T56" fmla="*/ 193 w 200"/>
                    <a:gd name="T57" fmla="*/ 189 h 221"/>
                    <a:gd name="T58" fmla="*/ 190 w 200"/>
                    <a:gd name="T59" fmla="*/ 188 h 221"/>
                    <a:gd name="T60" fmla="*/ 186 w 200"/>
                    <a:gd name="T61" fmla="*/ 187 h 221"/>
                    <a:gd name="T62" fmla="*/ 187 w 200"/>
                    <a:gd name="T63" fmla="*/ 183 h 221"/>
                    <a:gd name="T64" fmla="*/ 187 w 200"/>
                    <a:gd name="T65" fmla="*/ 181 h 221"/>
                    <a:gd name="T66" fmla="*/ 186 w 200"/>
                    <a:gd name="T67" fmla="*/ 175 h 221"/>
                    <a:gd name="T68" fmla="*/ 185 w 200"/>
                    <a:gd name="T69" fmla="*/ 174 h 221"/>
                    <a:gd name="T70" fmla="*/ 185 w 200"/>
                    <a:gd name="T71" fmla="*/ 169 h 221"/>
                    <a:gd name="T72" fmla="*/ 181 w 200"/>
                    <a:gd name="T73" fmla="*/ 167 h 221"/>
                    <a:gd name="T74" fmla="*/ 181 w 200"/>
                    <a:gd name="T75" fmla="*/ 163 h 221"/>
                    <a:gd name="T76" fmla="*/ 182 w 200"/>
                    <a:gd name="T77" fmla="*/ 162 h 221"/>
                    <a:gd name="T78" fmla="*/ 182 w 200"/>
                    <a:gd name="T79" fmla="*/ 161 h 221"/>
                    <a:gd name="T80" fmla="*/ 180 w 200"/>
                    <a:gd name="T81" fmla="*/ 156 h 221"/>
                    <a:gd name="T82" fmla="*/ 181 w 200"/>
                    <a:gd name="T83" fmla="*/ 149 h 221"/>
                    <a:gd name="T84" fmla="*/ 182 w 200"/>
                    <a:gd name="T85" fmla="*/ 141 h 221"/>
                    <a:gd name="T86" fmla="*/ 180 w 200"/>
                    <a:gd name="T87" fmla="*/ 140 h 221"/>
                    <a:gd name="T88" fmla="*/ 181 w 200"/>
                    <a:gd name="T89" fmla="*/ 131 h 221"/>
                    <a:gd name="T90" fmla="*/ 183 w 200"/>
                    <a:gd name="T91" fmla="*/ 127 h 221"/>
                    <a:gd name="T92" fmla="*/ 180 w 200"/>
                    <a:gd name="T93" fmla="*/ 121 h 221"/>
                    <a:gd name="T94" fmla="*/ 176 w 200"/>
                    <a:gd name="T95" fmla="*/ 112 h 221"/>
                    <a:gd name="T96" fmla="*/ 172 w 200"/>
                    <a:gd name="T97" fmla="*/ 109 h 221"/>
                    <a:gd name="T98" fmla="*/ 173 w 200"/>
                    <a:gd name="T99" fmla="*/ 95 h 221"/>
                    <a:gd name="T100" fmla="*/ 176 w 200"/>
                    <a:gd name="T101" fmla="*/ 87 h 221"/>
                    <a:gd name="T102" fmla="*/ 178 w 200"/>
                    <a:gd name="T103" fmla="*/ 83 h 221"/>
                    <a:gd name="T104" fmla="*/ 179 w 200"/>
                    <a:gd name="T105" fmla="*/ 81 h 221"/>
                    <a:gd name="T106" fmla="*/ 180 w 200"/>
                    <a:gd name="T107" fmla="*/ 76 h 221"/>
                    <a:gd name="T108" fmla="*/ 150 w 200"/>
                    <a:gd name="T109" fmla="*/ 43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00" h="221">
                      <a:moveTo>
                        <a:pt x="179" y="102"/>
                      </a:moveTo>
                      <a:lnTo>
                        <a:pt x="179" y="103"/>
                      </a:lnTo>
                      <a:lnTo>
                        <a:pt x="179" y="104"/>
                      </a:lnTo>
                      <a:lnTo>
                        <a:pt x="179" y="105"/>
                      </a:lnTo>
                      <a:lnTo>
                        <a:pt x="179" y="108"/>
                      </a:lnTo>
                      <a:lnTo>
                        <a:pt x="180" y="109"/>
                      </a:lnTo>
                      <a:lnTo>
                        <a:pt x="180" y="110"/>
                      </a:lnTo>
                      <a:lnTo>
                        <a:pt x="180" y="108"/>
                      </a:lnTo>
                      <a:lnTo>
                        <a:pt x="181" y="109"/>
                      </a:lnTo>
                      <a:lnTo>
                        <a:pt x="181" y="110"/>
                      </a:lnTo>
                      <a:lnTo>
                        <a:pt x="181" y="110"/>
                      </a:lnTo>
                      <a:lnTo>
                        <a:pt x="182" y="110"/>
                      </a:lnTo>
                      <a:lnTo>
                        <a:pt x="182" y="111"/>
                      </a:lnTo>
                      <a:lnTo>
                        <a:pt x="183" y="112"/>
                      </a:lnTo>
                      <a:lnTo>
                        <a:pt x="183" y="112"/>
                      </a:lnTo>
                      <a:lnTo>
                        <a:pt x="185" y="111"/>
                      </a:lnTo>
                      <a:lnTo>
                        <a:pt x="185" y="110"/>
                      </a:lnTo>
                      <a:lnTo>
                        <a:pt x="185" y="107"/>
                      </a:lnTo>
                      <a:lnTo>
                        <a:pt x="185" y="105"/>
                      </a:lnTo>
                      <a:lnTo>
                        <a:pt x="185" y="105"/>
                      </a:lnTo>
                      <a:lnTo>
                        <a:pt x="183" y="105"/>
                      </a:lnTo>
                      <a:lnTo>
                        <a:pt x="183" y="107"/>
                      </a:lnTo>
                      <a:lnTo>
                        <a:pt x="183" y="108"/>
                      </a:lnTo>
                      <a:lnTo>
                        <a:pt x="182" y="107"/>
                      </a:lnTo>
                      <a:lnTo>
                        <a:pt x="182" y="105"/>
                      </a:lnTo>
                      <a:lnTo>
                        <a:pt x="182" y="101"/>
                      </a:lnTo>
                      <a:lnTo>
                        <a:pt x="181" y="100"/>
                      </a:lnTo>
                      <a:lnTo>
                        <a:pt x="181" y="98"/>
                      </a:lnTo>
                      <a:lnTo>
                        <a:pt x="181" y="98"/>
                      </a:lnTo>
                      <a:lnTo>
                        <a:pt x="181" y="98"/>
                      </a:lnTo>
                      <a:lnTo>
                        <a:pt x="181" y="100"/>
                      </a:lnTo>
                      <a:lnTo>
                        <a:pt x="181" y="100"/>
                      </a:lnTo>
                      <a:lnTo>
                        <a:pt x="180" y="101"/>
                      </a:lnTo>
                      <a:lnTo>
                        <a:pt x="179" y="102"/>
                      </a:lnTo>
                      <a:lnTo>
                        <a:pt x="179" y="102"/>
                      </a:lnTo>
                      <a:close/>
                      <a:moveTo>
                        <a:pt x="26" y="0"/>
                      </a:moveTo>
                      <a:lnTo>
                        <a:pt x="22" y="2"/>
                      </a:lnTo>
                      <a:lnTo>
                        <a:pt x="21" y="3"/>
                      </a:lnTo>
                      <a:lnTo>
                        <a:pt x="22" y="4"/>
                      </a:lnTo>
                      <a:lnTo>
                        <a:pt x="22" y="4"/>
                      </a:lnTo>
                      <a:lnTo>
                        <a:pt x="23" y="8"/>
                      </a:lnTo>
                      <a:lnTo>
                        <a:pt x="27" y="10"/>
                      </a:lnTo>
                      <a:lnTo>
                        <a:pt x="28" y="15"/>
                      </a:lnTo>
                      <a:lnTo>
                        <a:pt x="28" y="20"/>
                      </a:lnTo>
                      <a:lnTo>
                        <a:pt x="29" y="23"/>
                      </a:lnTo>
                      <a:lnTo>
                        <a:pt x="28" y="25"/>
                      </a:lnTo>
                      <a:lnTo>
                        <a:pt x="28" y="29"/>
                      </a:lnTo>
                      <a:lnTo>
                        <a:pt x="27" y="30"/>
                      </a:lnTo>
                      <a:lnTo>
                        <a:pt x="25" y="29"/>
                      </a:lnTo>
                      <a:lnTo>
                        <a:pt x="25" y="30"/>
                      </a:lnTo>
                      <a:lnTo>
                        <a:pt x="23" y="34"/>
                      </a:lnTo>
                      <a:lnTo>
                        <a:pt x="21" y="36"/>
                      </a:lnTo>
                      <a:lnTo>
                        <a:pt x="22" y="36"/>
                      </a:lnTo>
                      <a:lnTo>
                        <a:pt x="21" y="37"/>
                      </a:lnTo>
                      <a:lnTo>
                        <a:pt x="20" y="40"/>
                      </a:lnTo>
                      <a:lnTo>
                        <a:pt x="22" y="41"/>
                      </a:lnTo>
                      <a:lnTo>
                        <a:pt x="23" y="40"/>
                      </a:lnTo>
                      <a:lnTo>
                        <a:pt x="26" y="41"/>
                      </a:lnTo>
                      <a:lnTo>
                        <a:pt x="28" y="42"/>
                      </a:lnTo>
                      <a:lnTo>
                        <a:pt x="27" y="43"/>
                      </a:lnTo>
                      <a:lnTo>
                        <a:pt x="28" y="44"/>
                      </a:lnTo>
                      <a:lnTo>
                        <a:pt x="28" y="47"/>
                      </a:lnTo>
                      <a:lnTo>
                        <a:pt x="25" y="48"/>
                      </a:lnTo>
                      <a:lnTo>
                        <a:pt x="23" y="50"/>
                      </a:lnTo>
                      <a:lnTo>
                        <a:pt x="25" y="51"/>
                      </a:lnTo>
                      <a:lnTo>
                        <a:pt x="22" y="52"/>
                      </a:lnTo>
                      <a:lnTo>
                        <a:pt x="21" y="52"/>
                      </a:lnTo>
                      <a:lnTo>
                        <a:pt x="20" y="58"/>
                      </a:lnTo>
                      <a:lnTo>
                        <a:pt x="19" y="58"/>
                      </a:lnTo>
                      <a:lnTo>
                        <a:pt x="15" y="64"/>
                      </a:lnTo>
                      <a:lnTo>
                        <a:pt x="14" y="68"/>
                      </a:lnTo>
                      <a:lnTo>
                        <a:pt x="13" y="69"/>
                      </a:lnTo>
                      <a:lnTo>
                        <a:pt x="9" y="69"/>
                      </a:lnTo>
                      <a:lnTo>
                        <a:pt x="8" y="71"/>
                      </a:lnTo>
                      <a:lnTo>
                        <a:pt x="5" y="71"/>
                      </a:lnTo>
                      <a:lnTo>
                        <a:pt x="2" y="71"/>
                      </a:lnTo>
                      <a:lnTo>
                        <a:pt x="2" y="74"/>
                      </a:lnTo>
                      <a:lnTo>
                        <a:pt x="0" y="78"/>
                      </a:lnTo>
                      <a:lnTo>
                        <a:pt x="0" y="82"/>
                      </a:lnTo>
                      <a:lnTo>
                        <a:pt x="1" y="84"/>
                      </a:lnTo>
                      <a:lnTo>
                        <a:pt x="2" y="87"/>
                      </a:lnTo>
                      <a:lnTo>
                        <a:pt x="3" y="91"/>
                      </a:lnTo>
                      <a:lnTo>
                        <a:pt x="5" y="95"/>
                      </a:lnTo>
                      <a:lnTo>
                        <a:pt x="6" y="97"/>
                      </a:lnTo>
                      <a:lnTo>
                        <a:pt x="6" y="100"/>
                      </a:lnTo>
                      <a:lnTo>
                        <a:pt x="3" y="102"/>
                      </a:lnTo>
                      <a:lnTo>
                        <a:pt x="3" y="103"/>
                      </a:lnTo>
                      <a:lnTo>
                        <a:pt x="3" y="104"/>
                      </a:lnTo>
                      <a:lnTo>
                        <a:pt x="3" y="107"/>
                      </a:lnTo>
                      <a:lnTo>
                        <a:pt x="3" y="109"/>
                      </a:lnTo>
                      <a:lnTo>
                        <a:pt x="6" y="112"/>
                      </a:lnTo>
                      <a:lnTo>
                        <a:pt x="6" y="115"/>
                      </a:lnTo>
                      <a:lnTo>
                        <a:pt x="7" y="116"/>
                      </a:lnTo>
                      <a:lnTo>
                        <a:pt x="9" y="118"/>
                      </a:lnTo>
                      <a:lnTo>
                        <a:pt x="12" y="121"/>
                      </a:lnTo>
                      <a:lnTo>
                        <a:pt x="13" y="121"/>
                      </a:lnTo>
                      <a:lnTo>
                        <a:pt x="15" y="123"/>
                      </a:lnTo>
                      <a:lnTo>
                        <a:pt x="18" y="127"/>
                      </a:lnTo>
                      <a:lnTo>
                        <a:pt x="19" y="131"/>
                      </a:lnTo>
                      <a:lnTo>
                        <a:pt x="20" y="135"/>
                      </a:lnTo>
                      <a:lnTo>
                        <a:pt x="23" y="143"/>
                      </a:lnTo>
                      <a:lnTo>
                        <a:pt x="23" y="144"/>
                      </a:lnTo>
                      <a:lnTo>
                        <a:pt x="26" y="148"/>
                      </a:lnTo>
                      <a:lnTo>
                        <a:pt x="27" y="152"/>
                      </a:lnTo>
                      <a:lnTo>
                        <a:pt x="29" y="156"/>
                      </a:lnTo>
                      <a:lnTo>
                        <a:pt x="32" y="157"/>
                      </a:lnTo>
                      <a:lnTo>
                        <a:pt x="33" y="157"/>
                      </a:lnTo>
                      <a:lnTo>
                        <a:pt x="36" y="157"/>
                      </a:lnTo>
                      <a:lnTo>
                        <a:pt x="40" y="160"/>
                      </a:lnTo>
                      <a:lnTo>
                        <a:pt x="40" y="162"/>
                      </a:lnTo>
                      <a:lnTo>
                        <a:pt x="42" y="164"/>
                      </a:lnTo>
                      <a:lnTo>
                        <a:pt x="43" y="163"/>
                      </a:lnTo>
                      <a:lnTo>
                        <a:pt x="46" y="164"/>
                      </a:lnTo>
                      <a:lnTo>
                        <a:pt x="46" y="165"/>
                      </a:lnTo>
                      <a:lnTo>
                        <a:pt x="47" y="167"/>
                      </a:lnTo>
                      <a:lnTo>
                        <a:pt x="48" y="165"/>
                      </a:lnTo>
                      <a:lnTo>
                        <a:pt x="52" y="168"/>
                      </a:lnTo>
                      <a:lnTo>
                        <a:pt x="56" y="168"/>
                      </a:lnTo>
                      <a:lnTo>
                        <a:pt x="58" y="169"/>
                      </a:lnTo>
                      <a:lnTo>
                        <a:pt x="61" y="169"/>
                      </a:lnTo>
                      <a:lnTo>
                        <a:pt x="61" y="170"/>
                      </a:lnTo>
                      <a:lnTo>
                        <a:pt x="63" y="172"/>
                      </a:lnTo>
                      <a:lnTo>
                        <a:pt x="66" y="172"/>
                      </a:lnTo>
                      <a:lnTo>
                        <a:pt x="68" y="175"/>
                      </a:lnTo>
                      <a:lnTo>
                        <a:pt x="71" y="175"/>
                      </a:lnTo>
                      <a:lnTo>
                        <a:pt x="73" y="177"/>
                      </a:lnTo>
                      <a:lnTo>
                        <a:pt x="75" y="177"/>
                      </a:lnTo>
                      <a:lnTo>
                        <a:pt x="78" y="177"/>
                      </a:lnTo>
                      <a:lnTo>
                        <a:pt x="79" y="177"/>
                      </a:lnTo>
                      <a:lnTo>
                        <a:pt x="81" y="180"/>
                      </a:lnTo>
                      <a:lnTo>
                        <a:pt x="82" y="176"/>
                      </a:lnTo>
                      <a:lnTo>
                        <a:pt x="83" y="175"/>
                      </a:lnTo>
                      <a:lnTo>
                        <a:pt x="88" y="180"/>
                      </a:lnTo>
                      <a:lnTo>
                        <a:pt x="88" y="181"/>
                      </a:lnTo>
                      <a:lnTo>
                        <a:pt x="92" y="185"/>
                      </a:lnTo>
                      <a:lnTo>
                        <a:pt x="93" y="191"/>
                      </a:lnTo>
                      <a:lnTo>
                        <a:pt x="93" y="197"/>
                      </a:lnTo>
                      <a:lnTo>
                        <a:pt x="95" y="201"/>
                      </a:lnTo>
                      <a:lnTo>
                        <a:pt x="93" y="209"/>
                      </a:lnTo>
                      <a:lnTo>
                        <a:pt x="95" y="210"/>
                      </a:lnTo>
                      <a:lnTo>
                        <a:pt x="95" y="212"/>
                      </a:lnTo>
                      <a:lnTo>
                        <a:pt x="96" y="214"/>
                      </a:lnTo>
                      <a:lnTo>
                        <a:pt x="96" y="212"/>
                      </a:lnTo>
                      <a:lnTo>
                        <a:pt x="99" y="214"/>
                      </a:lnTo>
                      <a:lnTo>
                        <a:pt x="99" y="217"/>
                      </a:lnTo>
                      <a:lnTo>
                        <a:pt x="108" y="217"/>
                      </a:lnTo>
                      <a:lnTo>
                        <a:pt x="108" y="218"/>
                      </a:lnTo>
                      <a:lnTo>
                        <a:pt x="112" y="218"/>
                      </a:lnTo>
                      <a:lnTo>
                        <a:pt x="113" y="215"/>
                      </a:lnTo>
                      <a:lnTo>
                        <a:pt x="115" y="215"/>
                      </a:lnTo>
                      <a:lnTo>
                        <a:pt x="118" y="215"/>
                      </a:lnTo>
                      <a:lnTo>
                        <a:pt x="118" y="216"/>
                      </a:lnTo>
                      <a:lnTo>
                        <a:pt x="120" y="217"/>
                      </a:lnTo>
                      <a:lnTo>
                        <a:pt x="121" y="221"/>
                      </a:lnTo>
                      <a:lnTo>
                        <a:pt x="127" y="219"/>
                      </a:lnTo>
                      <a:lnTo>
                        <a:pt x="127" y="221"/>
                      </a:lnTo>
                      <a:lnTo>
                        <a:pt x="130" y="221"/>
                      </a:lnTo>
                      <a:lnTo>
                        <a:pt x="133" y="217"/>
                      </a:lnTo>
                      <a:lnTo>
                        <a:pt x="134" y="218"/>
                      </a:lnTo>
                      <a:lnTo>
                        <a:pt x="136" y="218"/>
                      </a:lnTo>
                      <a:lnTo>
                        <a:pt x="136" y="217"/>
                      </a:lnTo>
                      <a:lnTo>
                        <a:pt x="139" y="219"/>
                      </a:lnTo>
                      <a:lnTo>
                        <a:pt x="140" y="221"/>
                      </a:lnTo>
                      <a:lnTo>
                        <a:pt x="142" y="219"/>
                      </a:lnTo>
                      <a:lnTo>
                        <a:pt x="145" y="221"/>
                      </a:lnTo>
                      <a:lnTo>
                        <a:pt x="147" y="218"/>
                      </a:lnTo>
                      <a:lnTo>
                        <a:pt x="148" y="219"/>
                      </a:lnTo>
                      <a:lnTo>
                        <a:pt x="148" y="218"/>
                      </a:lnTo>
                      <a:lnTo>
                        <a:pt x="152" y="217"/>
                      </a:lnTo>
                      <a:lnTo>
                        <a:pt x="154" y="211"/>
                      </a:lnTo>
                      <a:lnTo>
                        <a:pt x="159" y="211"/>
                      </a:lnTo>
                      <a:lnTo>
                        <a:pt x="161" y="214"/>
                      </a:lnTo>
                      <a:lnTo>
                        <a:pt x="163" y="215"/>
                      </a:lnTo>
                      <a:lnTo>
                        <a:pt x="166" y="211"/>
                      </a:lnTo>
                      <a:lnTo>
                        <a:pt x="168" y="211"/>
                      </a:lnTo>
                      <a:lnTo>
                        <a:pt x="170" y="209"/>
                      </a:lnTo>
                      <a:lnTo>
                        <a:pt x="178" y="209"/>
                      </a:lnTo>
                      <a:lnTo>
                        <a:pt x="182" y="207"/>
                      </a:lnTo>
                      <a:lnTo>
                        <a:pt x="190" y="202"/>
                      </a:lnTo>
                      <a:lnTo>
                        <a:pt x="194" y="198"/>
                      </a:lnTo>
                      <a:lnTo>
                        <a:pt x="199" y="196"/>
                      </a:lnTo>
                      <a:lnTo>
                        <a:pt x="200" y="194"/>
                      </a:lnTo>
                      <a:lnTo>
                        <a:pt x="199" y="192"/>
                      </a:lnTo>
                      <a:lnTo>
                        <a:pt x="199" y="191"/>
                      </a:lnTo>
                      <a:lnTo>
                        <a:pt x="199" y="191"/>
                      </a:lnTo>
                      <a:lnTo>
                        <a:pt x="199" y="191"/>
                      </a:lnTo>
                      <a:lnTo>
                        <a:pt x="199" y="192"/>
                      </a:lnTo>
                      <a:lnTo>
                        <a:pt x="199" y="194"/>
                      </a:lnTo>
                      <a:lnTo>
                        <a:pt x="198" y="194"/>
                      </a:lnTo>
                      <a:lnTo>
                        <a:pt x="196" y="192"/>
                      </a:lnTo>
                      <a:lnTo>
                        <a:pt x="196" y="191"/>
                      </a:lnTo>
                      <a:lnTo>
                        <a:pt x="195" y="190"/>
                      </a:lnTo>
                      <a:lnTo>
                        <a:pt x="195" y="190"/>
                      </a:lnTo>
                      <a:lnTo>
                        <a:pt x="194" y="190"/>
                      </a:lnTo>
                      <a:lnTo>
                        <a:pt x="194" y="191"/>
                      </a:lnTo>
                      <a:lnTo>
                        <a:pt x="195" y="191"/>
                      </a:lnTo>
                      <a:lnTo>
                        <a:pt x="194" y="191"/>
                      </a:lnTo>
                      <a:lnTo>
                        <a:pt x="194" y="191"/>
                      </a:lnTo>
                      <a:lnTo>
                        <a:pt x="193" y="191"/>
                      </a:lnTo>
                      <a:lnTo>
                        <a:pt x="193" y="190"/>
                      </a:lnTo>
                      <a:lnTo>
                        <a:pt x="194" y="190"/>
                      </a:lnTo>
                      <a:lnTo>
                        <a:pt x="194" y="189"/>
                      </a:lnTo>
                      <a:lnTo>
                        <a:pt x="193" y="189"/>
                      </a:lnTo>
                      <a:lnTo>
                        <a:pt x="192" y="188"/>
                      </a:lnTo>
                      <a:lnTo>
                        <a:pt x="190" y="189"/>
                      </a:lnTo>
                      <a:lnTo>
                        <a:pt x="190" y="189"/>
                      </a:lnTo>
                      <a:lnTo>
                        <a:pt x="190" y="190"/>
                      </a:lnTo>
                      <a:lnTo>
                        <a:pt x="190" y="189"/>
                      </a:lnTo>
                      <a:lnTo>
                        <a:pt x="190" y="188"/>
                      </a:lnTo>
                      <a:lnTo>
                        <a:pt x="190" y="188"/>
                      </a:lnTo>
                      <a:lnTo>
                        <a:pt x="190" y="187"/>
                      </a:lnTo>
                      <a:lnTo>
                        <a:pt x="189" y="185"/>
                      </a:lnTo>
                      <a:lnTo>
                        <a:pt x="188" y="185"/>
                      </a:lnTo>
                      <a:lnTo>
                        <a:pt x="187" y="185"/>
                      </a:lnTo>
                      <a:lnTo>
                        <a:pt x="187" y="185"/>
                      </a:lnTo>
                      <a:lnTo>
                        <a:pt x="186" y="185"/>
                      </a:lnTo>
                      <a:lnTo>
                        <a:pt x="186" y="187"/>
                      </a:lnTo>
                      <a:lnTo>
                        <a:pt x="186" y="187"/>
                      </a:lnTo>
                      <a:lnTo>
                        <a:pt x="186" y="185"/>
                      </a:lnTo>
                      <a:lnTo>
                        <a:pt x="186" y="185"/>
                      </a:lnTo>
                      <a:lnTo>
                        <a:pt x="186" y="184"/>
                      </a:lnTo>
                      <a:lnTo>
                        <a:pt x="186" y="183"/>
                      </a:lnTo>
                      <a:lnTo>
                        <a:pt x="187" y="183"/>
                      </a:lnTo>
                      <a:lnTo>
                        <a:pt x="187" y="183"/>
                      </a:lnTo>
                      <a:lnTo>
                        <a:pt x="187" y="183"/>
                      </a:lnTo>
                      <a:lnTo>
                        <a:pt x="187" y="182"/>
                      </a:lnTo>
                      <a:lnTo>
                        <a:pt x="187" y="182"/>
                      </a:lnTo>
                      <a:lnTo>
                        <a:pt x="188" y="182"/>
                      </a:lnTo>
                      <a:lnTo>
                        <a:pt x="188" y="182"/>
                      </a:lnTo>
                      <a:lnTo>
                        <a:pt x="188" y="181"/>
                      </a:lnTo>
                      <a:lnTo>
                        <a:pt x="187" y="181"/>
                      </a:lnTo>
                      <a:lnTo>
                        <a:pt x="187" y="181"/>
                      </a:lnTo>
                      <a:lnTo>
                        <a:pt x="187" y="181"/>
                      </a:lnTo>
                      <a:lnTo>
                        <a:pt x="187" y="178"/>
                      </a:lnTo>
                      <a:lnTo>
                        <a:pt x="187" y="177"/>
                      </a:lnTo>
                      <a:lnTo>
                        <a:pt x="187" y="176"/>
                      </a:lnTo>
                      <a:lnTo>
                        <a:pt x="187" y="175"/>
                      </a:lnTo>
                      <a:lnTo>
                        <a:pt x="186" y="175"/>
                      </a:lnTo>
                      <a:lnTo>
                        <a:pt x="185" y="175"/>
                      </a:lnTo>
                      <a:lnTo>
                        <a:pt x="183" y="175"/>
                      </a:lnTo>
                      <a:lnTo>
                        <a:pt x="183" y="174"/>
                      </a:lnTo>
                      <a:lnTo>
                        <a:pt x="183" y="172"/>
                      </a:lnTo>
                      <a:lnTo>
                        <a:pt x="183" y="172"/>
                      </a:lnTo>
                      <a:lnTo>
                        <a:pt x="185" y="174"/>
                      </a:lnTo>
                      <a:lnTo>
                        <a:pt x="185" y="174"/>
                      </a:lnTo>
                      <a:lnTo>
                        <a:pt x="186" y="172"/>
                      </a:lnTo>
                      <a:lnTo>
                        <a:pt x="186" y="171"/>
                      </a:lnTo>
                      <a:lnTo>
                        <a:pt x="186" y="170"/>
                      </a:lnTo>
                      <a:lnTo>
                        <a:pt x="185" y="170"/>
                      </a:lnTo>
                      <a:lnTo>
                        <a:pt x="185" y="170"/>
                      </a:lnTo>
                      <a:lnTo>
                        <a:pt x="185" y="169"/>
                      </a:lnTo>
                      <a:lnTo>
                        <a:pt x="185" y="169"/>
                      </a:lnTo>
                      <a:lnTo>
                        <a:pt x="186" y="169"/>
                      </a:lnTo>
                      <a:lnTo>
                        <a:pt x="186" y="169"/>
                      </a:lnTo>
                      <a:lnTo>
                        <a:pt x="186" y="169"/>
                      </a:lnTo>
                      <a:lnTo>
                        <a:pt x="186" y="168"/>
                      </a:lnTo>
                      <a:lnTo>
                        <a:pt x="183" y="167"/>
                      </a:lnTo>
                      <a:lnTo>
                        <a:pt x="182" y="168"/>
                      </a:lnTo>
                      <a:lnTo>
                        <a:pt x="181" y="167"/>
                      </a:lnTo>
                      <a:lnTo>
                        <a:pt x="182" y="164"/>
                      </a:lnTo>
                      <a:lnTo>
                        <a:pt x="182" y="164"/>
                      </a:lnTo>
                      <a:lnTo>
                        <a:pt x="182" y="163"/>
                      </a:lnTo>
                      <a:lnTo>
                        <a:pt x="182" y="163"/>
                      </a:lnTo>
                      <a:lnTo>
                        <a:pt x="182" y="163"/>
                      </a:lnTo>
                      <a:lnTo>
                        <a:pt x="181" y="163"/>
                      </a:lnTo>
                      <a:lnTo>
                        <a:pt x="181" y="163"/>
                      </a:lnTo>
                      <a:lnTo>
                        <a:pt x="180" y="163"/>
                      </a:lnTo>
                      <a:lnTo>
                        <a:pt x="181" y="163"/>
                      </a:lnTo>
                      <a:lnTo>
                        <a:pt x="181" y="163"/>
                      </a:lnTo>
                      <a:lnTo>
                        <a:pt x="181" y="162"/>
                      </a:lnTo>
                      <a:lnTo>
                        <a:pt x="181" y="162"/>
                      </a:lnTo>
                      <a:lnTo>
                        <a:pt x="182" y="162"/>
                      </a:lnTo>
                      <a:lnTo>
                        <a:pt x="182" y="162"/>
                      </a:lnTo>
                      <a:lnTo>
                        <a:pt x="183" y="163"/>
                      </a:lnTo>
                      <a:lnTo>
                        <a:pt x="183" y="163"/>
                      </a:lnTo>
                      <a:lnTo>
                        <a:pt x="183" y="163"/>
                      </a:lnTo>
                      <a:lnTo>
                        <a:pt x="183" y="163"/>
                      </a:lnTo>
                      <a:lnTo>
                        <a:pt x="183" y="163"/>
                      </a:lnTo>
                      <a:lnTo>
                        <a:pt x="183" y="162"/>
                      </a:lnTo>
                      <a:lnTo>
                        <a:pt x="182" y="161"/>
                      </a:lnTo>
                      <a:lnTo>
                        <a:pt x="182" y="160"/>
                      </a:lnTo>
                      <a:lnTo>
                        <a:pt x="181" y="160"/>
                      </a:lnTo>
                      <a:lnTo>
                        <a:pt x="180" y="158"/>
                      </a:lnTo>
                      <a:lnTo>
                        <a:pt x="181" y="158"/>
                      </a:lnTo>
                      <a:lnTo>
                        <a:pt x="181" y="156"/>
                      </a:lnTo>
                      <a:lnTo>
                        <a:pt x="180" y="156"/>
                      </a:lnTo>
                      <a:lnTo>
                        <a:pt x="180" y="156"/>
                      </a:lnTo>
                      <a:lnTo>
                        <a:pt x="180" y="156"/>
                      </a:lnTo>
                      <a:lnTo>
                        <a:pt x="180" y="155"/>
                      </a:lnTo>
                      <a:lnTo>
                        <a:pt x="180" y="154"/>
                      </a:lnTo>
                      <a:lnTo>
                        <a:pt x="180" y="150"/>
                      </a:lnTo>
                      <a:lnTo>
                        <a:pt x="180" y="150"/>
                      </a:lnTo>
                      <a:lnTo>
                        <a:pt x="181" y="150"/>
                      </a:lnTo>
                      <a:lnTo>
                        <a:pt x="181" y="149"/>
                      </a:lnTo>
                      <a:lnTo>
                        <a:pt x="181" y="148"/>
                      </a:lnTo>
                      <a:lnTo>
                        <a:pt x="181" y="147"/>
                      </a:lnTo>
                      <a:lnTo>
                        <a:pt x="181" y="145"/>
                      </a:lnTo>
                      <a:lnTo>
                        <a:pt x="182" y="145"/>
                      </a:lnTo>
                      <a:lnTo>
                        <a:pt x="183" y="143"/>
                      </a:lnTo>
                      <a:lnTo>
                        <a:pt x="182" y="142"/>
                      </a:lnTo>
                      <a:lnTo>
                        <a:pt x="182" y="141"/>
                      </a:lnTo>
                      <a:lnTo>
                        <a:pt x="181" y="140"/>
                      </a:lnTo>
                      <a:lnTo>
                        <a:pt x="180" y="138"/>
                      </a:lnTo>
                      <a:lnTo>
                        <a:pt x="180" y="138"/>
                      </a:lnTo>
                      <a:lnTo>
                        <a:pt x="180" y="140"/>
                      </a:lnTo>
                      <a:lnTo>
                        <a:pt x="181" y="140"/>
                      </a:lnTo>
                      <a:lnTo>
                        <a:pt x="180" y="141"/>
                      </a:lnTo>
                      <a:lnTo>
                        <a:pt x="180" y="140"/>
                      </a:lnTo>
                      <a:lnTo>
                        <a:pt x="179" y="140"/>
                      </a:lnTo>
                      <a:lnTo>
                        <a:pt x="180" y="140"/>
                      </a:lnTo>
                      <a:lnTo>
                        <a:pt x="179" y="137"/>
                      </a:lnTo>
                      <a:lnTo>
                        <a:pt x="180" y="135"/>
                      </a:lnTo>
                      <a:lnTo>
                        <a:pt x="181" y="134"/>
                      </a:lnTo>
                      <a:lnTo>
                        <a:pt x="181" y="132"/>
                      </a:lnTo>
                      <a:lnTo>
                        <a:pt x="181" y="131"/>
                      </a:lnTo>
                      <a:lnTo>
                        <a:pt x="181" y="131"/>
                      </a:lnTo>
                      <a:lnTo>
                        <a:pt x="180" y="130"/>
                      </a:lnTo>
                      <a:lnTo>
                        <a:pt x="181" y="130"/>
                      </a:lnTo>
                      <a:lnTo>
                        <a:pt x="181" y="130"/>
                      </a:lnTo>
                      <a:lnTo>
                        <a:pt x="182" y="129"/>
                      </a:lnTo>
                      <a:lnTo>
                        <a:pt x="182" y="128"/>
                      </a:lnTo>
                      <a:lnTo>
                        <a:pt x="183" y="127"/>
                      </a:lnTo>
                      <a:lnTo>
                        <a:pt x="185" y="127"/>
                      </a:lnTo>
                      <a:lnTo>
                        <a:pt x="185" y="124"/>
                      </a:lnTo>
                      <a:lnTo>
                        <a:pt x="185" y="123"/>
                      </a:lnTo>
                      <a:lnTo>
                        <a:pt x="185" y="123"/>
                      </a:lnTo>
                      <a:lnTo>
                        <a:pt x="183" y="121"/>
                      </a:lnTo>
                      <a:lnTo>
                        <a:pt x="181" y="121"/>
                      </a:lnTo>
                      <a:lnTo>
                        <a:pt x="180" y="121"/>
                      </a:lnTo>
                      <a:lnTo>
                        <a:pt x="180" y="118"/>
                      </a:lnTo>
                      <a:lnTo>
                        <a:pt x="180" y="118"/>
                      </a:lnTo>
                      <a:lnTo>
                        <a:pt x="179" y="116"/>
                      </a:lnTo>
                      <a:lnTo>
                        <a:pt x="179" y="116"/>
                      </a:lnTo>
                      <a:lnTo>
                        <a:pt x="178" y="112"/>
                      </a:lnTo>
                      <a:lnTo>
                        <a:pt x="176" y="112"/>
                      </a:lnTo>
                      <a:lnTo>
                        <a:pt x="176" y="112"/>
                      </a:lnTo>
                      <a:lnTo>
                        <a:pt x="175" y="112"/>
                      </a:lnTo>
                      <a:lnTo>
                        <a:pt x="175" y="112"/>
                      </a:lnTo>
                      <a:lnTo>
                        <a:pt x="175" y="112"/>
                      </a:lnTo>
                      <a:lnTo>
                        <a:pt x="175" y="112"/>
                      </a:lnTo>
                      <a:lnTo>
                        <a:pt x="173" y="112"/>
                      </a:lnTo>
                      <a:lnTo>
                        <a:pt x="173" y="111"/>
                      </a:lnTo>
                      <a:lnTo>
                        <a:pt x="172" y="109"/>
                      </a:lnTo>
                      <a:lnTo>
                        <a:pt x="173" y="107"/>
                      </a:lnTo>
                      <a:lnTo>
                        <a:pt x="172" y="105"/>
                      </a:lnTo>
                      <a:lnTo>
                        <a:pt x="172" y="104"/>
                      </a:lnTo>
                      <a:lnTo>
                        <a:pt x="172" y="102"/>
                      </a:lnTo>
                      <a:lnTo>
                        <a:pt x="172" y="101"/>
                      </a:lnTo>
                      <a:lnTo>
                        <a:pt x="172" y="100"/>
                      </a:lnTo>
                      <a:lnTo>
                        <a:pt x="173" y="95"/>
                      </a:lnTo>
                      <a:lnTo>
                        <a:pt x="175" y="91"/>
                      </a:lnTo>
                      <a:lnTo>
                        <a:pt x="175" y="91"/>
                      </a:lnTo>
                      <a:lnTo>
                        <a:pt x="175" y="91"/>
                      </a:lnTo>
                      <a:lnTo>
                        <a:pt x="175" y="91"/>
                      </a:lnTo>
                      <a:lnTo>
                        <a:pt x="175" y="90"/>
                      </a:lnTo>
                      <a:lnTo>
                        <a:pt x="176" y="88"/>
                      </a:lnTo>
                      <a:lnTo>
                        <a:pt x="176" y="87"/>
                      </a:lnTo>
                      <a:lnTo>
                        <a:pt x="176" y="87"/>
                      </a:lnTo>
                      <a:lnTo>
                        <a:pt x="176" y="87"/>
                      </a:lnTo>
                      <a:lnTo>
                        <a:pt x="178" y="85"/>
                      </a:lnTo>
                      <a:lnTo>
                        <a:pt x="178" y="85"/>
                      </a:lnTo>
                      <a:lnTo>
                        <a:pt x="178" y="84"/>
                      </a:lnTo>
                      <a:lnTo>
                        <a:pt x="176" y="83"/>
                      </a:lnTo>
                      <a:lnTo>
                        <a:pt x="178" y="83"/>
                      </a:lnTo>
                      <a:lnTo>
                        <a:pt x="178" y="82"/>
                      </a:lnTo>
                      <a:lnTo>
                        <a:pt x="178" y="81"/>
                      </a:lnTo>
                      <a:lnTo>
                        <a:pt x="179" y="80"/>
                      </a:lnTo>
                      <a:lnTo>
                        <a:pt x="179" y="80"/>
                      </a:lnTo>
                      <a:lnTo>
                        <a:pt x="179" y="82"/>
                      </a:lnTo>
                      <a:lnTo>
                        <a:pt x="179" y="81"/>
                      </a:lnTo>
                      <a:lnTo>
                        <a:pt x="179" y="81"/>
                      </a:lnTo>
                      <a:lnTo>
                        <a:pt x="180" y="80"/>
                      </a:lnTo>
                      <a:lnTo>
                        <a:pt x="180" y="78"/>
                      </a:lnTo>
                      <a:lnTo>
                        <a:pt x="179" y="78"/>
                      </a:lnTo>
                      <a:lnTo>
                        <a:pt x="179" y="78"/>
                      </a:lnTo>
                      <a:lnTo>
                        <a:pt x="180" y="77"/>
                      </a:lnTo>
                      <a:lnTo>
                        <a:pt x="180" y="77"/>
                      </a:lnTo>
                      <a:lnTo>
                        <a:pt x="180" y="76"/>
                      </a:lnTo>
                      <a:lnTo>
                        <a:pt x="180" y="75"/>
                      </a:lnTo>
                      <a:lnTo>
                        <a:pt x="179" y="75"/>
                      </a:lnTo>
                      <a:lnTo>
                        <a:pt x="152" y="51"/>
                      </a:lnTo>
                      <a:lnTo>
                        <a:pt x="153" y="50"/>
                      </a:lnTo>
                      <a:lnTo>
                        <a:pt x="153" y="49"/>
                      </a:lnTo>
                      <a:lnTo>
                        <a:pt x="153" y="47"/>
                      </a:lnTo>
                      <a:lnTo>
                        <a:pt x="150" y="43"/>
                      </a:lnTo>
                      <a:lnTo>
                        <a:pt x="86" y="1"/>
                      </a:lnTo>
                      <a:lnTo>
                        <a:pt x="86" y="0"/>
                      </a:lnTo>
                      <a:lnTo>
                        <a:pt x="26" y="0"/>
                      </a:lnTo>
                      <a:lnTo>
                        <a:pt x="26" y="0"/>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548" name="Saudi Arabia">
                  <a:extLst>
                    <a:ext uri="{FF2B5EF4-FFF2-40B4-BE49-F238E27FC236}">
                      <a16:creationId xmlns:a16="http://schemas.microsoft.com/office/drawing/2014/main" id="{ED7E17BD-E752-744C-9963-5D4936B4046F}"/>
                    </a:ext>
                  </a:extLst>
                </p:cNvPr>
                <p:cNvSpPr>
                  <a:spLocks/>
                </p:cNvSpPr>
                <p:nvPr/>
              </p:nvSpPr>
              <p:spPr bwMode="auto">
                <a:xfrm>
                  <a:off x="7244389" y="3022828"/>
                  <a:ext cx="564226" cy="484039"/>
                </a:xfrm>
                <a:custGeom>
                  <a:avLst/>
                  <a:gdLst>
                    <a:gd name="T0" fmla="*/ 229 w 387"/>
                    <a:gd name="T1" fmla="*/ 75 h 332"/>
                    <a:gd name="T2" fmla="*/ 245 w 387"/>
                    <a:gd name="T3" fmla="*/ 78 h 332"/>
                    <a:gd name="T4" fmla="*/ 249 w 387"/>
                    <a:gd name="T5" fmla="*/ 87 h 332"/>
                    <a:gd name="T6" fmla="*/ 250 w 387"/>
                    <a:gd name="T7" fmla="*/ 91 h 332"/>
                    <a:gd name="T8" fmla="*/ 250 w 387"/>
                    <a:gd name="T9" fmla="*/ 94 h 332"/>
                    <a:gd name="T10" fmla="*/ 256 w 387"/>
                    <a:gd name="T11" fmla="*/ 96 h 332"/>
                    <a:gd name="T12" fmla="*/ 256 w 387"/>
                    <a:gd name="T13" fmla="*/ 96 h 332"/>
                    <a:gd name="T14" fmla="*/ 261 w 387"/>
                    <a:gd name="T15" fmla="*/ 102 h 332"/>
                    <a:gd name="T16" fmla="*/ 263 w 387"/>
                    <a:gd name="T17" fmla="*/ 103 h 332"/>
                    <a:gd name="T18" fmla="*/ 267 w 387"/>
                    <a:gd name="T19" fmla="*/ 107 h 332"/>
                    <a:gd name="T20" fmla="*/ 274 w 387"/>
                    <a:gd name="T21" fmla="*/ 114 h 332"/>
                    <a:gd name="T22" fmla="*/ 277 w 387"/>
                    <a:gd name="T23" fmla="*/ 123 h 332"/>
                    <a:gd name="T24" fmla="*/ 275 w 387"/>
                    <a:gd name="T25" fmla="*/ 127 h 332"/>
                    <a:gd name="T26" fmla="*/ 279 w 387"/>
                    <a:gd name="T27" fmla="*/ 131 h 332"/>
                    <a:gd name="T28" fmla="*/ 283 w 387"/>
                    <a:gd name="T29" fmla="*/ 138 h 332"/>
                    <a:gd name="T30" fmla="*/ 287 w 387"/>
                    <a:gd name="T31" fmla="*/ 144 h 332"/>
                    <a:gd name="T32" fmla="*/ 292 w 387"/>
                    <a:gd name="T33" fmla="*/ 153 h 332"/>
                    <a:gd name="T34" fmla="*/ 373 w 387"/>
                    <a:gd name="T35" fmla="*/ 249 h 332"/>
                    <a:gd name="T36" fmla="*/ 185 w 387"/>
                    <a:gd name="T37" fmla="*/ 304 h 332"/>
                    <a:gd name="T38" fmla="*/ 176 w 387"/>
                    <a:gd name="T39" fmla="*/ 302 h 332"/>
                    <a:gd name="T40" fmla="*/ 167 w 387"/>
                    <a:gd name="T41" fmla="*/ 311 h 332"/>
                    <a:gd name="T42" fmla="*/ 167 w 387"/>
                    <a:gd name="T43" fmla="*/ 322 h 332"/>
                    <a:gd name="T44" fmla="*/ 160 w 387"/>
                    <a:gd name="T45" fmla="*/ 321 h 332"/>
                    <a:gd name="T46" fmla="*/ 157 w 387"/>
                    <a:gd name="T47" fmla="*/ 311 h 332"/>
                    <a:gd name="T48" fmla="*/ 154 w 387"/>
                    <a:gd name="T49" fmla="*/ 305 h 332"/>
                    <a:gd name="T50" fmla="*/ 146 w 387"/>
                    <a:gd name="T51" fmla="*/ 297 h 332"/>
                    <a:gd name="T52" fmla="*/ 140 w 387"/>
                    <a:gd name="T53" fmla="*/ 291 h 332"/>
                    <a:gd name="T54" fmla="*/ 137 w 387"/>
                    <a:gd name="T55" fmla="*/ 285 h 332"/>
                    <a:gd name="T56" fmla="*/ 132 w 387"/>
                    <a:gd name="T57" fmla="*/ 278 h 332"/>
                    <a:gd name="T58" fmla="*/ 128 w 387"/>
                    <a:gd name="T59" fmla="*/ 269 h 332"/>
                    <a:gd name="T60" fmla="*/ 123 w 387"/>
                    <a:gd name="T61" fmla="*/ 257 h 332"/>
                    <a:gd name="T62" fmla="*/ 117 w 387"/>
                    <a:gd name="T63" fmla="*/ 253 h 332"/>
                    <a:gd name="T64" fmla="*/ 109 w 387"/>
                    <a:gd name="T65" fmla="*/ 245 h 332"/>
                    <a:gd name="T66" fmla="*/ 101 w 387"/>
                    <a:gd name="T67" fmla="*/ 242 h 332"/>
                    <a:gd name="T68" fmla="*/ 96 w 387"/>
                    <a:gd name="T69" fmla="*/ 235 h 332"/>
                    <a:gd name="T70" fmla="*/ 95 w 387"/>
                    <a:gd name="T71" fmla="*/ 233 h 332"/>
                    <a:gd name="T72" fmla="*/ 90 w 387"/>
                    <a:gd name="T73" fmla="*/ 225 h 332"/>
                    <a:gd name="T74" fmla="*/ 90 w 387"/>
                    <a:gd name="T75" fmla="*/ 217 h 332"/>
                    <a:gd name="T76" fmla="*/ 87 w 387"/>
                    <a:gd name="T77" fmla="*/ 210 h 332"/>
                    <a:gd name="T78" fmla="*/ 87 w 387"/>
                    <a:gd name="T79" fmla="*/ 204 h 332"/>
                    <a:gd name="T80" fmla="*/ 89 w 387"/>
                    <a:gd name="T81" fmla="*/ 197 h 332"/>
                    <a:gd name="T82" fmla="*/ 86 w 387"/>
                    <a:gd name="T83" fmla="*/ 191 h 332"/>
                    <a:gd name="T84" fmla="*/ 83 w 387"/>
                    <a:gd name="T85" fmla="*/ 185 h 332"/>
                    <a:gd name="T86" fmla="*/ 80 w 387"/>
                    <a:gd name="T87" fmla="*/ 177 h 332"/>
                    <a:gd name="T88" fmla="*/ 74 w 387"/>
                    <a:gd name="T89" fmla="*/ 173 h 332"/>
                    <a:gd name="T90" fmla="*/ 66 w 387"/>
                    <a:gd name="T91" fmla="*/ 164 h 332"/>
                    <a:gd name="T92" fmla="*/ 61 w 387"/>
                    <a:gd name="T93" fmla="*/ 163 h 332"/>
                    <a:gd name="T94" fmla="*/ 55 w 387"/>
                    <a:gd name="T95" fmla="*/ 158 h 332"/>
                    <a:gd name="T96" fmla="*/ 53 w 387"/>
                    <a:gd name="T97" fmla="*/ 150 h 332"/>
                    <a:gd name="T98" fmla="*/ 47 w 387"/>
                    <a:gd name="T99" fmla="*/ 137 h 332"/>
                    <a:gd name="T100" fmla="*/ 41 w 387"/>
                    <a:gd name="T101" fmla="*/ 127 h 332"/>
                    <a:gd name="T102" fmla="*/ 29 w 387"/>
                    <a:gd name="T103" fmla="*/ 111 h 332"/>
                    <a:gd name="T104" fmla="*/ 18 w 387"/>
                    <a:gd name="T105" fmla="*/ 97 h 332"/>
                    <a:gd name="T106" fmla="*/ 12 w 387"/>
                    <a:gd name="T107" fmla="*/ 87 h 332"/>
                    <a:gd name="T108" fmla="*/ 7 w 387"/>
                    <a:gd name="T109" fmla="*/ 84 h 332"/>
                    <a:gd name="T110" fmla="*/ 2 w 387"/>
                    <a:gd name="T111" fmla="*/ 86 h 332"/>
                    <a:gd name="T112" fmla="*/ 2 w 387"/>
                    <a:gd name="T113" fmla="*/ 81 h 332"/>
                    <a:gd name="T114" fmla="*/ 5 w 387"/>
                    <a:gd name="T115" fmla="*/ 60 h 332"/>
                    <a:gd name="T116" fmla="*/ 49 w 387"/>
                    <a:gd name="T117" fmla="*/ 44 h 332"/>
                    <a:gd name="T118" fmla="*/ 145 w 387"/>
                    <a:gd name="T119" fmla="*/ 36 h 3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87" h="332">
                      <a:moveTo>
                        <a:pt x="175" y="61"/>
                      </a:moveTo>
                      <a:lnTo>
                        <a:pt x="190" y="70"/>
                      </a:lnTo>
                      <a:lnTo>
                        <a:pt x="208" y="64"/>
                      </a:lnTo>
                      <a:lnTo>
                        <a:pt x="225" y="66"/>
                      </a:lnTo>
                      <a:lnTo>
                        <a:pt x="226" y="69"/>
                      </a:lnTo>
                      <a:lnTo>
                        <a:pt x="227" y="71"/>
                      </a:lnTo>
                      <a:lnTo>
                        <a:pt x="227" y="73"/>
                      </a:lnTo>
                      <a:lnTo>
                        <a:pt x="229" y="74"/>
                      </a:lnTo>
                      <a:lnTo>
                        <a:pt x="229" y="75"/>
                      </a:lnTo>
                      <a:lnTo>
                        <a:pt x="242" y="75"/>
                      </a:lnTo>
                      <a:lnTo>
                        <a:pt x="242" y="75"/>
                      </a:lnTo>
                      <a:lnTo>
                        <a:pt x="243" y="76"/>
                      </a:lnTo>
                      <a:lnTo>
                        <a:pt x="245" y="76"/>
                      </a:lnTo>
                      <a:lnTo>
                        <a:pt x="245" y="78"/>
                      </a:lnTo>
                      <a:lnTo>
                        <a:pt x="242" y="78"/>
                      </a:lnTo>
                      <a:lnTo>
                        <a:pt x="243" y="78"/>
                      </a:lnTo>
                      <a:lnTo>
                        <a:pt x="245" y="78"/>
                      </a:lnTo>
                      <a:lnTo>
                        <a:pt x="245" y="78"/>
                      </a:lnTo>
                      <a:lnTo>
                        <a:pt x="245" y="80"/>
                      </a:lnTo>
                      <a:lnTo>
                        <a:pt x="245" y="81"/>
                      </a:lnTo>
                      <a:lnTo>
                        <a:pt x="246" y="81"/>
                      </a:lnTo>
                      <a:lnTo>
                        <a:pt x="246" y="82"/>
                      </a:lnTo>
                      <a:lnTo>
                        <a:pt x="246" y="83"/>
                      </a:lnTo>
                      <a:lnTo>
                        <a:pt x="247" y="84"/>
                      </a:lnTo>
                      <a:lnTo>
                        <a:pt x="248" y="86"/>
                      </a:lnTo>
                      <a:lnTo>
                        <a:pt x="249" y="87"/>
                      </a:lnTo>
                      <a:lnTo>
                        <a:pt x="249" y="87"/>
                      </a:lnTo>
                      <a:lnTo>
                        <a:pt x="250" y="89"/>
                      </a:lnTo>
                      <a:lnTo>
                        <a:pt x="252" y="90"/>
                      </a:lnTo>
                      <a:lnTo>
                        <a:pt x="250" y="91"/>
                      </a:lnTo>
                      <a:lnTo>
                        <a:pt x="250" y="90"/>
                      </a:lnTo>
                      <a:lnTo>
                        <a:pt x="250" y="90"/>
                      </a:lnTo>
                      <a:lnTo>
                        <a:pt x="250" y="90"/>
                      </a:lnTo>
                      <a:lnTo>
                        <a:pt x="250" y="89"/>
                      </a:lnTo>
                      <a:lnTo>
                        <a:pt x="250" y="91"/>
                      </a:lnTo>
                      <a:lnTo>
                        <a:pt x="250" y="91"/>
                      </a:lnTo>
                      <a:lnTo>
                        <a:pt x="250" y="91"/>
                      </a:lnTo>
                      <a:lnTo>
                        <a:pt x="250" y="93"/>
                      </a:lnTo>
                      <a:lnTo>
                        <a:pt x="252" y="91"/>
                      </a:lnTo>
                      <a:lnTo>
                        <a:pt x="250" y="93"/>
                      </a:lnTo>
                      <a:lnTo>
                        <a:pt x="252" y="93"/>
                      </a:lnTo>
                      <a:lnTo>
                        <a:pt x="252" y="93"/>
                      </a:lnTo>
                      <a:lnTo>
                        <a:pt x="250" y="93"/>
                      </a:lnTo>
                      <a:lnTo>
                        <a:pt x="252" y="93"/>
                      </a:lnTo>
                      <a:lnTo>
                        <a:pt x="250" y="94"/>
                      </a:lnTo>
                      <a:lnTo>
                        <a:pt x="252" y="94"/>
                      </a:lnTo>
                      <a:lnTo>
                        <a:pt x="252" y="94"/>
                      </a:lnTo>
                      <a:lnTo>
                        <a:pt x="252" y="95"/>
                      </a:lnTo>
                      <a:lnTo>
                        <a:pt x="252" y="95"/>
                      </a:lnTo>
                      <a:lnTo>
                        <a:pt x="254" y="95"/>
                      </a:lnTo>
                      <a:lnTo>
                        <a:pt x="254" y="94"/>
                      </a:lnTo>
                      <a:lnTo>
                        <a:pt x="254" y="94"/>
                      </a:lnTo>
                      <a:lnTo>
                        <a:pt x="256" y="96"/>
                      </a:lnTo>
                      <a:lnTo>
                        <a:pt x="256" y="96"/>
                      </a:lnTo>
                      <a:lnTo>
                        <a:pt x="256" y="95"/>
                      </a:lnTo>
                      <a:lnTo>
                        <a:pt x="256" y="95"/>
                      </a:lnTo>
                      <a:lnTo>
                        <a:pt x="257" y="95"/>
                      </a:lnTo>
                      <a:lnTo>
                        <a:pt x="260" y="96"/>
                      </a:lnTo>
                      <a:lnTo>
                        <a:pt x="259" y="96"/>
                      </a:lnTo>
                      <a:lnTo>
                        <a:pt x="260" y="97"/>
                      </a:lnTo>
                      <a:lnTo>
                        <a:pt x="259" y="97"/>
                      </a:lnTo>
                      <a:lnTo>
                        <a:pt x="257" y="97"/>
                      </a:lnTo>
                      <a:lnTo>
                        <a:pt x="256" y="96"/>
                      </a:lnTo>
                      <a:lnTo>
                        <a:pt x="257" y="97"/>
                      </a:lnTo>
                      <a:lnTo>
                        <a:pt x="257" y="98"/>
                      </a:lnTo>
                      <a:lnTo>
                        <a:pt x="259" y="98"/>
                      </a:lnTo>
                      <a:lnTo>
                        <a:pt x="260" y="98"/>
                      </a:lnTo>
                      <a:lnTo>
                        <a:pt x="260" y="98"/>
                      </a:lnTo>
                      <a:lnTo>
                        <a:pt x="260" y="100"/>
                      </a:lnTo>
                      <a:lnTo>
                        <a:pt x="260" y="100"/>
                      </a:lnTo>
                      <a:lnTo>
                        <a:pt x="261" y="102"/>
                      </a:lnTo>
                      <a:lnTo>
                        <a:pt x="261" y="102"/>
                      </a:lnTo>
                      <a:lnTo>
                        <a:pt x="262" y="103"/>
                      </a:lnTo>
                      <a:lnTo>
                        <a:pt x="262" y="102"/>
                      </a:lnTo>
                      <a:lnTo>
                        <a:pt x="262" y="102"/>
                      </a:lnTo>
                      <a:lnTo>
                        <a:pt x="263" y="102"/>
                      </a:lnTo>
                      <a:lnTo>
                        <a:pt x="262" y="102"/>
                      </a:lnTo>
                      <a:lnTo>
                        <a:pt x="262" y="103"/>
                      </a:lnTo>
                      <a:lnTo>
                        <a:pt x="262" y="103"/>
                      </a:lnTo>
                      <a:lnTo>
                        <a:pt x="263" y="103"/>
                      </a:lnTo>
                      <a:lnTo>
                        <a:pt x="263" y="103"/>
                      </a:lnTo>
                      <a:lnTo>
                        <a:pt x="263" y="103"/>
                      </a:lnTo>
                      <a:lnTo>
                        <a:pt x="265" y="103"/>
                      </a:lnTo>
                      <a:lnTo>
                        <a:pt x="265" y="103"/>
                      </a:lnTo>
                      <a:lnTo>
                        <a:pt x="265" y="103"/>
                      </a:lnTo>
                      <a:lnTo>
                        <a:pt x="265" y="103"/>
                      </a:lnTo>
                      <a:lnTo>
                        <a:pt x="265" y="103"/>
                      </a:lnTo>
                      <a:lnTo>
                        <a:pt x="266" y="103"/>
                      </a:lnTo>
                      <a:lnTo>
                        <a:pt x="267" y="106"/>
                      </a:lnTo>
                      <a:lnTo>
                        <a:pt x="267" y="107"/>
                      </a:lnTo>
                      <a:lnTo>
                        <a:pt x="270" y="109"/>
                      </a:lnTo>
                      <a:lnTo>
                        <a:pt x="274" y="109"/>
                      </a:lnTo>
                      <a:lnTo>
                        <a:pt x="276" y="113"/>
                      </a:lnTo>
                      <a:lnTo>
                        <a:pt x="276" y="114"/>
                      </a:lnTo>
                      <a:lnTo>
                        <a:pt x="276" y="113"/>
                      </a:lnTo>
                      <a:lnTo>
                        <a:pt x="274" y="113"/>
                      </a:lnTo>
                      <a:lnTo>
                        <a:pt x="274" y="111"/>
                      </a:lnTo>
                      <a:lnTo>
                        <a:pt x="274" y="113"/>
                      </a:lnTo>
                      <a:lnTo>
                        <a:pt x="274" y="114"/>
                      </a:lnTo>
                      <a:lnTo>
                        <a:pt x="274" y="116"/>
                      </a:lnTo>
                      <a:lnTo>
                        <a:pt x="276" y="117"/>
                      </a:lnTo>
                      <a:lnTo>
                        <a:pt x="276" y="118"/>
                      </a:lnTo>
                      <a:lnTo>
                        <a:pt x="277" y="118"/>
                      </a:lnTo>
                      <a:lnTo>
                        <a:pt x="279" y="120"/>
                      </a:lnTo>
                      <a:lnTo>
                        <a:pt x="279" y="121"/>
                      </a:lnTo>
                      <a:lnTo>
                        <a:pt x="280" y="122"/>
                      </a:lnTo>
                      <a:lnTo>
                        <a:pt x="280" y="123"/>
                      </a:lnTo>
                      <a:lnTo>
                        <a:pt x="277" y="123"/>
                      </a:lnTo>
                      <a:lnTo>
                        <a:pt x="277" y="123"/>
                      </a:lnTo>
                      <a:lnTo>
                        <a:pt x="277" y="123"/>
                      </a:lnTo>
                      <a:lnTo>
                        <a:pt x="277" y="124"/>
                      </a:lnTo>
                      <a:lnTo>
                        <a:pt x="277" y="124"/>
                      </a:lnTo>
                      <a:lnTo>
                        <a:pt x="277" y="123"/>
                      </a:lnTo>
                      <a:lnTo>
                        <a:pt x="275" y="122"/>
                      </a:lnTo>
                      <a:lnTo>
                        <a:pt x="275" y="124"/>
                      </a:lnTo>
                      <a:lnTo>
                        <a:pt x="275" y="126"/>
                      </a:lnTo>
                      <a:lnTo>
                        <a:pt x="275" y="127"/>
                      </a:lnTo>
                      <a:lnTo>
                        <a:pt x="275" y="128"/>
                      </a:lnTo>
                      <a:lnTo>
                        <a:pt x="276" y="127"/>
                      </a:lnTo>
                      <a:lnTo>
                        <a:pt x="276" y="127"/>
                      </a:lnTo>
                      <a:lnTo>
                        <a:pt x="277" y="126"/>
                      </a:lnTo>
                      <a:lnTo>
                        <a:pt x="277" y="127"/>
                      </a:lnTo>
                      <a:lnTo>
                        <a:pt x="277" y="128"/>
                      </a:lnTo>
                      <a:lnTo>
                        <a:pt x="277" y="129"/>
                      </a:lnTo>
                      <a:lnTo>
                        <a:pt x="279" y="130"/>
                      </a:lnTo>
                      <a:lnTo>
                        <a:pt x="279" y="131"/>
                      </a:lnTo>
                      <a:lnTo>
                        <a:pt x="280" y="133"/>
                      </a:lnTo>
                      <a:lnTo>
                        <a:pt x="281" y="134"/>
                      </a:lnTo>
                      <a:lnTo>
                        <a:pt x="281" y="134"/>
                      </a:lnTo>
                      <a:lnTo>
                        <a:pt x="280" y="133"/>
                      </a:lnTo>
                      <a:lnTo>
                        <a:pt x="279" y="133"/>
                      </a:lnTo>
                      <a:lnTo>
                        <a:pt x="279" y="133"/>
                      </a:lnTo>
                      <a:lnTo>
                        <a:pt x="280" y="134"/>
                      </a:lnTo>
                      <a:lnTo>
                        <a:pt x="280" y="134"/>
                      </a:lnTo>
                      <a:lnTo>
                        <a:pt x="283" y="138"/>
                      </a:lnTo>
                      <a:lnTo>
                        <a:pt x="283" y="137"/>
                      </a:lnTo>
                      <a:lnTo>
                        <a:pt x="283" y="137"/>
                      </a:lnTo>
                      <a:lnTo>
                        <a:pt x="283" y="137"/>
                      </a:lnTo>
                      <a:lnTo>
                        <a:pt x="283" y="138"/>
                      </a:lnTo>
                      <a:lnTo>
                        <a:pt x="286" y="138"/>
                      </a:lnTo>
                      <a:lnTo>
                        <a:pt x="287" y="141"/>
                      </a:lnTo>
                      <a:lnTo>
                        <a:pt x="287" y="142"/>
                      </a:lnTo>
                      <a:lnTo>
                        <a:pt x="287" y="143"/>
                      </a:lnTo>
                      <a:lnTo>
                        <a:pt x="287" y="144"/>
                      </a:lnTo>
                      <a:lnTo>
                        <a:pt x="287" y="147"/>
                      </a:lnTo>
                      <a:lnTo>
                        <a:pt x="287" y="147"/>
                      </a:lnTo>
                      <a:lnTo>
                        <a:pt x="287" y="147"/>
                      </a:lnTo>
                      <a:lnTo>
                        <a:pt x="289" y="149"/>
                      </a:lnTo>
                      <a:lnTo>
                        <a:pt x="290" y="149"/>
                      </a:lnTo>
                      <a:lnTo>
                        <a:pt x="290" y="150"/>
                      </a:lnTo>
                      <a:lnTo>
                        <a:pt x="290" y="153"/>
                      </a:lnTo>
                      <a:lnTo>
                        <a:pt x="290" y="153"/>
                      </a:lnTo>
                      <a:lnTo>
                        <a:pt x="292" y="153"/>
                      </a:lnTo>
                      <a:lnTo>
                        <a:pt x="293" y="153"/>
                      </a:lnTo>
                      <a:lnTo>
                        <a:pt x="296" y="156"/>
                      </a:lnTo>
                      <a:lnTo>
                        <a:pt x="299" y="163"/>
                      </a:lnTo>
                      <a:lnTo>
                        <a:pt x="307" y="177"/>
                      </a:lnTo>
                      <a:lnTo>
                        <a:pt x="316" y="188"/>
                      </a:lnTo>
                      <a:lnTo>
                        <a:pt x="368" y="203"/>
                      </a:lnTo>
                      <a:lnTo>
                        <a:pt x="375" y="195"/>
                      </a:lnTo>
                      <a:lnTo>
                        <a:pt x="387" y="209"/>
                      </a:lnTo>
                      <a:lnTo>
                        <a:pt x="373" y="249"/>
                      </a:lnTo>
                      <a:lnTo>
                        <a:pt x="321" y="278"/>
                      </a:lnTo>
                      <a:lnTo>
                        <a:pt x="259" y="300"/>
                      </a:lnTo>
                      <a:lnTo>
                        <a:pt x="229" y="332"/>
                      </a:lnTo>
                      <a:lnTo>
                        <a:pt x="227" y="320"/>
                      </a:lnTo>
                      <a:lnTo>
                        <a:pt x="192" y="304"/>
                      </a:lnTo>
                      <a:lnTo>
                        <a:pt x="190" y="304"/>
                      </a:lnTo>
                      <a:lnTo>
                        <a:pt x="190" y="304"/>
                      </a:lnTo>
                      <a:lnTo>
                        <a:pt x="187" y="304"/>
                      </a:lnTo>
                      <a:lnTo>
                        <a:pt x="185" y="304"/>
                      </a:lnTo>
                      <a:lnTo>
                        <a:pt x="185" y="304"/>
                      </a:lnTo>
                      <a:lnTo>
                        <a:pt x="182" y="304"/>
                      </a:lnTo>
                      <a:lnTo>
                        <a:pt x="181" y="305"/>
                      </a:lnTo>
                      <a:lnTo>
                        <a:pt x="181" y="305"/>
                      </a:lnTo>
                      <a:lnTo>
                        <a:pt x="181" y="304"/>
                      </a:lnTo>
                      <a:lnTo>
                        <a:pt x="180" y="304"/>
                      </a:lnTo>
                      <a:lnTo>
                        <a:pt x="179" y="304"/>
                      </a:lnTo>
                      <a:lnTo>
                        <a:pt x="177" y="304"/>
                      </a:lnTo>
                      <a:lnTo>
                        <a:pt x="176" y="302"/>
                      </a:lnTo>
                      <a:lnTo>
                        <a:pt x="174" y="302"/>
                      </a:lnTo>
                      <a:lnTo>
                        <a:pt x="172" y="301"/>
                      </a:lnTo>
                      <a:lnTo>
                        <a:pt x="169" y="303"/>
                      </a:lnTo>
                      <a:lnTo>
                        <a:pt x="169" y="304"/>
                      </a:lnTo>
                      <a:lnTo>
                        <a:pt x="167" y="304"/>
                      </a:lnTo>
                      <a:lnTo>
                        <a:pt x="170" y="307"/>
                      </a:lnTo>
                      <a:lnTo>
                        <a:pt x="167" y="308"/>
                      </a:lnTo>
                      <a:lnTo>
                        <a:pt x="167" y="311"/>
                      </a:lnTo>
                      <a:lnTo>
                        <a:pt x="167" y="311"/>
                      </a:lnTo>
                      <a:lnTo>
                        <a:pt x="167" y="312"/>
                      </a:lnTo>
                      <a:lnTo>
                        <a:pt x="167" y="314"/>
                      </a:lnTo>
                      <a:lnTo>
                        <a:pt x="167" y="315"/>
                      </a:lnTo>
                      <a:lnTo>
                        <a:pt x="170" y="316"/>
                      </a:lnTo>
                      <a:lnTo>
                        <a:pt x="170" y="316"/>
                      </a:lnTo>
                      <a:lnTo>
                        <a:pt x="168" y="318"/>
                      </a:lnTo>
                      <a:lnTo>
                        <a:pt x="169" y="320"/>
                      </a:lnTo>
                      <a:lnTo>
                        <a:pt x="167" y="320"/>
                      </a:lnTo>
                      <a:lnTo>
                        <a:pt x="167" y="322"/>
                      </a:lnTo>
                      <a:lnTo>
                        <a:pt x="165" y="323"/>
                      </a:lnTo>
                      <a:lnTo>
                        <a:pt x="165" y="323"/>
                      </a:lnTo>
                      <a:lnTo>
                        <a:pt x="165" y="324"/>
                      </a:lnTo>
                      <a:lnTo>
                        <a:pt x="162" y="325"/>
                      </a:lnTo>
                      <a:lnTo>
                        <a:pt x="162" y="325"/>
                      </a:lnTo>
                      <a:lnTo>
                        <a:pt x="162" y="324"/>
                      </a:lnTo>
                      <a:lnTo>
                        <a:pt x="162" y="323"/>
                      </a:lnTo>
                      <a:lnTo>
                        <a:pt x="162" y="322"/>
                      </a:lnTo>
                      <a:lnTo>
                        <a:pt x="160" y="321"/>
                      </a:lnTo>
                      <a:lnTo>
                        <a:pt x="161" y="320"/>
                      </a:lnTo>
                      <a:lnTo>
                        <a:pt x="160" y="320"/>
                      </a:lnTo>
                      <a:lnTo>
                        <a:pt x="160" y="318"/>
                      </a:lnTo>
                      <a:lnTo>
                        <a:pt x="160" y="316"/>
                      </a:lnTo>
                      <a:lnTo>
                        <a:pt x="157" y="315"/>
                      </a:lnTo>
                      <a:lnTo>
                        <a:pt x="157" y="315"/>
                      </a:lnTo>
                      <a:lnTo>
                        <a:pt x="157" y="312"/>
                      </a:lnTo>
                      <a:lnTo>
                        <a:pt x="157" y="311"/>
                      </a:lnTo>
                      <a:lnTo>
                        <a:pt x="157" y="311"/>
                      </a:lnTo>
                      <a:lnTo>
                        <a:pt x="155" y="311"/>
                      </a:lnTo>
                      <a:lnTo>
                        <a:pt x="154" y="309"/>
                      </a:lnTo>
                      <a:lnTo>
                        <a:pt x="154" y="308"/>
                      </a:lnTo>
                      <a:lnTo>
                        <a:pt x="154" y="309"/>
                      </a:lnTo>
                      <a:lnTo>
                        <a:pt x="154" y="310"/>
                      </a:lnTo>
                      <a:lnTo>
                        <a:pt x="155" y="311"/>
                      </a:lnTo>
                      <a:lnTo>
                        <a:pt x="154" y="309"/>
                      </a:lnTo>
                      <a:lnTo>
                        <a:pt x="154" y="307"/>
                      </a:lnTo>
                      <a:lnTo>
                        <a:pt x="154" y="305"/>
                      </a:lnTo>
                      <a:lnTo>
                        <a:pt x="152" y="304"/>
                      </a:lnTo>
                      <a:lnTo>
                        <a:pt x="152" y="304"/>
                      </a:lnTo>
                      <a:lnTo>
                        <a:pt x="150" y="303"/>
                      </a:lnTo>
                      <a:lnTo>
                        <a:pt x="149" y="301"/>
                      </a:lnTo>
                      <a:lnTo>
                        <a:pt x="149" y="301"/>
                      </a:lnTo>
                      <a:lnTo>
                        <a:pt x="149" y="301"/>
                      </a:lnTo>
                      <a:lnTo>
                        <a:pt x="148" y="298"/>
                      </a:lnTo>
                      <a:lnTo>
                        <a:pt x="147" y="298"/>
                      </a:lnTo>
                      <a:lnTo>
                        <a:pt x="146" y="297"/>
                      </a:lnTo>
                      <a:lnTo>
                        <a:pt x="146" y="296"/>
                      </a:lnTo>
                      <a:lnTo>
                        <a:pt x="145" y="296"/>
                      </a:lnTo>
                      <a:lnTo>
                        <a:pt x="143" y="295"/>
                      </a:lnTo>
                      <a:lnTo>
                        <a:pt x="143" y="296"/>
                      </a:lnTo>
                      <a:lnTo>
                        <a:pt x="143" y="294"/>
                      </a:lnTo>
                      <a:lnTo>
                        <a:pt x="142" y="294"/>
                      </a:lnTo>
                      <a:lnTo>
                        <a:pt x="142" y="294"/>
                      </a:lnTo>
                      <a:lnTo>
                        <a:pt x="141" y="292"/>
                      </a:lnTo>
                      <a:lnTo>
                        <a:pt x="140" y="291"/>
                      </a:lnTo>
                      <a:lnTo>
                        <a:pt x="140" y="291"/>
                      </a:lnTo>
                      <a:lnTo>
                        <a:pt x="140" y="290"/>
                      </a:lnTo>
                      <a:lnTo>
                        <a:pt x="139" y="290"/>
                      </a:lnTo>
                      <a:lnTo>
                        <a:pt x="139" y="289"/>
                      </a:lnTo>
                      <a:lnTo>
                        <a:pt x="137" y="288"/>
                      </a:lnTo>
                      <a:lnTo>
                        <a:pt x="137" y="288"/>
                      </a:lnTo>
                      <a:lnTo>
                        <a:pt x="137" y="287"/>
                      </a:lnTo>
                      <a:lnTo>
                        <a:pt x="137" y="287"/>
                      </a:lnTo>
                      <a:lnTo>
                        <a:pt x="137" y="285"/>
                      </a:lnTo>
                      <a:lnTo>
                        <a:pt x="137" y="285"/>
                      </a:lnTo>
                      <a:lnTo>
                        <a:pt x="137" y="285"/>
                      </a:lnTo>
                      <a:lnTo>
                        <a:pt x="135" y="283"/>
                      </a:lnTo>
                      <a:lnTo>
                        <a:pt x="135" y="282"/>
                      </a:lnTo>
                      <a:lnTo>
                        <a:pt x="135" y="281"/>
                      </a:lnTo>
                      <a:lnTo>
                        <a:pt x="135" y="280"/>
                      </a:lnTo>
                      <a:lnTo>
                        <a:pt x="132" y="280"/>
                      </a:lnTo>
                      <a:lnTo>
                        <a:pt x="132" y="280"/>
                      </a:lnTo>
                      <a:lnTo>
                        <a:pt x="132" y="278"/>
                      </a:lnTo>
                      <a:lnTo>
                        <a:pt x="132" y="277"/>
                      </a:lnTo>
                      <a:lnTo>
                        <a:pt x="130" y="276"/>
                      </a:lnTo>
                      <a:lnTo>
                        <a:pt x="132" y="275"/>
                      </a:lnTo>
                      <a:lnTo>
                        <a:pt x="132" y="274"/>
                      </a:lnTo>
                      <a:lnTo>
                        <a:pt x="130" y="274"/>
                      </a:lnTo>
                      <a:lnTo>
                        <a:pt x="129" y="274"/>
                      </a:lnTo>
                      <a:lnTo>
                        <a:pt x="129" y="271"/>
                      </a:lnTo>
                      <a:lnTo>
                        <a:pt x="129" y="269"/>
                      </a:lnTo>
                      <a:lnTo>
                        <a:pt x="128" y="269"/>
                      </a:lnTo>
                      <a:lnTo>
                        <a:pt x="128" y="267"/>
                      </a:lnTo>
                      <a:lnTo>
                        <a:pt x="128" y="267"/>
                      </a:lnTo>
                      <a:lnTo>
                        <a:pt x="126" y="264"/>
                      </a:lnTo>
                      <a:lnTo>
                        <a:pt x="126" y="262"/>
                      </a:lnTo>
                      <a:lnTo>
                        <a:pt x="126" y="261"/>
                      </a:lnTo>
                      <a:lnTo>
                        <a:pt x="123" y="260"/>
                      </a:lnTo>
                      <a:lnTo>
                        <a:pt x="122" y="257"/>
                      </a:lnTo>
                      <a:lnTo>
                        <a:pt x="123" y="258"/>
                      </a:lnTo>
                      <a:lnTo>
                        <a:pt x="123" y="257"/>
                      </a:lnTo>
                      <a:lnTo>
                        <a:pt x="122" y="256"/>
                      </a:lnTo>
                      <a:lnTo>
                        <a:pt x="121" y="255"/>
                      </a:lnTo>
                      <a:lnTo>
                        <a:pt x="120" y="255"/>
                      </a:lnTo>
                      <a:lnTo>
                        <a:pt x="120" y="255"/>
                      </a:lnTo>
                      <a:lnTo>
                        <a:pt x="120" y="255"/>
                      </a:lnTo>
                      <a:lnTo>
                        <a:pt x="119" y="254"/>
                      </a:lnTo>
                      <a:lnTo>
                        <a:pt x="119" y="254"/>
                      </a:lnTo>
                      <a:lnTo>
                        <a:pt x="117" y="253"/>
                      </a:lnTo>
                      <a:lnTo>
                        <a:pt x="117" y="253"/>
                      </a:lnTo>
                      <a:lnTo>
                        <a:pt x="117" y="251"/>
                      </a:lnTo>
                      <a:lnTo>
                        <a:pt x="117" y="251"/>
                      </a:lnTo>
                      <a:lnTo>
                        <a:pt x="115" y="250"/>
                      </a:lnTo>
                      <a:lnTo>
                        <a:pt x="115" y="249"/>
                      </a:lnTo>
                      <a:lnTo>
                        <a:pt x="114" y="249"/>
                      </a:lnTo>
                      <a:lnTo>
                        <a:pt x="112" y="248"/>
                      </a:lnTo>
                      <a:lnTo>
                        <a:pt x="112" y="247"/>
                      </a:lnTo>
                      <a:lnTo>
                        <a:pt x="112" y="245"/>
                      </a:lnTo>
                      <a:lnTo>
                        <a:pt x="109" y="245"/>
                      </a:lnTo>
                      <a:lnTo>
                        <a:pt x="109" y="245"/>
                      </a:lnTo>
                      <a:lnTo>
                        <a:pt x="109" y="244"/>
                      </a:lnTo>
                      <a:lnTo>
                        <a:pt x="108" y="244"/>
                      </a:lnTo>
                      <a:lnTo>
                        <a:pt x="107" y="244"/>
                      </a:lnTo>
                      <a:lnTo>
                        <a:pt x="106" y="244"/>
                      </a:lnTo>
                      <a:lnTo>
                        <a:pt x="106" y="244"/>
                      </a:lnTo>
                      <a:lnTo>
                        <a:pt x="106" y="244"/>
                      </a:lnTo>
                      <a:lnTo>
                        <a:pt x="102" y="243"/>
                      </a:lnTo>
                      <a:lnTo>
                        <a:pt x="101" y="242"/>
                      </a:lnTo>
                      <a:lnTo>
                        <a:pt x="100" y="240"/>
                      </a:lnTo>
                      <a:lnTo>
                        <a:pt x="99" y="238"/>
                      </a:lnTo>
                      <a:lnTo>
                        <a:pt x="99" y="237"/>
                      </a:lnTo>
                      <a:lnTo>
                        <a:pt x="99" y="237"/>
                      </a:lnTo>
                      <a:lnTo>
                        <a:pt x="99" y="236"/>
                      </a:lnTo>
                      <a:lnTo>
                        <a:pt x="99" y="236"/>
                      </a:lnTo>
                      <a:lnTo>
                        <a:pt x="99" y="235"/>
                      </a:lnTo>
                      <a:lnTo>
                        <a:pt x="96" y="235"/>
                      </a:lnTo>
                      <a:lnTo>
                        <a:pt x="96" y="235"/>
                      </a:lnTo>
                      <a:lnTo>
                        <a:pt x="95" y="234"/>
                      </a:lnTo>
                      <a:lnTo>
                        <a:pt x="95" y="234"/>
                      </a:lnTo>
                      <a:lnTo>
                        <a:pt x="96" y="234"/>
                      </a:lnTo>
                      <a:lnTo>
                        <a:pt x="96" y="234"/>
                      </a:lnTo>
                      <a:lnTo>
                        <a:pt x="95" y="233"/>
                      </a:lnTo>
                      <a:lnTo>
                        <a:pt x="95" y="234"/>
                      </a:lnTo>
                      <a:lnTo>
                        <a:pt x="95" y="233"/>
                      </a:lnTo>
                      <a:lnTo>
                        <a:pt x="95" y="231"/>
                      </a:lnTo>
                      <a:lnTo>
                        <a:pt x="95" y="233"/>
                      </a:lnTo>
                      <a:lnTo>
                        <a:pt x="95" y="231"/>
                      </a:lnTo>
                      <a:lnTo>
                        <a:pt x="93" y="231"/>
                      </a:lnTo>
                      <a:lnTo>
                        <a:pt x="93" y="230"/>
                      </a:lnTo>
                      <a:lnTo>
                        <a:pt x="93" y="229"/>
                      </a:lnTo>
                      <a:lnTo>
                        <a:pt x="93" y="228"/>
                      </a:lnTo>
                      <a:lnTo>
                        <a:pt x="92" y="227"/>
                      </a:lnTo>
                      <a:lnTo>
                        <a:pt x="90" y="225"/>
                      </a:lnTo>
                      <a:lnTo>
                        <a:pt x="90" y="225"/>
                      </a:lnTo>
                      <a:lnTo>
                        <a:pt x="90" y="225"/>
                      </a:lnTo>
                      <a:lnTo>
                        <a:pt x="90" y="223"/>
                      </a:lnTo>
                      <a:lnTo>
                        <a:pt x="90" y="222"/>
                      </a:lnTo>
                      <a:lnTo>
                        <a:pt x="90" y="221"/>
                      </a:lnTo>
                      <a:lnTo>
                        <a:pt x="90" y="220"/>
                      </a:lnTo>
                      <a:lnTo>
                        <a:pt x="90" y="220"/>
                      </a:lnTo>
                      <a:lnTo>
                        <a:pt x="90" y="218"/>
                      </a:lnTo>
                      <a:lnTo>
                        <a:pt x="90" y="218"/>
                      </a:lnTo>
                      <a:lnTo>
                        <a:pt x="90" y="218"/>
                      </a:lnTo>
                      <a:lnTo>
                        <a:pt x="90" y="217"/>
                      </a:lnTo>
                      <a:lnTo>
                        <a:pt x="90" y="217"/>
                      </a:lnTo>
                      <a:lnTo>
                        <a:pt x="90" y="216"/>
                      </a:lnTo>
                      <a:lnTo>
                        <a:pt x="90" y="215"/>
                      </a:lnTo>
                      <a:lnTo>
                        <a:pt x="89" y="215"/>
                      </a:lnTo>
                      <a:lnTo>
                        <a:pt x="87" y="214"/>
                      </a:lnTo>
                      <a:lnTo>
                        <a:pt x="87" y="211"/>
                      </a:lnTo>
                      <a:lnTo>
                        <a:pt x="87" y="211"/>
                      </a:lnTo>
                      <a:lnTo>
                        <a:pt x="87" y="210"/>
                      </a:lnTo>
                      <a:lnTo>
                        <a:pt x="87" y="210"/>
                      </a:lnTo>
                      <a:lnTo>
                        <a:pt x="87" y="213"/>
                      </a:lnTo>
                      <a:lnTo>
                        <a:pt x="87" y="211"/>
                      </a:lnTo>
                      <a:lnTo>
                        <a:pt x="87" y="210"/>
                      </a:lnTo>
                      <a:lnTo>
                        <a:pt x="87" y="208"/>
                      </a:lnTo>
                      <a:lnTo>
                        <a:pt x="87" y="207"/>
                      </a:lnTo>
                      <a:lnTo>
                        <a:pt x="88" y="205"/>
                      </a:lnTo>
                      <a:lnTo>
                        <a:pt x="87" y="207"/>
                      </a:lnTo>
                      <a:lnTo>
                        <a:pt x="87" y="205"/>
                      </a:lnTo>
                      <a:lnTo>
                        <a:pt x="87" y="204"/>
                      </a:lnTo>
                      <a:lnTo>
                        <a:pt x="88" y="204"/>
                      </a:lnTo>
                      <a:lnTo>
                        <a:pt x="89" y="203"/>
                      </a:lnTo>
                      <a:lnTo>
                        <a:pt x="89" y="202"/>
                      </a:lnTo>
                      <a:lnTo>
                        <a:pt x="89" y="201"/>
                      </a:lnTo>
                      <a:lnTo>
                        <a:pt x="89" y="201"/>
                      </a:lnTo>
                      <a:lnTo>
                        <a:pt x="89" y="201"/>
                      </a:lnTo>
                      <a:lnTo>
                        <a:pt x="89" y="202"/>
                      </a:lnTo>
                      <a:lnTo>
                        <a:pt x="88" y="201"/>
                      </a:lnTo>
                      <a:lnTo>
                        <a:pt x="89" y="197"/>
                      </a:lnTo>
                      <a:lnTo>
                        <a:pt x="86" y="194"/>
                      </a:lnTo>
                      <a:lnTo>
                        <a:pt x="86" y="194"/>
                      </a:lnTo>
                      <a:lnTo>
                        <a:pt x="86" y="191"/>
                      </a:lnTo>
                      <a:lnTo>
                        <a:pt x="86" y="193"/>
                      </a:lnTo>
                      <a:lnTo>
                        <a:pt x="86" y="194"/>
                      </a:lnTo>
                      <a:lnTo>
                        <a:pt x="83" y="190"/>
                      </a:lnTo>
                      <a:lnTo>
                        <a:pt x="86" y="191"/>
                      </a:lnTo>
                      <a:lnTo>
                        <a:pt x="86" y="191"/>
                      </a:lnTo>
                      <a:lnTo>
                        <a:pt x="86" y="191"/>
                      </a:lnTo>
                      <a:lnTo>
                        <a:pt x="86" y="190"/>
                      </a:lnTo>
                      <a:lnTo>
                        <a:pt x="86" y="190"/>
                      </a:lnTo>
                      <a:lnTo>
                        <a:pt x="86" y="189"/>
                      </a:lnTo>
                      <a:lnTo>
                        <a:pt x="83" y="189"/>
                      </a:lnTo>
                      <a:lnTo>
                        <a:pt x="83" y="188"/>
                      </a:lnTo>
                      <a:lnTo>
                        <a:pt x="83" y="188"/>
                      </a:lnTo>
                      <a:lnTo>
                        <a:pt x="83" y="187"/>
                      </a:lnTo>
                      <a:lnTo>
                        <a:pt x="83" y="185"/>
                      </a:lnTo>
                      <a:lnTo>
                        <a:pt x="83" y="185"/>
                      </a:lnTo>
                      <a:lnTo>
                        <a:pt x="81" y="185"/>
                      </a:lnTo>
                      <a:lnTo>
                        <a:pt x="81" y="184"/>
                      </a:lnTo>
                      <a:lnTo>
                        <a:pt x="80" y="183"/>
                      </a:lnTo>
                      <a:lnTo>
                        <a:pt x="80" y="183"/>
                      </a:lnTo>
                      <a:lnTo>
                        <a:pt x="80" y="182"/>
                      </a:lnTo>
                      <a:lnTo>
                        <a:pt x="80" y="182"/>
                      </a:lnTo>
                      <a:lnTo>
                        <a:pt x="80" y="180"/>
                      </a:lnTo>
                      <a:lnTo>
                        <a:pt x="80" y="180"/>
                      </a:lnTo>
                      <a:lnTo>
                        <a:pt x="80" y="177"/>
                      </a:lnTo>
                      <a:lnTo>
                        <a:pt x="77" y="177"/>
                      </a:lnTo>
                      <a:lnTo>
                        <a:pt x="77" y="177"/>
                      </a:lnTo>
                      <a:lnTo>
                        <a:pt x="77" y="177"/>
                      </a:lnTo>
                      <a:lnTo>
                        <a:pt x="77" y="177"/>
                      </a:lnTo>
                      <a:lnTo>
                        <a:pt x="77" y="177"/>
                      </a:lnTo>
                      <a:lnTo>
                        <a:pt x="77" y="177"/>
                      </a:lnTo>
                      <a:lnTo>
                        <a:pt x="77" y="175"/>
                      </a:lnTo>
                      <a:lnTo>
                        <a:pt x="74" y="174"/>
                      </a:lnTo>
                      <a:lnTo>
                        <a:pt x="74" y="173"/>
                      </a:lnTo>
                      <a:lnTo>
                        <a:pt x="74" y="171"/>
                      </a:lnTo>
                      <a:lnTo>
                        <a:pt x="72" y="170"/>
                      </a:lnTo>
                      <a:lnTo>
                        <a:pt x="72" y="169"/>
                      </a:lnTo>
                      <a:lnTo>
                        <a:pt x="69" y="168"/>
                      </a:lnTo>
                      <a:lnTo>
                        <a:pt x="69" y="167"/>
                      </a:lnTo>
                      <a:lnTo>
                        <a:pt x="69" y="167"/>
                      </a:lnTo>
                      <a:lnTo>
                        <a:pt x="68" y="167"/>
                      </a:lnTo>
                      <a:lnTo>
                        <a:pt x="66" y="164"/>
                      </a:lnTo>
                      <a:lnTo>
                        <a:pt x="66" y="164"/>
                      </a:lnTo>
                      <a:lnTo>
                        <a:pt x="66" y="163"/>
                      </a:lnTo>
                      <a:lnTo>
                        <a:pt x="65" y="164"/>
                      </a:lnTo>
                      <a:lnTo>
                        <a:pt x="66" y="164"/>
                      </a:lnTo>
                      <a:lnTo>
                        <a:pt x="63" y="164"/>
                      </a:lnTo>
                      <a:lnTo>
                        <a:pt x="62" y="163"/>
                      </a:lnTo>
                      <a:lnTo>
                        <a:pt x="62" y="163"/>
                      </a:lnTo>
                      <a:lnTo>
                        <a:pt x="61" y="162"/>
                      </a:lnTo>
                      <a:lnTo>
                        <a:pt x="61" y="163"/>
                      </a:lnTo>
                      <a:lnTo>
                        <a:pt x="61" y="163"/>
                      </a:lnTo>
                      <a:lnTo>
                        <a:pt x="59" y="163"/>
                      </a:lnTo>
                      <a:lnTo>
                        <a:pt x="59" y="163"/>
                      </a:lnTo>
                      <a:lnTo>
                        <a:pt x="57" y="161"/>
                      </a:lnTo>
                      <a:lnTo>
                        <a:pt x="57" y="161"/>
                      </a:lnTo>
                      <a:lnTo>
                        <a:pt x="56" y="160"/>
                      </a:lnTo>
                      <a:lnTo>
                        <a:pt x="56" y="160"/>
                      </a:lnTo>
                      <a:lnTo>
                        <a:pt x="57" y="160"/>
                      </a:lnTo>
                      <a:lnTo>
                        <a:pt x="55" y="158"/>
                      </a:lnTo>
                      <a:lnTo>
                        <a:pt x="55" y="158"/>
                      </a:lnTo>
                      <a:lnTo>
                        <a:pt x="55" y="156"/>
                      </a:lnTo>
                      <a:lnTo>
                        <a:pt x="55" y="156"/>
                      </a:lnTo>
                      <a:lnTo>
                        <a:pt x="53" y="154"/>
                      </a:lnTo>
                      <a:lnTo>
                        <a:pt x="53" y="154"/>
                      </a:lnTo>
                      <a:lnTo>
                        <a:pt x="50" y="153"/>
                      </a:lnTo>
                      <a:lnTo>
                        <a:pt x="53" y="153"/>
                      </a:lnTo>
                      <a:lnTo>
                        <a:pt x="50" y="153"/>
                      </a:lnTo>
                      <a:lnTo>
                        <a:pt x="50" y="151"/>
                      </a:lnTo>
                      <a:lnTo>
                        <a:pt x="53" y="150"/>
                      </a:lnTo>
                      <a:lnTo>
                        <a:pt x="52" y="149"/>
                      </a:lnTo>
                      <a:lnTo>
                        <a:pt x="53" y="147"/>
                      </a:lnTo>
                      <a:lnTo>
                        <a:pt x="49" y="144"/>
                      </a:lnTo>
                      <a:lnTo>
                        <a:pt x="52" y="144"/>
                      </a:lnTo>
                      <a:lnTo>
                        <a:pt x="49" y="143"/>
                      </a:lnTo>
                      <a:lnTo>
                        <a:pt x="49" y="141"/>
                      </a:lnTo>
                      <a:lnTo>
                        <a:pt x="48" y="141"/>
                      </a:lnTo>
                      <a:lnTo>
                        <a:pt x="47" y="138"/>
                      </a:lnTo>
                      <a:lnTo>
                        <a:pt x="47" y="137"/>
                      </a:lnTo>
                      <a:lnTo>
                        <a:pt x="46" y="136"/>
                      </a:lnTo>
                      <a:lnTo>
                        <a:pt x="45" y="134"/>
                      </a:lnTo>
                      <a:lnTo>
                        <a:pt x="43" y="134"/>
                      </a:lnTo>
                      <a:lnTo>
                        <a:pt x="42" y="131"/>
                      </a:lnTo>
                      <a:lnTo>
                        <a:pt x="42" y="133"/>
                      </a:lnTo>
                      <a:lnTo>
                        <a:pt x="41" y="131"/>
                      </a:lnTo>
                      <a:lnTo>
                        <a:pt x="39" y="130"/>
                      </a:lnTo>
                      <a:lnTo>
                        <a:pt x="41" y="129"/>
                      </a:lnTo>
                      <a:lnTo>
                        <a:pt x="41" y="127"/>
                      </a:lnTo>
                      <a:lnTo>
                        <a:pt x="41" y="126"/>
                      </a:lnTo>
                      <a:lnTo>
                        <a:pt x="40" y="126"/>
                      </a:lnTo>
                      <a:lnTo>
                        <a:pt x="38" y="126"/>
                      </a:lnTo>
                      <a:lnTo>
                        <a:pt x="35" y="123"/>
                      </a:lnTo>
                      <a:lnTo>
                        <a:pt x="35" y="122"/>
                      </a:lnTo>
                      <a:lnTo>
                        <a:pt x="35" y="121"/>
                      </a:lnTo>
                      <a:lnTo>
                        <a:pt x="33" y="116"/>
                      </a:lnTo>
                      <a:lnTo>
                        <a:pt x="32" y="115"/>
                      </a:lnTo>
                      <a:lnTo>
                        <a:pt x="29" y="111"/>
                      </a:lnTo>
                      <a:lnTo>
                        <a:pt x="28" y="109"/>
                      </a:lnTo>
                      <a:lnTo>
                        <a:pt x="28" y="109"/>
                      </a:lnTo>
                      <a:lnTo>
                        <a:pt x="23" y="106"/>
                      </a:lnTo>
                      <a:lnTo>
                        <a:pt x="23" y="103"/>
                      </a:lnTo>
                      <a:lnTo>
                        <a:pt x="23" y="102"/>
                      </a:lnTo>
                      <a:lnTo>
                        <a:pt x="21" y="101"/>
                      </a:lnTo>
                      <a:lnTo>
                        <a:pt x="21" y="100"/>
                      </a:lnTo>
                      <a:lnTo>
                        <a:pt x="21" y="100"/>
                      </a:lnTo>
                      <a:lnTo>
                        <a:pt x="18" y="97"/>
                      </a:lnTo>
                      <a:lnTo>
                        <a:pt x="18" y="95"/>
                      </a:lnTo>
                      <a:lnTo>
                        <a:pt x="18" y="93"/>
                      </a:lnTo>
                      <a:lnTo>
                        <a:pt x="18" y="93"/>
                      </a:lnTo>
                      <a:lnTo>
                        <a:pt x="15" y="90"/>
                      </a:lnTo>
                      <a:lnTo>
                        <a:pt x="15" y="90"/>
                      </a:lnTo>
                      <a:lnTo>
                        <a:pt x="14" y="89"/>
                      </a:lnTo>
                      <a:lnTo>
                        <a:pt x="13" y="88"/>
                      </a:lnTo>
                      <a:lnTo>
                        <a:pt x="13" y="87"/>
                      </a:lnTo>
                      <a:lnTo>
                        <a:pt x="12" y="87"/>
                      </a:lnTo>
                      <a:lnTo>
                        <a:pt x="12" y="86"/>
                      </a:lnTo>
                      <a:lnTo>
                        <a:pt x="12" y="86"/>
                      </a:lnTo>
                      <a:lnTo>
                        <a:pt x="12" y="86"/>
                      </a:lnTo>
                      <a:lnTo>
                        <a:pt x="9" y="84"/>
                      </a:lnTo>
                      <a:lnTo>
                        <a:pt x="9" y="83"/>
                      </a:lnTo>
                      <a:lnTo>
                        <a:pt x="9" y="83"/>
                      </a:lnTo>
                      <a:lnTo>
                        <a:pt x="9" y="84"/>
                      </a:lnTo>
                      <a:lnTo>
                        <a:pt x="7" y="83"/>
                      </a:lnTo>
                      <a:lnTo>
                        <a:pt x="7" y="84"/>
                      </a:lnTo>
                      <a:lnTo>
                        <a:pt x="5" y="84"/>
                      </a:lnTo>
                      <a:lnTo>
                        <a:pt x="5" y="83"/>
                      </a:lnTo>
                      <a:lnTo>
                        <a:pt x="5" y="84"/>
                      </a:lnTo>
                      <a:lnTo>
                        <a:pt x="5" y="83"/>
                      </a:lnTo>
                      <a:lnTo>
                        <a:pt x="5" y="84"/>
                      </a:lnTo>
                      <a:lnTo>
                        <a:pt x="3" y="83"/>
                      </a:lnTo>
                      <a:lnTo>
                        <a:pt x="2" y="83"/>
                      </a:lnTo>
                      <a:lnTo>
                        <a:pt x="2" y="84"/>
                      </a:lnTo>
                      <a:lnTo>
                        <a:pt x="2" y="86"/>
                      </a:lnTo>
                      <a:lnTo>
                        <a:pt x="2" y="86"/>
                      </a:lnTo>
                      <a:lnTo>
                        <a:pt x="2" y="84"/>
                      </a:lnTo>
                      <a:lnTo>
                        <a:pt x="0" y="84"/>
                      </a:lnTo>
                      <a:lnTo>
                        <a:pt x="1" y="83"/>
                      </a:lnTo>
                      <a:lnTo>
                        <a:pt x="1" y="82"/>
                      </a:lnTo>
                      <a:lnTo>
                        <a:pt x="2" y="83"/>
                      </a:lnTo>
                      <a:lnTo>
                        <a:pt x="2" y="82"/>
                      </a:lnTo>
                      <a:lnTo>
                        <a:pt x="2" y="81"/>
                      </a:lnTo>
                      <a:lnTo>
                        <a:pt x="2" y="81"/>
                      </a:lnTo>
                      <a:lnTo>
                        <a:pt x="5" y="75"/>
                      </a:lnTo>
                      <a:lnTo>
                        <a:pt x="3" y="73"/>
                      </a:lnTo>
                      <a:lnTo>
                        <a:pt x="3" y="69"/>
                      </a:lnTo>
                      <a:lnTo>
                        <a:pt x="3" y="68"/>
                      </a:lnTo>
                      <a:lnTo>
                        <a:pt x="3" y="68"/>
                      </a:lnTo>
                      <a:lnTo>
                        <a:pt x="3" y="66"/>
                      </a:lnTo>
                      <a:lnTo>
                        <a:pt x="3" y="64"/>
                      </a:lnTo>
                      <a:lnTo>
                        <a:pt x="3" y="64"/>
                      </a:lnTo>
                      <a:lnTo>
                        <a:pt x="5" y="60"/>
                      </a:lnTo>
                      <a:lnTo>
                        <a:pt x="6" y="60"/>
                      </a:lnTo>
                      <a:lnTo>
                        <a:pt x="6" y="60"/>
                      </a:lnTo>
                      <a:lnTo>
                        <a:pt x="6" y="58"/>
                      </a:lnTo>
                      <a:lnTo>
                        <a:pt x="6" y="57"/>
                      </a:lnTo>
                      <a:lnTo>
                        <a:pt x="25" y="61"/>
                      </a:lnTo>
                      <a:lnTo>
                        <a:pt x="27" y="57"/>
                      </a:lnTo>
                      <a:lnTo>
                        <a:pt x="32" y="55"/>
                      </a:lnTo>
                      <a:lnTo>
                        <a:pt x="34" y="48"/>
                      </a:lnTo>
                      <a:lnTo>
                        <a:pt x="49" y="44"/>
                      </a:lnTo>
                      <a:lnTo>
                        <a:pt x="50" y="37"/>
                      </a:lnTo>
                      <a:lnTo>
                        <a:pt x="55" y="35"/>
                      </a:lnTo>
                      <a:lnTo>
                        <a:pt x="35" y="14"/>
                      </a:lnTo>
                      <a:lnTo>
                        <a:pt x="69" y="3"/>
                      </a:lnTo>
                      <a:lnTo>
                        <a:pt x="74" y="0"/>
                      </a:lnTo>
                      <a:lnTo>
                        <a:pt x="86" y="2"/>
                      </a:lnTo>
                      <a:lnTo>
                        <a:pt x="113" y="17"/>
                      </a:lnTo>
                      <a:lnTo>
                        <a:pt x="141" y="30"/>
                      </a:lnTo>
                      <a:lnTo>
                        <a:pt x="145" y="36"/>
                      </a:lnTo>
                      <a:lnTo>
                        <a:pt x="155" y="36"/>
                      </a:lnTo>
                      <a:lnTo>
                        <a:pt x="155" y="43"/>
                      </a:lnTo>
                      <a:lnTo>
                        <a:pt x="154" y="53"/>
                      </a:lnTo>
                      <a:lnTo>
                        <a:pt x="175" y="61"/>
                      </a:lnTo>
                      <a:lnTo>
                        <a:pt x="175" y="61"/>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549" name="Peru">
                  <a:extLst>
                    <a:ext uri="{FF2B5EF4-FFF2-40B4-BE49-F238E27FC236}">
                      <a16:creationId xmlns:a16="http://schemas.microsoft.com/office/drawing/2014/main" id="{BE948D56-2A1C-7D41-AF5F-0DA43A2E4008}"/>
                    </a:ext>
                  </a:extLst>
                </p:cNvPr>
                <p:cNvSpPr>
                  <a:spLocks/>
                </p:cNvSpPr>
                <p:nvPr/>
              </p:nvSpPr>
              <p:spPr bwMode="auto">
                <a:xfrm>
                  <a:off x="4214772" y="3987990"/>
                  <a:ext cx="349907" cy="548190"/>
                </a:xfrm>
                <a:custGeom>
                  <a:avLst/>
                  <a:gdLst>
                    <a:gd name="T0" fmla="*/ 4 w 240"/>
                    <a:gd name="T1" fmla="*/ 83 h 376"/>
                    <a:gd name="T2" fmla="*/ 2 w 240"/>
                    <a:gd name="T3" fmla="*/ 100 h 376"/>
                    <a:gd name="T4" fmla="*/ 9 w 240"/>
                    <a:gd name="T5" fmla="*/ 116 h 376"/>
                    <a:gd name="T6" fmla="*/ 5 w 240"/>
                    <a:gd name="T7" fmla="*/ 126 h 376"/>
                    <a:gd name="T8" fmla="*/ 31 w 240"/>
                    <a:gd name="T9" fmla="*/ 146 h 376"/>
                    <a:gd name="T10" fmla="*/ 40 w 240"/>
                    <a:gd name="T11" fmla="*/ 162 h 376"/>
                    <a:gd name="T12" fmla="*/ 50 w 240"/>
                    <a:gd name="T13" fmla="*/ 180 h 376"/>
                    <a:gd name="T14" fmla="*/ 54 w 240"/>
                    <a:gd name="T15" fmla="*/ 189 h 376"/>
                    <a:gd name="T16" fmla="*/ 57 w 240"/>
                    <a:gd name="T17" fmla="*/ 194 h 376"/>
                    <a:gd name="T18" fmla="*/ 63 w 240"/>
                    <a:gd name="T19" fmla="*/ 210 h 376"/>
                    <a:gd name="T20" fmla="*/ 71 w 240"/>
                    <a:gd name="T21" fmla="*/ 224 h 376"/>
                    <a:gd name="T22" fmla="*/ 73 w 240"/>
                    <a:gd name="T23" fmla="*/ 230 h 376"/>
                    <a:gd name="T24" fmla="*/ 83 w 240"/>
                    <a:gd name="T25" fmla="*/ 246 h 376"/>
                    <a:gd name="T26" fmla="*/ 90 w 240"/>
                    <a:gd name="T27" fmla="*/ 256 h 376"/>
                    <a:gd name="T28" fmla="*/ 103 w 240"/>
                    <a:gd name="T29" fmla="*/ 276 h 376"/>
                    <a:gd name="T30" fmla="*/ 102 w 240"/>
                    <a:gd name="T31" fmla="*/ 286 h 376"/>
                    <a:gd name="T32" fmla="*/ 104 w 240"/>
                    <a:gd name="T33" fmla="*/ 294 h 376"/>
                    <a:gd name="T34" fmla="*/ 117 w 240"/>
                    <a:gd name="T35" fmla="*/ 306 h 376"/>
                    <a:gd name="T36" fmla="*/ 124 w 240"/>
                    <a:gd name="T37" fmla="*/ 314 h 376"/>
                    <a:gd name="T38" fmla="*/ 129 w 240"/>
                    <a:gd name="T39" fmla="*/ 318 h 376"/>
                    <a:gd name="T40" fmla="*/ 145 w 240"/>
                    <a:gd name="T41" fmla="*/ 329 h 376"/>
                    <a:gd name="T42" fmla="*/ 162 w 240"/>
                    <a:gd name="T43" fmla="*/ 337 h 376"/>
                    <a:gd name="T44" fmla="*/ 178 w 240"/>
                    <a:gd name="T45" fmla="*/ 347 h 376"/>
                    <a:gd name="T46" fmla="*/ 192 w 240"/>
                    <a:gd name="T47" fmla="*/ 355 h 376"/>
                    <a:gd name="T48" fmla="*/ 202 w 240"/>
                    <a:gd name="T49" fmla="*/ 367 h 376"/>
                    <a:gd name="T50" fmla="*/ 228 w 240"/>
                    <a:gd name="T51" fmla="*/ 363 h 376"/>
                    <a:gd name="T52" fmla="*/ 231 w 240"/>
                    <a:gd name="T53" fmla="*/ 350 h 376"/>
                    <a:gd name="T54" fmla="*/ 240 w 240"/>
                    <a:gd name="T55" fmla="*/ 336 h 376"/>
                    <a:gd name="T56" fmla="*/ 229 w 240"/>
                    <a:gd name="T57" fmla="*/ 317 h 376"/>
                    <a:gd name="T58" fmla="*/ 229 w 240"/>
                    <a:gd name="T59" fmla="*/ 310 h 376"/>
                    <a:gd name="T60" fmla="*/ 230 w 240"/>
                    <a:gd name="T61" fmla="*/ 298 h 376"/>
                    <a:gd name="T62" fmla="*/ 234 w 240"/>
                    <a:gd name="T63" fmla="*/ 287 h 376"/>
                    <a:gd name="T64" fmla="*/ 232 w 240"/>
                    <a:gd name="T65" fmla="*/ 271 h 376"/>
                    <a:gd name="T66" fmla="*/ 236 w 240"/>
                    <a:gd name="T67" fmla="*/ 261 h 376"/>
                    <a:gd name="T68" fmla="*/ 218 w 240"/>
                    <a:gd name="T69" fmla="*/ 224 h 376"/>
                    <a:gd name="T70" fmla="*/ 187 w 240"/>
                    <a:gd name="T71" fmla="*/ 206 h 376"/>
                    <a:gd name="T72" fmla="*/ 148 w 240"/>
                    <a:gd name="T73" fmla="*/ 174 h 376"/>
                    <a:gd name="T74" fmla="*/ 149 w 240"/>
                    <a:gd name="T75" fmla="*/ 124 h 376"/>
                    <a:gd name="T76" fmla="*/ 167 w 240"/>
                    <a:gd name="T77" fmla="*/ 96 h 376"/>
                    <a:gd name="T78" fmla="*/ 190 w 240"/>
                    <a:gd name="T79" fmla="*/ 87 h 376"/>
                    <a:gd name="T80" fmla="*/ 204 w 240"/>
                    <a:gd name="T81" fmla="*/ 89 h 376"/>
                    <a:gd name="T82" fmla="*/ 192 w 240"/>
                    <a:gd name="T83" fmla="*/ 77 h 376"/>
                    <a:gd name="T84" fmla="*/ 197 w 240"/>
                    <a:gd name="T85" fmla="*/ 53 h 376"/>
                    <a:gd name="T86" fmla="*/ 192 w 240"/>
                    <a:gd name="T87" fmla="*/ 50 h 376"/>
                    <a:gd name="T88" fmla="*/ 184 w 240"/>
                    <a:gd name="T89" fmla="*/ 46 h 376"/>
                    <a:gd name="T90" fmla="*/ 177 w 240"/>
                    <a:gd name="T91" fmla="*/ 46 h 376"/>
                    <a:gd name="T92" fmla="*/ 170 w 240"/>
                    <a:gd name="T93" fmla="*/ 44 h 376"/>
                    <a:gd name="T94" fmla="*/ 161 w 240"/>
                    <a:gd name="T95" fmla="*/ 50 h 376"/>
                    <a:gd name="T96" fmla="*/ 149 w 240"/>
                    <a:gd name="T97" fmla="*/ 48 h 376"/>
                    <a:gd name="T98" fmla="*/ 147 w 240"/>
                    <a:gd name="T99" fmla="*/ 40 h 376"/>
                    <a:gd name="T100" fmla="*/ 140 w 240"/>
                    <a:gd name="T101" fmla="*/ 34 h 376"/>
                    <a:gd name="T102" fmla="*/ 136 w 240"/>
                    <a:gd name="T103" fmla="*/ 23 h 376"/>
                    <a:gd name="T104" fmla="*/ 131 w 240"/>
                    <a:gd name="T105" fmla="*/ 22 h 376"/>
                    <a:gd name="T106" fmla="*/ 125 w 240"/>
                    <a:gd name="T107" fmla="*/ 16 h 376"/>
                    <a:gd name="T108" fmla="*/ 122 w 240"/>
                    <a:gd name="T109" fmla="*/ 9 h 376"/>
                    <a:gd name="T110" fmla="*/ 112 w 240"/>
                    <a:gd name="T111" fmla="*/ 3 h 376"/>
                    <a:gd name="T112" fmla="*/ 107 w 240"/>
                    <a:gd name="T113" fmla="*/ 9 h 376"/>
                    <a:gd name="T114" fmla="*/ 94 w 240"/>
                    <a:gd name="T115" fmla="*/ 43 h 376"/>
                    <a:gd name="T116" fmla="*/ 49 w 240"/>
                    <a:gd name="T117" fmla="*/ 83 h 376"/>
                    <a:gd name="T118" fmla="*/ 37 w 240"/>
                    <a:gd name="T119" fmla="*/ 102 h 376"/>
                    <a:gd name="T120" fmla="*/ 20 w 240"/>
                    <a:gd name="T121" fmla="*/ 90 h 376"/>
                    <a:gd name="T122" fmla="*/ 20 w 240"/>
                    <a:gd name="T123" fmla="*/ 79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40" h="376">
                      <a:moveTo>
                        <a:pt x="17" y="69"/>
                      </a:moveTo>
                      <a:lnTo>
                        <a:pt x="17" y="69"/>
                      </a:lnTo>
                      <a:lnTo>
                        <a:pt x="17" y="70"/>
                      </a:lnTo>
                      <a:lnTo>
                        <a:pt x="16" y="71"/>
                      </a:lnTo>
                      <a:lnTo>
                        <a:pt x="14" y="71"/>
                      </a:lnTo>
                      <a:lnTo>
                        <a:pt x="13" y="74"/>
                      </a:lnTo>
                      <a:lnTo>
                        <a:pt x="9" y="76"/>
                      </a:lnTo>
                      <a:lnTo>
                        <a:pt x="8" y="77"/>
                      </a:lnTo>
                      <a:lnTo>
                        <a:pt x="8" y="80"/>
                      </a:lnTo>
                      <a:lnTo>
                        <a:pt x="5" y="81"/>
                      </a:lnTo>
                      <a:lnTo>
                        <a:pt x="4" y="83"/>
                      </a:lnTo>
                      <a:lnTo>
                        <a:pt x="3" y="84"/>
                      </a:lnTo>
                      <a:lnTo>
                        <a:pt x="2" y="86"/>
                      </a:lnTo>
                      <a:lnTo>
                        <a:pt x="1" y="87"/>
                      </a:lnTo>
                      <a:lnTo>
                        <a:pt x="1" y="88"/>
                      </a:lnTo>
                      <a:lnTo>
                        <a:pt x="1" y="90"/>
                      </a:lnTo>
                      <a:lnTo>
                        <a:pt x="1" y="90"/>
                      </a:lnTo>
                      <a:lnTo>
                        <a:pt x="0" y="91"/>
                      </a:lnTo>
                      <a:lnTo>
                        <a:pt x="1" y="93"/>
                      </a:lnTo>
                      <a:lnTo>
                        <a:pt x="0" y="95"/>
                      </a:lnTo>
                      <a:lnTo>
                        <a:pt x="0" y="96"/>
                      </a:lnTo>
                      <a:lnTo>
                        <a:pt x="2" y="100"/>
                      </a:lnTo>
                      <a:lnTo>
                        <a:pt x="3" y="100"/>
                      </a:lnTo>
                      <a:lnTo>
                        <a:pt x="4" y="101"/>
                      </a:lnTo>
                      <a:lnTo>
                        <a:pt x="4" y="103"/>
                      </a:lnTo>
                      <a:lnTo>
                        <a:pt x="4" y="104"/>
                      </a:lnTo>
                      <a:lnTo>
                        <a:pt x="3" y="104"/>
                      </a:lnTo>
                      <a:lnTo>
                        <a:pt x="3" y="106"/>
                      </a:lnTo>
                      <a:lnTo>
                        <a:pt x="3" y="107"/>
                      </a:lnTo>
                      <a:lnTo>
                        <a:pt x="4" y="108"/>
                      </a:lnTo>
                      <a:lnTo>
                        <a:pt x="4" y="109"/>
                      </a:lnTo>
                      <a:lnTo>
                        <a:pt x="7" y="111"/>
                      </a:lnTo>
                      <a:lnTo>
                        <a:pt x="9" y="116"/>
                      </a:lnTo>
                      <a:lnTo>
                        <a:pt x="9" y="119"/>
                      </a:lnTo>
                      <a:lnTo>
                        <a:pt x="8" y="120"/>
                      </a:lnTo>
                      <a:lnTo>
                        <a:pt x="7" y="120"/>
                      </a:lnTo>
                      <a:lnTo>
                        <a:pt x="5" y="120"/>
                      </a:lnTo>
                      <a:lnTo>
                        <a:pt x="4" y="119"/>
                      </a:lnTo>
                      <a:lnTo>
                        <a:pt x="4" y="120"/>
                      </a:lnTo>
                      <a:lnTo>
                        <a:pt x="4" y="120"/>
                      </a:lnTo>
                      <a:lnTo>
                        <a:pt x="3" y="121"/>
                      </a:lnTo>
                      <a:lnTo>
                        <a:pt x="3" y="123"/>
                      </a:lnTo>
                      <a:lnTo>
                        <a:pt x="4" y="124"/>
                      </a:lnTo>
                      <a:lnTo>
                        <a:pt x="5" y="126"/>
                      </a:lnTo>
                      <a:lnTo>
                        <a:pt x="9" y="127"/>
                      </a:lnTo>
                      <a:lnTo>
                        <a:pt x="11" y="129"/>
                      </a:lnTo>
                      <a:lnTo>
                        <a:pt x="16" y="131"/>
                      </a:lnTo>
                      <a:lnTo>
                        <a:pt x="20" y="134"/>
                      </a:lnTo>
                      <a:lnTo>
                        <a:pt x="23" y="135"/>
                      </a:lnTo>
                      <a:lnTo>
                        <a:pt x="25" y="139"/>
                      </a:lnTo>
                      <a:lnTo>
                        <a:pt x="27" y="141"/>
                      </a:lnTo>
                      <a:lnTo>
                        <a:pt x="28" y="142"/>
                      </a:lnTo>
                      <a:lnTo>
                        <a:pt x="29" y="143"/>
                      </a:lnTo>
                      <a:lnTo>
                        <a:pt x="31" y="144"/>
                      </a:lnTo>
                      <a:lnTo>
                        <a:pt x="31" y="146"/>
                      </a:lnTo>
                      <a:lnTo>
                        <a:pt x="31" y="147"/>
                      </a:lnTo>
                      <a:lnTo>
                        <a:pt x="33" y="149"/>
                      </a:lnTo>
                      <a:lnTo>
                        <a:pt x="34" y="151"/>
                      </a:lnTo>
                      <a:lnTo>
                        <a:pt x="34" y="153"/>
                      </a:lnTo>
                      <a:lnTo>
                        <a:pt x="34" y="154"/>
                      </a:lnTo>
                      <a:lnTo>
                        <a:pt x="35" y="155"/>
                      </a:lnTo>
                      <a:lnTo>
                        <a:pt x="36" y="157"/>
                      </a:lnTo>
                      <a:lnTo>
                        <a:pt x="36" y="159"/>
                      </a:lnTo>
                      <a:lnTo>
                        <a:pt x="36" y="159"/>
                      </a:lnTo>
                      <a:lnTo>
                        <a:pt x="37" y="159"/>
                      </a:lnTo>
                      <a:lnTo>
                        <a:pt x="40" y="162"/>
                      </a:lnTo>
                      <a:lnTo>
                        <a:pt x="42" y="164"/>
                      </a:lnTo>
                      <a:lnTo>
                        <a:pt x="43" y="166"/>
                      </a:lnTo>
                      <a:lnTo>
                        <a:pt x="45" y="168"/>
                      </a:lnTo>
                      <a:lnTo>
                        <a:pt x="45" y="169"/>
                      </a:lnTo>
                      <a:lnTo>
                        <a:pt x="47" y="171"/>
                      </a:lnTo>
                      <a:lnTo>
                        <a:pt x="47" y="173"/>
                      </a:lnTo>
                      <a:lnTo>
                        <a:pt x="47" y="173"/>
                      </a:lnTo>
                      <a:lnTo>
                        <a:pt x="48" y="174"/>
                      </a:lnTo>
                      <a:lnTo>
                        <a:pt x="49" y="176"/>
                      </a:lnTo>
                      <a:lnTo>
                        <a:pt x="50" y="179"/>
                      </a:lnTo>
                      <a:lnTo>
                        <a:pt x="50" y="180"/>
                      </a:lnTo>
                      <a:lnTo>
                        <a:pt x="50" y="180"/>
                      </a:lnTo>
                      <a:lnTo>
                        <a:pt x="51" y="183"/>
                      </a:lnTo>
                      <a:lnTo>
                        <a:pt x="51" y="184"/>
                      </a:lnTo>
                      <a:lnTo>
                        <a:pt x="51" y="184"/>
                      </a:lnTo>
                      <a:lnTo>
                        <a:pt x="53" y="184"/>
                      </a:lnTo>
                      <a:lnTo>
                        <a:pt x="53" y="186"/>
                      </a:lnTo>
                      <a:lnTo>
                        <a:pt x="53" y="186"/>
                      </a:lnTo>
                      <a:lnTo>
                        <a:pt x="54" y="187"/>
                      </a:lnTo>
                      <a:lnTo>
                        <a:pt x="54" y="188"/>
                      </a:lnTo>
                      <a:lnTo>
                        <a:pt x="53" y="188"/>
                      </a:lnTo>
                      <a:lnTo>
                        <a:pt x="54" y="189"/>
                      </a:lnTo>
                      <a:lnTo>
                        <a:pt x="54" y="189"/>
                      </a:lnTo>
                      <a:lnTo>
                        <a:pt x="54" y="189"/>
                      </a:lnTo>
                      <a:lnTo>
                        <a:pt x="54" y="188"/>
                      </a:lnTo>
                      <a:lnTo>
                        <a:pt x="55" y="188"/>
                      </a:lnTo>
                      <a:lnTo>
                        <a:pt x="55" y="189"/>
                      </a:lnTo>
                      <a:lnTo>
                        <a:pt x="55" y="190"/>
                      </a:lnTo>
                      <a:lnTo>
                        <a:pt x="55" y="191"/>
                      </a:lnTo>
                      <a:lnTo>
                        <a:pt x="56" y="191"/>
                      </a:lnTo>
                      <a:lnTo>
                        <a:pt x="56" y="193"/>
                      </a:lnTo>
                      <a:lnTo>
                        <a:pt x="57" y="194"/>
                      </a:lnTo>
                      <a:lnTo>
                        <a:pt x="57" y="194"/>
                      </a:lnTo>
                      <a:lnTo>
                        <a:pt x="57" y="197"/>
                      </a:lnTo>
                      <a:lnTo>
                        <a:pt x="58" y="199"/>
                      </a:lnTo>
                      <a:lnTo>
                        <a:pt x="60" y="201"/>
                      </a:lnTo>
                      <a:lnTo>
                        <a:pt x="60" y="202"/>
                      </a:lnTo>
                      <a:lnTo>
                        <a:pt x="61" y="203"/>
                      </a:lnTo>
                      <a:lnTo>
                        <a:pt x="61" y="204"/>
                      </a:lnTo>
                      <a:lnTo>
                        <a:pt x="61" y="204"/>
                      </a:lnTo>
                      <a:lnTo>
                        <a:pt x="62" y="207"/>
                      </a:lnTo>
                      <a:lnTo>
                        <a:pt x="62" y="208"/>
                      </a:lnTo>
                      <a:lnTo>
                        <a:pt x="63" y="210"/>
                      </a:lnTo>
                      <a:lnTo>
                        <a:pt x="63" y="210"/>
                      </a:lnTo>
                      <a:lnTo>
                        <a:pt x="64" y="210"/>
                      </a:lnTo>
                      <a:lnTo>
                        <a:pt x="64" y="211"/>
                      </a:lnTo>
                      <a:lnTo>
                        <a:pt x="65" y="213"/>
                      </a:lnTo>
                      <a:lnTo>
                        <a:pt x="67" y="215"/>
                      </a:lnTo>
                      <a:lnTo>
                        <a:pt x="67" y="216"/>
                      </a:lnTo>
                      <a:lnTo>
                        <a:pt x="68" y="218"/>
                      </a:lnTo>
                      <a:lnTo>
                        <a:pt x="70" y="220"/>
                      </a:lnTo>
                      <a:lnTo>
                        <a:pt x="70" y="222"/>
                      </a:lnTo>
                      <a:lnTo>
                        <a:pt x="71" y="222"/>
                      </a:lnTo>
                      <a:lnTo>
                        <a:pt x="71" y="223"/>
                      </a:lnTo>
                      <a:lnTo>
                        <a:pt x="71" y="224"/>
                      </a:lnTo>
                      <a:lnTo>
                        <a:pt x="71" y="224"/>
                      </a:lnTo>
                      <a:lnTo>
                        <a:pt x="73" y="226"/>
                      </a:lnTo>
                      <a:lnTo>
                        <a:pt x="73" y="227"/>
                      </a:lnTo>
                      <a:lnTo>
                        <a:pt x="73" y="227"/>
                      </a:lnTo>
                      <a:lnTo>
                        <a:pt x="73" y="228"/>
                      </a:lnTo>
                      <a:lnTo>
                        <a:pt x="74" y="228"/>
                      </a:lnTo>
                      <a:lnTo>
                        <a:pt x="74" y="228"/>
                      </a:lnTo>
                      <a:lnTo>
                        <a:pt x="74" y="229"/>
                      </a:lnTo>
                      <a:lnTo>
                        <a:pt x="74" y="230"/>
                      </a:lnTo>
                      <a:lnTo>
                        <a:pt x="73" y="230"/>
                      </a:lnTo>
                      <a:lnTo>
                        <a:pt x="73" y="230"/>
                      </a:lnTo>
                      <a:lnTo>
                        <a:pt x="73" y="231"/>
                      </a:lnTo>
                      <a:lnTo>
                        <a:pt x="78" y="235"/>
                      </a:lnTo>
                      <a:lnTo>
                        <a:pt x="80" y="236"/>
                      </a:lnTo>
                      <a:lnTo>
                        <a:pt x="80" y="237"/>
                      </a:lnTo>
                      <a:lnTo>
                        <a:pt x="80" y="237"/>
                      </a:lnTo>
                      <a:lnTo>
                        <a:pt x="82" y="240"/>
                      </a:lnTo>
                      <a:lnTo>
                        <a:pt x="82" y="241"/>
                      </a:lnTo>
                      <a:lnTo>
                        <a:pt x="82" y="242"/>
                      </a:lnTo>
                      <a:lnTo>
                        <a:pt x="82" y="243"/>
                      </a:lnTo>
                      <a:lnTo>
                        <a:pt x="83" y="243"/>
                      </a:lnTo>
                      <a:lnTo>
                        <a:pt x="83" y="246"/>
                      </a:lnTo>
                      <a:lnTo>
                        <a:pt x="83" y="247"/>
                      </a:lnTo>
                      <a:lnTo>
                        <a:pt x="82" y="248"/>
                      </a:lnTo>
                      <a:lnTo>
                        <a:pt x="84" y="248"/>
                      </a:lnTo>
                      <a:lnTo>
                        <a:pt x="85" y="248"/>
                      </a:lnTo>
                      <a:lnTo>
                        <a:pt x="85" y="249"/>
                      </a:lnTo>
                      <a:lnTo>
                        <a:pt x="85" y="250"/>
                      </a:lnTo>
                      <a:lnTo>
                        <a:pt x="85" y="250"/>
                      </a:lnTo>
                      <a:lnTo>
                        <a:pt x="88" y="251"/>
                      </a:lnTo>
                      <a:lnTo>
                        <a:pt x="90" y="254"/>
                      </a:lnTo>
                      <a:lnTo>
                        <a:pt x="90" y="255"/>
                      </a:lnTo>
                      <a:lnTo>
                        <a:pt x="90" y="256"/>
                      </a:lnTo>
                      <a:lnTo>
                        <a:pt x="90" y="256"/>
                      </a:lnTo>
                      <a:lnTo>
                        <a:pt x="91" y="257"/>
                      </a:lnTo>
                      <a:lnTo>
                        <a:pt x="91" y="258"/>
                      </a:lnTo>
                      <a:lnTo>
                        <a:pt x="93" y="258"/>
                      </a:lnTo>
                      <a:lnTo>
                        <a:pt x="93" y="260"/>
                      </a:lnTo>
                      <a:lnTo>
                        <a:pt x="94" y="262"/>
                      </a:lnTo>
                      <a:lnTo>
                        <a:pt x="96" y="263"/>
                      </a:lnTo>
                      <a:lnTo>
                        <a:pt x="96" y="268"/>
                      </a:lnTo>
                      <a:lnTo>
                        <a:pt x="101" y="273"/>
                      </a:lnTo>
                      <a:lnTo>
                        <a:pt x="102" y="276"/>
                      </a:lnTo>
                      <a:lnTo>
                        <a:pt x="103" y="276"/>
                      </a:lnTo>
                      <a:lnTo>
                        <a:pt x="103" y="280"/>
                      </a:lnTo>
                      <a:lnTo>
                        <a:pt x="102" y="284"/>
                      </a:lnTo>
                      <a:lnTo>
                        <a:pt x="101" y="283"/>
                      </a:lnTo>
                      <a:lnTo>
                        <a:pt x="101" y="283"/>
                      </a:lnTo>
                      <a:lnTo>
                        <a:pt x="101" y="283"/>
                      </a:lnTo>
                      <a:lnTo>
                        <a:pt x="100" y="283"/>
                      </a:lnTo>
                      <a:lnTo>
                        <a:pt x="100" y="284"/>
                      </a:lnTo>
                      <a:lnTo>
                        <a:pt x="100" y="286"/>
                      </a:lnTo>
                      <a:lnTo>
                        <a:pt x="100" y="286"/>
                      </a:lnTo>
                      <a:lnTo>
                        <a:pt x="101" y="286"/>
                      </a:lnTo>
                      <a:lnTo>
                        <a:pt x="102" y="286"/>
                      </a:lnTo>
                      <a:lnTo>
                        <a:pt x="102" y="288"/>
                      </a:lnTo>
                      <a:lnTo>
                        <a:pt x="102" y="288"/>
                      </a:lnTo>
                      <a:lnTo>
                        <a:pt x="102" y="289"/>
                      </a:lnTo>
                      <a:lnTo>
                        <a:pt x="102" y="291"/>
                      </a:lnTo>
                      <a:lnTo>
                        <a:pt x="102" y="291"/>
                      </a:lnTo>
                      <a:lnTo>
                        <a:pt x="102" y="290"/>
                      </a:lnTo>
                      <a:lnTo>
                        <a:pt x="103" y="291"/>
                      </a:lnTo>
                      <a:lnTo>
                        <a:pt x="104" y="291"/>
                      </a:lnTo>
                      <a:lnTo>
                        <a:pt x="104" y="293"/>
                      </a:lnTo>
                      <a:lnTo>
                        <a:pt x="105" y="294"/>
                      </a:lnTo>
                      <a:lnTo>
                        <a:pt x="104" y="294"/>
                      </a:lnTo>
                      <a:lnTo>
                        <a:pt x="105" y="295"/>
                      </a:lnTo>
                      <a:lnTo>
                        <a:pt x="105" y="295"/>
                      </a:lnTo>
                      <a:lnTo>
                        <a:pt x="107" y="296"/>
                      </a:lnTo>
                      <a:lnTo>
                        <a:pt x="108" y="297"/>
                      </a:lnTo>
                      <a:lnTo>
                        <a:pt x="108" y="298"/>
                      </a:lnTo>
                      <a:lnTo>
                        <a:pt x="109" y="298"/>
                      </a:lnTo>
                      <a:lnTo>
                        <a:pt x="109" y="301"/>
                      </a:lnTo>
                      <a:lnTo>
                        <a:pt x="110" y="302"/>
                      </a:lnTo>
                      <a:lnTo>
                        <a:pt x="111" y="302"/>
                      </a:lnTo>
                      <a:lnTo>
                        <a:pt x="112" y="303"/>
                      </a:lnTo>
                      <a:lnTo>
                        <a:pt x="117" y="306"/>
                      </a:lnTo>
                      <a:lnTo>
                        <a:pt x="117" y="307"/>
                      </a:lnTo>
                      <a:lnTo>
                        <a:pt x="117" y="307"/>
                      </a:lnTo>
                      <a:lnTo>
                        <a:pt x="120" y="308"/>
                      </a:lnTo>
                      <a:lnTo>
                        <a:pt x="120" y="310"/>
                      </a:lnTo>
                      <a:lnTo>
                        <a:pt x="121" y="311"/>
                      </a:lnTo>
                      <a:lnTo>
                        <a:pt x="122" y="311"/>
                      </a:lnTo>
                      <a:lnTo>
                        <a:pt x="122" y="311"/>
                      </a:lnTo>
                      <a:lnTo>
                        <a:pt x="123" y="313"/>
                      </a:lnTo>
                      <a:lnTo>
                        <a:pt x="122" y="314"/>
                      </a:lnTo>
                      <a:lnTo>
                        <a:pt x="123" y="314"/>
                      </a:lnTo>
                      <a:lnTo>
                        <a:pt x="124" y="314"/>
                      </a:lnTo>
                      <a:lnTo>
                        <a:pt x="124" y="315"/>
                      </a:lnTo>
                      <a:lnTo>
                        <a:pt x="124" y="315"/>
                      </a:lnTo>
                      <a:lnTo>
                        <a:pt x="123" y="315"/>
                      </a:lnTo>
                      <a:lnTo>
                        <a:pt x="123" y="315"/>
                      </a:lnTo>
                      <a:lnTo>
                        <a:pt x="124" y="316"/>
                      </a:lnTo>
                      <a:lnTo>
                        <a:pt x="125" y="316"/>
                      </a:lnTo>
                      <a:lnTo>
                        <a:pt x="127" y="317"/>
                      </a:lnTo>
                      <a:lnTo>
                        <a:pt x="127" y="317"/>
                      </a:lnTo>
                      <a:lnTo>
                        <a:pt x="128" y="317"/>
                      </a:lnTo>
                      <a:lnTo>
                        <a:pt x="128" y="318"/>
                      </a:lnTo>
                      <a:lnTo>
                        <a:pt x="129" y="318"/>
                      </a:lnTo>
                      <a:lnTo>
                        <a:pt x="130" y="320"/>
                      </a:lnTo>
                      <a:lnTo>
                        <a:pt x="132" y="320"/>
                      </a:lnTo>
                      <a:lnTo>
                        <a:pt x="134" y="321"/>
                      </a:lnTo>
                      <a:lnTo>
                        <a:pt x="137" y="322"/>
                      </a:lnTo>
                      <a:lnTo>
                        <a:pt x="138" y="324"/>
                      </a:lnTo>
                      <a:lnTo>
                        <a:pt x="140" y="326"/>
                      </a:lnTo>
                      <a:lnTo>
                        <a:pt x="141" y="326"/>
                      </a:lnTo>
                      <a:lnTo>
                        <a:pt x="142" y="326"/>
                      </a:lnTo>
                      <a:lnTo>
                        <a:pt x="143" y="327"/>
                      </a:lnTo>
                      <a:lnTo>
                        <a:pt x="145" y="328"/>
                      </a:lnTo>
                      <a:lnTo>
                        <a:pt x="145" y="329"/>
                      </a:lnTo>
                      <a:lnTo>
                        <a:pt x="147" y="329"/>
                      </a:lnTo>
                      <a:lnTo>
                        <a:pt x="150" y="331"/>
                      </a:lnTo>
                      <a:lnTo>
                        <a:pt x="151" y="331"/>
                      </a:lnTo>
                      <a:lnTo>
                        <a:pt x="152" y="333"/>
                      </a:lnTo>
                      <a:lnTo>
                        <a:pt x="154" y="333"/>
                      </a:lnTo>
                      <a:lnTo>
                        <a:pt x="157" y="334"/>
                      </a:lnTo>
                      <a:lnTo>
                        <a:pt x="160" y="335"/>
                      </a:lnTo>
                      <a:lnTo>
                        <a:pt x="160" y="336"/>
                      </a:lnTo>
                      <a:lnTo>
                        <a:pt x="161" y="337"/>
                      </a:lnTo>
                      <a:lnTo>
                        <a:pt x="161" y="336"/>
                      </a:lnTo>
                      <a:lnTo>
                        <a:pt x="162" y="337"/>
                      </a:lnTo>
                      <a:lnTo>
                        <a:pt x="163" y="337"/>
                      </a:lnTo>
                      <a:lnTo>
                        <a:pt x="165" y="340"/>
                      </a:lnTo>
                      <a:lnTo>
                        <a:pt x="168" y="340"/>
                      </a:lnTo>
                      <a:lnTo>
                        <a:pt x="169" y="341"/>
                      </a:lnTo>
                      <a:lnTo>
                        <a:pt x="170" y="342"/>
                      </a:lnTo>
                      <a:lnTo>
                        <a:pt x="172" y="342"/>
                      </a:lnTo>
                      <a:lnTo>
                        <a:pt x="175" y="342"/>
                      </a:lnTo>
                      <a:lnTo>
                        <a:pt x="176" y="343"/>
                      </a:lnTo>
                      <a:lnTo>
                        <a:pt x="177" y="344"/>
                      </a:lnTo>
                      <a:lnTo>
                        <a:pt x="178" y="346"/>
                      </a:lnTo>
                      <a:lnTo>
                        <a:pt x="178" y="347"/>
                      </a:lnTo>
                      <a:lnTo>
                        <a:pt x="180" y="347"/>
                      </a:lnTo>
                      <a:lnTo>
                        <a:pt x="181" y="348"/>
                      </a:lnTo>
                      <a:lnTo>
                        <a:pt x="182" y="348"/>
                      </a:lnTo>
                      <a:lnTo>
                        <a:pt x="182" y="349"/>
                      </a:lnTo>
                      <a:lnTo>
                        <a:pt x="184" y="350"/>
                      </a:lnTo>
                      <a:lnTo>
                        <a:pt x="184" y="350"/>
                      </a:lnTo>
                      <a:lnTo>
                        <a:pt x="185" y="351"/>
                      </a:lnTo>
                      <a:lnTo>
                        <a:pt x="187" y="351"/>
                      </a:lnTo>
                      <a:lnTo>
                        <a:pt x="188" y="353"/>
                      </a:lnTo>
                      <a:lnTo>
                        <a:pt x="190" y="354"/>
                      </a:lnTo>
                      <a:lnTo>
                        <a:pt x="192" y="355"/>
                      </a:lnTo>
                      <a:lnTo>
                        <a:pt x="194" y="355"/>
                      </a:lnTo>
                      <a:lnTo>
                        <a:pt x="194" y="355"/>
                      </a:lnTo>
                      <a:lnTo>
                        <a:pt x="194" y="356"/>
                      </a:lnTo>
                      <a:lnTo>
                        <a:pt x="196" y="357"/>
                      </a:lnTo>
                      <a:lnTo>
                        <a:pt x="197" y="362"/>
                      </a:lnTo>
                      <a:lnTo>
                        <a:pt x="197" y="363"/>
                      </a:lnTo>
                      <a:lnTo>
                        <a:pt x="198" y="364"/>
                      </a:lnTo>
                      <a:lnTo>
                        <a:pt x="200" y="364"/>
                      </a:lnTo>
                      <a:lnTo>
                        <a:pt x="201" y="365"/>
                      </a:lnTo>
                      <a:lnTo>
                        <a:pt x="202" y="367"/>
                      </a:lnTo>
                      <a:lnTo>
                        <a:pt x="202" y="367"/>
                      </a:lnTo>
                      <a:lnTo>
                        <a:pt x="204" y="367"/>
                      </a:lnTo>
                      <a:lnTo>
                        <a:pt x="205" y="368"/>
                      </a:lnTo>
                      <a:lnTo>
                        <a:pt x="205" y="369"/>
                      </a:lnTo>
                      <a:lnTo>
                        <a:pt x="207" y="370"/>
                      </a:lnTo>
                      <a:lnTo>
                        <a:pt x="208" y="370"/>
                      </a:lnTo>
                      <a:lnTo>
                        <a:pt x="209" y="371"/>
                      </a:lnTo>
                      <a:lnTo>
                        <a:pt x="211" y="374"/>
                      </a:lnTo>
                      <a:lnTo>
                        <a:pt x="214" y="375"/>
                      </a:lnTo>
                      <a:lnTo>
                        <a:pt x="216" y="376"/>
                      </a:lnTo>
                      <a:lnTo>
                        <a:pt x="222" y="370"/>
                      </a:lnTo>
                      <a:lnTo>
                        <a:pt x="228" y="363"/>
                      </a:lnTo>
                      <a:lnTo>
                        <a:pt x="230" y="360"/>
                      </a:lnTo>
                      <a:lnTo>
                        <a:pt x="230" y="356"/>
                      </a:lnTo>
                      <a:lnTo>
                        <a:pt x="228" y="355"/>
                      </a:lnTo>
                      <a:lnTo>
                        <a:pt x="227" y="355"/>
                      </a:lnTo>
                      <a:lnTo>
                        <a:pt x="228" y="354"/>
                      </a:lnTo>
                      <a:lnTo>
                        <a:pt x="228" y="353"/>
                      </a:lnTo>
                      <a:lnTo>
                        <a:pt x="228" y="353"/>
                      </a:lnTo>
                      <a:lnTo>
                        <a:pt x="229" y="351"/>
                      </a:lnTo>
                      <a:lnTo>
                        <a:pt x="230" y="351"/>
                      </a:lnTo>
                      <a:lnTo>
                        <a:pt x="231" y="350"/>
                      </a:lnTo>
                      <a:lnTo>
                        <a:pt x="231" y="350"/>
                      </a:lnTo>
                      <a:lnTo>
                        <a:pt x="230" y="349"/>
                      </a:lnTo>
                      <a:lnTo>
                        <a:pt x="231" y="348"/>
                      </a:lnTo>
                      <a:lnTo>
                        <a:pt x="232" y="347"/>
                      </a:lnTo>
                      <a:lnTo>
                        <a:pt x="234" y="346"/>
                      </a:lnTo>
                      <a:lnTo>
                        <a:pt x="235" y="343"/>
                      </a:lnTo>
                      <a:lnTo>
                        <a:pt x="236" y="343"/>
                      </a:lnTo>
                      <a:lnTo>
                        <a:pt x="237" y="342"/>
                      </a:lnTo>
                      <a:lnTo>
                        <a:pt x="236" y="341"/>
                      </a:lnTo>
                      <a:lnTo>
                        <a:pt x="236" y="338"/>
                      </a:lnTo>
                      <a:lnTo>
                        <a:pt x="237" y="337"/>
                      </a:lnTo>
                      <a:lnTo>
                        <a:pt x="240" y="336"/>
                      </a:lnTo>
                      <a:lnTo>
                        <a:pt x="240" y="335"/>
                      </a:lnTo>
                      <a:lnTo>
                        <a:pt x="240" y="335"/>
                      </a:lnTo>
                      <a:lnTo>
                        <a:pt x="238" y="334"/>
                      </a:lnTo>
                      <a:lnTo>
                        <a:pt x="237" y="333"/>
                      </a:lnTo>
                      <a:lnTo>
                        <a:pt x="236" y="333"/>
                      </a:lnTo>
                      <a:lnTo>
                        <a:pt x="236" y="333"/>
                      </a:lnTo>
                      <a:lnTo>
                        <a:pt x="235" y="333"/>
                      </a:lnTo>
                      <a:lnTo>
                        <a:pt x="234" y="333"/>
                      </a:lnTo>
                      <a:lnTo>
                        <a:pt x="232" y="331"/>
                      </a:lnTo>
                      <a:lnTo>
                        <a:pt x="228" y="321"/>
                      </a:lnTo>
                      <a:lnTo>
                        <a:pt x="229" y="317"/>
                      </a:lnTo>
                      <a:lnTo>
                        <a:pt x="229" y="317"/>
                      </a:lnTo>
                      <a:lnTo>
                        <a:pt x="230" y="316"/>
                      </a:lnTo>
                      <a:lnTo>
                        <a:pt x="230" y="315"/>
                      </a:lnTo>
                      <a:lnTo>
                        <a:pt x="230" y="315"/>
                      </a:lnTo>
                      <a:lnTo>
                        <a:pt x="231" y="314"/>
                      </a:lnTo>
                      <a:lnTo>
                        <a:pt x="231" y="314"/>
                      </a:lnTo>
                      <a:lnTo>
                        <a:pt x="232" y="314"/>
                      </a:lnTo>
                      <a:lnTo>
                        <a:pt x="232" y="314"/>
                      </a:lnTo>
                      <a:lnTo>
                        <a:pt x="232" y="313"/>
                      </a:lnTo>
                      <a:lnTo>
                        <a:pt x="231" y="311"/>
                      </a:lnTo>
                      <a:lnTo>
                        <a:pt x="229" y="310"/>
                      </a:lnTo>
                      <a:lnTo>
                        <a:pt x="229" y="308"/>
                      </a:lnTo>
                      <a:lnTo>
                        <a:pt x="228" y="307"/>
                      </a:lnTo>
                      <a:lnTo>
                        <a:pt x="228" y="307"/>
                      </a:lnTo>
                      <a:lnTo>
                        <a:pt x="228" y="306"/>
                      </a:lnTo>
                      <a:lnTo>
                        <a:pt x="228" y="306"/>
                      </a:lnTo>
                      <a:lnTo>
                        <a:pt x="228" y="304"/>
                      </a:lnTo>
                      <a:lnTo>
                        <a:pt x="228" y="303"/>
                      </a:lnTo>
                      <a:lnTo>
                        <a:pt x="229" y="303"/>
                      </a:lnTo>
                      <a:lnTo>
                        <a:pt x="230" y="302"/>
                      </a:lnTo>
                      <a:lnTo>
                        <a:pt x="229" y="301"/>
                      </a:lnTo>
                      <a:lnTo>
                        <a:pt x="230" y="298"/>
                      </a:lnTo>
                      <a:lnTo>
                        <a:pt x="231" y="298"/>
                      </a:lnTo>
                      <a:lnTo>
                        <a:pt x="231" y="297"/>
                      </a:lnTo>
                      <a:lnTo>
                        <a:pt x="234" y="295"/>
                      </a:lnTo>
                      <a:lnTo>
                        <a:pt x="234" y="295"/>
                      </a:lnTo>
                      <a:lnTo>
                        <a:pt x="232" y="294"/>
                      </a:lnTo>
                      <a:lnTo>
                        <a:pt x="232" y="293"/>
                      </a:lnTo>
                      <a:lnTo>
                        <a:pt x="236" y="291"/>
                      </a:lnTo>
                      <a:lnTo>
                        <a:pt x="235" y="289"/>
                      </a:lnTo>
                      <a:lnTo>
                        <a:pt x="235" y="288"/>
                      </a:lnTo>
                      <a:lnTo>
                        <a:pt x="234" y="287"/>
                      </a:lnTo>
                      <a:lnTo>
                        <a:pt x="234" y="287"/>
                      </a:lnTo>
                      <a:lnTo>
                        <a:pt x="232" y="284"/>
                      </a:lnTo>
                      <a:lnTo>
                        <a:pt x="232" y="283"/>
                      </a:lnTo>
                      <a:lnTo>
                        <a:pt x="232" y="282"/>
                      </a:lnTo>
                      <a:lnTo>
                        <a:pt x="231" y="281"/>
                      </a:lnTo>
                      <a:lnTo>
                        <a:pt x="231" y="280"/>
                      </a:lnTo>
                      <a:lnTo>
                        <a:pt x="231" y="280"/>
                      </a:lnTo>
                      <a:lnTo>
                        <a:pt x="231" y="280"/>
                      </a:lnTo>
                      <a:lnTo>
                        <a:pt x="231" y="278"/>
                      </a:lnTo>
                      <a:lnTo>
                        <a:pt x="232" y="278"/>
                      </a:lnTo>
                      <a:lnTo>
                        <a:pt x="232" y="277"/>
                      </a:lnTo>
                      <a:lnTo>
                        <a:pt x="232" y="271"/>
                      </a:lnTo>
                      <a:lnTo>
                        <a:pt x="232" y="270"/>
                      </a:lnTo>
                      <a:lnTo>
                        <a:pt x="232" y="268"/>
                      </a:lnTo>
                      <a:lnTo>
                        <a:pt x="232" y="267"/>
                      </a:lnTo>
                      <a:lnTo>
                        <a:pt x="231" y="264"/>
                      </a:lnTo>
                      <a:lnTo>
                        <a:pt x="232" y="263"/>
                      </a:lnTo>
                      <a:lnTo>
                        <a:pt x="232" y="262"/>
                      </a:lnTo>
                      <a:lnTo>
                        <a:pt x="232" y="262"/>
                      </a:lnTo>
                      <a:lnTo>
                        <a:pt x="234" y="262"/>
                      </a:lnTo>
                      <a:lnTo>
                        <a:pt x="234" y="262"/>
                      </a:lnTo>
                      <a:lnTo>
                        <a:pt x="234" y="261"/>
                      </a:lnTo>
                      <a:lnTo>
                        <a:pt x="236" y="261"/>
                      </a:lnTo>
                      <a:lnTo>
                        <a:pt x="236" y="260"/>
                      </a:lnTo>
                      <a:lnTo>
                        <a:pt x="235" y="260"/>
                      </a:lnTo>
                      <a:lnTo>
                        <a:pt x="235" y="258"/>
                      </a:lnTo>
                      <a:lnTo>
                        <a:pt x="235" y="258"/>
                      </a:lnTo>
                      <a:lnTo>
                        <a:pt x="236" y="257"/>
                      </a:lnTo>
                      <a:lnTo>
                        <a:pt x="236" y="257"/>
                      </a:lnTo>
                      <a:lnTo>
                        <a:pt x="236" y="257"/>
                      </a:lnTo>
                      <a:lnTo>
                        <a:pt x="236" y="256"/>
                      </a:lnTo>
                      <a:lnTo>
                        <a:pt x="237" y="256"/>
                      </a:lnTo>
                      <a:lnTo>
                        <a:pt x="231" y="246"/>
                      </a:lnTo>
                      <a:lnTo>
                        <a:pt x="218" y="224"/>
                      </a:lnTo>
                      <a:lnTo>
                        <a:pt x="215" y="224"/>
                      </a:lnTo>
                      <a:lnTo>
                        <a:pt x="212" y="224"/>
                      </a:lnTo>
                      <a:lnTo>
                        <a:pt x="208" y="227"/>
                      </a:lnTo>
                      <a:lnTo>
                        <a:pt x="203" y="227"/>
                      </a:lnTo>
                      <a:lnTo>
                        <a:pt x="200" y="227"/>
                      </a:lnTo>
                      <a:lnTo>
                        <a:pt x="200" y="200"/>
                      </a:lnTo>
                      <a:lnTo>
                        <a:pt x="198" y="196"/>
                      </a:lnTo>
                      <a:lnTo>
                        <a:pt x="200" y="195"/>
                      </a:lnTo>
                      <a:lnTo>
                        <a:pt x="198" y="194"/>
                      </a:lnTo>
                      <a:lnTo>
                        <a:pt x="191" y="202"/>
                      </a:lnTo>
                      <a:lnTo>
                        <a:pt x="187" y="206"/>
                      </a:lnTo>
                      <a:lnTo>
                        <a:pt x="185" y="206"/>
                      </a:lnTo>
                      <a:lnTo>
                        <a:pt x="170" y="202"/>
                      </a:lnTo>
                      <a:lnTo>
                        <a:pt x="168" y="199"/>
                      </a:lnTo>
                      <a:lnTo>
                        <a:pt x="161" y="194"/>
                      </a:lnTo>
                      <a:lnTo>
                        <a:pt x="151" y="193"/>
                      </a:lnTo>
                      <a:lnTo>
                        <a:pt x="155" y="189"/>
                      </a:lnTo>
                      <a:lnTo>
                        <a:pt x="155" y="188"/>
                      </a:lnTo>
                      <a:lnTo>
                        <a:pt x="155" y="184"/>
                      </a:lnTo>
                      <a:lnTo>
                        <a:pt x="151" y="179"/>
                      </a:lnTo>
                      <a:lnTo>
                        <a:pt x="149" y="176"/>
                      </a:lnTo>
                      <a:lnTo>
                        <a:pt x="148" y="174"/>
                      </a:lnTo>
                      <a:lnTo>
                        <a:pt x="144" y="171"/>
                      </a:lnTo>
                      <a:lnTo>
                        <a:pt x="140" y="163"/>
                      </a:lnTo>
                      <a:lnTo>
                        <a:pt x="141" y="161"/>
                      </a:lnTo>
                      <a:lnTo>
                        <a:pt x="138" y="159"/>
                      </a:lnTo>
                      <a:lnTo>
                        <a:pt x="135" y="154"/>
                      </a:lnTo>
                      <a:lnTo>
                        <a:pt x="135" y="150"/>
                      </a:lnTo>
                      <a:lnTo>
                        <a:pt x="140" y="149"/>
                      </a:lnTo>
                      <a:lnTo>
                        <a:pt x="138" y="146"/>
                      </a:lnTo>
                      <a:lnTo>
                        <a:pt x="140" y="141"/>
                      </a:lnTo>
                      <a:lnTo>
                        <a:pt x="148" y="134"/>
                      </a:lnTo>
                      <a:lnTo>
                        <a:pt x="149" y="124"/>
                      </a:lnTo>
                      <a:lnTo>
                        <a:pt x="149" y="120"/>
                      </a:lnTo>
                      <a:lnTo>
                        <a:pt x="152" y="113"/>
                      </a:lnTo>
                      <a:lnTo>
                        <a:pt x="154" y="108"/>
                      </a:lnTo>
                      <a:lnTo>
                        <a:pt x="154" y="104"/>
                      </a:lnTo>
                      <a:lnTo>
                        <a:pt x="155" y="103"/>
                      </a:lnTo>
                      <a:lnTo>
                        <a:pt x="158" y="102"/>
                      </a:lnTo>
                      <a:lnTo>
                        <a:pt x="160" y="101"/>
                      </a:lnTo>
                      <a:lnTo>
                        <a:pt x="161" y="100"/>
                      </a:lnTo>
                      <a:lnTo>
                        <a:pt x="162" y="99"/>
                      </a:lnTo>
                      <a:lnTo>
                        <a:pt x="163" y="97"/>
                      </a:lnTo>
                      <a:lnTo>
                        <a:pt x="167" y="96"/>
                      </a:lnTo>
                      <a:lnTo>
                        <a:pt x="168" y="94"/>
                      </a:lnTo>
                      <a:lnTo>
                        <a:pt x="170" y="93"/>
                      </a:lnTo>
                      <a:lnTo>
                        <a:pt x="174" y="91"/>
                      </a:lnTo>
                      <a:lnTo>
                        <a:pt x="175" y="93"/>
                      </a:lnTo>
                      <a:lnTo>
                        <a:pt x="176" y="91"/>
                      </a:lnTo>
                      <a:lnTo>
                        <a:pt x="178" y="90"/>
                      </a:lnTo>
                      <a:lnTo>
                        <a:pt x="182" y="90"/>
                      </a:lnTo>
                      <a:lnTo>
                        <a:pt x="184" y="89"/>
                      </a:lnTo>
                      <a:lnTo>
                        <a:pt x="185" y="89"/>
                      </a:lnTo>
                      <a:lnTo>
                        <a:pt x="187" y="89"/>
                      </a:lnTo>
                      <a:lnTo>
                        <a:pt x="190" y="87"/>
                      </a:lnTo>
                      <a:lnTo>
                        <a:pt x="191" y="84"/>
                      </a:lnTo>
                      <a:lnTo>
                        <a:pt x="192" y="84"/>
                      </a:lnTo>
                      <a:lnTo>
                        <a:pt x="194" y="86"/>
                      </a:lnTo>
                      <a:lnTo>
                        <a:pt x="195" y="84"/>
                      </a:lnTo>
                      <a:lnTo>
                        <a:pt x="197" y="84"/>
                      </a:lnTo>
                      <a:lnTo>
                        <a:pt x="198" y="84"/>
                      </a:lnTo>
                      <a:lnTo>
                        <a:pt x="200" y="87"/>
                      </a:lnTo>
                      <a:lnTo>
                        <a:pt x="201" y="89"/>
                      </a:lnTo>
                      <a:lnTo>
                        <a:pt x="202" y="87"/>
                      </a:lnTo>
                      <a:lnTo>
                        <a:pt x="204" y="88"/>
                      </a:lnTo>
                      <a:lnTo>
                        <a:pt x="204" y="89"/>
                      </a:lnTo>
                      <a:lnTo>
                        <a:pt x="207" y="86"/>
                      </a:lnTo>
                      <a:lnTo>
                        <a:pt x="203" y="83"/>
                      </a:lnTo>
                      <a:lnTo>
                        <a:pt x="203" y="83"/>
                      </a:lnTo>
                      <a:lnTo>
                        <a:pt x="202" y="81"/>
                      </a:lnTo>
                      <a:lnTo>
                        <a:pt x="201" y="80"/>
                      </a:lnTo>
                      <a:lnTo>
                        <a:pt x="198" y="77"/>
                      </a:lnTo>
                      <a:lnTo>
                        <a:pt x="198" y="77"/>
                      </a:lnTo>
                      <a:lnTo>
                        <a:pt x="196" y="80"/>
                      </a:lnTo>
                      <a:lnTo>
                        <a:pt x="194" y="79"/>
                      </a:lnTo>
                      <a:lnTo>
                        <a:pt x="194" y="79"/>
                      </a:lnTo>
                      <a:lnTo>
                        <a:pt x="192" y="77"/>
                      </a:lnTo>
                      <a:lnTo>
                        <a:pt x="191" y="77"/>
                      </a:lnTo>
                      <a:lnTo>
                        <a:pt x="203" y="55"/>
                      </a:lnTo>
                      <a:lnTo>
                        <a:pt x="203" y="55"/>
                      </a:lnTo>
                      <a:lnTo>
                        <a:pt x="202" y="54"/>
                      </a:lnTo>
                      <a:lnTo>
                        <a:pt x="202" y="54"/>
                      </a:lnTo>
                      <a:lnTo>
                        <a:pt x="202" y="55"/>
                      </a:lnTo>
                      <a:lnTo>
                        <a:pt x="201" y="54"/>
                      </a:lnTo>
                      <a:lnTo>
                        <a:pt x="200" y="54"/>
                      </a:lnTo>
                      <a:lnTo>
                        <a:pt x="200" y="53"/>
                      </a:lnTo>
                      <a:lnTo>
                        <a:pt x="198" y="52"/>
                      </a:lnTo>
                      <a:lnTo>
                        <a:pt x="197" y="53"/>
                      </a:lnTo>
                      <a:lnTo>
                        <a:pt x="197" y="53"/>
                      </a:lnTo>
                      <a:lnTo>
                        <a:pt x="197" y="52"/>
                      </a:lnTo>
                      <a:lnTo>
                        <a:pt x="198" y="50"/>
                      </a:lnTo>
                      <a:lnTo>
                        <a:pt x="198" y="50"/>
                      </a:lnTo>
                      <a:lnTo>
                        <a:pt x="197" y="50"/>
                      </a:lnTo>
                      <a:lnTo>
                        <a:pt x="196" y="50"/>
                      </a:lnTo>
                      <a:lnTo>
                        <a:pt x="196" y="50"/>
                      </a:lnTo>
                      <a:lnTo>
                        <a:pt x="195" y="50"/>
                      </a:lnTo>
                      <a:lnTo>
                        <a:pt x="194" y="49"/>
                      </a:lnTo>
                      <a:lnTo>
                        <a:pt x="194" y="50"/>
                      </a:lnTo>
                      <a:lnTo>
                        <a:pt x="192" y="50"/>
                      </a:lnTo>
                      <a:lnTo>
                        <a:pt x="192" y="49"/>
                      </a:lnTo>
                      <a:lnTo>
                        <a:pt x="191" y="48"/>
                      </a:lnTo>
                      <a:lnTo>
                        <a:pt x="191" y="48"/>
                      </a:lnTo>
                      <a:lnTo>
                        <a:pt x="189" y="47"/>
                      </a:lnTo>
                      <a:lnTo>
                        <a:pt x="188" y="46"/>
                      </a:lnTo>
                      <a:lnTo>
                        <a:pt x="187" y="46"/>
                      </a:lnTo>
                      <a:lnTo>
                        <a:pt x="185" y="44"/>
                      </a:lnTo>
                      <a:lnTo>
                        <a:pt x="185" y="46"/>
                      </a:lnTo>
                      <a:lnTo>
                        <a:pt x="185" y="46"/>
                      </a:lnTo>
                      <a:lnTo>
                        <a:pt x="185" y="46"/>
                      </a:lnTo>
                      <a:lnTo>
                        <a:pt x="184" y="46"/>
                      </a:lnTo>
                      <a:lnTo>
                        <a:pt x="183" y="46"/>
                      </a:lnTo>
                      <a:lnTo>
                        <a:pt x="183" y="46"/>
                      </a:lnTo>
                      <a:lnTo>
                        <a:pt x="183" y="47"/>
                      </a:lnTo>
                      <a:lnTo>
                        <a:pt x="182" y="48"/>
                      </a:lnTo>
                      <a:lnTo>
                        <a:pt x="182" y="48"/>
                      </a:lnTo>
                      <a:lnTo>
                        <a:pt x="181" y="48"/>
                      </a:lnTo>
                      <a:lnTo>
                        <a:pt x="180" y="48"/>
                      </a:lnTo>
                      <a:lnTo>
                        <a:pt x="178" y="48"/>
                      </a:lnTo>
                      <a:lnTo>
                        <a:pt x="178" y="48"/>
                      </a:lnTo>
                      <a:lnTo>
                        <a:pt x="178" y="48"/>
                      </a:lnTo>
                      <a:lnTo>
                        <a:pt x="177" y="46"/>
                      </a:lnTo>
                      <a:lnTo>
                        <a:pt x="177" y="46"/>
                      </a:lnTo>
                      <a:lnTo>
                        <a:pt x="177" y="47"/>
                      </a:lnTo>
                      <a:lnTo>
                        <a:pt x="177" y="47"/>
                      </a:lnTo>
                      <a:lnTo>
                        <a:pt x="177" y="47"/>
                      </a:lnTo>
                      <a:lnTo>
                        <a:pt x="176" y="46"/>
                      </a:lnTo>
                      <a:lnTo>
                        <a:pt x="175" y="46"/>
                      </a:lnTo>
                      <a:lnTo>
                        <a:pt x="175" y="44"/>
                      </a:lnTo>
                      <a:lnTo>
                        <a:pt x="174" y="44"/>
                      </a:lnTo>
                      <a:lnTo>
                        <a:pt x="172" y="44"/>
                      </a:lnTo>
                      <a:lnTo>
                        <a:pt x="172" y="43"/>
                      </a:lnTo>
                      <a:lnTo>
                        <a:pt x="170" y="44"/>
                      </a:lnTo>
                      <a:lnTo>
                        <a:pt x="170" y="46"/>
                      </a:lnTo>
                      <a:lnTo>
                        <a:pt x="169" y="47"/>
                      </a:lnTo>
                      <a:lnTo>
                        <a:pt x="169" y="48"/>
                      </a:lnTo>
                      <a:lnTo>
                        <a:pt x="167" y="47"/>
                      </a:lnTo>
                      <a:lnTo>
                        <a:pt x="167" y="48"/>
                      </a:lnTo>
                      <a:lnTo>
                        <a:pt x="165" y="49"/>
                      </a:lnTo>
                      <a:lnTo>
                        <a:pt x="163" y="49"/>
                      </a:lnTo>
                      <a:lnTo>
                        <a:pt x="163" y="49"/>
                      </a:lnTo>
                      <a:lnTo>
                        <a:pt x="163" y="49"/>
                      </a:lnTo>
                      <a:lnTo>
                        <a:pt x="161" y="50"/>
                      </a:lnTo>
                      <a:lnTo>
                        <a:pt x="161" y="50"/>
                      </a:lnTo>
                      <a:lnTo>
                        <a:pt x="161" y="49"/>
                      </a:lnTo>
                      <a:lnTo>
                        <a:pt x="158" y="48"/>
                      </a:lnTo>
                      <a:lnTo>
                        <a:pt x="156" y="48"/>
                      </a:lnTo>
                      <a:lnTo>
                        <a:pt x="155" y="49"/>
                      </a:lnTo>
                      <a:lnTo>
                        <a:pt x="155" y="48"/>
                      </a:lnTo>
                      <a:lnTo>
                        <a:pt x="154" y="49"/>
                      </a:lnTo>
                      <a:lnTo>
                        <a:pt x="154" y="48"/>
                      </a:lnTo>
                      <a:lnTo>
                        <a:pt x="151" y="49"/>
                      </a:lnTo>
                      <a:lnTo>
                        <a:pt x="151" y="49"/>
                      </a:lnTo>
                      <a:lnTo>
                        <a:pt x="150" y="48"/>
                      </a:lnTo>
                      <a:lnTo>
                        <a:pt x="149" y="48"/>
                      </a:lnTo>
                      <a:lnTo>
                        <a:pt x="149" y="47"/>
                      </a:lnTo>
                      <a:lnTo>
                        <a:pt x="149" y="48"/>
                      </a:lnTo>
                      <a:lnTo>
                        <a:pt x="148" y="48"/>
                      </a:lnTo>
                      <a:lnTo>
                        <a:pt x="148" y="47"/>
                      </a:lnTo>
                      <a:lnTo>
                        <a:pt x="147" y="47"/>
                      </a:lnTo>
                      <a:lnTo>
                        <a:pt x="147" y="46"/>
                      </a:lnTo>
                      <a:lnTo>
                        <a:pt x="145" y="46"/>
                      </a:lnTo>
                      <a:lnTo>
                        <a:pt x="145" y="44"/>
                      </a:lnTo>
                      <a:lnTo>
                        <a:pt x="147" y="43"/>
                      </a:lnTo>
                      <a:lnTo>
                        <a:pt x="148" y="42"/>
                      </a:lnTo>
                      <a:lnTo>
                        <a:pt x="147" y="40"/>
                      </a:lnTo>
                      <a:lnTo>
                        <a:pt x="147" y="39"/>
                      </a:lnTo>
                      <a:lnTo>
                        <a:pt x="147" y="37"/>
                      </a:lnTo>
                      <a:lnTo>
                        <a:pt x="145" y="36"/>
                      </a:lnTo>
                      <a:lnTo>
                        <a:pt x="145" y="36"/>
                      </a:lnTo>
                      <a:lnTo>
                        <a:pt x="144" y="36"/>
                      </a:lnTo>
                      <a:lnTo>
                        <a:pt x="144" y="36"/>
                      </a:lnTo>
                      <a:lnTo>
                        <a:pt x="143" y="36"/>
                      </a:lnTo>
                      <a:lnTo>
                        <a:pt x="142" y="36"/>
                      </a:lnTo>
                      <a:lnTo>
                        <a:pt x="142" y="36"/>
                      </a:lnTo>
                      <a:lnTo>
                        <a:pt x="141" y="35"/>
                      </a:lnTo>
                      <a:lnTo>
                        <a:pt x="140" y="34"/>
                      </a:lnTo>
                      <a:lnTo>
                        <a:pt x="140" y="33"/>
                      </a:lnTo>
                      <a:lnTo>
                        <a:pt x="141" y="32"/>
                      </a:lnTo>
                      <a:lnTo>
                        <a:pt x="141" y="30"/>
                      </a:lnTo>
                      <a:lnTo>
                        <a:pt x="138" y="29"/>
                      </a:lnTo>
                      <a:lnTo>
                        <a:pt x="140" y="28"/>
                      </a:lnTo>
                      <a:lnTo>
                        <a:pt x="138" y="27"/>
                      </a:lnTo>
                      <a:lnTo>
                        <a:pt x="138" y="27"/>
                      </a:lnTo>
                      <a:lnTo>
                        <a:pt x="138" y="27"/>
                      </a:lnTo>
                      <a:lnTo>
                        <a:pt x="137" y="26"/>
                      </a:lnTo>
                      <a:lnTo>
                        <a:pt x="136" y="24"/>
                      </a:lnTo>
                      <a:lnTo>
                        <a:pt x="136" y="23"/>
                      </a:lnTo>
                      <a:lnTo>
                        <a:pt x="135" y="24"/>
                      </a:lnTo>
                      <a:lnTo>
                        <a:pt x="135" y="24"/>
                      </a:lnTo>
                      <a:lnTo>
                        <a:pt x="134" y="24"/>
                      </a:lnTo>
                      <a:lnTo>
                        <a:pt x="134" y="23"/>
                      </a:lnTo>
                      <a:lnTo>
                        <a:pt x="132" y="22"/>
                      </a:lnTo>
                      <a:lnTo>
                        <a:pt x="131" y="22"/>
                      </a:lnTo>
                      <a:lnTo>
                        <a:pt x="131" y="22"/>
                      </a:lnTo>
                      <a:lnTo>
                        <a:pt x="131" y="22"/>
                      </a:lnTo>
                      <a:lnTo>
                        <a:pt x="131" y="21"/>
                      </a:lnTo>
                      <a:lnTo>
                        <a:pt x="131" y="22"/>
                      </a:lnTo>
                      <a:lnTo>
                        <a:pt x="131" y="22"/>
                      </a:lnTo>
                      <a:lnTo>
                        <a:pt x="130" y="21"/>
                      </a:lnTo>
                      <a:lnTo>
                        <a:pt x="130" y="21"/>
                      </a:lnTo>
                      <a:lnTo>
                        <a:pt x="128" y="21"/>
                      </a:lnTo>
                      <a:lnTo>
                        <a:pt x="127" y="21"/>
                      </a:lnTo>
                      <a:lnTo>
                        <a:pt x="127" y="20"/>
                      </a:lnTo>
                      <a:lnTo>
                        <a:pt x="125" y="17"/>
                      </a:lnTo>
                      <a:lnTo>
                        <a:pt x="124" y="17"/>
                      </a:lnTo>
                      <a:lnTo>
                        <a:pt x="124" y="17"/>
                      </a:lnTo>
                      <a:lnTo>
                        <a:pt x="125" y="17"/>
                      </a:lnTo>
                      <a:lnTo>
                        <a:pt x="125" y="16"/>
                      </a:lnTo>
                      <a:lnTo>
                        <a:pt x="125" y="16"/>
                      </a:lnTo>
                      <a:lnTo>
                        <a:pt x="125" y="16"/>
                      </a:lnTo>
                      <a:lnTo>
                        <a:pt x="124" y="15"/>
                      </a:lnTo>
                      <a:lnTo>
                        <a:pt x="124" y="15"/>
                      </a:lnTo>
                      <a:lnTo>
                        <a:pt x="124" y="14"/>
                      </a:lnTo>
                      <a:lnTo>
                        <a:pt x="124" y="14"/>
                      </a:lnTo>
                      <a:lnTo>
                        <a:pt x="124" y="13"/>
                      </a:lnTo>
                      <a:lnTo>
                        <a:pt x="124" y="13"/>
                      </a:lnTo>
                      <a:lnTo>
                        <a:pt x="123" y="12"/>
                      </a:lnTo>
                      <a:lnTo>
                        <a:pt x="123" y="10"/>
                      </a:lnTo>
                      <a:lnTo>
                        <a:pt x="123" y="10"/>
                      </a:lnTo>
                      <a:lnTo>
                        <a:pt x="122" y="9"/>
                      </a:lnTo>
                      <a:lnTo>
                        <a:pt x="120" y="7"/>
                      </a:lnTo>
                      <a:lnTo>
                        <a:pt x="118" y="7"/>
                      </a:lnTo>
                      <a:lnTo>
                        <a:pt x="118" y="7"/>
                      </a:lnTo>
                      <a:lnTo>
                        <a:pt x="117" y="6"/>
                      </a:lnTo>
                      <a:lnTo>
                        <a:pt x="117" y="4"/>
                      </a:lnTo>
                      <a:lnTo>
                        <a:pt x="116" y="3"/>
                      </a:lnTo>
                      <a:lnTo>
                        <a:pt x="116" y="3"/>
                      </a:lnTo>
                      <a:lnTo>
                        <a:pt x="116" y="4"/>
                      </a:lnTo>
                      <a:lnTo>
                        <a:pt x="115" y="4"/>
                      </a:lnTo>
                      <a:lnTo>
                        <a:pt x="114" y="4"/>
                      </a:lnTo>
                      <a:lnTo>
                        <a:pt x="112" y="3"/>
                      </a:lnTo>
                      <a:lnTo>
                        <a:pt x="112" y="2"/>
                      </a:lnTo>
                      <a:lnTo>
                        <a:pt x="111" y="1"/>
                      </a:lnTo>
                      <a:lnTo>
                        <a:pt x="109" y="0"/>
                      </a:lnTo>
                      <a:lnTo>
                        <a:pt x="108" y="2"/>
                      </a:lnTo>
                      <a:lnTo>
                        <a:pt x="108" y="2"/>
                      </a:lnTo>
                      <a:lnTo>
                        <a:pt x="107" y="3"/>
                      </a:lnTo>
                      <a:lnTo>
                        <a:pt x="105" y="3"/>
                      </a:lnTo>
                      <a:lnTo>
                        <a:pt x="102" y="2"/>
                      </a:lnTo>
                      <a:lnTo>
                        <a:pt x="103" y="3"/>
                      </a:lnTo>
                      <a:lnTo>
                        <a:pt x="105" y="7"/>
                      </a:lnTo>
                      <a:lnTo>
                        <a:pt x="107" y="9"/>
                      </a:lnTo>
                      <a:lnTo>
                        <a:pt x="108" y="10"/>
                      </a:lnTo>
                      <a:lnTo>
                        <a:pt x="108" y="10"/>
                      </a:lnTo>
                      <a:lnTo>
                        <a:pt x="109" y="13"/>
                      </a:lnTo>
                      <a:lnTo>
                        <a:pt x="108" y="14"/>
                      </a:lnTo>
                      <a:lnTo>
                        <a:pt x="108" y="16"/>
                      </a:lnTo>
                      <a:lnTo>
                        <a:pt x="109" y="17"/>
                      </a:lnTo>
                      <a:lnTo>
                        <a:pt x="109" y="20"/>
                      </a:lnTo>
                      <a:lnTo>
                        <a:pt x="108" y="20"/>
                      </a:lnTo>
                      <a:lnTo>
                        <a:pt x="105" y="19"/>
                      </a:lnTo>
                      <a:lnTo>
                        <a:pt x="103" y="32"/>
                      </a:lnTo>
                      <a:lnTo>
                        <a:pt x="94" y="43"/>
                      </a:lnTo>
                      <a:lnTo>
                        <a:pt x="62" y="61"/>
                      </a:lnTo>
                      <a:lnTo>
                        <a:pt x="58" y="66"/>
                      </a:lnTo>
                      <a:lnTo>
                        <a:pt x="57" y="67"/>
                      </a:lnTo>
                      <a:lnTo>
                        <a:pt x="56" y="69"/>
                      </a:lnTo>
                      <a:lnTo>
                        <a:pt x="56" y="70"/>
                      </a:lnTo>
                      <a:lnTo>
                        <a:pt x="55" y="71"/>
                      </a:lnTo>
                      <a:lnTo>
                        <a:pt x="55" y="70"/>
                      </a:lnTo>
                      <a:lnTo>
                        <a:pt x="53" y="71"/>
                      </a:lnTo>
                      <a:lnTo>
                        <a:pt x="53" y="76"/>
                      </a:lnTo>
                      <a:lnTo>
                        <a:pt x="50" y="80"/>
                      </a:lnTo>
                      <a:lnTo>
                        <a:pt x="49" y="83"/>
                      </a:lnTo>
                      <a:lnTo>
                        <a:pt x="48" y="87"/>
                      </a:lnTo>
                      <a:lnTo>
                        <a:pt x="48" y="90"/>
                      </a:lnTo>
                      <a:lnTo>
                        <a:pt x="48" y="91"/>
                      </a:lnTo>
                      <a:lnTo>
                        <a:pt x="48" y="94"/>
                      </a:lnTo>
                      <a:lnTo>
                        <a:pt x="44" y="96"/>
                      </a:lnTo>
                      <a:lnTo>
                        <a:pt x="44" y="99"/>
                      </a:lnTo>
                      <a:lnTo>
                        <a:pt x="43" y="100"/>
                      </a:lnTo>
                      <a:lnTo>
                        <a:pt x="42" y="102"/>
                      </a:lnTo>
                      <a:lnTo>
                        <a:pt x="41" y="102"/>
                      </a:lnTo>
                      <a:lnTo>
                        <a:pt x="40" y="102"/>
                      </a:lnTo>
                      <a:lnTo>
                        <a:pt x="37" y="102"/>
                      </a:lnTo>
                      <a:lnTo>
                        <a:pt x="36" y="100"/>
                      </a:lnTo>
                      <a:lnTo>
                        <a:pt x="34" y="99"/>
                      </a:lnTo>
                      <a:lnTo>
                        <a:pt x="33" y="93"/>
                      </a:lnTo>
                      <a:lnTo>
                        <a:pt x="33" y="93"/>
                      </a:lnTo>
                      <a:lnTo>
                        <a:pt x="30" y="90"/>
                      </a:lnTo>
                      <a:lnTo>
                        <a:pt x="28" y="91"/>
                      </a:lnTo>
                      <a:lnTo>
                        <a:pt x="27" y="90"/>
                      </a:lnTo>
                      <a:lnTo>
                        <a:pt x="24" y="90"/>
                      </a:lnTo>
                      <a:lnTo>
                        <a:pt x="22" y="88"/>
                      </a:lnTo>
                      <a:lnTo>
                        <a:pt x="22" y="88"/>
                      </a:lnTo>
                      <a:lnTo>
                        <a:pt x="20" y="90"/>
                      </a:lnTo>
                      <a:lnTo>
                        <a:pt x="17" y="90"/>
                      </a:lnTo>
                      <a:lnTo>
                        <a:pt x="17" y="91"/>
                      </a:lnTo>
                      <a:lnTo>
                        <a:pt x="15" y="90"/>
                      </a:lnTo>
                      <a:lnTo>
                        <a:pt x="17" y="86"/>
                      </a:lnTo>
                      <a:lnTo>
                        <a:pt x="16" y="86"/>
                      </a:lnTo>
                      <a:lnTo>
                        <a:pt x="15" y="84"/>
                      </a:lnTo>
                      <a:lnTo>
                        <a:pt x="15" y="82"/>
                      </a:lnTo>
                      <a:lnTo>
                        <a:pt x="17" y="81"/>
                      </a:lnTo>
                      <a:lnTo>
                        <a:pt x="18" y="81"/>
                      </a:lnTo>
                      <a:lnTo>
                        <a:pt x="20" y="81"/>
                      </a:lnTo>
                      <a:lnTo>
                        <a:pt x="20" y="79"/>
                      </a:lnTo>
                      <a:lnTo>
                        <a:pt x="20" y="77"/>
                      </a:lnTo>
                      <a:lnTo>
                        <a:pt x="20" y="75"/>
                      </a:lnTo>
                      <a:lnTo>
                        <a:pt x="20" y="73"/>
                      </a:lnTo>
                      <a:lnTo>
                        <a:pt x="20" y="71"/>
                      </a:lnTo>
                      <a:lnTo>
                        <a:pt x="18" y="70"/>
                      </a:lnTo>
                      <a:lnTo>
                        <a:pt x="17" y="69"/>
                      </a:lnTo>
                      <a:lnTo>
                        <a:pt x="17" y="69"/>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550" name="Oman">
                  <a:extLst>
                    <a:ext uri="{FF2B5EF4-FFF2-40B4-BE49-F238E27FC236}">
                      <a16:creationId xmlns:a16="http://schemas.microsoft.com/office/drawing/2014/main" id="{899CFBDE-F84B-D84E-A5B1-E45758181F06}"/>
                    </a:ext>
                  </a:extLst>
                </p:cNvPr>
                <p:cNvSpPr>
                  <a:spLocks noEditPoints="1"/>
                </p:cNvSpPr>
                <p:nvPr>
                  <p:custDataLst>
                    <p:tags r:id="rId17"/>
                  </p:custDataLst>
                </p:nvPr>
              </p:nvSpPr>
              <p:spPr bwMode="auto">
                <a:xfrm>
                  <a:off x="7712391" y="3197781"/>
                  <a:ext cx="196823" cy="291590"/>
                </a:xfrm>
                <a:custGeom>
                  <a:avLst/>
                  <a:gdLst>
                    <a:gd name="T0" fmla="*/ 67 w 135"/>
                    <a:gd name="T1" fmla="*/ 14 h 200"/>
                    <a:gd name="T2" fmla="*/ 67 w 135"/>
                    <a:gd name="T3" fmla="*/ 9 h 200"/>
                    <a:gd name="T4" fmla="*/ 67 w 135"/>
                    <a:gd name="T5" fmla="*/ 6 h 200"/>
                    <a:gd name="T6" fmla="*/ 66 w 135"/>
                    <a:gd name="T7" fmla="*/ 4 h 200"/>
                    <a:gd name="T8" fmla="*/ 67 w 135"/>
                    <a:gd name="T9" fmla="*/ 3 h 200"/>
                    <a:gd name="T10" fmla="*/ 67 w 135"/>
                    <a:gd name="T11" fmla="*/ 2 h 200"/>
                    <a:gd name="T12" fmla="*/ 67 w 135"/>
                    <a:gd name="T13" fmla="*/ 0 h 200"/>
                    <a:gd name="T14" fmla="*/ 65 w 135"/>
                    <a:gd name="T15" fmla="*/ 1 h 200"/>
                    <a:gd name="T16" fmla="*/ 65 w 135"/>
                    <a:gd name="T17" fmla="*/ 2 h 200"/>
                    <a:gd name="T18" fmla="*/ 62 w 135"/>
                    <a:gd name="T19" fmla="*/ 4 h 200"/>
                    <a:gd name="T20" fmla="*/ 60 w 135"/>
                    <a:gd name="T21" fmla="*/ 9 h 200"/>
                    <a:gd name="T22" fmla="*/ 62 w 135"/>
                    <a:gd name="T23" fmla="*/ 18 h 200"/>
                    <a:gd name="T24" fmla="*/ 52 w 135"/>
                    <a:gd name="T25" fmla="*/ 129 h 200"/>
                    <a:gd name="T26" fmla="*/ 58 w 135"/>
                    <a:gd name="T27" fmla="*/ 56 h 200"/>
                    <a:gd name="T28" fmla="*/ 66 w 135"/>
                    <a:gd name="T29" fmla="*/ 48 h 200"/>
                    <a:gd name="T30" fmla="*/ 62 w 135"/>
                    <a:gd name="T31" fmla="*/ 30 h 200"/>
                    <a:gd name="T32" fmla="*/ 75 w 135"/>
                    <a:gd name="T33" fmla="*/ 35 h 200"/>
                    <a:gd name="T34" fmla="*/ 85 w 135"/>
                    <a:gd name="T35" fmla="*/ 49 h 200"/>
                    <a:gd name="T36" fmla="*/ 99 w 135"/>
                    <a:gd name="T37" fmla="*/ 55 h 200"/>
                    <a:gd name="T38" fmla="*/ 111 w 135"/>
                    <a:gd name="T39" fmla="*/ 55 h 200"/>
                    <a:gd name="T40" fmla="*/ 116 w 135"/>
                    <a:gd name="T41" fmla="*/ 60 h 200"/>
                    <a:gd name="T42" fmla="*/ 122 w 135"/>
                    <a:gd name="T43" fmla="*/ 68 h 200"/>
                    <a:gd name="T44" fmla="*/ 131 w 135"/>
                    <a:gd name="T45" fmla="*/ 77 h 200"/>
                    <a:gd name="T46" fmla="*/ 135 w 135"/>
                    <a:gd name="T47" fmla="*/ 78 h 200"/>
                    <a:gd name="T48" fmla="*/ 134 w 135"/>
                    <a:gd name="T49" fmla="*/ 90 h 200"/>
                    <a:gd name="T50" fmla="*/ 129 w 135"/>
                    <a:gd name="T51" fmla="*/ 100 h 200"/>
                    <a:gd name="T52" fmla="*/ 121 w 135"/>
                    <a:gd name="T53" fmla="*/ 109 h 200"/>
                    <a:gd name="T54" fmla="*/ 119 w 135"/>
                    <a:gd name="T55" fmla="*/ 115 h 200"/>
                    <a:gd name="T56" fmla="*/ 113 w 135"/>
                    <a:gd name="T57" fmla="*/ 122 h 200"/>
                    <a:gd name="T58" fmla="*/ 111 w 135"/>
                    <a:gd name="T59" fmla="*/ 117 h 200"/>
                    <a:gd name="T60" fmla="*/ 106 w 135"/>
                    <a:gd name="T61" fmla="*/ 123 h 200"/>
                    <a:gd name="T62" fmla="*/ 103 w 135"/>
                    <a:gd name="T63" fmla="*/ 133 h 200"/>
                    <a:gd name="T64" fmla="*/ 103 w 135"/>
                    <a:gd name="T65" fmla="*/ 145 h 200"/>
                    <a:gd name="T66" fmla="*/ 101 w 135"/>
                    <a:gd name="T67" fmla="*/ 151 h 200"/>
                    <a:gd name="T68" fmla="*/ 87 w 135"/>
                    <a:gd name="T69" fmla="*/ 162 h 200"/>
                    <a:gd name="T70" fmla="*/ 82 w 135"/>
                    <a:gd name="T71" fmla="*/ 172 h 200"/>
                    <a:gd name="T72" fmla="*/ 69 w 135"/>
                    <a:gd name="T73" fmla="*/ 175 h 200"/>
                    <a:gd name="T74" fmla="*/ 63 w 135"/>
                    <a:gd name="T75" fmla="*/ 183 h 200"/>
                    <a:gd name="T76" fmla="*/ 61 w 135"/>
                    <a:gd name="T77" fmla="*/ 191 h 200"/>
                    <a:gd name="T78" fmla="*/ 56 w 135"/>
                    <a:gd name="T79" fmla="*/ 192 h 200"/>
                    <a:gd name="T80" fmla="*/ 45 w 135"/>
                    <a:gd name="T81" fmla="*/ 190 h 200"/>
                    <a:gd name="T82" fmla="*/ 35 w 135"/>
                    <a:gd name="T83" fmla="*/ 196 h 200"/>
                    <a:gd name="T84" fmla="*/ 26 w 135"/>
                    <a:gd name="T85" fmla="*/ 200 h 200"/>
                    <a:gd name="T86" fmla="*/ 19 w 135"/>
                    <a:gd name="T87" fmla="*/ 189 h 200"/>
                    <a:gd name="T88" fmla="*/ 123 w 135"/>
                    <a:gd name="T89" fmla="*/ 116 h 200"/>
                    <a:gd name="T90" fmla="*/ 120 w 135"/>
                    <a:gd name="T91" fmla="*/ 127 h 200"/>
                    <a:gd name="T92" fmla="*/ 120 w 135"/>
                    <a:gd name="T93" fmla="*/ 122 h 200"/>
                    <a:gd name="T94" fmla="*/ 123 w 135"/>
                    <a:gd name="T95" fmla="*/ 116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35" h="200">
                      <a:moveTo>
                        <a:pt x="68" y="17"/>
                      </a:moveTo>
                      <a:lnTo>
                        <a:pt x="68" y="15"/>
                      </a:lnTo>
                      <a:lnTo>
                        <a:pt x="68" y="14"/>
                      </a:lnTo>
                      <a:lnTo>
                        <a:pt x="67" y="14"/>
                      </a:lnTo>
                      <a:lnTo>
                        <a:pt x="66" y="13"/>
                      </a:lnTo>
                      <a:lnTo>
                        <a:pt x="66" y="13"/>
                      </a:lnTo>
                      <a:lnTo>
                        <a:pt x="67" y="11"/>
                      </a:lnTo>
                      <a:lnTo>
                        <a:pt x="67" y="9"/>
                      </a:lnTo>
                      <a:lnTo>
                        <a:pt x="68" y="9"/>
                      </a:lnTo>
                      <a:lnTo>
                        <a:pt x="67" y="8"/>
                      </a:lnTo>
                      <a:lnTo>
                        <a:pt x="67" y="8"/>
                      </a:lnTo>
                      <a:lnTo>
                        <a:pt x="67" y="6"/>
                      </a:lnTo>
                      <a:lnTo>
                        <a:pt x="67" y="6"/>
                      </a:lnTo>
                      <a:lnTo>
                        <a:pt x="67" y="6"/>
                      </a:lnTo>
                      <a:lnTo>
                        <a:pt x="66" y="4"/>
                      </a:lnTo>
                      <a:lnTo>
                        <a:pt x="66" y="4"/>
                      </a:lnTo>
                      <a:lnTo>
                        <a:pt x="66" y="3"/>
                      </a:lnTo>
                      <a:lnTo>
                        <a:pt x="67" y="3"/>
                      </a:lnTo>
                      <a:lnTo>
                        <a:pt x="67" y="3"/>
                      </a:lnTo>
                      <a:lnTo>
                        <a:pt x="67" y="3"/>
                      </a:lnTo>
                      <a:lnTo>
                        <a:pt x="67" y="3"/>
                      </a:lnTo>
                      <a:lnTo>
                        <a:pt x="67" y="2"/>
                      </a:lnTo>
                      <a:lnTo>
                        <a:pt x="67" y="2"/>
                      </a:lnTo>
                      <a:lnTo>
                        <a:pt x="67" y="2"/>
                      </a:lnTo>
                      <a:lnTo>
                        <a:pt x="67" y="2"/>
                      </a:lnTo>
                      <a:lnTo>
                        <a:pt x="67" y="1"/>
                      </a:lnTo>
                      <a:lnTo>
                        <a:pt x="68" y="0"/>
                      </a:lnTo>
                      <a:lnTo>
                        <a:pt x="67" y="0"/>
                      </a:lnTo>
                      <a:lnTo>
                        <a:pt x="66" y="0"/>
                      </a:lnTo>
                      <a:lnTo>
                        <a:pt x="66" y="0"/>
                      </a:lnTo>
                      <a:lnTo>
                        <a:pt x="66" y="1"/>
                      </a:lnTo>
                      <a:lnTo>
                        <a:pt x="65" y="1"/>
                      </a:lnTo>
                      <a:lnTo>
                        <a:pt x="65" y="2"/>
                      </a:lnTo>
                      <a:lnTo>
                        <a:pt x="66" y="2"/>
                      </a:lnTo>
                      <a:lnTo>
                        <a:pt x="65" y="2"/>
                      </a:lnTo>
                      <a:lnTo>
                        <a:pt x="65" y="2"/>
                      </a:lnTo>
                      <a:lnTo>
                        <a:pt x="63" y="1"/>
                      </a:lnTo>
                      <a:lnTo>
                        <a:pt x="62" y="2"/>
                      </a:lnTo>
                      <a:lnTo>
                        <a:pt x="61" y="3"/>
                      </a:lnTo>
                      <a:lnTo>
                        <a:pt x="62" y="4"/>
                      </a:lnTo>
                      <a:lnTo>
                        <a:pt x="61" y="6"/>
                      </a:lnTo>
                      <a:lnTo>
                        <a:pt x="61" y="7"/>
                      </a:lnTo>
                      <a:lnTo>
                        <a:pt x="61" y="8"/>
                      </a:lnTo>
                      <a:lnTo>
                        <a:pt x="60" y="9"/>
                      </a:lnTo>
                      <a:lnTo>
                        <a:pt x="62" y="10"/>
                      </a:lnTo>
                      <a:lnTo>
                        <a:pt x="61" y="11"/>
                      </a:lnTo>
                      <a:lnTo>
                        <a:pt x="61" y="11"/>
                      </a:lnTo>
                      <a:lnTo>
                        <a:pt x="62" y="18"/>
                      </a:lnTo>
                      <a:lnTo>
                        <a:pt x="68" y="17"/>
                      </a:lnTo>
                      <a:lnTo>
                        <a:pt x="68" y="17"/>
                      </a:lnTo>
                      <a:close/>
                      <a:moveTo>
                        <a:pt x="0" y="158"/>
                      </a:moveTo>
                      <a:lnTo>
                        <a:pt x="52" y="129"/>
                      </a:lnTo>
                      <a:lnTo>
                        <a:pt x="66" y="89"/>
                      </a:lnTo>
                      <a:lnTo>
                        <a:pt x="54" y="75"/>
                      </a:lnTo>
                      <a:lnTo>
                        <a:pt x="53" y="64"/>
                      </a:lnTo>
                      <a:lnTo>
                        <a:pt x="58" y="56"/>
                      </a:lnTo>
                      <a:lnTo>
                        <a:pt x="58" y="51"/>
                      </a:lnTo>
                      <a:lnTo>
                        <a:pt x="55" y="48"/>
                      </a:lnTo>
                      <a:lnTo>
                        <a:pt x="59" y="48"/>
                      </a:lnTo>
                      <a:lnTo>
                        <a:pt x="66" y="48"/>
                      </a:lnTo>
                      <a:lnTo>
                        <a:pt x="61" y="43"/>
                      </a:lnTo>
                      <a:lnTo>
                        <a:pt x="59" y="36"/>
                      </a:lnTo>
                      <a:lnTo>
                        <a:pt x="60" y="33"/>
                      </a:lnTo>
                      <a:lnTo>
                        <a:pt x="62" y="30"/>
                      </a:lnTo>
                      <a:lnTo>
                        <a:pt x="69" y="24"/>
                      </a:lnTo>
                      <a:lnTo>
                        <a:pt x="72" y="28"/>
                      </a:lnTo>
                      <a:lnTo>
                        <a:pt x="75" y="31"/>
                      </a:lnTo>
                      <a:lnTo>
                        <a:pt x="75" y="35"/>
                      </a:lnTo>
                      <a:lnTo>
                        <a:pt x="79" y="41"/>
                      </a:lnTo>
                      <a:lnTo>
                        <a:pt x="79" y="45"/>
                      </a:lnTo>
                      <a:lnTo>
                        <a:pt x="83" y="48"/>
                      </a:lnTo>
                      <a:lnTo>
                        <a:pt x="85" y="49"/>
                      </a:lnTo>
                      <a:lnTo>
                        <a:pt x="89" y="51"/>
                      </a:lnTo>
                      <a:lnTo>
                        <a:pt x="93" y="53"/>
                      </a:lnTo>
                      <a:lnTo>
                        <a:pt x="96" y="54"/>
                      </a:lnTo>
                      <a:lnTo>
                        <a:pt x="99" y="55"/>
                      </a:lnTo>
                      <a:lnTo>
                        <a:pt x="105" y="54"/>
                      </a:lnTo>
                      <a:lnTo>
                        <a:pt x="108" y="55"/>
                      </a:lnTo>
                      <a:lnTo>
                        <a:pt x="111" y="55"/>
                      </a:lnTo>
                      <a:lnTo>
                        <a:pt x="111" y="55"/>
                      </a:lnTo>
                      <a:lnTo>
                        <a:pt x="113" y="57"/>
                      </a:lnTo>
                      <a:lnTo>
                        <a:pt x="113" y="57"/>
                      </a:lnTo>
                      <a:lnTo>
                        <a:pt x="114" y="57"/>
                      </a:lnTo>
                      <a:lnTo>
                        <a:pt x="116" y="60"/>
                      </a:lnTo>
                      <a:lnTo>
                        <a:pt x="118" y="62"/>
                      </a:lnTo>
                      <a:lnTo>
                        <a:pt x="119" y="64"/>
                      </a:lnTo>
                      <a:lnTo>
                        <a:pt x="121" y="67"/>
                      </a:lnTo>
                      <a:lnTo>
                        <a:pt x="122" y="68"/>
                      </a:lnTo>
                      <a:lnTo>
                        <a:pt x="123" y="69"/>
                      </a:lnTo>
                      <a:lnTo>
                        <a:pt x="126" y="71"/>
                      </a:lnTo>
                      <a:lnTo>
                        <a:pt x="127" y="74"/>
                      </a:lnTo>
                      <a:lnTo>
                        <a:pt x="131" y="77"/>
                      </a:lnTo>
                      <a:lnTo>
                        <a:pt x="131" y="78"/>
                      </a:lnTo>
                      <a:lnTo>
                        <a:pt x="133" y="78"/>
                      </a:lnTo>
                      <a:lnTo>
                        <a:pt x="135" y="78"/>
                      </a:lnTo>
                      <a:lnTo>
                        <a:pt x="135" y="78"/>
                      </a:lnTo>
                      <a:lnTo>
                        <a:pt x="135" y="80"/>
                      </a:lnTo>
                      <a:lnTo>
                        <a:pt x="134" y="82"/>
                      </a:lnTo>
                      <a:lnTo>
                        <a:pt x="134" y="87"/>
                      </a:lnTo>
                      <a:lnTo>
                        <a:pt x="134" y="90"/>
                      </a:lnTo>
                      <a:lnTo>
                        <a:pt x="132" y="91"/>
                      </a:lnTo>
                      <a:lnTo>
                        <a:pt x="132" y="94"/>
                      </a:lnTo>
                      <a:lnTo>
                        <a:pt x="132" y="97"/>
                      </a:lnTo>
                      <a:lnTo>
                        <a:pt x="129" y="100"/>
                      </a:lnTo>
                      <a:lnTo>
                        <a:pt x="126" y="102"/>
                      </a:lnTo>
                      <a:lnTo>
                        <a:pt x="123" y="104"/>
                      </a:lnTo>
                      <a:lnTo>
                        <a:pt x="122" y="105"/>
                      </a:lnTo>
                      <a:lnTo>
                        <a:pt x="121" y="109"/>
                      </a:lnTo>
                      <a:lnTo>
                        <a:pt x="119" y="113"/>
                      </a:lnTo>
                      <a:lnTo>
                        <a:pt x="119" y="114"/>
                      </a:lnTo>
                      <a:lnTo>
                        <a:pt x="119" y="115"/>
                      </a:lnTo>
                      <a:lnTo>
                        <a:pt x="119" y="115"/>
                      </a:lnTo>
                      <a:lnTo>
                        <a:pt x="116" y="116"/>
                      </a:lnTo>
                      <a:lnTo>
                        <a:pt x="116" y="120"/>
                      </a:lnTo>
                      <a:lnTo>
                        <a:pt x="114" y="122"/>
                      </a:lnTo>
                      <a:lnTo>
                        <a:pt x="113" y="122"/>
                      </a:lnTo>
                      <a:lnTo>
                        <a:pt x="112" y="122"/>
                      </a:lnTo>
                      <a:lnTo>
                        <a:pt x="111" y="121"/>
                      </a:lnTo>
                      <a:lnTo>
                        <a:pt x="112" y="121"/>
                      </a:lnTo>
                      <a:lnTo>
                        <a:pt x="111" y="117"/>
                      </a:lnTo>
                      <a:lnTo>
                        <a:pt x="108" y="118"/>
                      </a:lnTo>
                      <a:lnTo>
                        <a:pt x="108" y="121"/>
                      </a:lnTo>
                      <a:lnTo>
                        <a:pt x="106" y="122"/>
                      </a:lnTo>
                      <a:lnTo>
                        <a:pt x="106" y="123"/>
                      </a:lnTo>
                      <a:lnTo>
                        <a:pt x="105" y="125"/>
                      </a:lnTo>
                      <a:lnTo>
                        <a:pt x="105" y="128"/>
                      </a:lnTo>
                      <a:lnTo>
                        <a:pt x="105" y="130"/>
                      </a:lnTo>
                      <a:lnTo>
                        <a:pt x="103" y="133"/>
                      </a:lnTo>
                      <a:lnTo>
                        <a:pt x="102" y="136"/>
                      </a:lnTo>
                      <a:lnTo>
                        <a:pt x="103" y="137"/>
                      </a:lnTo>
                      <a:lnTo>
                        <a:pt x="103" y="142"/>
                      </a:lnTo>
                      <a:lnTo>
                        <a:pt x="103" y="145"/>
                      </a:lnTo>
                      <a:lnTo>
                        <a:pt x="107" y="148"/>
                      </a:lnTo>
                      <a:lnTo>
                        <a:pt x="107" y="150"/>
                      </a:lnTo>
                      <a:lnTo>
                        <a:pt x="105" y="151"/>
                      </a:lnTo>
                      <a:lnTo>
                        <a:pt x="101" y="151"/>
                      </a:lnTo>
                      <a:lnTo>
                        <a:pt x="99" y="155"/>
                      </a:lnTo>
                      <a:lnTo>
                        <a:pt x="92" y="154"/>
                      </a:lnTo>
                      <a:lnTo>
                        <a:pt x="89" y="155"/>
                      </a:lnTo>
                      <a:lnTo>
                        <a:pt x="87" y="162"/>
                      </a:lnTo>
                      <a:lnTo>
                        <a:pt x="86" y="165"/>
                      </a:lnTo>
                      <a:lnTo>
                        <a:pt x="85" y="168"/>
                      </a:lnTo>
                      <a:lnTo>
                        <a:pt x="82" y="170"/>
                      </a:lnTo>
                      <a:lnTo>
                        <a:pt x="82" y="172"/>
                      </a:lnTo>
                      <a:lnTo>
                        <a:pt x="78" y="172"/>
                      </a:lnTo>
                      <a:lnTo>
                        <a:pt x="76" y="172"/>
                      </a:lnTo>
                      <a:lnTo>
                        <a:pt x="73" y="172"/>
                      </a:lnTo>
                      <a:lnTo>
                        <a:pt x="69" y="175"/>
                      </a:lnTo>
                      <a:lnTo>
                        <a:pt x="66" y="174"/>
                      </a:lnTo>
                      <a:lnTo>
                        <a:pt x="65" y="177"/>
                      </a:lnTo>
                      <a:lnTo>
                        <a:pt x="62" y="181"/>
                      </a:lnTo>
                      <a:lnTo>
                        <a:pt x="63" y="183"/>
                      </a:lnTo>
                      <a:lnTo>
                        <a:pt x="63" y="184"/>
                      </a:lnTo>
                      <a:lnTo>
                        <a:pt x="63" y="187"/>
                      </a:lnTo>
                      <a:lnTo>
                        <a:pt x="61" y="189"/>
                      </a:lnTo>
                      <a:lnTo>
                        <a:pt x="61" y="191"/>
                      </a:lnTo>
                      <a:lnTo>
                        <a:pt x="59" y="191"/>
                      </a:lnTo>
                      <a:lnTo>
                        <a:pt x="56" y="192"/>
                      </a:lnTo>
                      <a:lnTo>
                        <a:pt x="56" y="192"/>
                      </a:lnTo>
                      <a:lnTo>
                        <a:pt x="56" y="192"/>
                      </a:lnTo>
                      <a:lnTo>
                        <a:pt x="54" y="192"/>
                      </a:lnTo>
                      <a:lnTo>
                        <a:pt x="49" y="191"/>
                      </a:lnTo>
                      <a:lnTo>
                        <a:pt x="48" y="191"/>
                      </a:lnTo>
                      <a:lnTo>
                        <a:pt x="45" y="190"/>
                      </a:lnTo>
                      <a:lnTo>
                        <a:pt x="41" y="191"/>
                      </a:lnTo>
                      <a:lnTo>
                        <a:pt x="40" y="194"/>
                      </a:lnTo>
                      <a:lnTo>
                        <a:pt x="36" y="195"/>
                      </a:lnTo>
                      <a:lnTo>
                        <a:pt x="35" y="196"/>
                      </a:lnTo>
                      <a:lnTo>
                        <a:pt x="33" y="198"/>
                      </a:lnTo>
                      <a:lnTo>
                        <a:pt x="31" y="198"/>
                      </a:lnTo>
                      <a:lnTo>
                        <a:pt x="28" y="200"/>
                      </a:lnTo>
                      <a:lnTo>
                        <a:pt x="26" y="200"/>
                      </a:lnTo>
                      <a:lnTo>
                        <a:pt x="23" y="197"/>
                      </a:lnTo>
                      <a:lnTo>
                        <a:pt x="22" y="195"/>
                      </a:lnTo>
                      <a:lnTo>
                        <a:pt x="20" y="194"/>
                      </a:lnTo>
                      <a:lnTo>
                        <a:pt x="19" y="189"/>
                      </a:lnTo>
                      <a:lnTo>
                        <a:pt x="16" y="184"/>
                      </a:lnTo>
                      <a:lnTo>
                        <a:pt x="0" y="158"/>
                      </a:lnTo>
                      <a:lnTo>
                        <a:pt x="0" y="158"/>
                      </a:lnTo>
                      <a:close/>
                      <a:moveTo>
                        <a:pt x="123" y="116"/>
                      </a:moveTo>
                      <a:lnTo>
                        <a:pt x="121" y="117"/>
                      </a:lnTo>
                      <a:lnTo>
                        <a:pt x="120" y="121"/>
                      </a:lnTo>
                      <a:lnTo>
                        <a:pt x="118" y="123"/>
                      </a:lnTo>
                      <a:lnTo>
                        <a:pt x="120" y="127"/>
                      </a:lnTo>
                      <a:lnTo>
                        <a:pt x="120" y="124"/>
                      </a:lnTo>
                      <a:lnTo>
                        <a:pt x="120" y="124"/>
                      </a:lnTo>
                      <a:lnTo>
                        <a:pt x="120" y="124"/>
                      </a:lnTo>
                      <a:lnTo>
                        <a:pt x="120" y="122"/>
                      </a:lnTo>
                      <a:lnTo>
                        <a:pt x="122" y="122"/>
                      </a:lnTo>
                      <a:lnTo>
                        <a:pt x="123" y="120"/>
                      </a:lnTo>
                      <a:lnTo>
                        <a:pt x="123" y="117"/>
                      </a:lnTo>
                      <a:lnTo>
                        <a:pt x="123" y="116"/>
                      </a:lnTo>
                      <a:lnTo>
                        <a:pt x="123" y="116"/>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551" name="Norway">
                  <a:extLst>
                    <a:ext uri="{FF2B5EF4-FFF2-40B4-BE49-F238E27FC236}">
                      <a16:creationId xmlns:a16="http://schemas.microsoft.com/office/drawing/2014/main" id="{388F7807-CC05-8347-92DC-3F2168CB22D6}"/>
                    </a:ext>
                  </a:extLst>
                </p:cNvPr>
                <p:cNvSpPr>
                  <a:spLocks noEditPoints="1"/>
                </p:cNvSpPr>
                <p:nvPr/>
              </p:nvSpPr>
              <p:spPr bwMode="auto">
                <a:xfrm>
                  <a:off x="6465844" y="1709215"/>
                  <a:ext cx="488413" cy="556936"/>
                </a:xfrm>
                <a:custGeom>
                  <a:avLst/>
                  <a:gdLst>
                    <a:gd name="T0" fmla="*/ 138 w 335"/>
                    <a:gd name="T1" fmla="*/ 188 h 382"/>
                    <a:gd name="T2" fmla="*/ 130 w 335"/>
                    <a:gd name="T3" fmla="*/ 194 h 382"/>
                    <a:gd name="T4" fmla="*/ 327 w 335"/>
                    <a:gd name="T5" fmla="*/ 167 h 382"/>
                    <a:gd name="T6" fmla="*/ 327 w 335"/>
                    <a:gd name="T7" fmla="*/ 161 h 382"/>
                    <a:gd name="T8" fmla="*/ 303 w 335"/>
                    <a:gd name="T9" fmla="*/ 150 h 382"/>
                    <a:gd name="T10" fmla="*/ 295 w 335"/>
                    <a:gd name="T11" fmla="*/ 149 h 382"/>
                    <a:gd name="T12" fmla="*/ 273 w 335"/>
                    <a:gd name="T13" fmla="*/ 157 h 382"/>
                    <a:gd name="T14" fmla="*/ 267 w 335"/>
                    <a:gd name="T15" fmla="*/ 157 h 382"/>
                    <a:gd name="T16" fmla="*/ 269 w 335"/>
                    <a:gd name="T17" fmla="*/ 145 h 382"/>
                    <a:gd name="T18" fmla="*/ 242 w 335"/>
                    <a:gd name="T19" fmla="*/ 155 h 382"/>
                    <a:gd name="T20" fmla="*/ 216 w 335"/>
                    <a:gd name="T21" fmla="*/ 160 h 382"/>
                    <a:gd name="T22" fmla="*/ 202 w 335"/>
                    <a:gd name="T23" fmla="*/ 166 h 382"/>
                    <a:gd name="T24" fmla="*/ 189 w 335"/>
                    <a:gd name="T25" fmla="*/ 168 h 382"/>
                    <a:gd name="T26" fmla="*/ 185 w 335"/>
                    <a:gd name="T27" fmla="*/ 176 h 382"/>
                    <a:gd name="T28" fmla="*/ 161 w 335"/>
                    <a:gd name="T29" fmla="*/ 182 h 382"/>
                    <a:gd name="T30" fmla="*/ 166 w 335"/>
                    <a:gd name="T31" fmla="*/ 193 h 382"/>
                    <a:gd name="T32" fmla="*/ 147 w 335"/>
                    <a:gd name="T33" fmla="*/ 201 h 382"/>
                    <a:gd name="T34" fmla="*/ 138 w 335"/>
                    <a:gd name="T35" fmla="*/ 204 h 382"/>
                    <a:gd name="T36" fmla="*/ 138 w 335"/>
                    <a:gd name="T37" fmla="*/ 213 h 382"/>
                    <a:gd name="T38" fmla="*/ 114 w 335"/>
                    <a:gd name="T39" fmla="*/ 219 h 382"/>
                    <a:gd name="T40" fmla="*/ 119 w 335"/>
                    <a:gd name="T41" fmla="*/ 229 h 382"/>
                    <a:gd name="T42" fmla="*/ 102 w 335"/>
                    <a:gd name="T43" fmla="*/ 239 h 382"/>
                    <a:gd name="T44" fmla="*/ 101 w 335"/>
                    <a:gd name="T45" fmla="*/ 250 h 382"/>
                    <a:gd name="T46" fmla="*/ 90 w 335"/>
                    <a:gd name="T47" fmla="*/ 261 h 382"/>
                    <a:gd name="T48" fmla="*/ 69 w 335"/>
                    <a:gd name="T49" fmla="*/ 269 h 382"/>
                    <a:gd name="T50" fmla="*/ 85 w 335"/>
                    <a:gd name="T51" fmla="*/ 273 h 382"/>
                    <a:gd name="T52" fmla="*/ 56 w 335"/>
                    <a:gd name="T53" fmla="*/ 280 h 382"/>
                    <a:gd name="T54" fmla="*/ 42 w 335"/>
                    <a:gd name="T55" fmla="*/ 282 h 382"/>
                    <a:gd name="T56" fmla="*/ 29 w 335"/>
                    <a:gd name="T57" fmla="*/ 290 h 382"/>
                    <a:gd name="T58" fmla="*/ 19 w 335"/>
                    <a:gd name="T59" fmla="*/ 295 h 382"/>
                    <a:gd name="T60" fmla="*/ 14 w 335"/>
                    <a:gd name="T61" fmla="*/ 301 h 382"/>
                    <a:gd name="T62" fmla="*/ 13 w 335"/>
                    <a:gd name="T63" fmla="*/ 308 h 382"/>
                    <a:gd name="T64" fmla="*/ 5 w 335"/>
                    <a:gd name="T65" fmla="*/ 315 h 382"/>
                    <a:gd name="T66" fmla="*/ 12 w 335"/>
                    <a:gd name="T67" fmla="*/ 323 h 382"/>
                    <a:gd name="T68" fmla="*/ 32 w 335"/>
                    <a:gd name="T69" fmla="*/ 326 h 382"/>
                    <a:gd name="T70" fmla="*/ 7 w 335"/>
                    <a:gd name="T71" fmla="*/ 328 h 382"/>
                    <a:gd name="T72" fmla="*/ 2 w 335"/>
                    <a:gd name="T73" fmla="*/ 335 h 382"/>
                    <a:gd name="T74" fmla="*/ 7 w 335"/>
                    <a:gd name="T75" fmla="*/ 348 h 382"/>
                    <a:gd name="T76" fmla="*/ 19 w 335"/>
                    <a:gd name="T77" fmla="*/ 341 h 382"/>
                    <a:gd name="T78" fmla="*/ 7 w 335"/>
                    <a:gd name="T79" fmla="*/ 357 h 382"/>
                    <a:gd name="T80" fmla="*/ 19 w 335"/>
                    <a:gd name="T81" fmla="*/ 364 h 382"/>
                    <a:gd name="T82" fmla="*/ 27 w 335"/>
                    <a:gd name="T83" fmla="*/ 376 h 382"/>
                    <a:gd name="T84" fmla="*/ 45 w 335"/>
                    <a:gd name="T85" fmla="*/ 381 h 382"/>
                    <a:gd name="T86" fmla="*/ 62 w 335"/>
                    <a:gd name="T87" fmla="*/ 371 h 382"/>
                    <a:gd name="T88" fmla="*/ 75 w 335"/>
                    <a:gd name="T89" fmla="*/ 363 h 382"/>
                    <a:gd name="T90" fmla="*/ 82 w 335"/>
                    <a:gd name="T91" fmla="*/ 351 h 382"/>
                    <a:gd name="T92" fmla="*/ 96 w 335"/>
                    <a:gd name="T93" fmla="*/ 366 h 382"/>
                    <a:gd name="T94" fmla="*/ 107 w 335"/>
                    <a:gd name="T95" fmla="*/ 315 h 382"/>
                    <a:gd name="T96" fmla="*/ 121 w 335"/>
                    <a:gd name="T97" fmla="*/ 262 h 382"/>
                    <a:gd name="T98" fmla="*/ 157 w 335"/>
                    <a:gd name="T99" fmla="*/ 199 h 382"/>
                    <a:gd name="T100" fmla="*/ 207 w 335"/>
                    <a:gd name="T101" fmla="*/ 179 h 382"/>
                    <a:gd name="T102" fmla="*/ 267 w 335"/>
                    <a:gd name="T103" fmla="*/ 182 h 382"/>
                    <a:gd name="T104" fmla="*/ 335 w 335"/>
                    <a:gd name="T105" fmla="*/ 172 h 382"/>
                    <a:gd name="T106" fmla="*/ 110 w 335"/>
                    <a:gd name="T107" fmla="*/ 30 h 382"/>
                    <a:gd name="T108" fmla="*/ 141 w 335"/>
                    <a:gd name="T109" fmla="*/ 7 h 382"/>
                    <a:gd name="T110" fmla="*/ 174 w 335"/>
                    <a:gd name="T111" fmla="*/ 15 h 382"/>
                    <a:gd name="T112" fmla="*/ 235 w 335"/>
                    <a:gd name="T113" fmla="*/ 154 h 382"/>
                    <a:gd name="T114" fmla="*/ 233 w 335"/>
                    <a:gd name="T115" fmla="*/ 153 h 382"/>
                    <a:gd name="T116" fmla="*/ 194 w 335"/>
                    <a:gd name="T117" fmla="*/ 161 h 382"/>
                    <a:gd name="T118" fmla="*/ 169 w 335"/>
                    <a:gd name="T119" fmla="*/ 169 h 382"/>
                    <a:gd name="T120" fmla="*/ 116 w 335"/>
                    <a:gd name="T121" fmla="*/ 197 h 382"/>
                    <a:gd name="T122" fmla="*/ 122 w 335"/>
                    <a:gd name="T123" fmla="*/ 197 h 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35" h="382">
                      <a:moveTo>
                        <a:pt x="127" y="195"/>
                      </a:moveTo>
                      <a:lnTo>
                        <a:pt x="126" y="194"/>
                      </a:lnTo>
                      <a:lnTo>
                        <a:pt x="126" y="192"/>
                      </a:lnTo>
                      <a:lnTo>
                        <a:pt x="128" y="190"/>
                      </a:lnTo>
                      <a:lnTo>
                        <a:pt x="126" y="188"/>
                      </a:lnTo>
                      <a:lnTo>
                        <a:pt x="125" y="187"/>
                      </a:lnTo>
                      <a:lnTo>
                        <a:pt x="125" y="186"/>
                      </a:lnTo>
                      <a:lnTo>
                        <a:pt x="126" y="186"/>
                      </a:lnTo>
                      <a:lnTo>
                        <a:pt x="129" y="187"/>
                      </a:lnTo>
                      <a:lnTo>
                        <a:pt x="129" y="184"/>
                      </a:lnTo>
                      <a:lnTo>
                        <a:pt x="130" y="184"/>
                      </a:lnTo>
                      <a:lnTo>
                        <a:pt x="132" y="183"/>
                      </a:lnTo>
                      <a:lnTo>
                        <a:pt x="134" y="181"/>
                      </a:lnTo>
                      <a:lnTo>
                        <a:pt x="134" y="181"/>
                      </a:lnTo>
                      <a:lnTo>
                        <a:pt x="134" y="184"/>
                      </a:lnTo>
                      <a:lnTo>
                        <a:pt x="135" y="184"/>
                      </a:lnTo>
                      <a:lnTo>
                        <a:pt x="134" y="183"/>
                      </a:lnTo>
                      <a:lnTo>
                        <a:pt x="136" y="182"/>
                      </a:lnTo>
                      <a:lnTo>
                        <a:pt x="138" y="181"/>
                      </a:lnTo>
                      <a:lnTo>
                        <a:pt x="138" y="182"/>
                      </a:lnTo>
                      <a:lnTo>
                        <a:pt x="138" y="184"/>
                      </a:lnTo>
                      <a:lnTo>
                        <a:pt x="138" y="186"/>
                      </a:lnTo>
                      <a:lnTo>
                        <a:pt x="138" y="188"/>
                      </a:lnTo>
                      <a:lnTo>
                        <a:pt x="136" y="189"/>
                      </a:lnTo>
                      <a:lnTo>
                        <a:pt x="139" y="189"/>
                      </a:lnTo>
                      <a:lnTo>
                        <a:pt x="140" y="188"/>
                      </a:lnTo>
                      <a:lnTo>
                        <a:pt x="141" y="187"/>
                      </a:lnTo>
                      <a:lnTo>
                        <a:pt x="141" y="186"/>
                      </a:lnTo>
                      <a:lnTo>
                        <a:pt x="142" y="186"/>
                      </a:lnTo>
                      <a:lnTo>
                        <a:pt x="142" y="184"/>
                      </a:lnTo>
                      <a:lnTo>
                        <a:pt x="145" y="184"/>
                      </a:lnTo>
                      <a:lnTo>
                        <a:pt x="146" y="184"/>
                      </a:lnTo>
                      <a:lnTo>
                        <a:pt x="146" y="186"/>
                      </a:lnTo>
                      <a:lnTo>
                        <a:pt x="148" y="186"/>
                      </a:lnTo>
                      <a:lnTo>
                        <a:pt x="148" y="188"/>
                      </a:lnTo>
                      <a:lnTo>
                        <a:pt x="146" y="190"/>
                      </a:lnTo>
                      <a:lnTo>
                        <a:pt x="143" y="192"/>
                      </a:lnTo>
                      <a:lnTo>
                        <a:pt x="140" y="192"/>
                      </a:lnTo>
                      <a:lnTo>
                        <a:pt x="140" y="193"/>
                      </a:lnTo>
                      <a:lnTo>
                        <a:pt x="139" y="193"/>
                      </a:lnTo>
                      <a:lnTo>
                        <a:pt x="136" y="193"/>
                      </a:lnTo>
                      <a:lnTo>
                        <a:pt x="134" y="194"/>
                      </a:lnTo>
                      <a:lnTo>
                        <a:pt x="134" y="194"/>
                      </a:lnTo>
                      <a:lnTo>
                        <a:pt x="133" y="192"/>
                      </a:lnTo>
                      <a:lnTo>
                        <a:pt x="132" y="193"/>
                      </a:lnTo>
                      <a:lnTo>
                        <a:pt x="130" y="194"/>
                      </a:lnTo>
                      <a:lnTo>
                        <a:pt x="130" y="195"/>
                      </a:lnTo>
                      <a:lnTo>
                        <a:pt x="129" y="195"/>
                      </a:lnTo>
                      <a:lnTo>
                        <a:pt x="127" y="195"/>
                      </a:lnTo>
                      <a:lnTo>
                        <a:pt x="127" y="195"/>
                      </a:lnTo>
                      <a:close/>
                      <a:moveTo>
                        <a:pt x="140" y="182"/>
                      </a:moveTo>
                      <a:lnTo>
                        <a:pt x="142" y="180"/>
                      </a:lnTo>
                      <a:lnTo>
                        <a:pt x="142" y="179"/>
                      </a:lnTo>
                      <a:lnTo>
                        <a:pt x="145" y="177"/>
                      </a:lnTo>
                      <a:lnTo>
                        <a:pt x="146" y="176"/>
                      </a:lnTo>
                      <a:lnTo>
                        <a:pt x="147" y="177"/>
                      </a:lnTo>
                      <a:lnTo>
                        <a:pt x="146" y="177"/>
                      </a:lnTo>
                      <a:lnTo>
                        <a:pt x="145" y="181"/>
                      </a:lnTo>
                      <a:lnTo>
                        <a:pt x="145" y="182"/>
                      </a:lnTo>
                      <a:lnTo>
                        <a:pt x="143" y="182"/>
                      </a:lnTo>
                      <a:lnTo>
                        <a:pt x="142" y="181"/>
                      </a:lnTo>
                      <a:lnTo>
                        <a:pt x="141" y="181"/>
                      </a:lnTo>
                      <a:lnTo>
                        <a:pt x="140" y="182"/>
                      </a:lnTo>
                      <a:lnTo>
                        <a:pt x="140" y="182"/>
                      </a:lnTo>
                      <a:close/>
                      <a:moveTo>
                        <a:pt x="334" y="167"/>
                      </a:moveTo>
                      <a:lnTo>
                        <a:pt x="330" y="167"/>
                      </a:lnTo>
                      <a:lnTo>
                        <a:pt x="328" y="168"/>
                      </a:lnTo>
                      <a:lnTo>
                        <a:pt x="327" y="168"/>
                      </a:lnTo>
                      <a:lnTo>
                        <a:pt x="327" y="167"/>
                      </a:lnTo>
                      <a:lnTo>
                        <a:pt x="325" y="167"/>
                      </a:lnTo>
                      <a:lnTo>
                        <a:pt x="323" y="168"/>
                      </a:lnTo>
                      <a:lnTo>
                        <a:pt x="322" y="166"/>
                      </a:lnTo>
                      <a:lnTo>
                        <a:pt x="320" y="166"/>
                      </a:lnTo>
                      <a:lnTo>
                        <a:pt x="317" y="167"/>
                      </a:lnTo>
                      <a:lnTo>
                        <a:pt x="316" y="169"/>
                      </a:lnTo>
                      <a:lnTo>
                        <a:pt x="316" y="168"/>
                      </a:lnTo>
                      <a:lnTo>
                        <a:pt x="315" y="166"/>
                      </a:lnTo>
                      <a:lnTo>
                        <a:pt x="314" y="166"/>
                      </a:lnTo>
                      <a:lnTo>
                        <a:pt x="314" y="165"/>
                      </a:lnTo>
                      <a:lnTo>
                        <a:pt x="312" y="165"/>
                      </a:lnTo>
                      <a:lnTo>
                        <a:pt x="308" y="163"/>
                      </a:lnTo>
                      <a:lnTo>
                        <a:pt x="305" y="162"/>
                      </a:lnTo>
                      <a:lnTo>
                        <a:pt x="307" y="162"/>
                      </a:lnTo>
                      <a:lnTo>
                        <a:pt x="310" y="162"/>
                      </a:lnTo>
                      <a:lnTo>
                        <a:pt x="319" y="163"/>
                      </a:lnTo>
                      <a:lnTo>
                        <a:pt x="320" y="161"/>
                      </a:lnTo>
                      <a:lnTo>
                        <a:pt x="322" y="162"/>
                      </a:lnTo>
                      <a:lnTo>
                        <a:pt x="323" y="162"/>
                      </a:lnTo>
                      <a:lnTo>
                        <a:pt x="325" y="162"/>
                      </a:lnTo>
                      <a:lnTo>
                        <a:pt x="326" y="161"/>
                      </a:lnTo>
                      <a:lnTo>
                        <a:pt x="327" y="161"/>
                      </a:lnTo>
                      <a:lnTo>
                        <a:pt x="327" y="161"/>
                      </a:lnTo>
                      <a:lnTo>
                        <a:pt x="328" y="161"/>
                      </a:lnTo>
                      <a:lnTo>
                        <a:pt x="330" y="160"/>
                      </a:lnTo>
                      <a:lnTo>
                        <a:pt x="332" y="160"/>
                      </a:lnTo>
                      <a:lnTo>
                        <a:pt x="332" y="159"/>
                      </a:lnTo>
                      <a:lnTo>
                        <a:pt x="330" y="159"/>
                      </a:lnTo>
                      <a:lnTo>
                        <a:pt x="330" y="156"/>
                      </a:lnTo>
                      <a:lnTo>
                        <a:pt x="329" y="157"/>
                      </a:lnTo>
                      <a:lnTo>
                        <a:pt x="329" y="156"/>
                      </a:lnTo>
                      <a:lnTo>
                        <a:pt x="326" y="155"/>
                      </a:lnTo>
                      <a:lnTo>
                        <a:pt x="326" y="155"/>
                      </a:lnTo>
                      <a:lnTo>
                        <a:pt x="322" y="155"/>
                      </a:lnTo>
                      <a:lnTo>
                        <a:pt x="313" y="157"/>
                      </a:lnTo>
                      <a:lnTo>
                        <a:pt x="320" y="155"/>
                      </a:lnTo>
                      <a:lnTo>
                        <a:pt x="320" y="154"/>
                      </a:lnTo>
                      <a:lnTo>
                        <a:pt x="317" y="153"/>
                      </a:lnTo>
                      <a:lnTo>
                        <a:pt x="314" y="153"/>
                      </a:lnTo>
                      <a:lnTo>
                        <a:pt x="312" y="153"/>
                      </a:lnTo>
                      <a:lnTo>
                        <a:pt x="310" y="155"/>
                      </a:lnTo>
                      <a:lnTo>
                        <a:pt x="309" y="153"/>
                      </a:lnTo>
                      <a:lnTo>
                        <a:pt x="308" y="153"/>
                      </a:lnTo>
                      <a:lnTo>
                        <a:pt x="308" y="152"/>
                      </a:lnTo>
                      <a:lnTo>
                        <a:pt x="306" y="150"/>
                      </a:lnTo>
                      <a:lnTo>
                        <a:pt x="303" y="150"/>
                      </a:lnTo>
                      <a:lnTo>
                        <a:pt x="302" y="149"/>
                      </a:lnTo>
                      <a:lnTo>
                        <a:pt x="302" y="150"/>
                      </a:lnTo>
                      <a:lnTo>
                        <a:pt x="301" y="153"/>
                      </a:lnTo>
                      <a:lnTo>
                        <a:pt x="300" y="153"/>
                      </a:lnTo>
                      <a:lnTo>
                        <a:pt x="299" y="150"/>
                      </a:lnTo>
                      <a:lnTo>
                        <a:pt x="297" y="153"/>
                      </a:lnTo>
                      <a:lnTo>
                        <a:pt x="297" y="155"/>
                      </a:lnTo>
                      <a:lnTo>
                        <a:pt x="296" y="156"/>
                      </a:lnTo>
                      <a:lnTo>
                        <a:pt x="295" y="160"/>
                      </a:lnTo>
                      <a:lnTo>
                        <a:pt x="295" y="160"/>
                      </a:lnTo>
                      <a:lnTo>
                        <a:pt x="294" y="156"/>
                      </a:lnTo>
                      <a:lnTo>
                        <a:pt x="294" y="156"/>
                      </a:lnTo>
                      <a:lnTo>
                        <a:pt x="293" y="156"/>
                      </a:lnTo>
                      <a:lnTo>
                        <a:pt x="292" y="155"/>
                      </a:lnTo>
                      <a:lnTo>
                        <a:pt x="293" y="153"/>
                      </a:lnTo>
                      <a:lnTo>
                        <a:pt x="290" y="154"/>
                      </a:lnTo>
                      <a:lnTo>
                        <a:pt x="289" y="153"/>
                      </a:lnTo>
                      <a:lnTo>
                        <a:pt x="290" y="153"/>
                      </a:lnTo>
                      <a:lnTo>
                        <a:pt x="289" y="152"/>
                      </a:lnTo>
                      <a:lnTo>
                        <a:pt x="289" y="150"/>
                      </a:lnTo>
                      <a:lnTo>
                        <a:pt x="293" y="150"/>
                      </a:lnTo>
                      <a:lnTo>
                        <a:pt x="294" y="150"/>
                      </a:lnTo>
                      <a:lnTo>
                        <a:pt x="295" y="149"/>
                      </a:lnTo>
                      <a:lnTo>
                        <a:pt x="296" y="149"/>
                      </a:lnTo>
                      <a:lnTo>
                        <a:pt x="294" y="148"/>
                      </a:lnTo>
                      <a:lnTo>
                        <a:pt x="293" y="147"/>
                      </a:lnTo>
                      <a:lnTo>
                        <a:pt x="292" y="147"/>
                      </a:lnTo>
                      <a:lnTo>
                        <a:pt x="288" y="147"/>
                      </a:lnTo>
                      <a:lnTo>
                        <a:pt x="288" y="148"/>
                      </a:lnTo>
                      <a:lnTo>
                        <a:pt x="287" y="149"/>
                      </a:lnTo>
                      <a:lnTo>
                        <a:pt x="286" y="150"/>
                      </a:lnTo>
                      <a:lnTo>
                        <a:pt x="286" y="149"/>
                      </a:lnTo>
                      <a:lnTo>
                        <a:pt x="286" y="152"/>
                      </a:lnTo>
                      <a:lnTo>
                        <a:pt x="287" y="152"/>
                      </a:lnTo>
                      <a:lnTo>
                        <a:pt x="287" y="153"/>
                      </a:lnTo>
                      <a:lnTo>
                        <a:pt x="286" y="153"/>
                      </a:lnTo>
                      <a:lnTo>
                        <a:pt x="286" y="154"/>
                      </a:lnTo>
                      <a:lnTo>
                        <a:pt x="285" y="155"/>
                      </a:lnTo>
                      <a:lnTo>
                        <a:pt x="285" y="155"/>
                      </a:lnTo>
                      <a:lnTo>
                        <a:pt x="282" y="155"/>
                      </a:lnTo>
                      <a:lnTo>
                        <a:pt x="280" y="155"/>
                      </a:lnTo>
                      <a:lnTo>
                        <a:pt x="279" y="156"/>
                      </a:lnTo>
                      <a:lnTo>
                        <a:pt x="277" y="156"/>
                      </a:lnTo>
                      <a:lnTo>
                        <a:pt x="275" y="156"/>
                      </a:lnTo>
                      <a:lnTo>
                        <a:pt x="274" y="157"/>
                      </a:lnTo>
                      <a:lnTo>
                        <a:pt x="273" y="157"/>
                      </a:lnTo>
                      <a:lnTo>
                        <a:pt x="269" y="160"/>
                      </a:lnTo>
                      <a:lnTo>
                        <a:pt x="269" y="157"/>
                      </a:lnTo>
                      <a:lnTo>
                        <a:pt x="273" y="155"/>
                      </a:lnTo>
                      <a:lnTo>
                        <a:pt x="275" y="154"/>
                      </a:lnTo>
                      <a:lnTo>
                        <a:pt x="279" y="154"/>
                      </a:lnTo>
                      <a:lnTo>
                        <a:pt x="281" y="152"/>
                      </a:lnTo>
                      <a:lnTo>
                        <a:pt x="281" y="149"/>
                      </a:lnTo>
                      <a:lnTo>
                        <a:pt x="283" y="148"/>
                      </a:lnTo>
                      <a:lnTo>
                        <a:pt x="283" y="147"/>
                      </a:lnTo>
                      <a:lnTo>
                        <a:pt x="283" y="146"/>
                      </a:lnTo>
                      <a:lnTo>
                        <a:pt x="281" y="146"/>
                      </a:lnTo>
                      <a:lnTo>
                        <a:pt x="280" y="145"/>
                      </a:lnTo>
                      <a:lnTo>
                        <a:pt x="279" y="147"/>
                      </a:lnTo>
                      <a:lnTo>
                        <a:pt x="277" y="148"/>
                      </a:lnTo>
                      <a:lnTo>
                        <a:pt x="275" y="149"/>
                      </a:lnTo>
                      <a:lnTo>
                        <a:pt x="274" y="149"/>
                      </a:lnTo>
                      <a:lnTo>
                        <a:pt x="274" y="150"/>
                      </a:lnTo>
                      <a:lnTo>
                        <a:pt x="274" y="153"/>
                      </a:lnTo>
                      <a:lnTo>
                        <a:pt x="273" y="153"/>
                      </a:lnTo>
                      <a:lnTo>
                        <a:pt x="272" y="154"/>
                      </a:lnTo>
                      <a:lnTo>
                        <a:pt x="270" y="154"/>
                      </a:lnTo>
                      <a:lnTo>
                        <a:pt x="268" y="155"/>
                      </a:lnTo>
                      <a:lnTo>
                        <a:pt x="267" y="157"/>
                      </a:lnTo>
                      <a:lnTo>
                        <a:pt x="265" y="160"/>
                      </a:lnTo>
                      <a:lnTo>
                        <a:pt x="263" y="161"/>
                      </a:lnTo>
                      <a:lnTo>
                        <a:pt x="262" y="162"/>
                      </a:lnTo>
                      <a:lnTo>
                        <a:pt x="261" y="162"/>
                      </a:lnTo>
                      <a:lnTo>
                        <a:pt x="260" y="161"/>
                      </a:lnTo>
                      <a:lnTo>
                        <a:pt x="259" y="162"/>
                      </a:lnTo>
                      <a:lnTo>
                        <a:pt x="257" y="162"/>
                      </a:lnTo>
                      <a:lnTo>
                        <a:pt x="256" y="162"/>
                      </a:lnTo>
                      <a:lnTo>
                        <a:pt x="259" y="161"/>
                      </a:lnTo>
                      <a:lnTo>
                        <a:pt x="257" y="161"/>
                      </a:lnTo>
                      <a:lnTo>
                        <a:pt x="259" y="160"/>
                      </a:lnTo>
                      <a:lnTo>
                        <a:pt x="260" y="159"/>
                      </a:lnTo>
                      <a:lnTo>
                        <a:pt x="259" y="157"/>
                      </a:lnTo>
                      <a:lnTo>
                        <a:pt x="261" y="157"/>
                      </a:lnTo>
                      <a:lnTo>
                        <a:pt x="262" y="155"/>
                      </a:lnTo>
                      <a:lnTo>
                        <a:pt x="263" y="154"/>
                      </a:lnTo>
                      <a:lnTo>
                        <a:pt x="265" y="153"/>
                      </a:lnTo>
                      <a:lnTo>
                        <a:pt x="268" y="153"/>
                      </a:lnTo>
                      <a:lnTo>
                        <a:pt x="268" y="150"/>
                      </a:lnTo>
                      <a:lnTo>
                        <a:pt x="269" y="148"/>
                      </a:lnTo>
                      <a:lnTo>
                        <a:pt x="270" y="148"/>
                      </a:lnTo>
                      <a:lnTo>
                        <a:pt x="270" y="146"/>
                      </a:lnTo>
                      <a:lnTo>
                        <a:pt x="269" y="145"/>
                      </a:lnTo>
                      <a:lnTo>
                        <a:pt x="268" y="143"/>
                      </a:lnTo>
                      <a:lnTo>
                        <a:pt x="266" y="143"/>
                      </a:lnTo>
                      <a:lnTo>
                        <a:pt x="263" y="145"/>
                      </a:lnTo>
                      <a:lnTo>
                        <a:pt x="261" y="147"/>
                      </a:lnTo>
                      <a:lnTo>
                        <a:pt x="262" y="147"/>
                      </a:lnTo>
                      <a:lnTo>
                        <a:pt x="261" y="149"/>
                      </a:lnTo>
                      <a:lnTo>
                        <a:pt x="260" y="149"/>
                      </a:lnTo>
                      <a:lnTo>
                        <a:pt x="257" y="150"/>
                      </a:lnTo>
                      <a:lnTo>
                        <a:pt x="256" y="150"/>
                      </a:lnTo>
                      <a:lnTo>
                        <a:pt x="254" y="149"/>
                      </a:lnTo>
                      <a:lnTo>
                        <a:pt x="252" y="150"/>
                      </a:lnTo>
                      <a:lnTo>
                        <a:pt x="249" y="150"/>
                      </a:lnTo>
                      <a:lnTo>
                        <a:pt x="250" y="149"/>
                      </a:lnTo>
                      <a:lnTo>
                        <a:pt x="248" y="148"/>
                      </a:lnTo>
                      <a:lnTo>
                        <a:pt x="247" y="149"/>
                      </a:lnTo>
                      <a:lnTo>
                        <a:pt x="247" y="152"/>
                      </a:lnTo>
                      <a:lnTo>
                        <a:pt x="243" y="150"/>
                      </a:lnTo>
                      <a:lnTo>
                        <a:pt x="246" y="152"/>
                      </a:lnTo>
                      <a:lnTo>
                        <a:pt x="247" y="153"/>
                      </a:lnTo>
                      <a:lnTo>
                        <a:pt x="247" y="153"/>
                      </a:lnTo>
                      <a:lnTo>
                        <a:pt x="243" y="153"/>
                      </a:lnTo>
                      <a:lnTo>
                        <a:pt x="243" y="155"/>
                      </a:lnTo>
                      <a:lnTo>
                        <a:pt x="242" y="155"/>
                      </a:lnTo>
                      <a:lnTo>
                        <a:pt x="241" y="157"/>
                      </a:lnTo>
                      <a:lnTo>
                        <a:pt x="241" y="160"/>
                      </a:lnTo>
                      <a:lnTo>
                        <a:pt x="240" y="162"/>
                      </a:lnTo>
                      <a:lnTo>
                        <a:pt x="236" y="162"/>
                      </a:lnTo>
                      <a:lnTo>
                        <a:pt x="235" y="160"/>
                      </a:lnTo>
                      <a:lnTo>
                        <a:pt x="234" y="161"/>
                      </a:lnTo>
                      <a:lnTo>
                        <a:pt x="232" y="161"/>
                      </a:lnTo>
                      <a:lnTo>
                        <a:pt x="233" y="162"/>
                      </a:lnTo>
                      <a:lnTo>
                        <a:pt x="232" y="162"/>
                      </a:lnTo>
                      <a:lnTo>
                        <a:pt x="230" y="163"/>
                      </a:lnTo>
                      <a:lnTo>
                        <a:pt x="230" y="162"/>
                      </a:lnTo>
                      <a:lnTo>
                        <a:pt x="229" y="163"/>
                      </a:lnTo>
                      <a:lnTo>
                        <a:pt x="228" y="165"/>
                      </a:lnTo>
                      <a:lnTo>
                        <a:pt x="226" y="166"/>
                      </a:lnTo>
                      <a:lnTo>
                        <a:pt x="225" y="162"/>
                      </a:lnTo>
                      <a:lnTo>
                        <a:pt x="227" y="161"/>
                      </a:lnTo>
                      <a:lnTo>
                        <a:pt x="225" y="161"/>
                      </a:lnTo>
                      <a:lnTo>
                        <a:pt x="223" y="160"/>
                      </a:lnTo>
                      <a:lnTo>
                        <a:pt x="222" y="161"/>
                      </a:lnTo>
                      <a:lnTo>
                        <a:pt x="220" y="161"/>
                      </a:lnTo>
                      <a:lnTo>
                        <a:pt x="220" y="162"/>
                      </a:lnTo>
                      <a:lnTo>
                        <a:pt x="219" y="161"/>
                      </a:lnTo>
                      <a:lnTo>
                        <a:pt x="216" y="160"/>
                      </a:lnTo>
                      <a:lnTo>
                        <a:pt x="213" y="160"/>
                      </a:lnTo>
                      <a:lnTo>
                        <a:pt x="212" y="161"/>
                      </a:lnTo>
                      <a:lnTo>
                        <a:pt x="209" y="160"/>
                      </a:lnTo>
                      <a:lnTo>
                        <a:pt x="208" y="160"/>
                      </a:lnTo>
                      <a:lnTo>
                        <a:pt x="207" y="161"/>
                      </a:lnTo>
                      <a:lnTo>
                        <a:pt x="207" y="161"/>
                      </a:lnTo>
                      <a:lnTo>
                        <a:pt x="208" y="162"/>
                      </a:lnTo>
                      <a:lnTo>
                        <a:pt x="210" y="162"/>
                      </a:lnTo>
                      <a:lnTo>
                        <a:pt x="214" y="163"/>
                      </a:lnTo>
                      <a:lnTo>
                        <a:pt x="215" y="163"/>
                      </a:lnTo>
                      <a:lnTo>
                        <a:pt x="215" y="163"/>
                      </a:lnTo>
                      <a:lnTo>
                        <a:pt x="216" y="165"/>
                      </a:lnTo>
                      <a:lnTo>
                        <a:pt x="213" y="165"/>
                      </a:lnTo>
                      <a:lnTo>
                        <a:pt x="216" y="167"/>
                      </a:lnTo>
                      <a:lnTo>
                        <a:pt x="217" y="168"/>
                      </a:lnTo>
                      <a:lnTo>
                        <a:pt x="215" y="167"/>
                      </a:lnTo>
                      <a:lnTo>
                        <a:pt x="209" y="166"/>
                      </a:lnTo>
                      <a:lnTo>
                        <a:pt x="208" y="165"/>
                      </a:lnTo>
                      <a:lnTo>
                        <a:pt x="206" y="166"/>
                      </a:lnTo>
                      <a:lnTo>
                        <a:pt x="205" y="167"/>
                      </a:lnTo>
                      <a:lnTo>
                        <a:pt x="203" y="167"/>
                      </a:lnTo>
                      <a:lnTo>
                        <a:pt x="203" y="168"/>
                      </a:lnTo>
                      <a:lnTo>
                        <a:pt x="202" y="166"/>
                      </a:lnTo>
                      <a:lnTo>
                        <a:pt x="201" y="167"/>
                      </a:lnTo>
                      <a:lnTo>
                        <a:pt x="200" y="166"/>
                      </a:lnTo>
                      <a:lnTo>
                        <a:pt x="197" y="167"/>
                      </a:lnTo>
                      <a:lnTo>
                        <a:pt x="199" y="169"/>
                      </a:lnTo>
                      <a:lnTo>
                        <a:pt x="199" y="170"/>
                      </a:lnTo>
                      <a:lnTo>
                        <a:pt x="201" y="169"/>
                      </a:lnTo>
                      <a:lnTo>
                        <a:pt x="202" y="169"/>
                      </a:lnTo>
                      <a:lnTo>
                        <a:pt x="203" y="169"/>
                      </a:lnTo>
                      <a:lnTo>
                        <a:pt x="205" y="169"/>
                      </a:lnTo>
                      <a:lnTo>
                        <a:pt x="206" y="168"/>
                      </a:lnTo>
                      <a:lnTo>
                        <a:pt x="209" y="169"/>
                      </a:lnTo>
                      <a:lnTo>
                        <a:pt x="197" y="173"/>
                      </a:lnTo>
                      <a:lnTo>
                        <a:pt x="200" y="173"/>
                      </a:lnTo>
                      <a:lnTo>
                        <a:pt x="195" y="174"/>
                      </a:lnTo>
                      <a:lnTo>
                        <a:pt x="192" y="176"/>
                      </a:lnTo>
                      <a:lnTo>
                        <a:pt x="193" y="175"/>
                      </a:lnTo>
                      <a:lnTo>
                        <a:pt x="195" y="173"/>
                      </a:lnTo>
                      <a:lnTo>
                        <a:pt x="196" y="172"/>
                      </a:lnTo>
                      <a:lnTo>
                        <a:pt x="195" y="168"/>
                      </a:lnTo>
                      <a:lnTo>
                        <a:pt x="193" y="166"/>
                      </a:lnTo>
                      <a:lnTo>
                        <a:pt x="192" y="167"/>
                      </a:lnTo>
                      <a:lnTo>
                        <a:pt x="189" y="166"/>
                      </a:lnTo>
                      <a:lnTo>
                        <a:pt x="189" y="168"/>
                      </a:lnTo>
                      <a:lnTo>
                        <a:pt x="194" y="169"/>
                      </a:lnTo>
                      <a:lnTo>
                        <a:pt x="193" y="170"/>
                      </a:lnTo>
                      <a:lnTo>
                        <a:pt x="190" y="170"/>
                      </a:lnTo>
                      <a:lnTo>
                        <a:pt x="188" y="176"/>
                      </a:lnTo>
                      <a:lnTo>
                        <a:pt x="187" y="173"/>
                      </a:lnTo>
                      <a:lnTo>
                        <a:pt x="187" y="174"/>
                      </a:lnTo>
                      <a:lnTo>
                        <a:pt x="182" y="173"/>
                      </a:lnTo>
                      <a:lnTo>
                        <a:pt x="183" y="172"/>
                      </a:lnTo>
                      <a:lnTo>
                        <a:pt x="185" y="172"/>
                      </a:lnTo>
                      <a:lnTo>
                        <a:pt x="186" y="170"/>
                      </a:lnTo>
                      <a:lnTo>
                        <a:pt x="186" y="169"/>
                      </a:lnTo>
                      <a:lnTo>
                        <a:pt x="185" y="167"/>
                      </a:lnTo>
                      <a:lnTo>
                        <a:pt x="183" y="168"/>
                      </a:lnTo>
                      <a:lnTo>
                        <a:pt x="182" y="168"/>
                      </a:lnTo>
                      <a:lnTo>
                        <a:pt x="182" y="169"/>
                      </a:lnTo>
                      <a:lnTo>
                        <a:pt x="181" y="169"/>
                      </a:lnTo>
                      <a:lnTo>
                        <a:pt x="179" y="169"/>
                      </a:lnTo>
                      <a:lnTo>
                        <a:pt x="180" y="170"/>
                      </a:lnTo>
                      <a:lnTo>
                        <a:pt x="179" y="172"/>
                      </a:lnTo>
                      <a:lnTo>
                        <a:pt x="180" y="173"/>
                      </a:lnTo>
                      <a:lnTo>
                        <a:pt x="180" y="174"/>
                      </a:lnTo>
                      <a:lnTo>
                        <a:pt x="181" y="175"/>
                      </a:lnTo>
                      <a:lnTo>
                        <a:pt x="185" y="176"/>
                      </a:lnTo>
                      <a:lnTo>
                        <a:pt x="185" y="177"/>
                      </a:lnTo>
                      <a:lnTo>
                        <a:pt x="183" y="177"/>
                      </a:lnTo>
                      <a:lnTo>
                        <a:pt x="182" y="177"/>
                      </a:lnTo>
                      <a:lnTo>
                        <a:pt x="182" y="176"/>
                      </a:lnTo>
                      <a:lnTo>
                        <a:pt x="179" y="174"/>
                      </a:lnTo>
                      <a:lnTo>
                        <a:pt x="174" y="173"/>
                      </a:lnTo>
                      <a:lnTo>
                        <a:pt x="174" y="174"/>
                      </a:lnTo>
                      <a:lnTo>
                        <a:pt x="173" y="174"/>
                      </a:lnTo>
                      <a:lnTo>
                        <a:pt x="176" y="176"/>
                      </a:lnTo>
                      <a:lnTo>
                        <a:pt x="176" y="176"/>
                      </a:lnTo>
                      <a:lnTo>
                        <a:pt x="174" y="176"/>
                      </a:lnTo>
                      <a:lnTo>
                        <a:pt x="173" y="175"/>
                      </a:lnTo>
                      <a:lnTo>
                        <a:pt x="170" y="176"/>
                      </a:lnTo>
                      <a:lnTo>
                        <a:pt x="170" y="175"/>
                      </a:lnTo>
                      <a:lnTo>
                        <a:pt x="169" y="174"/>
                      </a:lnTo>
                      <a:lnTo>
                        <a:pt x="167" y="175"/>
                      </a:lnTo>
                      <a:lnTo>
                        <a:pt x="168" y="177"/>
                      </a:lnTo>
                      <a:lnTo>
                        <a:pt x="167" y="177"/>
                      </a:lnTo>
                      <a:lnTo>
                        <a:pt x="166" y="177"/>
                      </a:lnTo>
                      <a:lnTo>
                        <a:pt x="166" y="180"/>
                      </a:lnTo>
                      <a:lnTo>
                        <a:pt x="163" y="180"/>
                      </a:lnTo>
                      <a:lnTo>
                        <a:pt x="166" y="182"/>
                      </a:lnTo>
                      <a:lnTo>
                        <a:pt x="161" y="182"/>
                      </a:lnTo>
                      <a:lnTo>
                        <a:pt x="161" y="183"/>
                      </a:lnTo>
                      <a:lnTo>
                        <a:pt x="162" y="183"/>
                      </a:lnTo>
                      <a:lnTo>
                        <a:pt x="162" y="184"/>
                      </a:lnTo>
                      <a:lnTo>
                        <a:pt x="161" y="186"/>
                      </a:lnTo>
                      <a:lnTo>
                        <a:pt x="160" y="187"/>
                      </a:lnTo>
                      <a:lnTo>
                        <a:pt x="162" y="188"/>
                      </a:lnTo>
                      <a:lnTo>
                        <a:pt x="159" y="187"/>
                      </a:lnTo>
                      <a:lnTo>
                        <a:pt x="154" y="189"/>
                      </a:lnTo>
                      <a:lnTo>
                        <a:pt x="153" y="188"/>
                      </a:lnTo>
                      <a:lnTo>
                        <a:pt x="154" y="184"/>
                      </a:lnTo>
                      <a:lnTo>
                        <a:pt x="153" y="182"/>
                      </a:lnTo>
                      <a:lnTo>
                        <a:pt x="152" y="181"/>
                      </a:lnTo>
                      <a:lnTo>
                        <a:pt x="150" y="183"/>
                      </a:lnTo>
                      <a:lnTo>
                        <a:pt x="150" y="186"/>
                      </a:lnTo>
                      <a:lnTo>
                        <a:pt x="150" y="187"/>
                      </a:lnTo>
                      <a:lnTo>
                        <a:pt x="149" y="189"/>
                      </a:lnTo>
                      <a:lnTo>
                        <a:pt x="149" y="190"/>
                      </a:lnTo>
                      <a:lnTo>
                        <a:pt x="153" y="189"/>
                      </a:lnTo>
                      <a:lnTo>
                        <a:pt x="154" y="192"/>
                      </a:lnTo>
                      <a:lnTo>
                        <a:pt x="156" y="192"/>
                      </a:lnTo>
                      <a:lnTo>
                        <a:pt x="159" y="190"/>
                      </a:lnTo>
                      <a:lnTo>
                        <a:pt x="163" y="192"/>
                      </a:lnTo>
                      <a:lnTo>
                        <a:pt x="166" y="193"/>
                      </a:lnTo>
                      <a:lnTo>
                        <a:pt x="163" y="193"/>
                      </a:lnTo>
                      <a:lnTo>
                        <a:pt x="161" y="193"/>
                      </a:lnTo>
                      <a:lnTo>
                        <a:pt x="159" y="193"/>
                      </a:lnTo>
                      <a:lnTo>
                        <a:pt x="160" y="195"/>
                      </a:lnTo>
                      <a:lnTo>
                        <a:pt x="159" y="195"/>
                      </a:lnTo>
                      <a:lnTo>
                        <a:pt x="156" y="194"/>
                      </a:lnTo>
                      <a:lnTo>
                        <a:pt x="152" y="193"/>
                      </a:lnTo>
                      <a:lnTo>
                        <a:pt x="147" y="193"/>
                      </a:lnTo>
                      <a:lnTo>
                        <a:pt x="148" y="194"/>
                      </a:lnTo>
                      <a:lnTo>
                        <a:pt x="152" y="196"/>
                      </a:lnTo>
                      <a:lnTo>
                        <a:pt x="149" y="195"/>
                      </a:lnTo>
                      <a:lnTo>
                        <a:pt x="146" y="194"/>
                      </a:lnTo>
                      <a:lnTo>
                        <a:pt x="145" y="194"/>
                      </a:lnTo>
                      <a:lnTo>
                        <a:pt x="145" y="195"/>
                      </a:lnTo>
                      <a:lnTo>
                        <a:pt x="147" y="195"/>
                      </a:lnTo>
                      <a:lnTo>
                        <a:pt x="147" y="196"/>
                      </a:lnTo>
                      <a:lnTo>
                        <a:pt x="147" y="197"/>
                      </a:lnTo>
                      <a:lnTo>
                        <a:pt x="149" y="197"/>
                      </a:lnTo>
                      <a:lnTo>
                        <a:pt x="150" y="197"/>
                      </a:lnTo>
                      <a:lnTo>
                        <a:pt x="148" y="199"/>
                      </a:lnTo>
                      <a:lnTo>
                        <a:pt x="148" y="199"/>
                      </a:lnTo>
                      <a:lnTo>
                        <a:pt x="148" y="201"/>
                      </a:lnTo>
                      <a:lnTo>
                        <a:pt x="147" y="201"/>
                      </a:lnTo>
                      <a:lnTo>
                        <a:pt x="143" y="197"/>
                      </a:lnTo>
                      <a:lnTo>
                        <a:pt x="142" y="196"/>
                      </a:lnTo>
                      <a:lnTo>
                        <a:pt x="141" y="196"/>
                      </a:lnTo>
                      <a:lnTo>
                        <a:pt x="140" y="197"/>
                      </a:lnTo>
                      <a:lnTo>
                        <a:pt x="139" y="197"/>
                      </a:lnTo>
                      <a:lnTo>
                        <a:pt x="136" y="197"/>
                      </a:lnTo>
                      <a:lnTo>
                        <a:pt x="134" y="199"/>
                      </a:lnTo>
                      <a:lnTo>
                        <a:pt x="135" y="199"/>
                      </a:lnTo>
                      <a:lnTo>
                        <a:pt x="139" y="199"/>
                      </a:lnTo>
                      <a:lnTo>
                        <a:pt x="141" y="199"/>
                      </a:lnTo>
                      <a:lnTo>
                        <a:pt x="140" y="200"/>
                      </a:lnTo>
                      <a:lnTo>
                        <a:pt x="138" y="201"/>
                      </a:lnTo>
                      <a:lnTo>
                        <a:pt x="134" y="202"/>
                      </a:lnTo>
                      <a:lnTo>
                        <a:pt x="129" y="202"/>
                      </a:lnTo>
                      <a:lnTo>
                        <a:pt x="127" y="203"/>
                      </a:lnTo>
                      <a:lnTo>
                        <a:pt x="128" y="203"/>
                      </a:lnTo>
                      <a:lnTo>
                        <a:pt x="129" y="203"/>
                      </a:lnTo>
                      <a:lnTo>
                        <a:pt x="128" y="204"/>
                      </a:lnTo>
                      <a:lnTo>
                        <a:pt x="129" y="204"/>
                      </a:lnTo>
                      <a:lnTo>
                        <a:pt x="134" y="203"/>
                      </a:lnTo>
                      <a:lnTo>
                        <a:pt x="136" y="203"/>
                      </a:lnTo>
                      <a:lnTo>
                        <a:pt x="139" y="203"/>
                      </a:lnTo>
                      <a:lnTo>
                        <a:pt x="138" y="204"/>
                      </a:lnTo>
                      <a:lnTo>
                        <a:pt x="136" y="204"/>
                      </a:lnTo>
                      <a:lnTo>
                        <a:pt x="134" y="204"/>
                      </a:lnTo>
                      <a:lnTo>
                        <a:pt x="134" y="207"/>
                      </a:lnTo>
                      <a:lnTo>
                        <a:pt x="138" y="207"/>
                      </a:lnTo>
                      <a:lnTo>
                        <a:pt x="140" y="207"/>
                      </a:lnTo>
                      <a:lnTo>
                        <a:pt x="138" y="208"/>
                      </a:lnTo>
                      <a:lnTo>
                        <a:pt x="139" y="210"/>
                      </a:lnTo>
                      <a:lnTo>
                        <a:pt x="140" y="212"/>
                      </a:lnTo>
                      <a:lnTo>
                        <a:pt x="139" y="210"/>
                      </a:lnTo>
                      <a:lnTo>
                        <a:pt x="135" y="209"/>
                      </a:lnTo>
                      <a:lnTo>
                        <a:pt x="133" y="208"/>
                      </a:lnTo>
                      <a:lnTo>
                        <a:pt x="132" y="208"/>
                      </a:lnTo>
                      <a:lnTo>
                        <a:pt x="130" y="207"/>
                      </a:lnTo>
                      <a:lnTo>
                        <a:pt x="128" y="208"/>
                      </a:lnTo>
                      <a:lnTo>
                        <a:pt x="127" y="209"/>
                      </a:lnTo>
                      <a:lnTo>
                        <a:pt x="125" y="210"/>
                      </a:lnTo>
                      <a:lnTo>
                        <a:pt x="125" y="212"/>
                      </a:lnTo>
                      <a:lnTo>
                        <a:pt x="127" y="213"/>
                      </a:lnTo>
                      <a:lnTo>
                        <a:pt x="128" y="213"/>
                      </a:lnTo>
                      <a:lnTo>
                        <a:pt x="130" y="212"/>
                      </a:lnTo>
                      <a:lnTo>
                        <a:pt x="133" y="210"/>
                      </a:lnTo>
                      <a:lnTo>
                        <a:pt x="136" y="210"/>
                      </a:lnTo>
                      <a:lnTo>
                        <a:pt x="138" y="213"/>
                      </a:lnTo>
                      <a:lnTo>
                        <a:pt x="139" y="213"/>
                      </a:lnTo>
                      <a:lnTo>
                        <a:pt x="138" y="214"/>
                      </a:lnTo>
                      <a:lnTo>
                        <a:pt x="136" y="215"/>
                      </a:lnTo>
                      <a:lnTo>
                        <a:pt x="134" y="214"/>
                      </a:lnTo>
                      <a:lnTo>
                        <a:pt x="132" y="214"/>
                      </a:lnTo>
                      <a:lnTo>
                        <a:pt x="130" y="214"/>
                      </a:lnTo>
                      <a:lnTo>
                        <a:pt x="129" y="213"/>
                      </a:lnTo>
                      <a:lnTo>
                        <a:pt x="127" y="214"/>
                      </a:lnTo>
                      <a:lnTo>
                        <a:pt x="127" y="214"/>
                      </a:lnTo>
                      <a:lnTo>
                        <a:pt x="126" y="215"/>
                      </a:lnTo>
                      <a:lnTo>
                        <a:pt x="126" y="215"/>
                      </a:lnTo>
                      <a:lnTo>
                        <a:pt x="125" y="216"/>
                      </a:lnTo>
                      <a:lnTo>
                        <a:pt x="123" y="216"/>
                      </a:lnTo>
                      <a:lnTo>
                        <a:pt x="122" y="217"/>
                      </a:lnTo>
                      <a:lnTo>
                        <a:pt x="121" y="220"/>
                      </a:lnTo>
                      <a:lnTo>
                        <a:pt x="120" y="217"/>
                      </a:lnTo>
                      <a:lnTo>
                        <a:pt x="121" y="215"/>
                      </a:lnTo>
                      <a:lnTo>
                        <a:pt x="120" y="216"/>
                      </a:lnTo>
                      <a:lnTo>
                        <a:pt x="118" y="216"/>
                      </a:lnTo>
                      <a:lnTo>
                        <a:pt x="118" y="217"/>
                      </a:lnTo>
                      <a:lnTo>
                        <a:pt x="116" y="217"/>
                      </a:lnTo>
                      <a:lnTo>
                        <a:pt x="114" y="217"/>
                      </a:lnTo>
                      <a:lnTo>
                        <a:pt x="114" y="219"/>
                      </a:lnTo>
                      <a:lnTo>
                        <a:pt x="116" y="220"/>
                      </a:lnTo>
                      <a:lnTo>
                        <a:pt x="115" y="220"/>
                      </a:lnTo>
                      <a:lnTo>
                        <a:pt x="113" y="221"/>
                      </a:lnTo>
                      <a:lnTo>
                        <a:pt x="114" y="222"/>
                      </a:lnTo>
                      <a:lnTo>
                        <a:pt x="112" y="223"/>
                      </a:lnTo>
                      <a:lnTo>
                        <a:pt x="112" y="222"/>
                      </a:lnTo>
                      <a:lnTo>
                        <a:pt x="109" y="222"/>
                      </a:lnTo>
                      <a:lnTo>
                        <a:pt x="109" y="223"/>
                      </a:lnTo>
                      <a:lnTo>
                        <a:pt x="109" y="224"/>
                      </a:lnTo>
                      <a:lnTo>
                        <a:pt x="109" y="226"/>
                      </a:lnTo>
                      <a:lnTo>
                        <a:pt x="109" y="226"/>
                      </a:lnTo>
                      <a:lnTo>
                        <a:pt x="108" y="227"/>
                      </a:lnTo>
                      <a:lnTo>
                        <a:pt x="107" y="226"/>
                      </a:lnTo>
                      <a:lnTo>
                        <a:pt x="107" y="227"/>
                      </a:lnTo>
                      <a:lnTo>
                        <a:pt x="107" y="228"/>
                      </a:lnTo>
                      <a:lnTo>
                        <a:pt x="107" y="229"/>
                      </a:lnTo>
                      <a:lnTo>
                        <a:pt x="109" y="228"/>
                      </a:lnTo>
                      <a:lnTo>
                        <a:pt x="110" y="229"/>
                      </a:lnTo>
                      <a:lnTo>
                        <a:pt x="108" y="230"/>
                      </a:lnTo>
                      <a:lnTo>
                        <a:pt x="110" y="230"/>
                      </a:lnTo>
                      <a:lnTo>
                        <a:pt x="114" y="229"/>
                      </a:lnTo>
                      <a:lnTo>
                        <a:pt x="115" y="229"/>
                      </a:lnTo>
                      <a:lnTo>
                        <a:pt x="119" y="229"/>
                      </a:lnTo>
                      <a:lnTo>
                        <a:pt x="119" y="229"/>
                      </a:lnTo>
                      <a:lnTo>
                        <a:pt x="116" y="230"/>
                      </a:lnTo>
                      <a:lnTo>
                        <a:pt x="116" y="232"/>
                      </a:lnTo>
                      <a:lnTo>
                        <a:pt x="114" y="233"/>
                      </a:lnTo>
                      <a:lnTo>
                        <a:pt x="114" y="232"/>
                      </a:lnTo>
                      <a:lnTo>
                        <a:pt x="112" y="233"/>
                      </a:lnTo>
                      <a:lnTo>
                        <a:pt x="110" y="232"/>
                      </a:lnTo>
                      <a:lnTo>
                        <a:pt x="108" y="233"/>
                      </a:lnTo>
                      <a:lnTo>
                        <a:pt x="107" y="234"/>
                      </a:lnTo>
                      <a:lnTo>
                        <a:pt x="106" y="233"/>
                      </a:lnTo>
                      <a:lnTo>
                        <a:pt x="105" y="232"/>
                      </a:lnTo>
                      <a:lnTo>
                        <a:pt x="103" y="230"/>
                      </a:lnTo>
                      <a:lnTo>
                        <a:pt x="103" y="230"/>
                      </a:lnTo>
                      <a:lnTo>
                        <a:pt x="101" y="229"/>
                      </a:lnTo>
                      <a:lnTo>
                        <a:pt x="101" y="230"/>
                      </a:lnTo>
                      <a:lnTo>
                        <a:pt x="101" y="233"/>
                      </a:lnTo>
                      <a:lnTo>
                        <a:pt x="103" y="233"/>
                      </a:lnTo>
                      <a:lnTo>
                        <a:pt x="106" y="234"/>
                      </a:lnTo>
                      <a:lnTo>
                        <a:pt x="106" y="235"/>
                      </a:lnTo>
                      <a:lnTo>
                        <a:pt x="107" y="236"/>
                      </a:lnTo>
                      <a:lnTo>
                        <a:pt x="105" y="236"/>
                      </a:lnTo>
                      <a:lnTo>
                        <a:pt x="102" y="237"/>
                      </a:lnTo>
                      <a:lnTo>
                        <a:pt x="102" y="239"/>
                      </a:lnTo>
                      <a:lnTo>
                        <a:pt x="102" y="240"/>
                      </a:lnTo>
                      <a:lnTo>
                        <a:pt x="102" y="240"/>
                      </a:lnTo>
                      <a:lnTo>
                        <a:pt x="100" y="240"/>
                      </a:lnTo>
                      <a:lnTo>
                        <a:pt x="99" y="241"/>
                      </a:lnTo>
                      <a:lnTo>
                        <a:pt x="100" y="242"/>
                      </a:lnTo>
                      <a:lnTo>
                        <a:pt x="101" y="242"/>
                      </a:lnTo>
                      <a:lnTo>
                        <a:pt x="101" y="243"/>
                      </a:lnTo>
                      <a:lnTo>
                        <a:pt x="102" y="243"/>
                      </a:lnTo>
                      <a:lnTo>
                        <a:pt x="102" y="244"/>
                      </a:lnTo>
                      <a:lnTo>
                        <a:pt x="101" y="244"/>
                      </a:lnTo>
                      <a:lnTo>
                        <a:pt x="101" y="246"/>
                      </a:lnTo>
                      <a:lnTo>
                        <a:pt x="101" y="247"/>
                      </a:lnTo>
                      <a:lnTo>
                        <a:pt x="99" y="246"/>
                      </a:lnTo>
                      <a:lnTo>
                        <a:pt x="99" y="248"/>
                      </a:lnTo>
                      <a:lnTo>
                        <a:pt x="102" y="248"/>
                      </a:lnTo>
                      <a:lnTo>
                        <a:pt x="101" y="248"/>
                      </a:lnTo>
                      <a:lnTo>
                        <a:pt x="100" y="248"/>
                      </a:lnTo>
                      <a:lnTo>
                        <a:pt x="100" y="249"/>
                      </a:lnTo>
                      <a:lnTo>
                        <a:pt x="100" y="249"/>
                      </a:lnTo>
                      <a:lnTo>
                        <a:pt x="105" y="248"/>
                      </a:lnTo>
                      <a:lnTo>
                        <a:pt x="106" y="248"/>
                      </a:lnTo>
                      <a:lnTo>
                        <a:pt x="103" y="249"/>
                      </a:lnTo>
                      <a:lnTo>
                        <a:pt x="101" y="250"/>
                      </a:lnTo>
                      <a:lnTo>
                        <a:pt x="99" y="250"/>
                      </a:lnTo>
                      <a:lnTo>
                        <a:pt x="98" y="252"/>
                      </a:lnTo>
                      <a:lnTo>
                        <a:pt x="96" y="252"/>
                      </a:lnTo>
                      <a:lnTo>
                        <a:pt x="95" y="252"/>
                      </a:lnTo>
                      <a:lnTo>
                        <a:pt x="93" y="253"/>
                      </a:lnTo>
                      <a:lnTo>
                        <a:pt x="90" y="252"/>
                      </a:lnTo>
                      <a:lnTo>
                        <a:pt x="89" y="254"/>
                      </a:lnTo>
                      <a:lnTo>
                        <a:pt x="88" y="254"/>
                      </a:lnTo>
                      <a:lnTo>
                        <a:pt x="87" y="255"/>
                      </a:lnTo>
                      <a:lnTo>
                        <a:pt x="88" y="255"/>
                      </a:lnTo>
                      <a:lnTo>
                        <a:pt x="86" y="256"/>
                      </a:lnTo>
                      <a:lnTo>
                        <a:pt x="87" y="256"/>
                      </a:lnTo>
                      <a:lnTo>
                        <a:pt x="90" y="255"/>
                      </a:lnTo>
                      <a:lnTo>
                        <a:pt x="95" y="253"/>
                      </a:lnTo>
                      <a:lnTo>
                        <a:pt x="95" y="254"/>
                      </a:lnTo>
                      <a:lnTo>
                        <a:pt x="93" y="255"/>
                      </a:lnTo>
                      <a:lnTo>
                        <a:pt x="90" y="255"/>
                      </a:lnTo>
                      <a:lnTo>
                        <a:pt x="90" y="256"/>
                      </a:lnTo>
                      <a:lnTo>
                        <a:pt x="89" y="256"/>
                      </a:lnTo>
                      <a:lnTo>
                        <a:pt x="88" y="257"/>
                      </a:lnTo>
                      <a:lnTo>
                        <a:pt x="87" y="259"/>
                      </a:lnTo>
                      <a:lnTo>
                        <a:pt x="89" y="260"/>
                      </a:lnTo>
                      <a:lnTo>
                        <a:pt x="90" y="261"/>
                      </a:lnTo>
                      <a:lnTo>
                        <a:pt x="88" y="261"/>
                      </a:lnTo>
                      <a:lnTo>
                        <a:pt x="88" y="262"/>
                      </a:lnTo>
                      <a:lnTo>
                        <a:pt x="87" y="263"/>
                      </a:lnTo>
                      <a:lnTo>
                        <a:pt x="86" y="263"/>
                      </a:lnTo>
                      <a:lnTo>
                        <a:pt x="85" y="262"/>
                      </a:lnTo>
                      <a:lnTo>
                        <a:pt x="83" y="262"/>
                      </a:lnTo>
                      <a:lnTo>
                        <a:pt x="81" y="261"/>
                      </a:lnTo>
                      <a:lnTo>
                        <a:pt x="81" y="262"/>
                      </a:lnTo>
                      <a:lnTo>
                        <a:pt x="79" y="262"/>
                      </a:lnTo>
                      <a:lnTo>
                        <a:pt x="78" y="262"/>
                      </a:lnTo>
                      <a:lnTo>
                        <a:pt x="79" y="263"/>
                      </a:lnTo>
                      <a:lnTo>
                        <a:pt x="78" y="263"/>
                      </a:lnTo>
                      <a:lnTo>
                        <a:pt x="75" y="263"/>
                      </a:lnTo>
                      <a:lnTo>
                        <a:pt x="75" y="263"/>
                      </a:lnTo>
                      <a:lnTo>
                        <a:pt x="75" y="263"/>
                      </a:lnTo>
                      <a:lnTo>
                        <a:pt x="74" y="264"/>
                      </a:lnTo>
                      <a:lnTo>
                        <a:pt x="74" y="264"/>
                      </a:lnTo>
                      <a:lnTo>
                        <a:pt x="73" y="266"/>
                      </a:lnTo>
                      <a:lnTo>
                        <a:pt x="73" y="267"/>
                      </a:lnTo>
                      <a:lnTo>
                        <a:pt x="72" y="267"/>
                      </a:lnTo>
                      <a:lnTo>
                        <a:pt x="70" y="268"/>
                      </a:lnTo>
                      <a:lnTo>
                        <a:pt x="70" y="268"/>
                      </a:lnTo>
                      <a:lnTo>
                        <a:pt x="69" y="269"/>
                      </a:lnTo>
                      <a:lnTo>
                        <a:pt x="68" y="270"/>
                      </a:lnTo>
                      <a:lnTo>
                        <a:pt x="69" y="270"/>
                      </a:lnTo>
                      <a:lnTo>
                        <a:pt x="69" y="272"/>
                      </a:lnTo>
                      <a:lnTo>
                        <a:pt x="69" y="272"/>
                      </a:lnTo>
                      <a:lnTo>
                        <a:pt x="68" y="273"/>
                      </a:lnTo>
                      <a:lnTo>
                        <a:pt x="66" y="274"/>
                      </a:lnTo>
                      <a:lnTo>
                        <a:pt x="63" y="276"/>
                      </a:lnTo>
                      <a:lnTo>
                        <a:pt x="63" y="277"/>
                      </a:lnTo>
                      <a:lnTo>
                        <a:pt x="67" y="275"/>
                      </a:lnTo>
                      <a:lnTo>
                        <a:pt x="68" y="275"/>
                      </a:lnTo>
                      <a:lnTo>
                        <a:pt x="66" y="277"/>
                      </a:lnTo>
                      <a:lnTo>
                        <a:pt x="67" y="279"/>
                      </a:lnTo>
                      <a:lnTo>
                        <a:pt x="69" y="280"/>
                      </a:lnTo>
                      <a:lnTo>
                        <a:pt x="74" y="279"/>
                      </a:lnTo>
                      <a:lnTo>
                        <a:pt x="80" y="276"/>
                      </a:lnTo>
                      <a:lnTo>
                        <a:pt x="82" y="274"/>
                      </a:lnTo>
                      <a:lnTo>
                        <a:pt x="80" y="273"/>
                      </a:lnTo>
                      <a:lnTo>
                        <a:pt x="80" y="272"/>
                      </a:lnTo>
                      <a:lnTo>
                        <a:pt x="86" y="269"/>
                      </a:lnTo>
                      <a:lnTo>
                        <a:pt x="86" y="269"/>
                      </a:lnTo>
                      <a:lnTo>
                        <a:pt x="87" y="270"/>
                      </a:lnTo>
                      <a:lnTo>
                        <a:pt x="86" y="272"/>
                      </a:lnTo>
                      <a:lnTo>
                        <a:pt x="85" y="273"/>
                      </a:lnTo>
                      <a:lnTo>
                        <a:pt x="87" y="274"/>
                      </a:lnTo>
                      <a:lnTo>
                        <a:pt x="85" y="276"/>
                      </a:lnTo>
                      <a:lnTo>
                        <a:pt x="80" y="277"/>
                      </a:lnTo>
                      <a:lnTo>
                        <a:pt x="81" y="279"/>
                      </a:lnTo>
                      <a:lnTo>
                        <a:pt x="82" y="279"/>
                      </a:lnTo>
                      <a:lnTo>
                        <a:pt x="81" y="280"/>
                      </a:lnTo>
                      <a:lnTo>
                        <a:pt x="79" y="281"/>
                      </a:lnTo>
                      <a:lnTo>
                        <a:pt x="74" y="281"/>
                      </a:lnTo>
                      <a:lnTo>
                        <a:pt x="72" y="282"/>
                      </a:lnTo>
                      <a:lnTo>
                        <a:pt x="73" y="283"/>
                      </a:lnTo>
                      <a:lnTo>
                        <a:pt x="70" y="283"/>
                      </a:lnTo>
                      <a:lnTo>
                        <a:pt x="68" y="281"/>
                      </a:lnTo>
                      <a:lnTo>
                        <a:pt x="65" y="279"/>
                      </a:lnTo>
                      <a:lnTo>
                        <a:pt x="63" y="280"/>
                      </a:lnTo>
                      <a:lnTo>
                        <a:pt x="62" y="279"/>
                      </a:lnTo>
                      <a:lnTo>
                        <a:pt x="61" y="279"/>
                      </a:lnTo>
                      <a:lnTo>
                        <a:pt x="60" y="280"/>
                      </a:lnTo>
                      <a:lnTo>
                        <a:pt x="59" y="281"/>
                      </a:lnTo>
                      <a:lnTo>
                        <a:pt x="60" y="281"/>
                      </a:lnTo>
                      <a:lnTo>
                        <a:pt x="60" y="282"/>
                      </a:lnTo>
                      <a:lnTo>
                        <a:pt x="59" y="282"/>
                      </a:lnTo>
                      <a:lnTo>
                        <a:pt x="56" y="282"/>
                      </a:lnTo>
                      <a:lnTo>
                        <a:pt x="56" y="280"/>
                      </a:lnTo>
                      <a:lnTo>
                        <a:pt x="58" y="277"/>
                      </a:lnTo>
                      <a:lnTo>
                        <a:pt x="56" y="276"/>
                      </a:lnTo>
                      <a:lnTo>
                        <a:pt x="55" y="275"/>
                      </a:lnTo>
                      <a:lnTo>
                        <a:pt x="55" y="272"/>
                      </a:lnTo>
                      <a:lnTo>
                        <a:pt x="54" y="273"/>
                      </a:lnTo>
                      <a:lnTo>
                        <a:pt x="54" y="274"/>
                      </a:lnTo>
                      <a:lnTo>
                        <a:pt x="53" y="275"/>
                      </a:lnTo>
                      <a:lnTo>
                        <a:pt x="53" y="275"/>
                      </a:lnTo>
                      <a:lnTo>
                        <a:pt x="52" y="276"/>
                      </a:lnTo>
                      <a:lnTo>
                        <a:pt x="50" y="277"/>
                      </a:lnTo>
                      <a:lnTo>
                        <a:pt x="49" y="279"/>
                      </a:lnTo>
                      <a:lnTo>
                        <a:pt x="49" y="280"/>
                      </a:lnTo>
                      <a:lnTo>
                        <a:pt x="50" y="281"/>
                      </a:lnTo>
                      <a:lnTo>
                        <a:pt x="49" y="283"/>
                      </a:lnTo>
                      <a:lnTo>
                        <a:pt x="50" y="284"/>
                      </a:lnTo>
                      <a:lnTo>
                        <a:pt x="50" y="286"/>
                      </a:lnTo>
                      <a:lnTo>
                        <a:pt x="49" y="288"/>
                      </a:lnTo>
                      <a:lnTo>
                        <a:pt x="49" y="287"/>
                      </a:lnTo>
                      <a:lnTo>
                        <a:pt x="46" y="283"/>
                      </a:lnTo>
                      <a:lnTo>
                        <a:pt x="45" y="282"/>
                      </a:lnTo>
                      <a:lnTo>
                        <a:pt x="45" y="281"/>
                      </a:lnTo>
                      <a:lnTo>
                        <a:pt x="42" y="281"/>
                      </a:lnTo>
                      <a:lnTo>
                        <a:pt x="42" y="282"/>
                      </a:lnTo>
                      <a:lnTo>
                        <a:pt x="43" y="283"/>
                      </a:lnTo>
                      <a:lnTo>
                        <a:pt x="45" y="286"/>
                      </a:lnTo>
                      <a:lnTo>
                        <a:pt x="47" y="288"/>
                      </a:lnTo>
                      <a:lnTo>
                        <a:pt x="48" y="289"/>
                      </a:lnTo>
                      <a:lnTo>
                        <a:pt x="48" y="290"/>
                      </a:lnTo>
                      <a:lnTo>
                        <a:pt x="47" y="292"/>
                      </a:lnTo>
                      <a:lnTo>
                        <a:pt x="43" y="289"/>
                      </a:lnTo>
                      <a:lnTo>
                        <a:pt x="41" y="287"/>
                      </a:lnTo>
                      <a:lnTo>
                        <a:pt x="39" y="287"/>
                      </a:lnTo>
                      <a:lnTo>
                        <a:pt x="42" y="289"/>
                      </a:lnTo>
                      <a:lnTo>
                        <a:pt x="45" y="292"/>
                      </a:lnTo>
                      <a:lnTo>
                        <a:pt x="46" y="293"/>
                      </a:lnTo>
                      <a:lnTo>
                        <a:pt x="45" y="293"/>
                      </a:lnTo>
                      <a:lnTo>
                        <a:pt x="43" y="292"/>
                      </a:lnTo>
                      <a:lnTo>
                        <a:pt x="40" y="289"/>
                      </a:lnTo>
                      <a:lnTo>
                        <a:pt x="36" y="289"/>
                      </a:lnTo>
                      <a:lnTo>
                        <a:pt x="38" y="289"/>
                      </a:lnTo>
                      <a:lnTo>
                        <a:pt x="36" y="288"/>
                      </a:lnTo>
                      <a:lnTo>
                        <a:pt x="35" y="289"/>
                      </a:lnTo>
                      <a:lnTo>
                        <a:pt x="34" y="288"/>
                      </a:lnTo>
                      <a:lnTo>
                        <a:pt x="33" y="289"/>
                      </a:lnTo>
                      <a:lnTo>
                        <a:pt x="32" y="289"/>
                      </a:lnTo>
                      <a:lnTo>
                        <a:pt x="29" y="290"/>
                      </a:lnTo>
                      <a:lnTo>
                        <a:pt x="27" y="292"/>
                      </a:lnTo>
                      <a:lnTo>
                        <a:pt x="29" y="293"/>
                      </a:lnTo>
                      <a:lnTo>
                        <a:pt x="28" y="293"/>
                      </a:lnTo>
                      <a:lnTo>
                        <a:pt x="29" y="294"/>
                      </a:lnTo>
                      <a:lnTo>
                        <a:pt x="35" y="293"/>
                      </a:lnTo>
                      <a:lnTo>
                        <a:pt x="34" y="294"/>
                      </a:lnTo>
                      <a:lnTo>
                        <a:pt x="36" y="294"/>
                      </a:lnTo>
                      <a:lnTo>
                        <a:pt x="42" y="294"/>
                      </a:lnTo>
                      <a:lnTo>
                        <a:pt x="41" y="294"/>
                      </a:lnTo>
                      <a:lnTo>
                        <a:pt x="36" y="295"/>
                      </a:lnTo>
                      <a:lnTo>
                        <a:pt x="36" y="296"/>
                      </a:lnTo>
                      <a:lnTo>
                        <a:pt x="36" y="297"/>
                      </a:lnTo>
                      <a:lnTo>
                        <a:pt x="33" y="296"/>
                      </a:lnTo>
                      <a:lnTo>
                        <a:pt x="32" y="295"/>
                      </a:lnTo>
                      <a:lnTo>
                        <a:pt x="30" y="296"/>
                      </a:lnTo>
                      <a:lnTo>
                        <a:pt x="29" y="296"/>
                      </a:lnTo>
                      <a:lnTo>
                        <a:pt x="26" y="295"/>
                      </a:lnTo>
                      <a:lnTo>
                        <a:pt x="25" y="295"/>
                      </a:lnTo>
                      <a:lnTo>
                        <a:pt x="23" y="296"/>
                      </a:lnTo>
                      <a:lnTo>
                        <a:pt x="22" y="295"/>
                      </a:lnTo>
                      <a:lnTo>
                        <a:pt x="21" y="295"/>
                      </a:lnTo>
                      <a:lnTo>
                        <a:pt x="20" y="295"/>
                      </a:lnTo>
                      <a:lnTo>
                        <a:pt x="19" y="295"/>
                      </a:lnTo>
                      <a:lnTo>
                        <a:pt x="19" y="297"/>
                      </a:lnTo>
                      <a:lnTo>
                        <a:pt x="22" y="297"/>
                      </a:lnTo>
                      <a:lnTo>
                        <a:pt x="20" y="299"/>
                      </a:lnTo>
                      <a:lnTo>
                        <a:pt x="20" y="299"/>
                      </a:lnTo>
                      <a:lnTo>
                        <a:pt x="25" y="300"/>
                      </a:lnTo>
                      <a:lnTo>
                        <a:pt x="28" y="301"/>
                      </a:lnTo>
                      <a:lnTo>
                        <a:pt x="29" y="302"/>
                      </a:lnTo>
                      <a:lnTo>
                        <a:pt x="30" y="302"/>
                      </a:lnTo>
                      <a:lnTo>
                        <a:pt x="32" y="302"/>
                      </a:lnTo>
                      <a:lnTo>
                        <a:pt x="29" y="304"/>
                      </a:lnTo>
                      <a:lnTo>
                        <a:pt x="29" y="304"/>
                      </a:lnTo>
                      <a:lnTo>
                        <a:pt x="29" y="306"/>
                      </a:lnTo>
                      <a:lnTo>
                        <a:pt x="28" y="306"/>
                      </a:lnTo>
                      <a:lnTo>
                        <a:pt x="28" y="304"/>
                      </a:lnTo>
                      <a:lnTo>
                        <a:pt x="28" y="303"/>
                      </a:lnTo>
                      <a:lnTo>
                        <a:pt x="26" y="300"/>
                      </a:lnTo>
                      <a:lnTo>
                        <a:pt x="22" y="300"/>
                      </a:lnTo>
                      <a:lnTo>
                        <a:pt x="20" y="301"/>
                      </a:lnTo>
                      <a:lnTo>
                        <a:pt x="21" y="304"/>
                      </a:lnTo>
                      <a:lnTo>
                        <a:pt x="20" y="303"/>
                      </a:lnTo>
                      <a:lnTo>
                        <a:pt x="16" y="302"/>
                      </a:lnTo>
                      <a:lnTo>
                        <a:pt x="15" y="301"/>
                      </a:lnTo>
                      <a:lnTo>
                        <a:pt x="14" y="301"/>
                      </a:lnTo>
                      <a:lnTo>
                        <a:pt x="13" y="301"/>
                      </a:lnTo>
                      <a:lnTo>
                        <a:pt x="12" y="302"/>
                      </a:lnTo>
                      <a:lnTo>
                        <a:pt x="13" y="303"/>
                      </a:lnTo>
                      <a:lnTo>
                        <a:pt x="14" y="304"/>
                      </a:lnTo>
                      <a:lnTo>
                        <a:pt x="16" y="304"/>
                      </a:lnTo>
                      <a:lnTo>
                        <a:pt x="18" y="306"/>
                      </a:lnTo>
                      <a:lnTo>
                        <a:pt x="16" y="306"/>
                      </a:lnTo>
                      <a:lnTo>
                        <a:pt x="13" y="307"/>
                      </a:lnTo>
                      <a:lnTo>
                        <a:pt x="12" y="306"/>
                      </a:lnTo>
                      <a:lnTo>
                        <a:pt x="12" y="304"/>
                      </a:lnTo>
                      <a:lnTo>
                        <a:pt x="9" y="306"/>
                      </a:lnTo>
                      <a:lnTo>
                        <a:pt x="7" y="304"/>
                      </a:lnTo>
                      <a:lnTo>
                        <a:pt x="6" y="304"/>
                      </a:lnTo>
                      <a:lnTo>
                        <a:pt x="5" y="306"/>
                      </a:lnTo>
                      <a:lnTo>
                        <a:pt x="2" y="304"/>
                      </a:lnTo>
                      <a:lnTo>
                        <a:pt x="2" y="304"/>
                      </a:lnTo>
                      <a:lnTo>
                        <a:pt x="1" y="306"/>
                      </a:lnTo>
                      <a:lnTo>
                        <a:pt x="1" y="307"/>
                      </a:lnTo>
                      <a:lnTo>
                        <a:pt x="3" y="307"/>
                      </a:lnTo>
                      <a:lnTo>
                        <a:pt x="3" y="308"/>
                      </a:lnTo>
                      <a:lnTo>
                        <a:pt x="7" y="308"/>
                      </a:lnTo>
                      <a:lnTo>
                        <a:pt x="10" y="308"/>
                      </a:lnTo>
                      <a:lnTo>
                        <a:pt x="13" y="308"/>
                      </a:lnTo>
                      <a:lnTo>
                        <a:pt x="14" y="308"/>
                      </a:lnTo>
                      <a:lnTo>
                        <a:pt x="16" y="308"/>
                      </a:lnTo>
                      <a:lnTo>
                        <a:pt x="19" y="308"/>
                      </a:lnTo>
                      <a:lnTo>
                        <a:pt x="21" y="308"/>
                      </a:lnTo>
                      <a:lnTo>
                        <a:pt x="22" y="310"/>
                      </a:lnTo>
                      <a:lnTo>
                        <a:pt x="23" y="309"/>
                      </a:lnTo>
                      <a:lnTo>
                        <a:pt x="25" y="309"/>
                      </a:lnTo>
                      <a:lnTo>
                        <a:pt x="25" y="310"/>
                      </a:lnTo>
                      <a:lnTo>
                        <a:pt x="23" y="310"/>
                      </a:lnTo>
                      <a:lnTo>
                        <a:pt x="19" y="310"/>
                      </a:lnTo>
                      <a:lnTo>
                        <a:pt x="16" y="310"/>
                      </a:lnTo>
                      <a:lnTo>
                        <a:pt x="14" y="310"/>
                      </a:lnTo>
                      <a:lnTo>
                        <a:pt x="10" y="310"/>
                      </a:lnTo>
                      <a:lnTo>
                        <a:pt x="9" y="310"/>
                      </a:lnTo>
                      <a:lnTo>
                        <a:pt x="6" y="312"/>
                      </a:lnTo>
                      <a:lnTo>
                        <a:pt x="3" y="310"/>
                      </a:lnTo>
                      <a:lnTo>
                        <a:pt x="1" y="310"/>
                      </a:lnTo>
                      <a:lnTo>
                        <a:pt x="1" y="312"/>
                      </a:lnTo>
                      <a:lnTo>
                        <a:pt x="0" y="313"/>
                      </a:lnTo>
                      <a:lnTo>
                        <a:pt x="1" y="313"/>
                      </a:lnTo>
                      <a:lnTo>
                        <a:pt x="1" y="314"/>
                      </a:lnTo>
                      <a:lnTo>
                        <a:pt x="2" y="314"/>
                      </a:lnTo>
                      <a:lnTo>
                        <a:pt x="5" y="315"/>
                      </a:lnTo>
                      <a:lnTo>
                        <a:pt x="5" y="315"/>
                      </a:lnTo>
                      <a:lnTo>
                        <a:pt x="3" y="315"/>
                      </a:lnTo>
                      <a:lnTo>
                        <a:pt x="6" y="316"/>
                      </a:lnTo>
                      <a:lnTo>
                        <a:pt x="8" y="317"/>
                      </a:lnTo>
                      <a:lnTo>
                        <a:pt x="10" y="317"/>
                      </a:lnTo>
                      <a:lnTo>
                        <a:pt x="9" y="317"/>
                      </a:lnTo>
                      <a:lnTo>
                        <a:pt x="5" y="317"/>
                      </a:lnTo>
                      <a:lnTo>
                        <a:pt x="1" y="317"/>
                      </a:lnTo>
                      <a:lnTo>
                        <a:pt x="0" y="319"/>
                      </a:lnTo>
                      <a:lnTo>
                        <a:pt x="0" y="319"/>
                      </a:lnTo>
                      <a:lnTo>
                        <a:pt x="1" y="320"/>
                      </a:lnTo>
                      <a:lnTo>
                        <a:pt x="3" y="319"/>
                      </a:lnTo>
                      <a:lnTo>
                        <a:pt x="7" y="319"/>
                      </a:lnTo>
                      <a:lnTo>
                        <a:pt x="3" y="320"/>
                      </a:lnTo>
                      <a:lnTo>
                        <a:pt x="2" y="321"/>
                      </a:lnTo>
                      <a:lnTo>
                        <a:pt x="2" y="321"/>
                      </a:lnTo>
                      <a:lnTo>
                        <a:pt x="1" y="322"/>
                      </a:lnTo>
                      <a:lnTo>
                        <a:pt x="2" y="323"/>
                      </a:lnTo>
                      <a:lnTo>
                        <a:pt x="2" y="323"/>
                      </a:lnTo>
                      <a:lnTo>
                        <a:pt x="3" y="323"/>
                      </a:lnTo>
                      <a:lnTo>
                        <a:pt x="6" y="324"/>
                      </a:lnTo>
                      <a:lnTo>
                        <a:pt x="9" y="323"/>
                      </a:lnTo>
                      <a:lnTo>
                        <a:pt x="12" y="323"/>
                      </a:lnTo>
                      <a:lnTo>
                        <a:pt x="15" y="323"/>
                      </a:lnTo>
                      <a:lnTo>
                        <a:pt x="18" y="323"/>
                      </a:lnTo>
                      <a:lnTo>
                        <a:pt x="20" y="323"/>
                      </a:lnTo>
                      <a:lnTo>
                        <a:pt x="21" y="322"/>
                      </a:lnTo>
                      <a:lnTo>
                        <a:pt x="23" y="321"/>
                      </a:lnTo>
                      <a:lnTo>
                        <a:pt x="25" y="321"/>
                      </a:lnTo>
                      <a:lnTo>
                        <a:pt x="25" y="322"/>
                      </a:lnTo>
                      <a:lnTo>
                        <a:pt x="28" y="323"/>
                      </a:lnTo>
                      <a:lnTo>
                        <a:pt x="30" y="323"/>
                      </a:lnTo>
                      <a:lnTo>
                        <a:pt x="32" y="322"/>
                      </a:lnTo>
                      <a:lnTo>
                        <a:pt x="33" y="321"/>
                      </a:lnTo>
                      <a:lnTo>
                        <a:pt x="34" y="321"/>
                      </a:lnTo>
                      <a:lnTo>
                        <a:pt x="34" y="320"/>
                      </a:lnTo>
                      <a:lnTo>
                        <a:pt x="35" y="321"/>
                      </a:lnTo>
                      <a:lnTo>
                        <a:pt x="35" y="321"/>
                      </a:lnTo>
                      <a:lnTo>
                        <a:pt x="35" y="322"/>
                      </a:lnTo>
                      <a:lnTo>
                        <a:pt x="38" y="322"/>
                      </a:lnTo>
                      <a:lnTo>
                        <a:pt x="36" y="323"/>
                      </a:lnTo>
                      <a:lnTo>
                        <a:pt x="35" y="323"/>
                      </a:lnTo>
                      <a:lnTo>
                        <a:pt x="34" y="323"/>
                      </a:lnTo>
                      <a:lnTo>
                        <a:pt x="33" y="324"/>
                      </a:lnTo>
                      <a:lnTo>
                        <a:pt x="32" y="324"/>
                      </a:lnTo>
                      <a:lnTo>
                        <a:pt x="32" y="326"/>
                      </a:lnTo>
                      <a:lnTo>
                        <a:pt x="32" y="327"/>
                      </a:lnTo>
                      <a:lnTo>
                        <a:pt x="30" y="327"/>
                      </a:lnTo>
                      <a:lnTo>
                        <a:pt x="29" y="327"/>
                      </a:lnTo>
                      <a:lnTo>
                        <a:pt x="28" y="324"/>
                      </a:lnTo>
                      <a:lnTo>
                        <a:pt x="26" y="324"/>
                      </a:lnTo>
                      <a:lnTo>
                        <a:pt x="26" y="323"/>
                      </a:lnTo>
                      <a:lnTo>
                        <a:pt x="25" y="324"/>
                      </a:lnTo>
                      <a:lnTo>
                        <a:pt x="22" y="324"/>
                      </a:lnTo>
                      <a:lnTo>
                        <a:pt x="20" y="324"/>
                      </a:lnTo>
                      <a:lnTo>
                        <a:pt x="20" y="324"/>
                      </a:lnTo>
                      <a:lnTo>
                        <a:pt x="19" y="324"/>
                      </a:lnTo>
                      <a:lnTo>
                        <a:pt x="18" y="324"/>
                      </a:lnTo>
                      <a:lnTo>
                        <a:pt x="13" y="324"/>
                      </a:lnTo>
                      <a:lnTo>
                        <a:pt x="9" y="324"/>
                      </a:lnTo>
                      <a:lnTo>
                        <a:pt x="7" y="326"/>
                      </a:lnTo>
                      <a:lnTo>
                        <a:pt x="3" y="324"/>
                      </a:lnTo>
                      <a:lnTo>
                        <a:pt x="1" y="326"/>
                      </a:lnTo>
                      <a:lnTo>
                        <a:pt x="2" y="327"/>
                      </a:lnTo>
                      <a:lnTo>
                        <a:pt x="2" y="327"/>
                      </a:lnTo>
                      <a:lnTo>
                        <a:pt x="2" y="328"/>
                      </a:lnTo>
                      <a:lnTo>
                        <a:pt x="3" y="329"/>
                      </a:lnTo>
                      <a:lnTo>
                        <a:pt x="5" y="329"/>
                      </a:lnTo>
                      <a:lnTo>
                        <a:pt x="7" y="328"/>
                      </a:lnTo>
                      <a:lnTo>
                        <a:pt x="7" y="328"/>
                      </a:lnTo>
                      <a:lnTo>
                        <a:pt x="5" y="329"/>
                      </a:lnTo>
                      <a:lnTo>
                        <a:pt x="6" y="330"/>
                      </a:lnTo>
                      <a:lnTo>
                        <a:pt x="6" y="331"/>
                      </a:lnTo>
                      <a:lnTo>
                        <a:pt x="6" y="331"/>
                      </a:lnTo>
                      <a:lnTo>
                        <a:pt x="3" y="330"/>
                      </a:lnTo>
                      <a:lnTo>
                        <a:pt x="2" y="330"/>
                      </a:lnTo>
                      <a:lnTo>
                        <a:pt x="1" y="330"/>
                      </a:lnTo>
                      <a:lnTo>
                        <a:pt x="0" y="331"/>
                      </a:lnTo>
                      <a:lnTo>
                        <a:pt x="1" y="333"/>
                      </a:lnTo>
                      <a:lnTo>
                        <a:pt x="1" y="331"/>
                      </a:lnTo>
                      <a:lnTo>
                        <a:pt x="3" y="331"/>
                      </a:lnTo>
                      <a:lnTo>
                        <a:pt x="3" y="333"/>
                      </a:lnTo>
                      <a:lnTo>
                        <a:pt x="5" y="333"/>
                      </a:lnTo>
                      <a:lnTo>
                        <a:pt x="8" y="333"/>
                      </a:lnTo>
                      <a:lnTo>
                        <a:pt x="10" y="331"/>
                      </a:lnTo>
                      <a:lnTo>
                        <a:pt x="12" y="331"/>
                      </a:lnTo>
                      <a:lnTo>
                        <a:pt x="12" y="335"/>
                      </a:lnTo>
                      <a:lnTo>
                        <a:pt x="9" y="335"/>
                      </a:lnTo>
                      <a:lnTo>
                        <a:pt x="9" y="336"/>
                      </a:lnTo>
                      <a:lnTo>
                        <a:pt x="7" y="335"/>
                      </a:lnTo>
                      <a:lnTo>
                        <a:pt x="6" y="335"/>
                      </a:lnTo>
                      <a:lnTo>
                        <a:pt x="2" y="335"/>
                      </a:lnTo>
                      <a:lnTo>
                        <a:pt x="1" y="335"/>
                      </a:lnTo>
                      <a:lnTo>
                        <a:pt x="0" y="336"/>
                      </a:lnTo>
                      <a:lnTo>
                        <a:pt x="1" y="337"/>
                      </a:lnTo>
                      <a:lnTo>
                        <a:pt x="2" y="339"/>
                      </a:lnTo>
                      <a:lnTo>
                        <a:pt x="5" y="339"/>
                      </a:lnTo>
                      <a:lnTo>
                        <a:pt x="5" y="339"/>
                      </a:lnTo>
                      <a:lnTo>
                        <a:pt x="5" y="340"/>
                      </a:lnTo>
                      <a:lnTo>
                        <a:pt x="6" y="341"/>
                      </a:lnTo>
                      <a:lnTo>
                        <a:pt x="9" y="340"/>
                      </a:lnTo>
                      <a:lnTo>
                        <a:pt x="12" y="339"/>
                      </a:lnTo>
                      <a:lnTo>
                        <a:pt x="10" y="340"/>
                      </a:lnTo>
                      <a:lnTo>
                        <a:pt x="10" y="341"/>
                      </a:lnTo>
                      <a:lnTo>
                        <a:pt x="12" y="341"/>
                      </a:lnTo>
                      <a:lnTo>
                        <a:pt x="12" y="342"/>
                      </a:lnTo>
                      <a:lnTo>
                        <a:pt x="12" y="343"/>
                      </a:lnTo>
                      <a:lnTo>
                        <a:pt x="9" y="344"/>
                      </a:lnTo>
                      <a:lnTo>
                        <a:pt x="8" y="346"/>
                      </a:lnTo>
                      <a:lnTo>
                        <a:pt x="7" y="347"/>
                      </a:lnTo>
                      <a:lnTo>
                        <a:pt x="6" y="347"/>
                      </a:lnTo>
                      <a:lnTo>
                        <a:pt x="6" y="349"/>
                      </a:lnTo>
                      <a:lnTo>
                        <a:pt x="6" y="348"/>
                      </a:lnTo>
                      <a:lnTo>
                        <a:pt x="7" y="348"/>
                      </a:lnTo>
                      <a:lnTo>
                        <a:pt x="7" y="348"/>
                      </a:lnTo>
                      <a:lnTo>
                        <a:pt x="9" y="347"/>
                      </a:lnTo>
                      <a:lnTo>
                        <a:pt x="10" y="347"/>
                      </a:lnTo>
                      <a:lnTo>
                        <a:pt x="10" y="346"/>
                      </a:lnTo>
                      <a:lnTo>
                        <a:pt x="10" y="344"/>
                      </a:lnTo>
                      <a:lnTo>
                        <a:pt x="12" y="344"/>
                      </a:lnTo>
                      <a:lnTo>
                        <a:pt x="12" y="344"/>
                      </a:lnTo>
                      <a:lnTo>
                        <a:pt x="13" y="344"/>
                      </a:lnTo>
                      <a:lnTo>
                        <a:pt x="14" y="342"/>
                      </a:lnTo>
                      <a:lnTo>
                        <a:pt x="18" y="340"/>
                      </a:lnTo>
                      <a:lnTo>
                        <a:pt x="19" y="339"/>
                      </a:lnTo>
                      <a:lnTo>
                        <a:pt x="19" y="337"/>
                      </a:lnTo>
                      <a:lnTo>
                        <a:pt x="22" y="336"/>
                      </a:lnTo>
                      <a:lnTo>
                        <a:pt x="25" y="335"/>
                      </a:lnTo>
                      <a:lnTo>
                        <a:pt x="25" y="336"/>
                      </a:lnTo>
                      <a:lnTo>
                        <a:pt x="28" y="335"/>
                      </a:lnTo>
                      <a:lnTo>
                        <a:pt x="30" y="335"/>
                      </a:lnTo>
                      <a:lnTo>
                        <a:pt x="29" y="336"/>
                      </a:lnTo>
                      <a:lnTo>
                        <a:pt x="26" y="337"/>
                      </a:lnTo>
                      <a:lnTo>
                        <a:pt x="23" y="340"/>
                      </a:lnTo>
                      <a:lnTo>
                        <a:pt x="23" y="339"/>
                      </a:lnTo>
                      <a:lnTo>
                        <a:pt x="21" y="339"/>
                      </a:lnTo>
                      <a:lnTo>
                        <a:pt x="19" y="340"/>
                      </a:lnTo>
                      <a:lnTo>
                        <a:pt x="19" y="341"/>
                      </a:lnTo>
                      <a:lnTo>
                        <a:pt x="19" y="342"/>
                      </a:lnTo>
                      <a:lnTo>
                        <a:pt x="18" y="343"/>
                      </a:lnTo>
                      <a:lnTo>
                        <a:pt x="14" y="346"/>
                      </a:lnTo>
                      <a:lnTo>
                        <a:pt x="12" y="347"/>
                      </a:lnTo>
                      <a:lnTo>
                        <a:pt x="13" y="348"/>
                      </a:lnTo>
                      <a:lnTo>
                        <a:pt x="16" y="349"/>
                      </a:lnTo>
                      <a:lnTo>
                        <a:pt x="19" y="348"/>
                      </a:lnTo>
                      <a:lnTo>
                        <a:pt x="21" y="349"/>
                      </a:lnTo>
                      <a:lnTo>
                        <a:pt x="20" y="350"/>
                      </a:lnTo>
                      <a:lnTo>
                        <a:pt x="16" y="350"/>
                      </a:lnTo>
                      <a:lnTo>
                        <a:pt x="14" y="350"/>
                      </a:lnTo>
                      <a:lnTo>
                        <a:pt x="14" y="351"/>
                      </a:lnTo>
                      <a:lnTo>
                        <a:pt x="13" y="351"/>
                      </a:lnTo>
                      <a:lnTo>
                        <a:pt x="12" y="351"/>
                      </a:lnTo>
                      <a:lnTo>
                        <a:pt x="9" y="353"/>
                      </a:lnTo>
                      <a:lnTo>
                        <a:pt x="8" y="354"/>
                      </a:lnTo>
                      <a:lnTo>
                        <a:pt x="9" y="351"/>
                      </a:lnTo>
                      <a:lnTo>
                        <a:pt x="8" y="351"/>
                      </a:lnTo>
                      <a:lnTo>
                        <a:pt x="7" y="353"/>
                      </a:lnTo>
                      <a:lnTo>
                        <a:pt x="6" y="353"/>
                      </a:lnTo>
                      <a:lnTo>
                        <a:pt x="5" y="355"/>
                      </a:lnTo>
                      <a:lnTo>
                        <a:pt x="6" y="356"/>
                      </a:lnTo>
                      <a:lnTo>
                        <a:pt x="7" y="357"/>
                      </a:lnTo>
                      <a:lnTo>
                        <a:pt x="8" y="357"/>
                      </a:lnTo>
                      <a:lnTo>
                        <a:pt x="9" y="357"/>
                      </a:lnTo>
                      <a:lnTo>
                        <a:pt x="12" y="357"/>
                      </a:lnTo>
                      <a:lnTo>
                        <a:pt x="13" y="356"/>
                      </a:lnTo>
                      <a:lnTo>
                        <a:pt x="13" y="355"/>
                      </a:lnTo>
                      <a:lnTo>
                        <a:pt x="13" y="355"/>
                      </a:lnTo>
                      <a:lnTo>
                        <a:pt x="15" y="354"/>
                      </a:lnTo>
                      <a:lnTo>
                        <a:pt x="16" y="355"/>
                      </a:lnTo>
                      <a:lnTo>
                        <a:pt x="15" y="356"/>
                      </a:lnTo>
                      <a:lnTo>
                        <a:pt x="18" y="356"/>
                      </a:lnTo>
                      <a:lnTo>
                        <a:pt x="20" y="354"/>
                      </a:lnTo>
                      <a:lnTo>
                        <a:pt x="22" y="354"/>
                      </a:lnTo>
                      <a:lnTo>
                        <a:pt x="21" y="355"/>
                      </a:lnTo>
                      <a:lnTo>
                        <a:pt x="18" y="356"/>
                      </a:lnTo>
                      <a:lnTo>
                        <a:pt x="19" y="357"/>
                      </a:lnTo>
                      <a:lnTo>
                        <a:pt x="20" y="357"/>
                      </a:lnTo>
                      <a:lnTo>
                        <a:pt x="20" y="359"/>
                      </a:lnTo>
                      <a:lnTo>
                        <a:pt x="20" y="359"/>
                      </a:lnTo>
                      <a:lnTo>
                        <a:pt x="19" y="359"/>
                      </a:lnTo>
                      <a:lnTo>
                        <a:pt x="16" y="361"/>
                      </a:lnTo>
                      <a:lnTo>
                        <a:pt x="16" y="362"/>
                      </a:lnTo>
                      <a:lnTo>
                        <a:pt x="18" y="364"/>
                      </a:lnTo>
                      <a:lnTo>
                        <a:pt x="19" y="364"/>
                      </a:lnTo>
                      <a:lnTo>
                        <a:pt x="22" y="363"/>
                      </a:lnTo>
                      <a:lnTo>
                        <a:pt x="20" y="366"/>
                      </a:lnTo>
                      <a:lnTo>
                        <a:pt x="16" y="366"/>
                      </a:lnTo>
                      <a:lnTo>
                        <a:pt x="14" y="364"/>
                      </a:lnTo>
                      <a:lnTo>
                        <a:pt x="13" y="364"/>
                      </a:lnTo>
                      <a:lnTo>
                        <a:pt x="12" y="363"/>
                      </a:lnTo>
                      <a:lnTo>
                        <a:pt x="12" y="362"/>
                      </a:lnTo>
                      <a:lnTo>
                        <a:pt x="10" y="364"/>
                      </a:lnTo>
                      <a:lnTo>
                        <a:pt x="10" y="364"/>
                      </a:lnTo>
                      <a:lnTo>
                        <a:pt x="10" y="367"/>
                      </a:lnTo>
                      <a:lnTo>
                        <a:pt x="10" y="370"/>
                      </a:lnTo>
                      <a:lnTo>
                        <a:pt x="12" y="371"/>
                      </a:lnTo>
                      <a:lnTo>
                        <a:pt x="13" y="373"/>
                      </a:lnTo>
                      <a:lnTo>
                        <a:pt x="15" y="373"/>
                      </a:lnTo>
                      <a:lnTo>
                        <a:pt x="18" y="375"/>
                      </a:lnTo>
                      <a:lnTo>
                        <a:pt x="19" y="376"/>
                      </a:lnTo>
                      <a:lnTo>
                        <a:pt x="20" y="376"/>
                      </a:lnTo>
                      <a:lnTo>
                        <a:pt x="21" y="376"/>
                      </a:lnTo>
                      <a:lnTo>
                        <a:pt x="22" y="377"/>
                      </a:lnTo>
                      <a:lnTo>
                        <a:pt x="25" y="377"/>
                      </a:lnTo>
                      <a:lnTo>
                        <a:pt x="26" y="377"/>
                      </a:lnTo>
                      <a:lnTo>
                        <a:pt x="26" y="377"/>
                      </a:lnTo>
                      <a:lnTo>
                        <a:pt x="27" y="376"/>
                      </a:lnTo>
                      <a:lnTo>
                        <a:pt x="27" y="377"/>
                      </a:lnTo>
                      <a:lnTo>
                        <a:pt x="27" y="377"/>
                      </a:lnTo>
                      <a:lnTo>
                        <a:pt x="27" y="379"/>
                      </a:lnTo>
                      <a:lnTo>
                        <a:pt x="26" y="380"/>
                      </a:lnTo>
                      <a:lnTo>
                        <a:pt x="27" y="381"/>
                      </a:lnTo>
                      <a:lnTo>
                        <a:pt x="28" y="380"/>
                      </a:lnTo>
                      <a:lnTo>
                        <a:pt x="29" y="380"/>
                      </a:lnTo>
                      <a:lnTo>
                        <a:pt x="30" y="380"/>
                      </a:lnTo>
                      <a:lnTo>
                        <a:pt x="30" y="381"/>
                      </a:lnTo>
                      <a:lnTo>
                        <a:pt x="30" y="381"/>
                      </a:lnTo>
                      <a:lnTo>
                        <a:pt x="32" y="381"/>
                      </a:lnTo>
                      <a:lnTo>
                        <a:pt x="33" y="381"/>
                      </a:lnTo>
                      <a:lnTo>
                        <a:pt x="34" y="381"/>
                      </a:lnTo>
                      <a:lnTo>
                        <a:pt x="33" y="382"/>
                      </a:lnTo>
                      <a:lnTo>
                        <a:pt x="34" y="382"/>
                      </a:lnTo>
                      <a:lnTo>
                        <a:pt x="35" y="382"/>
                      </a:lnTo>
                      <a:lnTo>
                        <a:pt x="38" y="382"/>
                      </a:lnTo>
                      <a:lnTo>
                        <a:pt x="39" y="382"/>
                      </a:lnTo>
                      <a:lnTo>
                        <a:pt x="40" y="382"/>
                      </a:lnTo>
                      <a:lnTo>
                        <a:pt x="41" y="382"/>
                      </a:lnTo>
                      <a:lnTo>
                        <a:pt x="42" y="382"/>
                      </a:lnTo>
                      <a:lnTo>
                        <a:pt x="42" y="381"/>
                      </a:lnTo>
                      <a:lnTo>
                        <a:pt x="45" y="381"/>
                      </a:lnTo>
                      <a:lnTo>
                        <a:pt x="46" y="381"/>
                      </a:lnTo>
                      <a:lnTo>
                        <a:pt x="46" y="381"/>
                      </a:lnTo>
                      <a:lnTo>
                        <a:pt x="47" y="381"/>
                      </a:lnTo>
                      <a:lnTo>
                        <a:pt x="48" y="381"/>
                      </a:lnTo>
                      <a:lnTo>
                        <a:pt x="47" y="380"/>
                      </a:lnTo>
                      <a:lnTo>
                        <a:pt x="48" y="380"/>
                      </a:lnTo>
                      <a:lnTo>
                        <a:pt x="48" y="380"/>
                      </a:lnTo>
                      <a:lnTo>
                        <a:pt x="49" y="380"/>
                      </a:lnTo>
                      <a:lnTo>
                        <a:pt x="50" y="380"/>
                      </a:lnTo>
                      <a:lnTo>
                        <a:pt x="52" y="379"/>
                      </a:lnTo>
                      <a:lnTo>
                        <a:pt x="52" y="379"/>
                      </a:lnTo>
                      <a:lnTo>
                        <a:pt x="54" y="379"/>
                      </a:lnTo>
                      <a:lnTo>
                        <a:pt x="54" y="377"/>
                      </a:lnTo>
                      <a:lnTo>
                        <a:pt x="55" y="376"/>
                      </a:lnTo>
                      <a:lnTo>
                        <a:pt x="56" y="376"/>
                      </a:lnTo>
                      <a:lnTo>
                        <a:pt x="58" y="375"/>
                      </a:lnTo>
                      <a:lnTo>
                        <a:pt x="58" y="374"/>
                      </a:lnTo>
                      <a:lnTo>
                        <a:pt x="59" y="374"/>
                      </a:lnTo>
                      <a:lnTo>
                        <a:pt x="60" y="374"/>
                      </a:lnTo>
                      <a:lnTo>
                        <a:pt x="60" y="373"/>
                      </a:lnTo>
                      <a:lnTo>
                        <a:pt x="60" y="373"/>
                      </a:lnTo>
                      <a:lnTo>
                        <a:pt x="61" y="373"/>
                      </a:lnTo>
                      <a:lnTo>
                        <a:pt x="62" y="371"/>
                      </a:lnTo>
                      <a:lnTo>
                        <a:pt x="63" y="373"/>
                      </a:lnTo>
                      <a:lnTo>
                        <a:pt x="63" y="373"/>
                      </a:lnTo>
                      <a:lnTo>
                        <a:pt x="63" y="371"/>
                      </a:lnTo>
                      <a:lnTo>
                        <a:pt x="63" y="369"/>
                      </a:lnTo>
                      <a:lnTo>
                        <a:pt x="66" y="368"/>
                      </a:lnTo>
                      <a:lnTo>
                        <a:pt x="66" y="368"/>
                      </a:lnTo>
                      <a:lnTo>
                        <a:pt x="66" y="368"/>
                      </a:lnTo>
                      <a:lnTo>
                        <a:pt x="66" y="368"/>
                      </a:lnTo>
                      <a:lnTo>
                        <a:pt x="67" y="367"/>
                      </a:lnTo>
                      <a:lnTo>
                        <a:pt x="67" y="366"/>
                      </a:lnTo>
                      <a:lnTo>
                        <a:pt x="67" y="366"/>
                      </a:lnTo>
                      <a:lnTo>
                        <a:pt x="68" y="366"/>
                      </a:lnTo>
                      <a:lnTo>
                        <a:pt x="68" y="364"/>
                      </a:lnTo>
                      <a:lnTo>
                        <a:pt x="69" y="364"/>
                      </a:lnTo>
                      <a:lnTo>
                        <a:pt x="70" y="363"/>
                      </a:lnTo>
                      <a:lnTo>
                        <a:pt x="70" y="363"/>
                      </a:lnTo>
                      <a:lnTo>
                        <a:pt x="70" y="362"/>
                      </a:lnTo>
                      <a:lnTo>
                        <a:pt x="72" y="362"/>
                      </a:lnTo>
                      <a:lnTo>
                        <a:pt x="72" y="363"/>
                      </a:lnTo>
                      <a:lnTo>
                        <a:pt x="73" y="364"/>
                      </a:lnTo>
                      <a:lnTo>
                        <a:pt x="74" y="364"/>
                      </a:lnTo>
                      <a:lnTo>
                        <a:pt x="74" y="363"/>
                      </a:lnTo>
                      <a:lnTo>
                        <a:pt x="75" y="363"/>
                      </a:lnTo>
                      <a:lnTo>
                        <a:pt x="76" y="363"/>
                      </a:lnTo>
                      <a:lnTo>
                        <a:pt x="76" y="363"/>
                      </a:lnTo>
                      <a:lnTo>
                        <a:pt x="78" y="362"/>
                      </a:lnTo>
                      <a:lnTo>
                        <a:pt x="79" y="363"/>
                      </a:lnTo>
                      <a:lnTo>
                        <a:pt x="79" y="362"/>
                      </a:lnTo>
                      <a:lnTo>
                        <a:pt x="79" y="361"/>
                      </a:lnTo>
                      <a:lnTo>
                        <a:pt x="79" y="361"/>
                      </a:lnTo>
                      <a:lnTo>
                        <a:pt x="80" y="361"/>
                      </a:lnTo>
                      <a:lnTo>
                        <a:pt x="80" y="359"/>
                      </a:lnTo>
                      <a:lnTo>
                        <a:pt x="81" y="359"/>
                      </a:lnTo>
                      <a:lnTo>
                        <a:pt x="81" y="356"/>
                      </a:lnTo>
                      <a:lnTo>
                        <a:pt x="80" y="354"/>
                      </a:lnTo>
                      <a:lnTo>
                        <a:pt x="80" y="354"/>
                      </a:lnTo>
                      <a:lnTo>
                        <a:pt x="80" y="353"/>
                      </a:lnTo>
                      <a:lnTo>
                        <a:pt x="80" y="353"/>
                      </a:lnTo>
                      <a:lnTo>
                        <a:pt x="80" y="351"/>
                      </a:lnTo>
                      <a:lnTo>
                        <a:pt x="79" y="350"/>
                      </a:lnTo>
                      <a:lnTo>
                        <a:pt x="79" y="350"/>
                      </a:lnTo>
                      <a:lnTo>
                        <a:pt x="79" y="350"/>
                      </a:lnTo>
                      <a:lnTo>
                        <a:pt x="80" y="350"/>
                      </a:lnTo>
                      <a:lnTo>
                        <a:pt x="81" y="353"/>
                      </a:lnTo>
                      <a:lnTo>
                        <a:pt x="82" y="353"/>
                      </a:lnTo>
                      <a:lnTo>
                        <a:pt x="82" y="351"/>
                      </a:lnTo>
                      <a:lnTo>
                        <a:pt x="81" y="348"/>
                      </a:lnTo>
                      <a:lnTo>
                        <a:pt x="82" y="347"/>
                      </a:lnTo>
                      <a:lnTo>
                        <a:pt x="83" y="347"/>
                      </a:lnTo>
                      <a:lnTo>
                        <a:pt x="83" y="347"/>
                      </a:lnTo>
                      <a:lnTo>
                        <a:pt x="85" y="348"/>
                      </a:lnTo>
                      <a:lnTo>
                        <a:pt x="83" y="350"/>
                      </a:lnTo>
                      <a:lnTo>
                        <a:pt x="83" y="354"/>
                      </a:lnTo>
                      <a:lnTo>
                        <a:pt x="83" y="356"/>
                      </a:lnTo>
                      <a:lnTo>
                        <a:pt x="85" y="357"/>
                      </a:lnTo>
                      <a:lnTo>
                        <a:pt x="86" y="357"/>
                      </a:lnTo>
                      <a:lnTo>
                        <a:pt x="86" y="359"/>
                      </a:lnTo>
                      <a:lnTo>
                        <a:pt x="87" y="360"/>
                      </a:lnTo>
                      <a:lnTo>
                        <a:pt x="88" y="360"/>
                      </a:lnTo>
                      <a:lnTo>
                        <a:pt x="89" y="360"/>
                      </a:lnTo>
                      <a:lnTo>
                        <a:pt x="89" y="361"/>
                      </a:lnTo>
                      <a:lnTo>
                        <a:pt x="90" y="361"/>
                      </a:lnTo>
                      <a:lnTo>
                        <a:pt x="92" y="360"/>
                      </a:lnTo>
                      <a:lnTo>
                        <a:pt x="92" y="361"/>
                      </a:lnTo>
                      <a:lnTo>
                        <a:pt x="93" y="361"/>
                      </a:lnTo>
                      <a:lnTo>
                        <a:pt x="94" y="361"/>
                      </a:lnTo>
                      <a:lnTo>
                        <a:pt x="94" y="362"/>
                      </a:lnTo>
                      <a:lnTo>
                        <a:pt x="95" y="364"/>
                      </a:lnTo>
                      <a:lnTo>
                        <a:pt x="96" y="366"/>
                      </a:lnTo>
                      <a:lnTo>
                        <a:pt x="96" y="367"/>
                      </a:lnTo>
                      <a:lnTo>
                        <a:pt x="99" y="366"/>
                      </a:lnTo>
                      <a:lnTo>
                        <a:pt x="100" y="362"/>
                      </a:lnTo>
                      <a:lnTo>
                        <a:pt x="100" y="362"/>
                      </a:lnTo>
                      <a:lnTo>
                        <a:pt x="100" y="360"/>
                      </a:lnTo>
                      <a:lnTo>
                        <a:pt x="101" y="360"/>
                      </a:lnTo>
                      <a:lnTo>
                        <a:pt x="99" y="353"/>
                      </a:lnTo>
                      <a:lnTo>
                        <a:pt x="101" y="350"/>
                      </a:lnTo>
                      <a:lnTo>
                        <a:pt x="101" y="349"/>
                      </a:lnTo>
                      <a:lnTo>
                        <a:pt x="100" y="348"/>
                      </a:lnTo>
                      <a:lnTo>
                        <a:pt x="102" y="347"/>
                      </a:lnTo>
                      <a:lnTo>
                        <a:pt x="105" y="347"/>
                      </a:lnTo>
                      <a:lnTo>
                        <a:pt x="108" y="344"/>
                      </a:lnTo>
                      <a:lnTo>
                        <a:pt x="109" y="342"/>
                      </a:lnTo>
                      <a:lnTo>
                        <a:pt x="109" y="340"/>
                      </a:lnTo>
                      <a:lnTo>
                        <a:pt x="110" y="336"/>
                      </a:lnTo>
                      <a:lnTo>
                        <a:pt x="110" y="335"/>
                      </a:lnTo>
                      <a:lnTo>
                        <a:pt x="107" y="330"/>
                      </a:lnTo>
                      <a:lnTo>
                        <a:pt x="105" y="326"/>
                      </a:lnTo>
                      <a:lnTo>
                        <a:pt x="107" y="326"/>
                      </a:lnTo>
                      <a:lnTo>
                        <a:pt x="110" y="326"/>
                      </a:lnTo>
                      <a:lnTo>
                        <a:pt x="113" y="320"/>
                      </a:lnTo>
                      <a:lnTo>
                        <a:pt x="107" y="315"/>
                      </a:lnTo>
                      <a:lnTo>
                        <a:pt x="106" y="315"/>
                      </a:lnTo>
                      <a:lnTo>
                        <a:pt x="101" y="313"/>
                      </a:lnTo>
                      <a:lnTo>
                        <a:pt x="102" y="303"/>
                      </a:lnTo>
                      <a:lnTo>
                        <a:pt x="101" y="300"/>
                      </a:lnTo>
                      <a:lnTo>
                        <a:pt x="99" y="297"/>
                      </a:lnTo>
                      <a:lnTo>
                        <a:pt x="99" y="295"/>
                      </a:lnTo>
                      <a:lnTo>
                        <a:pt x="100" y="294"/>
                      </a:lnTo>
                      <a:lnTo>
                        <a:pt x="98" y="292"/>
                      </a:lnTo>
                      <a:lnTo>
                        <a:pt x="100" y="289"/>
                      </a:lnTo>
                      <a:lnTo>
                        <a:pt x="96" y="284"/>
                      </a:lnTo>
                      <a:lnTo>
                        <a:pt x="100" y="280"/>
                      </a:lnTo>
                      <a:lnTo>
                        <a:pt x="99" y="279"/>
                      </a:lnTo>
                      <a:lnTo>
                        <a:pt x="101" y="275"/>
                      </a:lnTo>
                      <a:lnTo>
                        <a:pt x="105" y="272"/>
                      </a:lnTo>
                      <a:lnTo>
                        <a:pt x="110" y="269"/>
                      </a:lnTo>
                      <a:lnTo>
                        <a:pt x="113" y="269"/>
                      </a:lnTo>
                      <a:lnTo>
                        <a:pt x="115" y="269"/>
                      </a:lnTo>
                      <a:lnTo>
                        <a:pt x="121" y="270"/>
                      </a:lnTo>
                      <a:lnTo>
                        <a:pt x="123" y="270"/>
                      </a:lnTo>
                      <a:lnTo>
                        <a:pt x="126" y="268"/>
                      </a:lnTo>
                      <a:lnTo>
                        <a:pt x="126" y="264"/>
                      </a:lnTo>
                      <a:lnTo>
                        <a:pt x="125" y="262"/>
                      </a:lnTo>
                      <a:lnTo>
                        <a:pt x="121" y="262"/>
                      </a:lnTo>
                      <a:lnTo>
                        <a:pt x="118" y="261"/>
                      </a:lnTo>
                      <a:lnTo>
                        <a:pt x="119" y="259"/>
                      </a:lnTo>
                      <a:lnTo>
                        <a:pt x="126" y="252"/>
                      </a:lnTo>
                      <a:lnTo>
                        <a:pt x="126" y="248"/>
                      </a:lnTo>
                      <a:lnTo>
                        <a:pt x="128" y="247"/>
                      </a:lnTo>
                      <a:lnTo>
                        <a:pt x="127" y="242"/>
                      </a:lnTo>
                      <a:lnTo>
                        <a:pt x="128" y="240"/>
                      </a:lnTo>
                      <a:lnTo>
                        <a:pt x="129" y="239"/>
                      </a:lnTo>
                      <a:lnTo>
                        <a:pt x="127" y="233"/>
                      </a:lnTo>
                      <a:lnTo>
                        <a:pt x="134" y="232"/>
                      </a:lnTo>
                      <a:lnTo>
                        <a:pt x="139" y="229"/>
                      </a:lnTo>
                      <a:lnTo>
                        <a:pt x="138" y="227"/>
                      </a:lnTo>
                      <a:lnTo>
                        <a:pt x="141" y="223"/>
                      </a:lnTo>
                      <a:lnTo>
                        <a:pt x="145" y="219"/>
                      </a:lnTo>
                      <a:lnTo>
                        <a:pt x="149" y="216"/>
                      </a:lnTo>
                      <a:lnTo>
                        <a:pt x="149" y="214"/>
                      </a:lnTo>
                      <a:lnTo>
                        <a:pt x="147" y="210"/>
                      </a:lnTo>
                      <a:lnTo>
                        <a:pt x="145" y="209"/>
                      </a:lnTo>
                      <a:lnTo>
                        <a:pt x="146" y="208"/>
                      </a:lnTo>
                      <a:lnTo>
                        <a:pt x="148" y="208"/>
                      </a:lnTo>
                      <a:lnTo>
                        <a:pt x="150" y="206"/>
                      </a:lnTo>
                      <a:lnTo>
                        <a:pt x="152" y="201"/>
                      </a:lnTo>
                      <a:lnTo>
                        <a:pt x="157" y="199"/>
                      </a:lnTo>
                      <a:lnTo>
                        <a:pt x="159" y="197"/>
                      </a:lnTo>
                      <a:lnTo>
                        <a:pt x="168" y="200"/>
                      </a:lnTo>
                      <a:lnTo>
                        <a:pt x="170" y="196"/>
                      </a:lnTo>
                      <a:lnTo>
                        <a:pt x="168" y="193"/>
                      </a:lnTo>
                      <a:lnTo>
                        <a:pt x="168" y="190"/>
                      </a:lnTo>
                      <a:lnTo>
                        <a:pt x="172" y="190"/>
                      </a:lnTo>
                      <a:lnTo>
                        <a:pt x="176" y="192"/>
                      </a:lnTo>
                      <a:lnTo>
                        <a:pt x="180" y="190"/>
                      </a:lnTo>
                      <a:lnTo>
                        <a:pt x="194" y="194"/>
                      </a:lnTo>
                      <a:lnTo>
                        <a:pt x="195" y="192"/>
                      </a:lnTo>
                      <a:lnTo>
                        <a:pt x="196" y="192"/>
                      </a:lnTo>
                      <a:lnTo>
                        <a:pt x="196" y="192"/>
                      </a:lnTo>
                      <a:lnTo>
                        <a:pt x="195" y="190"/>
                      </a:lnTo>
                      <a:lnTo>
                        <a:pt x="194" y="190"/>
                      </a:lnTo>
                      <a:lnTo>
                        <a:pt x="195" y="188"/>
                      </a:lnTo>
                      <a:lnTo>
                        <a:pt x="197" y="186"/>
                      </a:lnTo>
                      <a:lnTo>
                        <a:pt x="197" y="183"/>
                      </a:lnTo>
                      <a:lnTo>
                        <a:pt x="194" y="181"/>
                      </a:lnTo>
                      <a:lnTo>
                        <a:pt x="201" y="181"/>
                      </a:lnTo>
                      <a:lnTo>
                        <a:pt x="200" y="180"/>
                      </a:lnTo>
                      <a:lnTo>
                        <a:pt x="201" y="180"/>
                      </a:lnTo>
                      <a:lnTo>
                        <a:pt x="203" y="179"/>
                      </a:lnTo>
                      <a:lnTo>
                        <a:pt x="207" y="179"/>
                      </a:lnTo>
                      <a:lnTo>
                        <a:pt x="205" y="176"/>
                      </a:lnTo>
                      <a:lnTo>
                        <a:pt x="208" y="175"/>
                      </a:lnTo>
                      <a:lnTo>
                        <a:pt x="214" y="175"/>
                      </a:lnTo>
                      <a:lnTo>
                        <a:pt x="214" y="175"/>
                      </a:lnTo>
                      <a:lnTo>
                        <a:pt x="221" y="182"/>
                      </a:lnTo>
                      <a:lnTo>
                        <a:pt x="221" y="182"/>
                      </a:lnTo>
                      <a:lnTo>
                        <a:pt x="225" y="183"/>
                      </a:lnTo>
                      <a:lnTo>
                        <a:pt x="225" y="186"/>
                      </a:lnTo>
                      <a:lnTo>
                        <a:pt x="230" y="186"/>
                      </a:lnTo>
                      <a:lnTo>
                        <a:pt x="234" y="186"/>
                      </a:lnTo>
                      <a:lnTo>
                        <a:pt x="236" y="187"/>
                      </a:lnTo>
                      <a:lnTo>
                        <a:pt x="240" y="186"/>
                      </a:lnTo>
                      <a:lnTo>
                        <a:pt x="243" y="186"/>
                      </a:lnTo>
                      <a:lnTo>
                        <a:pt x="243" y="184"/>
                      </a:lnTo>
                      <a:lnTo>
                        <a:pt x="246" y="183"/>
                      </a:lnTo>
                      <a:lnTo>
                        <a:pt x="250" y="186"/>
                      </a:lnTo>
                      <a:lnTo>
                        <a:pt x="256" y="187"/>
                      </a:lnTo>
                      <a:lnTo>
                        <a:pt x="259" y="188"/>
                      </a:lnTo>
                      <a:lnTo>
                        <a:pt x="261" y="187"/>
                      </a:lnTo>
                      <a:lnTo>
                        <a:pt x="262" y="183"/>
                      </a:lnTo>
                      <a:lnTo>
                        <a:pt x="265" y="182"/>
                      </a:lnTo>
                      <a:lnTo>
                        <a:pt x="266" y="183"/>
                      </a:lnTo>
                      <a:lnTo>
                        <a:pt x="267" y="182"/>
                      </a:lnTo>
                      <a:lnTo>
                        <a:pt x="268" y="182"/>
                      </a:lnTo>
                      <a:lnTo>
                        <a:pt x="269" y="180"/>
                      </a:lnTo>
                      <a:lnTo>
                        <a:pt x="267" y="176"/>
                      </a:lnTo>
                      <a:lnTo>
                        <a:pt x="267" y="174"/>
                      </a:lnTo>
                      <a:lnTo>
                        <a:pt x="268" y="174"/>
                      </a:lnTo>
                      <a:lnTo>
                        <a:pt x="269" y="170"/>
                      </a:lnTo>
                      <a:lnTo>
                        <a:pt x="269" y="169"/>
                      </a:lnTo>
                      <a:lnTo>
                        <a:pt x="269" y="168"/>
                      </a:lnTo>
                      <a:lnTo>
                        <a:pt x="270" y="167"/>
                      </a:lnTo>
                      <a:lnTo>
                        <a:pt x="275" y="166"/>
                      </a:lnTo>
                      <a:lnTo>
                        <a:pt x="277" y="166"/>
                      </a:lnTo>
                      <a:lnTo>
                        <a:pt x="282" y="166"/>
                      </a:lnTo>
                      <a:lnTo>
                        <a:pt x="286" y="165"/>
                      </a:lnTo>
                      <a:lnTo>
                        <a:pt x="290" y="162"/>
                      </a:lnTo>
                      <a:lnTo>
                        <a:pt x="295" y="165"/>
                      </a:lnTo>
                      <a:lnTo>
                        <a:pt x="303" y="168"/>
                      </a:lnTo>
                      <a:lnTo>
                        <a:pt x="310" y="168"/>
                      </a:lnTo>
                      <a:lnTo>
                        <a:pt x="314" y="172"/>
                      </a:lnTo>
                      <a:lnTo>
                        <a:pt x="312" y="175"/>
                      </a:lnTo>
                      <a:lnTo>
                        <a:pt x="321" y="175"/>
                      </a:lnTo>
                      <a:lnTo>
                        <a:pt x="321" y="175"/>
                      </a:lnTo>
                      <a:lnTo>
                        <a:pt x="325" y="169"/>
                      </a:lnTo>
                      <a:lnTo>
                        <a:pt x="335" y="172"/>
                      </a:lnTo>
                      <a:lnTo>
                        <a:pt x="334" y="167"/>
                      </a:lnTo>
                      <a:lnTo>
                        <a:pt x="334" y="167"/>
                      </a:lnTo>
                      <a:close/>
                      <a:moveTo>
                        <a:pt x="167" y="34"/>
                      </a:moveTo>
                      <a:lnTo>
                        <a:pt x="160" y="36"/>
                      </a:lnTo>
                      <a:lnTo>
                        <a:pt x="160" y="43"/>
                      </a:lnTo>
                      <a:lnTo>
                        <a:pt x="152" y="45"/>
                      </a:lnTo>
                      <a:lnTo>
                        <a:pt x="146" y="55"/>
                      </a:lnTo>
                      <a:lnTo>
                        <a:pt x="135" y="56"/>
                      </a:lnTo>
                      <a:lnTo>
                        <a:pt x="123" y="49"/>
                      </a:lnTo>
                      <a:lnTo>
                        <a:pt x="109" y="46"/>
                      </a:lnTo>
                      <a:lnTo>
                        <a:pt x="102" y="36"/>
                      </a:lnTo>
                      <a:lnTo>
                        <a:pt x="108" y="34"/>
                      </a:lnTo>
                      <a:lnTo>
                        <a:pt x="112" y="35"/>
                      </a:lnTo>
                      <a:lnTo>
                        <a:pt x="121" y="33"/>
                      </a:lnTo>
                      <a:lnTo>
                        <a:pt x="126" y="30"/>
                      </a:lnTo>
                      <a:lnTo>
                        <a:pt x="147" y="30"/>
                      </a:lnTo>
                      <a:lnTo>
                        <a:pt x="141" y="28"/>
                      </a:lnTo>
                      <a:lnTo>
                        <a:pt x="143" y="25"/>
                      </a:lnTo>
                      <a:lnTo>
                        <a:pt x="134" y="26"/>
                      </a:lnTo>
                      <a:lnTo>
                        <a:pt x="125" y="26"/>
                      </a:lnTo>
                      <a:lnTo>
                        <a:pt x="120" y="28"/>
                      </a:lnTo>
                      <a:lnTo>
                        <a:pt x="115" y="27"/>
                      </a:lnTo>
                      <a:lnTo>
                        <a:pt x="110" y="30"/>
                      </a:lnTo>
                      <a:lnTo>
                        <a:pt x="95" y="32"/>
                      </a:lnTo>
                      <a:lnTo>
                        <a:pt x="83" y="32"/>
                      </a:lnTo>
                      <a:lnTo>
                        <a:pt x="74" y="26"/>
                      </a:lnTo>
                      <a:lnTo>
                        <a:pt x="79" y="21"/>
                      </a:lnTo>
                      <a:lnTo>
                        <a:pt x="74" y="16"/>
                      </a:lnTo>
                      <a:lnTo>
                        <a:pt x="72" y="12"/>
                      </a:lnTo>
                      <a:lnTo>
                        <a:pt x="75" y="10"/>
                      </a:lnTo>
                      <a:lnTo>
                        <a:pt x="80" y="9"/>
                      </a:lnTo>
                      <a:lnTo>
                        <a:pt x="86" y="7"/>
                      </a:lnTo>
                      <a:lnTo>
                        <a:pt x="95" y="8"/>
                      </a:lnTo>
                      <a:lnTo>
                        <a:pt x="100" y="7"/>
                      </a:lnTo>
                      <a:lnTo>
                        <a:pt x="107" y="7"/>
                      </a:lnTo>
                      <a:lnTo>
                        <a:pt x="108" y="12"/>
                      </a:lnTo>
                      <a:lnTo>
                        <a:pt x="112" y="13"/>
                      </a:lnTo>
                      <a:lnTo>
                        <a:pt x="116" y="12"/>
                      </a:lnTo>
                      <a:lnTo>
                        <a:pt x="114" y="8"/>
                      </a:lnTo>
                      <a:lnTo>
                        <a:pt x="120" y="7"/>
                      </a:lnTo>
                      <a:lnTo>
                        <a:pt x="125" y="12"/>
                      </a:lnTo>
                      <a:lnTo>
                        <a:pt x="128" y="16"/>
                      </a:lnTo>
                      <a:lnTo>
                        <a:pt x="133" y="18"/>
                      </a:lnTo>
                      <a:lnTo>
                        <a:pt x="132" y="13"/>
                      </a:lnTo>
                      <a:lnTo>
                        <a:pt x="139" y="10"/>
                      </a:lnTo>
                      <a:lnTo>
                        <a:pt x="141" y="7"/>
                      </a:lnTo>
                      <a:lnTo>
                        <a:pt x="152" y="3"/>
                      </a:lnTo>
                      <a:lnTo>
                        <a:pt x="156" y="0"/>
                      </a:lnTo>
                      <a:lnTo>
                        <a:pt x="166" y="2"/>
                      </a:lnTo>
                      <a:lnTo>
                        <a:pt x="169" y="0"/>
                      </a:lnTo>
                      <a:lnTo>
                        <a:pt x="186" y="1"/>
                      </a:lnTo>
                      <a:lnTo>
                        <a:pt x="197" y="2"/>
                      </a:lnTo>
                      <a:lnTo>
                        <a:pt x="202" y="0"/>
                      </a:lnTo>
                      <a:lnTo>
                        <a:pt x="209" y="1"/>
                      </a:lnTo>
                      <a:lnTo>
                        <a:pt x="219" y="1"/>
                      </a:lnTo>
                      <a:lnTo>
                        <a:pt x="229" y="2"/>
                      </a:lnTo>
                      <a:lnTo>
                        <a:pt x="235" y="0"/>
                      </a:lnTo>
                      <a:lnTo>
                        <a:pt x="242" y="2"/>
                      </a:lnTo>
                      <a:lnTo>
                        <a:pt x="256" y="3"/>
                      </a:lnTo>
                      <a:lnTo>
                        <a:pt x="253" y="9"/>
                      </a:lnTo>
                      <a:lnTo>
                        <a:pt x="245" y="13"/>
                      </a:lnTo>
                      <a:lnTo>
                        <a:pt x="241" y="15"/>
                      </a:lnTo>
                      <a:lnTo>
                        <a:pt x="229" y="16"/>
                      </a:lnTo>
                      <a:lnTo>
                        <a:pt x="225" y="19"/>
                      </a:lnTo>
                      <a:lnTo>
                        <a:pt x="214" y="19"/>
                      </a:lnTo>
                      <a:lnTo>
                        <a:pt x="206" y="18"/>
                      </a:lnTo>
                      <a:lnTo>
                        <a:pt x="205" y="16"/>
                      </a:lnTo>
                      <a:lnTo>
                        <a:pt x="187" y="15"/>
                      </a:lnTo>
                      <a:lnTo>
                        <a:pt x="174" y="15"/>
                      </a:lnTo>
                      <a:lnTo>
                        <a:pt x="185" y="20"/>
                      </a:lnTo>
                      <a:lnTo>
                        <a:pt x="195" y="22"/>
                      </a:lnTo>
                      <a:lnTo>
                        <a:pt x="201" y="26"/>
                      </a:lnTo>
                      <a:lnTo>
                        <a:pt x="202" y="29"/>
                      </a:lnTo>
                      <a:lnTo>
                        <a:pt x="215" y="32"/>
                      </a:lnTo>
                      <a:lnTo>
                        <a:pt x="219" y="36"/>
                      </a:lnTo>
                      <a:lnTo>
                        <a:pt x="230" y="36"/>
                      </a:lnTo>
                      <a:lnTo>
                        <a:pt x="228" y="41"/>
                      </a:lnTo>
                      <a:lnTo>
                        <a:pt x="219" y="46"/>
                      </a:lnTo>
                      <a:lnTo>
                        <a:pt x="206" y="47"/>
                      </a:lnTo>
                      <a:lnTo>
                        <a:pt x="205" y="45"/>
                      </a:lnTo>
                      <a:lnTo>
                        <a:pt x="187" y="43"/>
                      </a:lnTo>
                      <a:lnTo>
                        <a:pt x="190" y="40"/>
                      </a:lnTo>
                      <a:lnTo>
                        <a:pt x="192" y="37"/>
                      </a:lnTo>
                      <a:lnTo>
                        <a:pt x="188" y="34"/>
                      </a:lnTo>
                      <a:lnTo>
                        <a:pt x="183" y="32"/>
                      </a:lnTo>
                      <a:lnTo>
                        <a:pt x="176" y="28"/>
                      </a:lnTo>
                      <a:lnTo>
                        <a:pt x="169" y="28"/>
                      </a:lnTo>
                      <a:lnTo>
                        <a:pt x="167" y="34"/>
                      </a:lnTo>
                      <a:lnTo>
                        <a:pt x="167" y="34"/>
                      </a:lnTo>
                      <a:close/>
                      <a:moveTo>
                        <a:pt x="232" y="155"/>
                      </a:moveTo>
                      <a:lnTo>
                        <a:pt x="234" y="154"/>
                      </a:lnTo>
                      <a:lnTo>
                        <a:pt x="235" y="154"/>
                      </a:lnTo>
                      <a:lnTo>
                        <a:pt x="236" y="154"/>
                      </a:lnTo>
                      <a:lnTo>
                        <a:pt x="237" y="154"/>
                      </a:lnTo>
                      <a:lnTo>
                        <a:pt x="239" y="153"/>
                      </a:lnTo>
                      <a:lnTo>
                        <a:pt x="241" y="153"/>
                      </a:lnTo>
                      <a:lnTo>
                        <a:pt x="241" y="153"/>
                      </a:lnTo>
                      <a:lnTo>
                        <a:pt x="240" y="156"/>
                      </a:lnTo>
                      <a:lnTo>
                        <a:pt x="237" y="157"/>
                      </a:lnTo>
                      <a:lnTo>
                        <a:pt x="236" y="157"/>
                      </a:lnTo>
                      <a:lnTo>
                        <a:pt x="235" y="157"/>
                      </a:lnTo>
                      <a:lnTo>
                        <a:pt x="234" y="157"/>
                      </a:lnTo>
                      <a:lnTo>
                        <a:pt x="232" y="159"/>
                      </a:lnTo>
                      <a:lnTo>
                        <a:pt x="233" y="160"/>
                      </a:lnTo>
                      <a:lnTo>
                        <a:pt x="230" y="160"/>
                      </a:lnTo>
                      <a:lnTo>
                        <a:pt x="227" y="159"/>
                      </a:lnTo>
                      <a:lnTo>
                        <a:pt x="229" y="157"/>
                      </a:lnTo>
                      <a:lnTo>
                        <a:pt x="230" y="156"/>
                      </a:lnTo>
                      <a:lnTo>
                        <a:pt x="232" y="155"/>
                      </a:lnTo>
                      <a:lnTo>
                        <a:pt x="232" y="155"/>
                      </a:lnTo>
                      <a:close/>
                      <a:moveTo>
                        <a:pt x="220" y="154"/>
                      </a:moveTo>
                      <a:lnTo>
                        <a:pt x="223" y="156"/>
                      </a:lnTo>
                      <a:lnTo>
                        <a:pt x="226" y="155"/>
                      </a:lnTo>
                      <a:lnTo>
                        <a:pt x="229" y="154"/>
                      </a:lnTo>
                      <a:lnTo>
                        <a:pt x="233" y="153"/>
                      </a:lnTo>
                      <a:lnTo>
                        <a:pt x="235" y="152"/>
                      </a:lnTo>
                      <a:lnTo>
                        <a:pt x="234" y="150"/>
                      </a:lnTo>
                      <a:lnTo>
                        <a:pt x="232" y="150"/>
                      </a:lnTo>
                      <a:lnTo>
                        <a:pt x="227" y="150"/>
                      </a:lnTo>
                      <a:lnTo>
                        <a:pt x="226" y="150"/>
                      </a:lnTo>
                      <a:lnTo>
                        <a:pt x="221" y="153"/>
                      </a:lnTo>
                      <a:lnTo>
                        <a:pt x="220" y="152"/>
                      </a:lnTo>
                      <a:lnTo>
                        <a:pt x="219" y="153"/>
                      </a:lnTo>
                      <a:lnTo>
                        <a:pt x="220" y="154"/>
                      </a:lnTo>
                      <a:lnTo>
                        <a:pt x="220" y="154"/>
                      </a:lnTo>
                      <a:lnTo>
                        <a:pt x="220" y="154"/>
                      </a:lnTo>
                      <a:close/>
                      <a:moveTo>
                        <a:pt x="202" y="159"/>
                      </a:moveTo>
                      <a:lnTo>
                        <a:pt x="203" y="160"/>
                      </a:lnTo>
                      <a:lnTo>
                        <a:pt x="203" y="161"/>
                      </a:lnTo>
                      <a:lnTo>
                        <a:pt x="202" y="162"/>
                      </a:lnTo>
                      <a:lnTo>
                        <a:pt x="202" y="163"/>
                      </a:lnTo>
                      <a:lnTo>
                        <a:pt x="201" y="163"/>
                      </a:lnTo>
                      <a:lnTo>
                        <a:pt x="197" y="163"/>
                      </a:lnTo>
                      <a:lnTo>
                        <a:pt x="197" y="162"/>
                      </a:lnTo>
                      <a:lnTo>
                        <a:pt x="196" y="162"/>
                      </a:lnTo>
                      <a:lnTo>
                        <a:pt x="195" y="162"/>
                      </a:lnTo>
                      <a:lnTo>
                        <a:pt x="194" y="162"/>
                      </a:lnTo>
                      <a:lnTo>
                        <a:pt x="194" y="161"/>
                      </a:lnTo>
                      <a:lnTo>
                        <a:pt x="196" y="162"/>
                      </a:lnTo>
                      <a:lnTo>
                        <a:pt x="197" y="161"/>
                      </a:lnTo>
                      <a:lnTo>
                        <a:pt x="199" y="160"/>
                      </a:lnTo>
                      <a:lnTo>
                        <a:pt x="202" y="159"/>
                      </a:lnTo>
                      <a:lnTo>
                        <a:pt x="202" y="159"/>
                      </a:lnTo>
                      <a:close/>
                      <a:moveTo>
                        <a:pt x="181" y="162"/>
                      </a:moveTo>
                      <a:lnTo>
                        <a:pt x="185" y="162"/>
                      </a:lnTo>
                      <a:lnTo>
                        <a:pt x="188" y="163"/>
                      </a:lnTo>
                      <a:lnTo>
                        <a:pt x="186" y="165"/>
                      </a:lnTo>
                      <a:lnTo>
                        <a:pt x="183" y="165"/>
                      </a:lnTo>
                      <a:lnTo>
                        <a:pt x="181" y="165"/>
                      </a:lnTo>
                      <a:lnTo>
                        <a:pt x="177" y="165"/>
                      </a:lnTo>
                      <a:lnTo>
                        <a:pt x="176" y="162"/>
                      </a:lnTo>
                      <a:lnTo>
                        <a:pt x="179" y="162"/>
                      </a:lnTo>
                      <a:lnTo>
                        <a:pt x="181" y="162"/>
                      </a:lnTo>
                      <a:lnTo>
                        <a:pt x="181" y="162"/>
                      </a:lnTo>
                      <a:close/>
                      <a:moveTo>
                        <a:pt x="170" y="172"/>
                      </a:moveTo>
                      <a:lnTo>
                        <a:pt x="173" y="169"/>
                      </a:lnTo>
                      <a:lnTo>
                        <a:pt x="175" y="169"/>
                      </a:lnTo>
                      <a:lnTo>
                        <a:pt x="176" y="168"/>
                      </a:lnTo>
                      <a:lnTo>
                        <a:pt x="174" y="168"/>
                      </a:lnTo>
                      <a:lnTo>
                        <a:pt x="173" y="168"/>
                      </a:lnTo>
                      <a:lnTo>
                        <a:pt x="169" y="169"/>
                      </a:lnTo>
                      <a:lnTo>
                        <a:pt x="168" y="170"/>
                      </a:lnTo>
                      <a:lnTo>
                        <a:pt x="170" y="172"/>
                      </a:lnTo>
                      <a:lnTo>
                        <a:pt x="170" y="172"/>
                      </a:lnTo>
                      <a:close/>
                      <a:moveTo>
                        <a:pt x="165" y="176"/>
                      </a:moveTo>
                      <a:lnTo>
                        <a:pt x="161" y="177"/>
                      </a:lnTo>
                      <a:lnTo>
                        <a:pt x="161" y="179"/>
                      </a:lnTo>
                      <a:lnTo>
                        <a:pt x="160" y="180"/>
                      </a:lnTo>
                      <a:lnTo>
                        <a:pt x="156" y="180"/>
                      </a:lnTo>
                      <a:lnTo>
                        <a:pt x="156" y="177"/>
                      </a:lnTo>
                      <a:lnTo>
                        <a:pt x="157" y="177"/>
                      </a:lnTo>
                      <a:lnTo>
                        <a:pt x="157" y="176"/>
                      </a:lnTo>
                      <a:lnTo>
                        <a:pt x="160" y="175"/>
                      </a:lnTo>
                      <a:lnTo>
                        <a:pt x="162" y="174"/>
                      </a:lnTo>
                      <a:lnTo>
                        <a:pt x="165" y="172"/>
                      </a:lnTo>
                      <a:lnTo>
                        <a:pt x="167" y="173"/>
                      </a:lnTo>
                      <a:lnTo>
                        <a:pt x="167" y="174"/>
                      </a:lnTo>
                      <a:lnTo>
                        <a:pt x="165" y="176"/>
                      </a:lnTo>
                      <a:lnTo>
                        <a:pt x="165" y="176"/>
                      </a:lnTo>
                      <a:close/>
                      <a:moveTo>
                        <a:pt x="122" y="197"/>
                      </a:moveTo>
                      <a:lnTo>
                        <a:pt x="121" y="199"/>
                      </a:lnTo>
                      <a:lnTo>
                        <a:pt x="120" y="197"/>
                      </a:lnTo>
                      <a:lnTo>
                        <a:pt x="118" y="199"/>
                      </a:lnTo>
                      <a:lnTo>
                        <a:pt x="116" y="197"/>
                      </a:lnTo>
                      <a:lnTo>
                        <a:pt x="115" y="199"/>
                      </a:lnTo>
                      <a:lnTo>
                        <a:pt x="113" y="199"/>
                      </a:lnTo>
                      <a:lnTo>
                        <a:pt x="112" y="201"/>
                      </a:lnTo>
                      <a:lnTo>
                        <a:pt x="108" y="201"/>
                      </a:lnTo>
                      <a:lnTo>
                        <a:pt x="107" y="203"/>
                      </a:lnTo>
                      <a:lnTo>
                        <a:pt x="106" y="203"/>
                      </a:lnTo>
                      <a:lnTo>
                        <a:pt x="105" y="201"/>
                      </a:lnTo>
                      <a:lnTo>
                        <a:pt x="107" y="201"/>
                      </a:lnTo>
                      <a:lnTo>
                        <a:pt x="106" y="199"/>
                      </a:lnTo>
                      <a:lnTo>
                        <a:pt x="107" y="197"/>
                      </a:lnTo>
                      <a:lnTo>
                        <a:pt x="108" y="197"/>
                      </a:lnTo>
                      <a:lnTo>
                        <a:pt x="108" y="196"/>
                      </a:lnTo>
                      <a:lnTo>
                        <a:pt x="112" y="196"/>
                      </a:lnTo>
                      <a:lnTo>
                        <a:pt x="113" y="194"/>
                      </a:lnTo>
                      <a:lnTo>
                        <a:pt x="116" y="194"/>
                      </a:lnTo>
                      <a:lnTo>
                        <a:pt x="119" y="193"/>
                      </a:lnTo>
                      <a:lnTo>
                        <a:pt x="120" y="194"/>
                      </a:lnTo>
                      <a:lnTo>
                        <a:pt x="122" y="193"/>
                      </a:lnTo>
                      <a:lnTo>
                        <a:pt x="122" y="195"/>
                      </a:lnTo>
                      <a:lnTo>
                        <a:pt x="122" y="195"/>
                      </a:lnTo>
                      <a:lnTo>
                        <a:pt x="122" y="196"/>
                      </a:lnTo>
                      <a:lnTo>
                        <a:pt x="122" y="197"/>
                      </a:lnTo>
                      <a:lnTo>
                        <a:pt x="122" y="197"/>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552" name="New Zeland">
                  <a:extLst>
                    <a:ext uri="{FF2B5EF4-FFF2-40B4-BE49-F238E27FC236}">
                      <a16:creationId xmlns:a16="http://schemas.microsoft.com/office/drawing/2014/main" id="{0E686E0F-5A24-B643-B229-55D589FDD217}"/>
                    </a:ext>
                  </a:extLst>
                </p:cNvPr>
                <p:cNvSpPr>
                  <a:spLocks noEditPoints="1"/>
                </p:cNvSpPr>
                <p:nvPr/>
              </p:nvSpPr>
              <p:spPr bwMode="auto">
                <a:xfrm>
                  <a:off x="10271090" y="5033338"/>
                  <a:ext cx="472375" cy="384899"/>
                </a:xfrm>
                <a:custGeom>
                  <a:avLst/>
                  <a:gdLst>
                    <a:gd name="T0" fmla="*/ 215 w 324"/>
                    <a:gd name="T1" fmla="*/ 145 h 264"/>
                    <a:gd name="T2" fmla="*/ 217 w 324"/>
                    <a:gd name="T3" fmla="*/ 140 h 264"/>
                    <a:gd name="T4" fmla="*/ 234 w 324"/>
                    <a:gd name="T5" fmla="*/ 124 h 264"/>
                    <a:gd name="T6" fmla="*/ 224 w 324"/>
                    <a:gd name="T7" fmla="*/ 113 h 264"/>
                    <a:gd name="T8" fmla="*/ 234 w 324"/>
                    <a:gd name="T9" fmla="*/ 100 h 264"/>
                    <a:gd name="T10" fmla="*/ 248 w 324"/>
                    <a:gd name="T11" fmla="*/ 87 h 264"/>
                    <a:gd name="T12" fmla="*/ 262 w 324"/>
                    <a:gd name="T13" fmla="*/ 68 h 264"/>
                    <a:gd name="T14" fmla="*/ 267 w 324"/>
                    <a:gd name="T15" fmla="*/ 50 h 264"/>
                    <a:gd name="T16" fmla="*/ 264 w 324"/>
                    <a:gd name="T17" fmla="*/ 34 h 264"/>
                    <a:gd name="T18" fmla="*/ 266 w 324"/>
                    <a:gd name="T19" fmla="*/ 17 h 264"/>
                    <a:gd name="T20" fmla="*/ 270 w 324"/>
                    <a:gd name="T21" fmla="*/ 5 h 264"/>
                    <a:gd name="T22" fmla="*/ 276 w 324"/>
                    <a:gd name="T23" fmla="*/ 14 h 264"/>
                    <a:gd name="T24" fmla="*/ 283 w 324"/>
                    <a:gd name="T25" fmla="*/ 22 h 264"/>
                    <a:gd name="T26" fmla="*/ 280 w 324"/>
                    <a:gd name="T27" fmla="*/ 37 h 264"/>
                    <a:gd name="T28" fmla="*/ 275 w 324"/>
                    <a:gd name="T29" fmla="*/ 48 h 264"/>
                    <a:gd name="T30" fmla="*/ 279 w 324"/>
                    <a:gd name="T31" fmla="*/ 62 h 264"/>
                    <a:gd name="T32" fmla="*/ 287 w 324"/>
                    <a:gd name="T33" fmla="*/ 57 h 264"/>
                    <a:gd name="T34" fmla="*/ 286 w 324"/>
                    <a:gd name="T35" fmla="*/ 75 h 264"/>
                    <a:gd name="T36" fmla="*/ 304 w 324"/>
                    <a:gd name="T37" fmla="*/ 78 h 264"/>
                    <a:gd name="T38" fmla="*/ 323 w 324"/>
                    <a:gd name="T39" fmla="*/ 72 h 264"/>
                    <a:gd name="T40" fmla="*/ 316 w 324"/>
                    <a:gd name="T41" fmla="*/ 82 h 264"/>
                    <a:gd name="T42" fmla="*/ 302 w 324"/>
                    <a:gd name="T43" fmla="*/ 97 h 264"/>
                    <a:gd name="T44" fmla="*/ 294 w 324"/>
                    <a:gd name="T45" fmla="*/ 102 h 264"/>
                    <a:gd name="T46" fmla="*/ 266 w 324"/>
                    <a:gd name="T47" fmla="*/ 121 h 264"/>
                    <a:gd name="T48" fmla="*/ 244 w 324"/>
                    <a:gd name="T49" fmla="*/ 138 h 264"/>
                    <a:gd name="T50" fmla="*/ 226 w 324"/>
                    <a:gd name="T51" fmla="*/ 151 h 264"/>
                    <a:gd name="T52" fmla="*/ 299 w 324"/>
                    <a:gd name="T53" fmla="*/ 75 h 264"/>
                    <a:gd name="T54" fmla="*/ 279 w 324"/>
                    <a:gd name="T55" fmla="*/ 47 h 264"/>
                    <a:gd name="T56" fmla="*/ 293 w 324"/>
                    <a:gd name="T57" fmla="*/ 44 h 264"/>
                    <a:gd name="T58" fmla="*/ 263 w 324"/>
                    <a:gd name="T59" fmla="*/ 0 h 264"/>
                    <a:gd name="T60" fmla="*/ 13 w 324"/>
                    <a:gd name="T61" fmla="*/ 252 h 264"/>
                    <a:gd name="T62" fmla="*/ 8 w 324"/>
                    <a:gd name="T63" fmla="*/ 261 h 264"/>
                    <a:gd name="T64" fmla="*/ 27 w 324"/>
                    <a:gd name="T65" fmla="*/ 251 h 264"/>
                    <a:gd name="T66" fmla="*/ 16 w 324"/>
                    <a:gd name="T67" fmla="*/ 244 h 264"/>
                    <a:gd name="T68" fmla="*/ 5 w 324"/>
                    <a:gd name="T69" fmla="*/ 240 h 264"/>
                    <a:gd name="T70" fmla="*/ 13 w 324"/>
                    <a:gd name="T71" fmla="*/ 229 h 264"/>
                    <a:gd name="T72" fmla="*/ 22 w 324"/>
                    <a:gd name="T73" fmla="*/ 226 h 264"/>
                    <a:gd name="T74" fmla="*/ 36 w 324"/>
                    <a:gd name="T75" fmla="*/ 216 h 264"/>
                    <a:gd name="T76" fmla="*/ 59 w 324"/>
                    <a:gd name="T77" fmla="*/ 204 h 264"/>
                    <a:gd name="T78" fmla="*/ 77 w 324"/>
                    <a:gd name="T79" fmla="*/ 197 h 264"/>
                    <a:gd name="T80" fmla="*/ 100 w 324"/>
                    <a:gd name="T81" fmla="*/ 188 h 264"/>
                    <a:gd name="T82" fmla="*/ 124 w 324"/>
                    <a:gd name="T83" fmla="*/ 177 h 264"/>
                    <a:gd name="T84" fmla="*/ 146 w 324"/>
                    <a:gd name="T85" fmla="*/ 158 h 264"/>
                    <a:gd name="T86" fmla="*/ 172 w 324"/>
                    <a:gd name="T87" fmla="*/ 139 h 264"/>
                    <a:gd name="T88" fmla="*/ 187 w 324"/>
                    <a:gd name="T89" fmla="*/ 131 h 264"/>
                    <a:gd name="T90" fmla="*/ 188 w 324"/>
                    <a:gd name="T91" fmla="*/ 139 h 264"/>
                    <a:gd name="T92" fmla="*/ 197 w 324"/>
                    <a:gd name="T93" fmla="*/ 141 h 264"/>
                    <a:gd name="T94" fmla="*/ 203 w 324"/>
                    <a:gd name="T95" fmla="*/ 144 h 264"/>
                    <a:gd name="T96" fmla="*/ 200 w 324"/>
                    <a:gd name="T97" fmla="*/ 148 h 264"/>
                    <a:gd name="T98" fmla="*/ 184 w 324"/>
                    <a:gd name="T99" fmla="*/ 165 h 264"/>
                    <a:gd name="T100" fmla="*/ 169 w 324"/>
                    <a:gd name="T101" fmla="*/ 177 h 264"/>
                    <a:gd name="T102" fmla="*/ 150 w 324"/>
                    <a:gd name="T103" fmla="*/ 186 h 264"/>
                    <a:gd name="T104" fmla="*/ 142 w 324"/>
                    <a:gd name="T105" fmla="*/ 197 h 264"/>
                    <a:gd name="T106" fmla="*/ 121 w 324"/>
                    <a:gd name="T107" fmla="*/ 202 h 264"/>
                    <a:gd name="T108" fmla="*/ 100 w 324"/>
                    <a:gd name="T109" fmla="*/ 218 h 264"/>
                    <a:gd name="T110" fmla="*/ 80 w 324"/>
                    <a:gd name="T111" fmla="*/ 231 h 264"/>
                    <a:gd name="T112" fmla="*/ 62 w 324"/>
                    <a:gd name="T113" fmla="*/ 242 h 264"/>
                    <a:gd name="T114" fmla="*/ 46 w 324"/>
                    <a:gd name="T115" fmla="*/ 251 h 264"/>
                    <a:gd name="T116" fmla="*/ 8 w 324"/>
                    <a:gd name="T117" fmla="*/ 233 h 264"/>
                    <a:gd name="T118" fmla="*/ 207 w 324"/>
                    <a:gd name="T119" fmla="*/ 144 h 264"/>
                    <a:gd name="T120" fmla="*/ 201 w 324"/>
                    <a:gd name="T121" fmla="*/ 138 h 2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4" h="264">
                      <a:moveTo>
                        <a:pt x="215" y="155"/>
                      </a:moveTo>
                      <a:lnTo>
                        <a:pt x="214" y="154"/>
                      </a:lnTo>
                      <a:lnTo>
                        <a:pt x="214" y="153"/>
                      </a:lnTo>
                      <a:lnTo>
                        <a:pt x="215" y="151"/>
                      </a:lnTo>
                      <a:lnTo>
                        <a:pt x="216" y="149"/>
                      </a:lnTo>
                      <a:lnTo>
                        <a:pt x="216" y="148"/>
                      </a:lnTo>
                      <a:lnTo>
                        <a:pt x="215" y="148"/>
                      </a:lnTo>
                      <a:lnTo>
                        <a:pt x="213" y="149"/>
                      </a:lnTo>
                      <a:lnTo>
                        <a:pt x="210" y="151"/>
                      </a:lnTo>
                      <a:lnTo>
                        <a:pt x="213" y="147"/>
                      </a:lnTo>
                      <a:lnTo>
                        <a:pt x="214" y="146"/>
                      </a:lnTo>
                      <a:lnTo>
                        <a:pt x="215" y="145"/>
                      </a:lnTo>
                      <a:lnTo>
                        <a:pt x="213" y="145"/>
                      </a:lnTo>
                      <a:lnTo>
                        <a:pt x="213" y="146"/>
                      </a:lnTo>
                      <a:lnTo>
                        <a:pt x="210" y="147"/>
                      </a:lnTo>
                      <a:lnTo>
                        <a:pt x="209" y="148"/>
                      </a:lnTo>
                      <a:lnTo>
                        <a:pt x="209" y="146"/>
                      </a:lnTo>
                      <a:lnTo>
                        <a:pt x="209" y="145"/>
                      </a:lnTo>
                      <a:lnTo>
                        <a:pt x="210" y="145"/>
                      </a:lnTo>
                      <a:lnTo>
                        <a:pt x="213" y="144"/>
                      </a:lnTo>
                      <a:lnTo>
                        <a:pt x="215" y="142"/>
                      </a:lnTo>
                      <a:lnTo>
                        <a:pt x="217" y="141"/>
                      </a:lnTo>
                      <a:lnTo>
                        <a:pt x="217" y="141"/>
                      </a:lnTo>
                      <a:lnTo>
                        <a:pt x="217" y="140"/>
                      </a:lnTo>
                      <a:lnTo>
                        <a:pt x="220" y="139"/>
                      </a:lnTo>
                      <a:lnTo>
                        <a:pt x="221" y="137"/>
                      </a:lnTo>
                      <a:lnTo>
                        <a:pt x="222" y="137"/>
                      </a:lnTo>
                      <a:lnTo>
                        <a:pt x="223" y="135"/>
                      </a:lnTo>
                      <a:lnTo>
                        <a:pt x="226" y="135"/>
                      </a:lnTo>
                      <a:lnTo>
                        <a:pt x="226" y="134"/>
                      </a:lnTo>
                      <a:lnTo>
                        <a:pt x="229" y="132"/>
                      </a:lnTo>
                      <a:lnTo>
                        <a:pt x="232" y="129"/>
                      </a:lnTo>
                      <a:lnTo>
                        <a:pt x="233" y="127"/>
                      </a:lnTo>
                      <a:lnTo>
                        <a:pt x="232" y="125"/>
                      </a:lnTo>
                      <a:lnTo>
                        <a:pt x="232" y="125"/>
                      </a:lnTo>
                      <a:lnTo>
                        <a:pt x="234" y="124"/>
                      </a:lnTo>
                      <a:lnTo>
                        <a:pt x="236" y="122"/>
                      </a:lnTo>
                      <a:lnTo>
                        <a:pt x="232" y="121"/>
                      </a:lnTo>
                      <a:lnTo>
                        <a:pt x="232" y="120"/>
                      </a:lnTo>
                      <a:lnTo>
                        <a:pt x="230" y="119"/>
                      </a:lnTo>
                      <a:lnTo>
                        <a:pt x="229" y="118"/>
                      </a:lnTo>
                      <a:lnTo>
                        <a:pt x="228" y="117"/>
                      </a:lnTo>
                      <a:lnTo>
                        <a:pt x="226" y="118"/>
                      </a:lnTo>
                      <a:lnTo>
                        <a:pt x="224" y="118"/>
                      </a:lnTo>
                      <a:lnTo>
                        <a:pt x="226" y="115"/>
                      </a:lnTo>
                      <a:lnTo>
                        <a:pt x="224" y="115"/>
                      </a:lnTo>
                      <a:lnTo>
                        <a:pt x="226" y="113"/>
                      </a:lnTo>
                      <a:lnTo>
                        <a:pt x="224" y="113"/>
                      </a:lnTo>
                      <a:lnTo>
                        <a:pt x="222" y="113"/>
                      </a:lnTo>
                      <a:lnTo>
                        <a:pt x="222" y="112"/>
                      </a:lnTo>
                      <a:lnTo>
                        <a:pt x="221" y="111"/>
                      </a:lnTo>
                      <a:lnTo>
                        <a:pt x="221" y="108"/>
                      </a:lnTo>
                      <a:lnTo>
                        <a:pt x="221" y="105"/>
                      </a:lnTo>
                      <a:lnTo>
                        <a:pt x="222" y="105"/>
                      </a:lnTo>
                      <a:lnTo>
                        <a:pt x="224" y="104"/>
                      </a:lnTo>
                      <a:lnTo>
                        <a:pt x="226" y="102"/>
                      </a:lnTo>
                      <a:lnTo>
                        <a:pt x="227" y="101"/>
                      </a:lnTo>
                      <a:lnTo>
                        <a:pt x="228" y="101"/>
                      </a:lnTo>
                      <a:lnTo>
                        <a:pt x="232" y="100"/>
                      </a:lnTo>
                      <a:lnTo>
                        <a:pt x="234" y="100"/>
                      </a:lnTo>
                      <a:lnTo>
                        <a:pt x="236" y="100"/>
                      </a:lnTo>
                      <a:lnTo>
                        <a:pt x="236" y="99"/>
                      </a:lnTo>
                      <a:lnTo>
                        <a:pt x="237" y="99"/>
                      </a:lnTo>
                      <a:lnTo>
                        <a:pt x="240" y="99"/>
                      </a:lnTo>
                      <a:lnTo>
                        <a:pt x="241" y="97"/>
                      </a:lnTo>
                      <a:lnTo>
                        <a:pt x="244" y="95"/>
                      </a:lnTo>
                      <a:lnTo>
                        <a:pt x="243" y="93"/>
                      </a:lnTo>
                      <a:lnTo>
                        <a:pt x="244" y="92"/>
                      </a:lnTo>
                      <a:lnTo>
                        <a:pt x="244" y="89"/>
                      </a:lnTo>
                      <a:lnTo>
                        <a:pt x="246" y="89"/>
                      </a:lnTo>
                      <a:lnTo>
                        <a:pt x="247" y="89"/>
                      </a:lnTo>
                      <a:lnTo>
                        <a:pt x="248" y="87"/>
                      </a:lnTo>
                      <a:lnTo>
                        <a:pt x="250" y="85"/>
                      </a:lnTo>
                      <a:lnTo>
                        <a:pt x="254" y="84"/>
                      </a:lnTo>
                      <a:lnTo>
                        <a:pt x="254" y="81"/>
                      </a:lnTo>
                      <a:lnTo>
                        <a:pt x="255" y="79"/>
                      </a:lnTo>
                      <a:lnTo>
                        <a:pt x="257" y="78"/>
                      </a:lnTo>
                      <a:lnTo>
                        <a:pt x="259" y="77"/>
                      </a:lnTo>
                      <a:lnTo>
                        <a:pt x="260" y="73"/>
                      </a:lnTo>
                      <a:lnTo>
                        <a:pt x="261" y="74"/>
                      </a:lnTo>
                      <a:lnTo>
                        <a:pt x="261" y="72"/>
                      </a:lnTo>
                      <a:lnTo>
                        <a:pt x="261" y="71"/>
                      </a:lnTo>
                      <a:lnTo>
                        <a:pt x="262" y="71"/>
                      </a:lnTo>
                      <a:lnTo>
                        <a:pt x="262" y="68"/>
                      </a:lnTo>
                      <a:lnTo>
                        <a:pt x="263" y="66"/>
                      </a:lnTo>
                      <a:lnTo>
                        <a:pt x="263" y="64"/>
                      </a:lnTo>
                      <a:lnTo>
                        <a:pt x="263" y="64"/>
                      </a:lnTo>
                      <a:lnTo>
                        <a:pt x="262" y="61"/>
                      </a:lnTo>
                      <a:lnTo>
                        <a:pt x="264" y="60"/>
                      </a:lnTo>
                      <a:lnTo>
                        <a:pt x="264" y="58"/>
                      </a:lnTo>
                      <a:lnTo>
                        <a:pt x="266" y="58"/>
                      </a:lnTo>
                      <a:lnTo>
                        <a:pt x="266" y="55"/>
                      </a:lnTo>
                      <a:lnTo>
                        <a:pt x="266" y="54"/>
                      </a:lnTo>
                      <a:lnTo>
                        <a:pt x="266" y="53"/>
                      </a:lnTo>
                      <a:lnTo>
                        <a:pt x="266" y="51"/>
                      </a:lnTo>
                      <a:lnTo>
                        <a:pt x="267" y="50"/>
                      </a:lnTo>
                      <a:lnTo>
                        <a:pt x="266" y="48"/>
                      </a:lnTo>
                      <a:lnTo>
                        <a:pt x="267" y="46"/>
                      </a:lnTo>
                      <a:lnTo>
                        <a:pt x="267" y="46"/>
                      </a:lnTo>
                      <a:lnTo>
                        <a:pt x="266" y="46"/>
                      </a:lnTo>
                      <a:lnTo>
                        <a:pt x="264" y="45"/>
                      </a:lnTo>
                      <a:lnTo>
                        <a:pt x="264" y="44"/>
                      </a:lnTo>
                      <a:lnTo>
                        <a:pt x="264" y="42"/>
                      </a:lnTo>
                      <a:lnTo>
                        <a:pt x="264" y="40"/>
                      </a:lnTo>
                      <a:lnTo>
                        <a:pt x="266" y="39"/>
                      </a:lnTo>
                      <a:lnTo>
                        <a:pt x="266" y="38"/>
                      </a:lnTo>
                      <a:lnTo>
                        <a:pt x="266" y="35"/>
                      </a:lnTo>
                      <a:lnTo>
                        <a:pt x="264" y="34"/>
                      </a:lnTo>
                      <a:lnTo>
                        <a:pt x="263" y="33"/>
                      </a:lnTo>
                      <a:lnTo>
                        <a:pt x="264" y="31"/>
                      </a:lnTo>
                      <a:lnTo>
                        <a:pt x="263" y="30"/>
                      </a:lnTo>
                      <a:lnTo>
                        <a:pt x="263" y="28"/>
                      </a:lnTo>
                      <a:lnTo>
                        <a:pt x="263" y="26"/>
                      </a:lnTo>
                      <a:lnTo>
                        <a:pt x="262" y="25"/>
                      </a:lnTo>
                      <a:lnTo>
                        <a:pt x="262" y="24"/>
                      </a:lnTo>
                      <a:lnTo>
                        <a:pt x="262" y="22"/>
                      </a:lnTo>
                      <a:lnTo>
                        <a:pt x="263" y="20"/>
                      </a:lnTo>
                      <a:lnTo>
                        <a:pt x="262" y="20"/>
                      </a:lnTo>
                      <a:lnTo>
                        <a:pt x="264" y="18"/>
                      </a:lnTo>
                      <a:lnTo>
                        <a:pt x="266" y="17"/>
                      </a:lnTo>
                      <a:lnTo>
                        <a:pt x="266" y="14"/>
                      </a:lnTo>
                      <a:lnTo>
                        <a:pt x="264" y="13"/>
                      </a:lnTo>
                      <a:lnTo>
                        <a:pt x="264" y="11"/>
                      </a:lnTo>
                      <a:lnTo>
                        <a:pt x="264" y="10"/>
                      </a:lnTo>
                      <a:lnTo>
                        <a:pt x="264" y="7"/>
                      </a:lnTo>
                      <a:lnTo>
                        <a:pt x="264" y="6"/>
                      </a:lnTo>
                      <a:lnTo>
                        <a:pt x="264" y="5"/>
                      </a:lnTo>
                      <a:lnTo>
                        <a:pt x="266" y="2"/>
                      </a:lnTo>
                      <a:lnTo>
                        <a:pt x="267" y="2"/>
                      </a:lnTo>
                      <a:lnTo>
                        <a:pt x="268" y="2"/>
                      </a:lnTo>
                      <a:lnTo>
                        <a:pt x="269" y="2"/>
                      </a:lnTo>
                      <a:lnTo>
                        <a:pt x="270" y="5"/>
                      </a:lnTo>
                      <a:lnTo>
                        <a:pt x="270" y="5"/>
                      </a:lnTo>
                      <a:lnTo>
                        <a:pt x="269" y="6"/>
                      </a:lnTo>
                      <a:lnTo>
                        <a:pt x="269" y="7"/>
                      </a:lnTo>
                      <a:lnTo>
                        <a:pt x="268" y="11"/>
                      </a:lnTo>
                      <a:lnTo>
                        <a:pt x="269" y="13"/>
                      </a:lnTo>
                      <a:lnTo>
                        <a:pt x="269" y="13"/>
                      </a:lnTo>
                      <a:lnTo>
                        <a:pt x="271" y="12"/>
                      </a:lnTo>
                      <a:lnTo>
                        <a:pt x="274" y="14"/>
                      </a:lnTo>
                      <a:lnTo>
                        <a:pt x="274" y="15"/>
                      </a:lnTo>
                      <a:lnTo>
                        <a:pt x="274" y="17"/>
                      </a:lnTo>
                      <a:lnTo>
                        <a:pt x="275" y="15"/>
                      </a:lnTo>
                      <a:lnTo>
                        <a:pt x="276" y="14"/>
                      </a:lnTo>
                      <a:lnTo>
                        <a:pt x="276" y="15"/>
                      </a:lnTo>
                      <a:lnTo>
                        <a:pt x="275" y="17"/>
                      </a:lnTo>
                      <a:lnTo>
                        <a:pt x="275" y="17"/>
                      </a:lnTo>
                      <a:lnTo>
                        <a:pt x="277" y="17"/>
                      </a:lnTo>
                      <a:lnTo>
                        <a:pt x="279" y="17"/>
                      </a:lnTo>
                      <a:lnTo>
                        <a:pt x="279" y="18"/>
                      </a:lnTo>
                      <a:lnTo>
                        <a:pt x="280" y="19"/>
                      </a:lnTo>
                      <a:lnTo>
                        <a:pt x="280" y="20"/>
                      </a:lnTo>
                      <a:lnTo>
                        <a:pt x="281" y="20"/>
                      </a:lnTo>
                      <a:lnTo>
                        <a:pt x="283" y="20"/>
                      </a:lnTo>
                      <a:lnTo>
                        <a:pt x="284" y="21"/>
                      </a:lnTo>
                      <a:lnTo>
                        <a:pt x="283" y="22"/>
                      </a:lnTo>
                      <a:lnTo>
                        <a:pt x="284" y="24"/>
                      </a:lnTo>
                      <a:lnTo>
                        <a:pt x="284" y="26"/>
                      </a:lnTo>
                      <a:lnTo>
                        <a:pt x="284" y="27"/>
                      </a:lnTo>
                      <a:lnTo>
                        <a:pt x="283" y="30"/>
                      </a:lnTo>
                      <a:lnTo>
                        <a:pt x="283" y="30"/>
                      </a:lnTo>
                      <a:lnTo>
                        <a:pt x="282" y="32"/>
                      </a:lnTo>
                      <a:lnTo>
                        <a:pt x="283" y="33"/>
                      </a:lnTo>
                      <a:lnTo>
                        <a:pt x="282" y="32"/>
                      </a:lnTo>
                      <a:lnTo>
                        <a:pt x="280" y="34"/>
                      </a:lnTo>
                      <a:lnTo>
                        <a:pt x="281" y="34"/>
                      </a:lnTo>
                      <a:lnTo>
                        <a:pt x="279" y="35"/>
                      </a:lnTo>
                      <a:lnTo>
                        <a:pt x="280" y="37"/>
                      </a:lnTo>
                      <a:lnTo>
                        <a:pt x="277" y="37"/>
                      </a:lnTo>
                      <a:lnTo>
                        <a:pt x="277" y="38"/>
                      </a:lnTo>
                      <a:lnTo>
                        <a:pt x="277" y="40"/>
                      </a:lnTo>
                      <a:lnTo>
                        <a:pt x="279" y="41"/>
                      </a:lnTo>
                      <a:lnTo>
                        <a:pt x="280" y="41"/>
                      </a:lnTo>
                      <a:lnTo>
                        <a:pt x="280" y="42"/>
                      </a:lnTo>
                      <a:lnTo>
                        <a:pt x="279" y="44"/>
                      </a:lnTo>
                      <a:lnTo>
                        <a:pt x="279" y="44"/>
                      </a:lnTo>
                      <a:lnTo>
                        <a:pt x="277" y="45"/>
                      </a:lnTo>
                      <a:lnTo>
                        <a:pt x="276" y="46"/>
                      </a:lnTo>
                      <a:lnTo>
                        <a:pt x="275" y="47"/>
                      </a:lnTo>
                      <a:lnTo>
                        <a:pt x="275" y="48"/>
                      </a:lnTo>
                      <a:lnTo>
                        <a:pt x="274" y="48"/>
                      </a:lnTo>
                      <a:lnTo>
                        <a:pt x="274" y="51"/>
                      </a:lnTo>
                      <a:lnTo>
                        <a:pt x="274" y="54"/>
                      </a:lnTo>
                      <a:lnTo>
                        <a:pt x="275" y="54"/>
                      </a:lnTo>
                      <a:lnTo>
                        <a:pt x="276" y="53"/>
                      </a:lnTo>
                      <a:lnTo>
                        <a:pt x="279" y="53"/>
                      </a:lnTo>
                      <a:lnTo>
                        <a:pt x="277" y="54"/>
                      </a:lnTo>
                      <a:lnTo>
                        <a:pt x="277" y="55"/>
                      </a:lnTo>
                      <a:lnTo>
                        <a:pt x="277" y="57"/>
                      </a:lnTo>
                      <a:lnTo>
                        <a:pt x="277" y="59"/>
                      </a:lnTo>
                      <a:lnTo>
                        <a:pt x="279" y="61"/>
                      </a:lnTo>
                      <a:lnTo>
                        <a:pt x="279" y="62"/>
                      </a:lnTo>
                      <a:lnTo>
                        <a:pt x="280" y="60"/>
                      </a:lnTo>
                      <a:lnTo>
                        <a:pt x="280" y="58"/>
                      </a:lnTo>
                      <a:lnTo>
                        <a:pt x="282" y="57"/>
                      </a:lnTo>
                      <a:lnTo>
                        <a:pt x="283" y="54"/>
                      </a:lnTo>
                      <a:lnTo>
                        <a:pt x="284" y="52"/>
                      </a:lnTo>
                      <a:lnTo>
                        <a:pt x="284" y="50"/>
                      </a:lnTo>
                      <a:lnTo>
                        <a:pt x="286" y="47"/>
                      </a:lnTo>
                      <a:lnTo>
                        <a:pt x="286" y="47"/>
                      </a:lnTo>
                      <a:lnTo>
                        <a:pt x="288" y="48"/>
                      </a:lnTo>
                      <a:lnTo>
                        <a:pt x="287" y="51"/>
                      </a:lnTo>
                      <a:lnTo>
                        <a:pt x="288" y="54"/>
                      </a:lnTo>
                      <a:lnTo>
                        <a:pt x="287" y="57"/>
                      </a:lnTo>
                      <a:lnTo>
                        <a:pt x="288" y="58"/>
                      </a:lnTo>
                      <a:lnTo>
                        <a:pt x="287" y="59"/>
                      </a:lnTo>
                      <a:lnTo>
                        <a:pt x="286" y="60"/>
                      </a:lnTo>
                      <a:lnTo>
                        <a:pt x="286" y="62"/>
                      </a:lnTo>
                      <a:lnTo>
                        <a:pt x="284" y="64"/>
                      </a:lnTo>
                      <a:lnTo>
                        <a:pt x="283" y="66"/>
                      </a:lnTo>
                      <a:lnTo>
                        <a:pt x="283" y="68"/>
                      </a:lnTo>
                      <a:lnTo>
                        <a:pt x="282" y="69"/>
                      </a:lnTo>
                      <a:lnTo>
                        <a:pt x="283" y="71"/>
                      </a:lnTo>
                      <a:lnTo>
                        <a:pt x="286" y="73"/>
                      </a:lnTo>
                      <a:lnTo>
                        <a:pt x="286" y="74"/>
                      </a:lnTo>
                      <a:lnTo>
                        <a:pt x="286" y="75"/>
                      </a:lnTo>
                      <a:lnTo>
                        <a:pt x="288" y="73"/>
                      </a:lnTo>
                      <a:lnTo>
                        <a:pt x="290" y="75"/>
                      </a:lnTo>
                      <a:lnTo>
                        <a:pt x="293" y="77"/>
                      </a:lnTo>
                      <a:lnTo>
                        <a:pt x="295" y="77"/>
                      </a:lnTo>
                      <a:lnTo>
                        <a:pt x="294" y="78"/>
                      </a:lnTo>
                      <a:lnTo>
                        <a:pt x="295" y="79"/>
                      </a:lnTo>
                      <a:lnTo>
                        <a:pt x="296" y="79"/>
                      </a:lnTo>
                      <a:lnTo>
                        <a:pt x="297" y="79"/>
                      </a:lnTo>
                      <a:lnTo>
                        <a:pt x="300" y="79"/>
                      </a:lnTo>
                      <a:lnTo>
                        <a:pt x="302" y="79"/>
                      </a:lnTo>
                      <a:lnTo>
                        <a:pt x="303" y="79"/>
                      </a:lnTo>
                      <a:lnTo>
                        <a:pt x="304" y="78"/>
                      </a:lnTo>
                      <a:lnTo>
                        <a:pt x="306" y="75"/>
                      </a:lnTo>
                      <a:lnTo>
                        <a:pt x="308" y="74"/>
                      </a:lnTo>
                      <a:lnTo>
                        <a:pt x="310" y="73"/>
                      </a:lnTo>
                      <a:lnTo>
                        <a:pt x="314" y="72"/>
                      </a:lnTo>
                      <a:lnTo>
                        <a:pt x="316" y="72"/>
                      </a:lnTo>
                      <a:lnTo>
                        <a:pt x="317" y="71"/>
                      </a:lnTo>
                      <a:lnTo>
                        <a:pt x="320" y="69"/>
                      </a:lnTo>
                      <a:lnTo>
                        <a:pt x="321" y="69"/>
                      </a:lnTo>
                      <a:lnTo>
                        <a:pt x="322" y="69"/>
                      </a:lnTo>
                      <a:lnTo>
                        <a:pt x="324" y="69"/>
                      </a:lnTo>
                      <a:lnTo>
                        <a:pt x="324" y="71"/>
                      </a:lnTo>
                      <a:lnTo>
                        <a:pt x="323" y="72"/>
                      </a:lnTo>
                      <a:lnTo>
                        <a:pt x="323" y="74"/>
                      </a:lnTo>
                      <a:lnTo>
                        <a:pt x="324" y="75"/>
                      </a:lnTo>
                      <a:lnTo>
                        <a:pt x="323" y="77"/>
                      </a:lnTo>
                      <a:lnTo>
                        <a:pt x="322" y="77"/>
                      </a:lnTo>
                      <a:lnTo>
                        <a:pt x="322" y="78"/>
                      </a:lnTo>
                      <a:lnTo>
                        <a:pt x="321" y="78"/>
                      </a:lnTo>
                      <a:lnTo>
                        <a:pt x="320" y="79"/>
                      </a:lnTo>
                      <a:lnTo>
                        <a:pt x="320" y="79"/>
                      </a:lnTo>
                      <a:lnTo>
                        <a:pt x="320" y="81"/>
                      </a:lnTo>
                      <a:lnTo>
                        <a:pt x="320" y="81"/>
                      </a:lnTo>
                      <a:lnTo>
                        <a:pt x="317" y="82"/>
                      </a:lnTo>
                      <a:lnTo>
                        <a:pt x="316" y="82"/>
                      </a:lnTo>
                      <a:lnTo>
                        <a:pt x="316" y="84"/>
                      </a:lnTo>
                      <a:lnTo>
                        <a:pt x="314" y="86"/>
                      </a:lnTo>
                      <a:lnTo>
                        <a:pt x="314" y="87"/>
                      </a:lnTo>
                      <a:lnTo>
                        <a:pt x="314" y="87"/>
                      </a:lnTo>
                      <a:lnTo>
                        <a:pt x="311" y="89"/>
                      </a:lnTo>
                      <a:lnTo>
                        <a:pt x="310" y="91"/>
                      </a:lnTo>
                      <a:lnTo>
                        <a:pt x="310" y="89"/>
                      </a:lnTo>
                      <a:lnTo>
                        <a:pt x="309" y="92"/>
                      </a:lnTo>
                      <a:lnTo>
                        <a:pt x="307" y="93"/>
                      </a:lnTo>
                      <a:lnTo>
                        <a:pt x="306" y="95"/>
                      </a:lnTo>
                      <a:lnTo>
                        <a:pt x="303" y="95"/>
                      </a:lnTo>
                      <a:lnTo>
                        <a:pt x="302" y="97"/>
                      </a:lnTo>
                      <a:lnTo>
                        <a:pt x="300" y="98"/>
                      </a:lnTo>
                      <a:lnTo>
                        <a:pt x="297" y="99"/>
                      </a:lnTo>
                      <a:lnTo>
                        <a:pt x="297" y="100"/>
                      </a:lnTo>
                      <a:lnTo>
                        <a:pt x="297" y="101"/>
                      </a:lnTo>
                      <a:lnTo>
                        <a:pt x="296" y="102"/>
                      </a:lnTo>
                      <a:lnTo>
                        <a:pt x="295" y="105"/>
                      </a:lnTo>
                      <a:lnTo>
                        <a:pt x="294" y="105"/>
                      </a:lnTo>
                      <a:lnTo>
                        <a:pt x="293" y="105"/>
                      </a:lnTo>
                      <a:lnTo>
                        <a:pt x="291" y="105"/>
                      </a:lnTo>
                      <a:lnTo>
                        <a:pt x="293" y="104"/>
                      </a:lnTo>
                      <a:lnTo>
                        <a:pt x="294" y="104"/>
                      </a:lnTo>
                      <a:lnTo>
                        <a:pt x="294" y="102"/>
                      </a:lnTo>
                      <a:lnTo>
                        <a:pt x="295" y="101"/>
                      </a:lnTo>
                      <a:lnTo>
                        <a:pt x="293" y="102"/>
                      </a:lnTo>
                      <a:lnTo>
                        <a:pt x="290" y="104"/>
                      </a:lnTo>
                      <a:lnTo>
                        <a:pt x="288" y="104"/>
                      </a:lnTo>
                      <a:lnTo>
                        <a:pt x="284" y="104"/>
                      </a:lnTo>
                      <a:lnTo>
                        <a:pt x="280" y="106"/>
                      </a:lnTo>
                      <a:lnTo>
                        <a:pt x="275" y="107"/>
                      </a:lnTo>
                      <a:lnTo>
                        <a:pt x="273" y="111"/>
                      </a:lnTo>
                      <a:lnTo>
                        <a:pt x="274" y="114"/>
                      </a:lnTo>
                      <a:lnTo>
                        <a:pt x="273" y="114"/>
                      </a:lnTo>
                      <a:lnTo>
                        <a:pt x="268" y="120"/>
                      </a:lnTo>
                      <a:lnTo>
                        <a:pt x="266" y="121"/>
                      </a:lnTo>
                      <a:lnTo>
                        <a:pt x="263" y="122"/>
                      </a:lnTo>
                      <a:lnTo>
                        <a:pt x="262" y="124"/>
                      </a:lnTo>
                      <a:lnTo>
                        <a:pt x="262" y="126"/>
                      </a:lnTo>
                      <a:lnTo>
                        <a:pt x="260" y="128"/>
                      </a:lnTo>
                      <a:lnTo>
                        <a:pt x="257" y="129"/>
                      </a:lnTo>
                      <a:lnTo>
                        <a:pt x="256" y="129"/>
                      </a:lnTo>
                      <a:lnTo>
                        <a:pt x="253" y="132"/>
                      </a:lnTo>
                      <a:lnTo>
                        <a:pt x="250" y="132"/>
                      </a:lnTo>
                      <a:lnTo>
                        <a:pt x="249" y="135"/>
                      </a:lnTo>
                      <a:lnTo>
                        <a:pt x="248" y="137"/>
                      </a:lnTo>
                      <a:lnTo>
                        <a:pt x="246" y="138"/>
                      </a:lnTo>
                      <a:lnTo>
                        <a:pt x="244" y="138"/>
                      </a:lnTo>
                      <a:lnTo>
                        <a:pt x="242" y="139"/>
                      </a:lnTo>
                      <a:lnTo>
                        <a:pt x="241" y="141"/>
                      </a:lnTo>
                      <a:lnTo>
                        <a:pt x="240" y="142"/>
                      </a:lnTo>
                      <a:lnTo>
                        <a:pt x="240" y="144"/>
                      </a:lnTo>
                      <a:lnTo>
                        <a:pt x="240" y="145"/>
                      </a:lnTo>
                      <a:lnTo>
                        <a:pt x="237" y="144"/>
                      </a:lnTo>
                      <a:lnTo>
                        <a:pt x="236" y="146"/>
                      </a:lnTo>
                      <a:lnTo>
                        <a:pt x="234" y="147"/>
                      </a:lnTo>
                      <a:lnTo>
                        <a:pt x="233" y="148"/>
                      </a:lnTo>
                      <a:lnTo>
                        <a:pt x="230" y="148"/>
                      </a:lnTo>
                      <a:lnTo>
                        <a:pt x="227" y="149"/>
                      </a:lnTo>
                      <a:lnTo>
                        <a:pt x="226" y="151"/>
                      </a:lnTo>
                      <a:lnTo>
                        <a:pt x="222" y="151"/>
                      </a:lnTo>
                      <a:lnTo>
                        <a:pt x="220" y="152"/>
                      </a:lnTo>
                      <a:lnTo>
                        <a:pt x="219" y="152"/>
                      </a:lnTo>
                      <a:lnTo>
                        <a:pt x="217" y="153"/>
                      </a:lnTo>
                      <a:lnTo>
                        <a:pt x="216" y="155"/>
                      </a:lnTo>
                      <a:lnTo>
                        <a:pt x="215" y="155"/>
                      </a:lnTo>
                      <a:lnTo>
                        <a:pt x="215" y="155"/>
                      </a:lnTo>
                      <a:close/>
                      <a:moveTo>
                        <a:pt x="299" y="75"/>
                      </a:moveTo>
                      <a:lnTo>
                        <a:pt x="299" y="77"/>
                      </a:lnTo>
                      <a:lnTo>
                        <a:pt x="299" y="75"/>
                      </a:lnTo>
                      <a:lnTo>
                        <a:pt x="299" y="75"/>
                      </a:lnTo>
                      <a:lnTo>
                        <a:pt x="299" y="75"/>
                      </a:lnTo>
                      <a:close/>
                      <a:moveTo>
                        <a:pt x="281" y="54"/>
                      </a:moveTo>
                      <a:lnTo>
                        <a:pt x="282" y="53"/>
                      </a:lnTo>
                      <a:lnTo>
                        <a:pt x="283" y="52"/>
                      </a:lnTo>
                      <a:lnTo>
                        <a:pt x="283" y="53"/>
                      </a:lnTo>
                      <a:lnTo>
                        <a:pt x="282" y="54"/>
                      </a:lnTo>
                      <a:lnTo>
                        <a:pt x="281" y="54"/>
                      </a:lnTo>
                      <a:lnTo>
                        <a:pt x="281" y="54"/>
                      </a:lnTo>
                      <a:close/>
                      <a:moveTo>
                        <a:pt x="279" y="47"/>
                      </a:moveTo>
                      <a:lnTo>
                        <a:pt x="280" y="46"/>
                      </a:lnTo>
                      <a:lnTo>
                        <a:pt x="280" y="46"/>
                      </a:lnTo>
                      <a:lnTo>
                        <a:pt x="280" y="47"/>
                      </a:lnTo>
                      <a:lnTo>
                        <a:pt x="279" y="47"/>
                      </a:lnTo>
                      <a:lnTo>
                        <a:pt x="279" y="47"/>
                      </a:lnTo>
                      <a:close/>
                      <a:moveTo>
                        <a:pt x="293" y="44"/>
                      </a:moveTo>
                      <a:lnTo>
                        <a:pt x="291" y="44"/>
                      </a:lnTo>
                      <a:lnTo>
                        <a:pt x="291" y="45"/>
                      </a:lnTo>
                      <a:lnTo>
                        <a:pt x="291" y="44"/>
                      </a:lnTo>
                      <a:lnTo>
                        <a:pt x="290" y="42"/>
                      </a:lnTo>
                      <a:lnTo>
                        <a:pt x="290" y="41"/>
                      </a:lnTo>
                      <a:lnTo>
                        <a:pt x="291" y="41"/>
                      </a:lnTo>
                      <a:lnTo>
                        <a:pt x="293" y="42"/>
                      </a:lnTo>
                      <a:lnTo>
                        <a:pt x="291" y="42"/>
                      </a:lnTo>
                      <a:lnTo>
                        <a:pt x="293" y="44"/>
                      </a:lnTo>
                      <a:lnTo>
                        <a:pt x="293" y="44"/>
                      </a:lnTo>
                      <a:lnTo>
                        <a:pt x="293" y="44"/>
                      </a:lnTo>
                      <a:close/>
                      <a:moveTo>
                        <a:pt x="288" y="42"/>
                      </a:moveTo>
                      <a:lnTo>
                        <a:pt x="288" y="42"/>
                      </a:lnTo>
                      <a:lnTo>
                        <a:pt x="288" y="41"/>
                      </a:lnTo>
                      <a:lnTo>
                        <a:pt x="290" y="44"/>
                      </a:lnTo>
                      <a:lnTo>
                        <a:pt x="289" y="44"/>
                      </a:lnTo>
                      <a:lnTo>
                        <a:pt x="289" y="42"/>
                      </a:lnTo>
                      <a:lnTo>
                        <a:pt x="288" y="42"/>
                      </a:lnTo>
                      <a:lnTo>
                        <a:pt x="288" y="42"/>
                      </a:lnTo>
                      <a:close/>
                      <a:moveTo>
                        <a:pt x="263" y="1"/>
                      </a:moveTo>
                      <a:lnTo>
                        <a:pt x="262" y="1"/>
                      </a:lnTo>
                      <a:lnTo>
                        <a:pt x="263" y="0"/>
                      </a:lnTo>
                      <a:lnTo>
                        <a:pt x="263" y="1"/>
                      </a:lnTo>
                      <a:lnTo>
                        <a:pt x="263" y="1"/>
                      </a:lnTo>
                      <a:close/>
                      <a:moveTo>
                        <a:pt x="1" y="262"/>
                      </a:moveTo>
                      <a:lnTo>
                        <a:pt x="0" y="261"/>
                      </a:lnTo>
                      <a:lnTo>
                        <a:pt x="2" y="260"/>
                      </a:lnTo>
                      <a:lnTo>
                        <a:pt x="5" y="259"/>
                      </a:lnTo>
                      <a:lnTo>
                        <a:pt x="6" y="259"/>
                      </a:lnTo>
                      <a:lnTo>
                        <a:pt x="7" y="258"/>
                      </a:lnTo>
                      <a:lnTo>
                        <a:pt x="8" y="256"/>
                      </a:lnTo>
                      <a:lnTo>
                        <a:pt x="10" y="255"/>
                      </a:lnTo>
                      <a:lnTo>
                        <a:pt x="12" y="254"/>
                      </a:lnTo>
                      <a:lnTo>
                        <a:pt x="13" y="252"/>
                      </a:lnTo>
                      <a:lnTo>
                        <a:pt x="15" y="251"/>
                      </a:lnTo>
                      <a:lnTo>
                        <a:pt x="16" y="252"/>
                      </a:lnTo>
                      <a:lnTo>
                        <a:pt x="16" y="254"/>
                      </a:lnTo>
                      <a:lnTo>
                        <a:pt x="15" y="256"/>
                      </a:lnTo>
                      <a:lnTo>
                        <a:pt x="14" y="258"/>
                      </a:lnTo>
                      <a:lnTo>
                        <a:pt x="15" y="258"/>
                      </a:lnTo>
                      <a:lnTo>
                        <a:pt x="15" y="259"/>
                      </a:lnTo>
                      <a:lnTo>
                        <a:pt x="14" y="259"/>
                      </a:lnTo>
                      <a:lnTo>
                        <a:pt x="12" y="260"/>
                      </a:lnTo>
                      <a:lnTo>
                        <a:pt x="9" y="260"/>
                      </a:lnTo>
                      <a:lnTo>
                        <a:pt x="9" y="261"/>
                      </a:lnTo>
                      <a:lnTo>
                        <a:pt x="8" y="261"/>
                      </a:lnTo>
                      <a:lnTo>
                        <a:pt x="6" y="262"/>
                      </a:lnTo>
                      <a:lnTo>
                        <a:pt x="3" y="264"/>
                      </a:lnTo>
                      <a:lnTo>
                        <a:pt x="2" y="264"/>
                      </a:lnTo>
                      <a:lnTo>
                        <a:pt x="1" y="264"/>
                      </a:lnTo>
                      <a:lnTo>
                        <a:pt x="1" y="264"/>
                      </a:lnTo>
                      <a:lnTo>
                        <a:pt x="1" y="262"/>
                      </a:lnTo>
                      <a:lnTo>
                        <a:pt x="1" y="262"/>
                      </a:lnTo>
                      <a:close/>
                      <a:moveTo>
                        <a:pt x="33" y="252"/>
                      </a:moveTo>
                      <a:lnTo>
                        <a:pt x="30" y="252"/>
                      </a:lnTo>
                      <a:lnTo>
                        <a:pt x="29" y="252"/>
                      </a:lnTo>
                      <a:lnTo>
                        <a:pt x="28" y="251"/>
                      </a:lnTo>
                      <a:lnTo>
                        <a:pt x="27" y="251"/>
                      </a:lnTo>
                      <a:lnTo>
                        <a:pt x="26" y="252"/>
                      </a:lnTo>
                      <a:lnTo>
                        <a:pt x="24" y="251"/>
                      </a:lnTo>
                      <a:lnTo>
                        <a:pt x="23" y="251"/>
                      </a:lnTo>
                      <a:lnTo>
                        <a:pt x="22" y="249"/>
                      </a:lnTo>
                      <a:lnTo>
                        <a:pt x="22" y="247"/>
                      </a:lnTo>
                      <a:lnTo>
                        <a:pt x="20" y="247"/>
                      </a:lnTo>
                      <a:lnTo>
                        <a:pt x="20" y="245"/>
                      </a:lnTo>
                      <a:lnTo>
                        <a:pt x="19" y="245"/>
                      </a:lnTo>
                      <a:lnTo>
                        <a:pt x="19" y="245"/>
                      </a:lnTo>
                      <a:lnTo>
                        <a:pt x="17" y="242"/>
                      </a:lnTo>
                      <a:lnTo>
                        <a:pt x="17" y="245"/>
                      </a:lnTo>
                      <a:lnTo>
                        <a:pt x="16" y="244"/>
                      </a:lnTo>
                      <a:lnTo>
                        <a:pt x="15" y="245"/>
                      </a:lnTo>
                      <a:lnTo>
                        <a:pt x="14" y="244"/>
                      </a:lnTo>
                      <a:lnTo>
                        <a:pt x="9" y="244"/>
                      </a:lnTo>
                      <a:lnTo>
                        <a:pt x="9" y="242"/>
                      </a:lnTo>
                      <a:lnTo>
                        <a:pt x="8" y="242"/>
                      </a:lnTo>
                      <a:lnTo>
                        <a:pt x="5" y="242"/>
                      </a:lnTo>
                      <a:lnTo>
                        <a:pt x="6" y="242"/>
                      </a:lnTo>
                      <a:lnTo>
                        <a:pt x="6" y="241"/>
                      </a:lnTo>
                      <a:lnTo>
                        <a:pt x="7" y="240"/>
                      </a:lnTo>
                      <a:lnTo>
                        <a:pt x="5" y="241"/>
                      </a:lnTo>
                      <a:lnTo>
                        <a:pt x="3" y="242"/>
                      </a:lnTo>
                      <a:lnTo>
                        <a:pt x="5" y="240"/>
                      </a:lnTo>
                      <a:lnTo>
                        <a:pt x="5" y="240"/>
                      </a:lnTo>
                      <a:lnTo>
                        <a:pt x="3" y="239"/>
                      </a:lnTo>
                      <a:lnTo>
                        <a:pt x="6" y="236"/>
                      </a:lnTo>
                      <a:lnTo>
                        <a:pt x="7" y="236"/>
                      </a:lnTo>
                      <a:lnTo>
                        <a:pt x="12" y="235"/>
                      </a:lnTo>
                      <a:lnTo>
                        <a:pt x="9" y="235"/>
                      </a:lnTo>
                      <a:lnTo>
                        <a:pt x="12" y="233"/>
                      </a:lnTo>
                      <a:lnTo>
                        <a:pt x="14" y="233"/>
                      </a:lnTo>
                      <a:lnTo>
                        <a:pt x="15" y="233"/>
                      </a:lnTo>
                      <a:lnTo>
                        <a:pt x="14" y="232"/>
                      </a:lnTo>
                      <a:lnTo>
                        <a:pt x="10" y="233"/>
                      </a:lnTo>
                      <a:lnTo>
                        <a:pt x="13" y="229"/>
                      </a:lnTo>
                      <a:lnTo>
                        <a:pt x="14" y="228"/>
                      </a:lnTo>
                      <a:lnTo>
                        <a:pt x="16" y="228"/>
                      </a:lnTo>
                      <a:lnTo>
                        <a:pt x="19" y="228"/>
                      </a:lnTo>
                      <a:lnTo>
                        <a:pt x="20" y="228"/>
                      </a:lnTo>
                      <a:lnTo>
                        <a:pt x="21" y="231"/>
                      </a:lnTo>
                      <a:lnTo>
                        <a:pt x="21" y="228"/>
                      </a:lnTo>
                      <a:lnTo>
                        <a:pt x="20" y="228"/>
                      </a:lnTo>
                      <a:lnTo>
                        <a:pt x="22" y="227"/>
                      </a:lnTo>
                      <a:lnTo>
                        <a:pt x="22" y="227"/>
                      </a:lnTo>
                      <a:lnTo>
                        <a:pt x="23" y="228"/>
                      </a:lnTo>
                      <a:lnTo>
                        <a:pt x="24" y="227"/>
                      </a:lnTo>
                      <a:lnTo>
                        <a:pt x="22" y="226"/>
                      </a:lnTo>
                      <a:lnTo>
                        <a:pt x="23" y="224"/>
                      </a:lnTo>
                      <a:lnTo>
                        <a:pt x="24" y="222"/>
                      </a:lnTo>
                      <a:lnTo>
                        <a:pt x="27" y="220"/>
                      </a:lnTo>
                      <a:lnTo>
                        <a:pt x="29" y="220"/>
                      </a:lnTo>
                      <a:lnTo>
                        <a:pt x="30" y="220"/>
                      </a:lnTo>
                      <a:lnTo>
                        <a:pt x="30" y="219"/>
                      </a:lnTo>
                      <a:lnTo>
                        <a:pt x="34" y="218"/>
                      </a:lnTo>
                      <a:lnTo>
                        <a:pt x="33" y="220"/>
                      </a:lnTo>
                      <a:lnTo>
                        <a:pt x="33" y="221"/>
                      </a:lnTo>
                      <a:lnTo>
                        <a:pt x="34" y="219"/>
                      </a:lnTo>
                      <a:lnTo>
                        <a:pt x="35" y="218"/>
                      </a:lnTo>
                      <a:lnTo>
                        <a:pt x="36" y="216"/>
                      </a:lnTo>
                      <a:lnTo>
                        <a:pt x="39" y="218"/>
                      </a:lnTo>
                      <a:lnTo>
                        <a:pt x="39" y="214"/>
                      </a:lnTo>
                      <a:lnTo>
                        <a:pt x="41" y="213"/>
                      </a:lnTo>
                      <a:lnTo>
                        <a:pt x="43" y="213"/>
                      </a:lnTo>
                      <a:lnTo>
                        <a:pt x="46" y="211"/>
                      </a:lnTo>
                      <a:lnTo>
                        <a:pt x="47" y="211"/>
                      </a:lnTo>
                      <a:lnTo>
                        <a:pt x="50" y="208"/>
                      </a:lnTo>
                      <a:lnTo>
                        <a:pt x="50" y="208"/>
                      </a:lnTo>
                      <a:lnTo>
                        <a:pt x="53" y="208"/>
                      </a:lnTo>
                      <a:lnTo>
                        <a:pt x="54" y="207"/>
                      </a:lnTo>
                      <a:lnTo>
                        <a:pt x="55" y="206"/>
                      </a:lnTo>
                      <a:lnTo>
                        <a:pt x="59" y="204"/>
                      </a:lnTo>
                      <a:lnTo>
                        <a:pt x="60" y="204"/>
                      </a:lnTo>
                      <a:lnTo>
                        <a:pt x="61" y="202"/>
                      </a:lnTo>
                      <a:lnTo>
                        <a:pt x="62" y="201"/>
                      </a:lnTo>
                      <a:lnTo>
                        <a:pt x="64" y="200"/>
                      </a:lnTo>
                      <a:lnTo>
                        <a:pt x="66" y="200"/>
                      </a:lnTo>
                      <a:lnTo>
                        <a:pt x="68" y="199"/>
                      </a:lnTo>
                      <a:lnTo>
                        <a:pt x="69" y="200"/>
                      </a:lnTo>
                      <a:lnTo>
                        <a:pt x="69" y="201"/>
                      </a:lnTo>
                      <a:lnTo>
                        <a:pt x="70" y="201"/>
                      </a:lnTo>
                      <a:lnTo>
                        <a:pt x="72" y="200"/>
                      </a:lnTo>
                      <a:lnTo>
                        <a:pt x="75" y="198"/>
                      </a:lnTo>
                      <a:lnTo>
                        <a:pt x="77" y="197"/>
                      </a:lnTo>
                      <a:lnTo>
                        <a:pt x="80" y="197"/>
                      </a:lnTo>
                      <a:lnTo>
                        <a:pt x="80" y="195"/>
                      </a:lnTo>
                      <a:lnTo>
                        <a:pt x="82" y="195"/>
                      </a:lnTo>
                      <a:lnTo>
                        <a:pt x="82" y="194"/>
                      </a:lnTo>
                      <a:lnTo>
                        <a:pt x="86" y="193"/>
                      </a:lnTo>
                      <a:lnTo>
                        <a:pt x="89" y="193"/>
                      </a:lnTo>
                      <a:lnTo>
                        <a:pt x="90" y="192"/>
                      </a:lnTo>
                      <a:lnTo>
                        <a:pt x="93" y="192"/>
                      </a:lnTo>
                      <a:lnTo>
                        <a:pt x="94" y="191"/>
                      </a:lnTo>
                      <a:lnTo>
                        <a:pt x="95" y="191"/>
                      </a:lnTo>
                      <a:lnTo>
                        <a:pt x="97" y="188"/>
                      </a:lnTo>
                      <a:lnTo>
                        <a:pt x="100" y="188"/>
                      </a:lnTo>
                      <a:lnTo>
                        <a:pt x="101" y="187"/>
                      </a:lnTo>
                      <a:lnTo>
                        <a:pt x="104" y="186"/>
                      </a:lnTo>
                      <a:lnTo>
                        <a:pt x="106" y="185"/>
                      </a:lnTo>
                      <a:lnTo>
                        <a:pt x="107" y="184"/>
                      </a:lnTo>
                      <a:lnTo>
                        <a:pt x="110" y="182"/>
                      </a:lnTo>
                      <a:lnTo>
                        <a:pt x="113" y="181"/>
                      </a:lnTo>
                      <a:lnTo>
                        <a:pt x="116" y="180"/>
                      </a:lnTo>
                      <a:lnTo>
                        <a:pt x="117" y="180"/>
                      </a:lnTo>
                      <a:lnTo>
                        <a:pt x="119" y="179"/>
                      </a:lnTo>
                      <a:lnTo>
                        <a:pt x="122" y="179"/>
                      </a:lnTo>
                      <a:lnTo>
                        <a:pt x="124" y="178"/>
                      </a:lnTo>
                      <a:lnTo>
                        <a:pt x="124" y="177"/>
                      </a:lnTo>
                      <a:lnTo>
                        <a:pt x="127" y="175"/>
                      </a:lnTo>
                      <a:lnTo>
                        <a:pt x="128" y="173"/>
                      </a:lnTo>
                      <a:lnTo>
                        <a:pt x="130" y="173"/>
                      </a:lnTo>
                      <a:lnTo>
                        <a:pt x="132" y="169"/>
                      </a:lnTo>
                      <a:lnTo>
                        <a:pt x="135" y="168"/>
                      </a:lnTo>
                      <a:lnTo>
                        <a:pt x="136" y="168"/>
                      </a:lnTo>
                      <a:lnTo>
                        <a:pt x="137" y="166"/>
                      </a:lnTo>
                      <a:lnTo>
                        <a:pt x="139" y="166"/>
                      </a:lnTo>
                      <a:lnTo>
                        <a:pt x="140" y="164"/>
                      </a:lnTo>
                      <a:lnTo>
                        <a:pt x="142" y="162"/>
                      </a:lnTo>
                      <a:lnTo>
                        <a:pt x="144" y="160"/>
                      </a:lnTo>
                      <a:lnTo>
                        <a:pt x="146" y="158"/>
                      </a:lnTo>
                      <a:lnTo>
                        <a:pt x="148" y="157"/>
                      </a:lnTo>
                      <a:lnTo>
                        <a:pt x="152" y="155"/>
                      </a:lnTo>
                      <a:lnTo>
                        <a:pt x="155" y="155"/>
                      </a:lnTo>
                      <a:lnTo>
                        <a:pt x="156" y="154"/>
                      </a:lnTo>
                      <a:lnTo>
                        <a:pt x="157" y="153"/>
                      </a:lnTo>
                      <a:lnTo>
                        <a:pt x="160" y="151"/>
                      </a:lnTo>
                      <a:lnTo>
                        <a:pt x="162" y="149"/>
                      </a:lnTo>
                      <a:lnTo>
                        <a:pt x="166" y="148"/>
                      </a:lnTo>
                      <a:lnTo>
                        <a:pt x="167" y="146"/>
                      </a:lnTo>
                      <a:lnTo>
                        <a:pt x="168" y="142"/>
                      </a:lnTo>
                      <a:lnTo>
                        <a:pt x="170" y="140"/>
                      </a:lnTo>
                      <a:lnTo>
                        <a:pt x="172" y="139"/>
                      </a:lnTo>
                      <a:lnTo>
                        <a:pt x="174" y="138"/>
                      </a:lnTo>
                      <a:lnTo>
                        <a:pt x="176" y="135"/>
                      </a:lnTo>
                      <a:lnTo>
                        <a:pt x="177" y="135"/>
                      </a:lnTo>
                      <a:lnTo>
                        <a:pt x="177" y="135"/>
                      </a:lnTo>
                      <a:lnTo>
                        <a:pt x="180" y="133"/>
                      </a:lnTo>
                      <a:lnTo>
                        <a:pt x="182" y="133"/>
                      </a:lnTo>
                      <a:lnTo>
                        <a:pt x="184" y="132"/>
                      </a:lnTo>
                      <a:lnTo>
                        <a:pt x="184" y="132"/>
                      </a:lnTo>
                      <a:lnTo>
                        <a:pt x="184" y="132"/>
                      </a:lnTo>
                      <a:lnTo>
                        <a:pt x="187" y="131"/>
                      </a:lnTo>
                      <a:lnTo>
                        <a:pt x="187" y="131"/>
                      </a:lnTo>
                      <a:lnTo>
                        <a:pt x="187" y="131"/>
                      </a:lnTo>
                      <a:lnTo>
                        <a:pt x="187" y="131"/>
                      </a:lnTo>
                      <a:lnTo>
                        <a:pt x="188" y="129"/>
                      </a:lnTo>
                      <a:lnTo>
                        <a:pt x="192" y="129"/>
                      </a:lnTo>
                      <a:lnTo>
                        <a:pt x="194" y="131"/>
                      </a:lnTo>
                      <a:lnTo>
                        <a:pt x="193" y="131"/>
                      </a:lnTo>
                      <a:lnTo>
                        <a:pt x="189" y="131"/>
                      </a:lnTo>
                      <a:lnTo>
                        <a:pt x="187" y="137"/>
                      </a:lnTo>
                      <a:lnTo>
                        <a:pt x="189" y="135"/>
                      </a:lnTo>
                      <a:lnTo>
                        <a:pt x="189" y="135"/>
                      </a:lnTo>
                      <a:lnTo>
                        <a:pt x="190" y="135"/>
                      </a:lnTo>
                      <a:lnTo>
                        <a:pt x="189" y="137"/>
                      </a:lnTo>
                      <a:lnTo>
                        <a:pt x="188" y="139"/>
                      </a:lnTo>
                      <a:lnTo>
                        <a:pt x="188" y="140"/>
                      </a:lnTo>
                      <a:lnTo>
                        <a:pt x="187" y="141"/>
                      </a:lnTo>
                      <a:lnTo>
                        <a:pt x="184" y="142"/>
                      </a:lnTo>
                      <a:lnTo>
                        <a:pt x="183" y="146"/>
                      </a:lnTo>
                      <a:lnTo>
                        <a:pt x="186" y="146"/>
                      </a:lnTo>
                      <a:lnTo>
                        <a:pt x="187" y="146"/>
                      </a:lnTo>
                      <a:lnTo>
                        <a:pt x="189" y="144"/>
                      </a:lnTo>
                      <a:lnTo>
                        <a:pt x="190" y="145"/>
                      </a:lnTo>
                      <a:lnTo>
                        <a:pt x="192" y="142"/>
                      </a:lnTo>
                      <a:lnTo>
                        <a:pt x="194" y="141"/>
                      </a:lnTo>
                      <a:lnTo>
                        <a:pt x="196" y="141"/>
                      </a:lnTo>
                      <a:lnTo>
                        <a:pt x="197" y="141"/>
                      </a:lnTo>
                      <a:lnTo>
                        <a:pt x="199" y="140"/>
                      </a:lnTo>
                      <a:lnTo>
                        <a:pt x="197" y="140"/>
                      </a:lnTo>
                      <a:lnTo>
                        <a:pt x="199" y="140"/>
                      </a:lnTo>
                      <a:lnTo>
                        <a:pt x="204" y="138"/>
                      </a:lnTo>
                      <a:lnTo>
                        <a:pt x="204" y="139"/>
                      </a:lnTo>
                      <a:lnTo>
                        <a:pt x="203" y="139"/>
                      </a:lnTo>
                      <a:lnTo>
                        <a:pt x="200" y="140"/>
                      </a:lnTo>
                      <a:lnTo>
                        <a:pt x="200" y="141"/>
                      </a:lnTo>
                      <a:lnTo>
                        <a:pt x="202" y="141"/>
                      </a:lnTo>
                      <a:lnTo>
                        <a:pt x="196" y="145"/>
                      </a:lnTo>
                      <a:lnTo>
                        <a:pt x="196" y="146"/>
                      </a:lnTo>
                      <a:lnTo>
                        <a:pt x="203" y="144"/>
                      </a:lnTo>
                      <a:lnTo>
                        <a:pt x="201" y="144"/>
                      </a:lnTo>
                      <a:lnTo>
                        <a:pt x="199" y="144"/>
                      </a:lnTo>
                      <a:lnTo>
                        <a:pt x="200" y="142"/>
                      </a:lnTo>
                      <a:lnTo>
                        <a:pt x="203" y="141"/>
                      </a:lnTo>
                      <a:lnTo>
                        <a:pt x="207" y="140"/>
                      </a:lnTo>
                      <a:lnTo>
                        <a:pt x="209" y="140"/>
                      </a:lnTo>
                      <a:lnTo>
                        <a:pt x="202" y="145"/>
                      </a:lnTo>
                      <a:lnTo>
                        <a:pt x="203" y="145"/>
                      </a:lnTo>
                      <a:lnTo>
                        <a:pt x="203" y="145"/>
                      </a:lnTo>
                      <a:lnTo>
                        <a:pt x="202" y="146"/>
                      </a:lnTo>
                      <a:lnTo>
                        <a:pt x="203" y="148"/>
                      </a:lnTo>
                      <a:lnTo>
                        <a:pt x="200" y="148"/>
                      </a:lnTo>
                      <a:lnTo>
                        <a:pt x="196" y="151"/>
                      </a:lnTo>
                      <a:lnTo>
                        <a:pt x="197" y="151"/>
                      </a:lnTo>
                      <a:lnTo>
                        <a:pt x="197" y="152"/>
                      </a:lnTo>
                      <a:lnTo>
                        <a:pt x="196" y="153"/>
                      </a:lnTo>
                      <a:lnTo>
                        <a:pt x="195" y="157"/>
                      </a:lnTo>
                      <a:lnTo>
                        <a:pt x="193" y="158"/>
                      </a:lnTo>
                      <a:lnTo>
                        <a:pt x="192" y="160"/>
                      </a:lnTo>
                      <a:lnTo>
                        <a:pt x="192" y="161"/>
                      </a:lnTo>
                      <a:lnTo>
                        <a:pt x="189" y="161"/>
                      </a:lnTo>
                      <a:lnTo>
                        <a:pt x="189" y="162"/>
                      </a:lnTo>
                      <a:lnTo>
                        <a:pt x="187" y="164"/>
                      </a:lnTo>
                      <a:lnTo>
                        <a:pt x="184" y="165"/>
                      </a:lnTo>
                      <a:lnTo>
                        <a:pt x="183" y="165"/>
                      </a:lnTo>
                      <a:lnTo>
                        <a:pt x="182" y="167"/>
                      </a:lnTo>
                      <a:lnTo>
                        <a:pt x="181" y="168"/>
                      </a:lnTo>
                      <a:lnTo>
                        <a:pt x="179" y="169"/>
                      </a:lnTo>
                      <a:lnTo>
                        <a:pt x="177" y="169"/>
                      </a:lnTo>
                      <a:lnTo>
                        <a:pt x="176" y="172"/>
                      </a:lnTo>
                      <a:lnTo>
                        <a:pt x="174" y="172"/>
                      </a:lnTo>
                      <a:lnTo>
                        <a:pt x="175" y="172"/>
                      </a:lnTo>
                      <a:lnTo>
                        <a:pt x="172" y="173"/>
                      </a:lnTo>
                      <a:lnTo>
                        <a:pt x="172" y="174"/>
                      </a:lnTo>
                      <a:lnTo>
                        <a:pt x="170" y="173"/>
                      </a:lnTo>
                      <a:lnTo>
                        <a:pt x="169" y="177"/>
                      </a:lnTo>
                      <a:lnTo>
                        <a:pt x="168" y="177"/>
                      </a:lnTo>
                      <a:lnTo>
                        <a:pt x="166" y="179"/>
                      </a:lnTo>
                      <a:lnTo>
                        <a:pt x="162" y="181"/>
                      </a:lnTo>
                      <a:lnTo>
                        <a:pt x="162" y="181"/>
                      </a:lnTo>
                      <a:lnTo>
                        <a:pt x="161" y="182"/>
                      </a:lnTo>
                      <a:lnTo>
                        <a:pt x="160" y="182"/>
                      </a:lnTo>
                      <a:lnTo>
                        <a:pt x="157" y="184"/>
                      </a:lnTo>
                      <a:lnTo>
                        <a:pt x="156" y="184"/>
                      </a:lnTo>
                      <a:lnTo>
                        <a:pt x="155" y="185"/>
                      </a:lnTo>
                      <a:lnTo>
                        <a:pt x="153" y="186"/>
                      </a:lnTo>
                      <a:lnTo>
                        <a:pt x="152" y="186"/>
                      </a:lnTo>
                      <a:lnTo>
                        <a:pt x="150" y="186"/>
                      </a:lnTo>
                      <a:lnTo>
                        <a:pt x="148" y="186"/>
                      </a:lnTo>
                      <a:lnTo>
                        <a:pt x="147" y="187"/>
                      </a:lnTo>
                      <a:lnTo>
                        <a:pt x="146" y="189"/>
                      </a:lnTo>
                      <a:lnTo>
                        <a:pt x="146" y="192"/>
                      </a:lnTo>
                      <a:lnTo>
                        <a:pt x="144" y="193"/>
                      </a:lnTo>
                      <a:lnTo>
                        <a:pt x="146" y="194"/>
                      </a:lnTo>
                      <a:lnTo>
                        <a:pt x="144" y="195"/>
                      </a:lnTo>
                      <a:lnTo>
                        <a:pt x="146" y="197"/>
                      </a:lnTo>
                      <a:lnTo>
                        <a:pt x="146" y="198"/>
                      </a:lnTo>
                      <a:lnTo>
                        <a:pt x="144" y="198"/>
                      </a:lnTo>
                      <a:lnTo>
                        <a:pt x="142" y="198"/>
                      </a:lnTo>
                      <a:lnTo>
                        <a:pt x="142" y="197"/>
                      </a:lnTo>
                      <a:lnTo>
                        <a:pt x="142" y="195"/>
                      </a:lnTo>
                      <a:lnTo>
                        <a:pt x="140" y="198"/>
                      </a:lnTo>
                      <a:lnTo>
                        <a:pt x="139" y="199"/>
                      </a:lnTo>
                      <a:lnTo>
                        <a:pt x="137" y="197"/>
                      </a:lnTo>
                      <a:lnTo>
                        <a:pt x="135" y="197"/>
                      </a:lnTo>
                      <a:lnTo>
                        <a:pt x="134" y="198"/>
                      </a:lnTo>
                      <a:lnTo>
                        <a:pt x="134" y="199"/>
                      </a:lnTo>
                      <a:lnTo>
                        <a:pt x="129" y="200"/>
                      </a:lnTo>
                      <a:lnTo>
                        <a:pt x="126" y="201"/>
                      </a:lnTo>
                      <a:lnTo>
                        <a:pt x="124" y="201"/>
                      </a:lnTo>
                      <a:lnTo>
                        <a:pt x="122" y="201"/>
                      </a:lnTo>
                      <a:lnTo>
                        <a:pt x="121" y="202"/>
                      </a:lnTo>
                      <a:lnTo>
                        <a:pt x="119" y="204"/>
                      </a:lnTo>
                      <a:lnTo>
                        <a:pt x="115" y="206"/>
                      </a:lnTo>
                      <a:lnTo>
                        <a:pt x="113" y="206"/>
                      </a:lnTo>
                      <a:lnTo>
                        <a:pt x="113" y="207"/>
                      </a:lnTo>
                      <a:lnTo>
                        <a:pt x="109" y="207"/>
                      </a:lnTo>
                      <a:lnTo>
                        <a:pt x="107" y="208"/>
                      </a:lnTo>
                      <a:lnTo>
                        <a:pt x="107" y="208"/>
                      </a:lnTo>
                      <a:lnTo>
                        <a:pt x="106" y="211"/>
                      </a:lnTo>
                      <a:lnTo>
                        <a:pt x="102" y="212"/>
                      </a:lnTo>
                      <a:lnTo>
                        <a:pt x="102" y="214"/>
                      </a:lnTo>
                      <a:lnTo>
                        <a:pt x="101" y="214"/>
                      </a:lnTo>
                      <a:lnTo>
                        <a:pt x="100" y="218"/>
                      </a:lnTo>
                      <a:lnTo>
                        <a:pt x="99" y="218"/>
                      </a:lnTo>
                      <a:lnTo>
                        <a:pt x="96" y="219"/>
                      </a:lnTo>
                      <a:lnTo>
                        <a:pt x="95" y="219"/>
                      </a:lnTo>
                      <a:lnTo>
                        <a:pt x="93" y="221"/>
                      </a:lnTo>
                      <a:lnTo>
                        <a:pt x="92" y="221"/>
                      </a:lnTo>
                      <a:lnTo>
                        <a:pt x="90" y="224"/>
                      </a:lnTo>
                      <a:lnTo>
                        <a:pt x="88" y="225"/>
                      </a:lnTo>
                      <a:lnTo>
                        <a:pt x="87" y="226"/>
                      </a:lnTo>
                      <a:lnTo>
                        <a:pt x="84" y="228"/>
                      </a:lnTo>
                      <a:lnTo>
                        <a:pt x="83" y="231"/>
                      </a:lnTo>
                      <a:lnTo>
                        <a:pt x="81" y="231"/>
                      </a:lnTo>
                      <a:lnTo>
                        <a:pt x="80" y="231"/>
                      </a:lnTo>
                      <a:lnTo>
                        <a:pt x="79" y="232"/>
                      </a:lnTo>
                      <a:lnTo>
                        <a:pt x="76" y="234"/>
                      </a:lnTo>
                      <a:lnTo>
                        <a:pt x="75" y="234"/>
                      </a:lnTo>
                      <a:lnTo>
                        <a:pt x="68" y="239"/>
                      </a:lnTo>
                      <a:lnTo>
                        <a:pt x="70" y="238"/>
                      </a:lnTo>
                      <a:lnTo>
                        <a:pt x="73" y="236"/>
                      </a:lnTo>
                      <a:lnTo>
                        <a:pt x="73" y="236"/>
                      </a:lnTo>
                      <a:lnTo>
                        <a:pt x="69" y="239"/>
                      </a:lnTo>
                      <a:lnTo>
                        <a:pt x="67" y="239"/>
                      </a:lnTo>
                      <a:lnTo>
                        <a:pt x="66" y="240"/>
                      </a:lnTo>
                      <a:lnTo>
                        <a:pt x="64" y="241"/>
                      </a:lnTo>
                      <a:lnTo>
                        <a:pt x="62" y="242"/>
                      </a:lnTo>
                      <a:lnTo>
                        <a:pt x="61" y="244"/>
                      </a:lnTo>
                      <a:lnTo>
                        <a:pt x="61" y="244"/>
                      </a:lnTo>
                      <a:lnTo>
                        <a:pt x="59" y="244"/>
                      </a:lnTo>
                      <a:lnTo>
                        <a:pt x="56" y="244"/>
                      </a:lnTo>
                      <a:lnTo>
                        <a:pt x="55" y="246"/>
                      </a:lnTo>
                      <a:lnTo>
                        <a:pt x="54" y="246"/>
                      </a:lnTo>
                      <a:lnTo>
                        <a:pt x="52" y="247"/>
                      </a:lnTo>
                      <a:lnTo>
                        <a:pt x="52" y="248"/>
                      </a:lnTo>
                      <a:lnTo>
                        <a:pt x="50" y="249"/>
                      </a:lnTo>
                      <a:lnTo>
                        <a:pt x="47" y="249"/>
                      </a:lnTo>
                      <a:lnTo>
                        <a:pt x="47" y="251"/>
                      </a:lnTo>
                      <a:lnTo>
                        <a:pt x="46" y="251"/>
                      </a:lnTo>
                      <a:lnTo>
                        <a:pt x="43" y="249"/>
                      </a:lnTo>
                      <a:lnTo>
                        <a:pt x="43" y="251"/>
                      </a:lnTo>
                      <a:lnTo>
                        <a:pt x="41" y="252"/>
                      </a:lnTo>
                      <a:lnTo>
                        <a:pt x="40" y="251"/>
                      </a:lnTo>
                      <a:lnTo>
                        <a:pt x="39" y="252"/>
                      </a:lnTo>
                      <a:lnTo>
                        <a:pt x="36" y="253"/>
                      </a:lnTo>
                      <a:lnTo>
                        <a:pt x="34" y="253"/>
                      </a:lnTo>
                      <a:lnTo>
                        <a:pt x="33" y="252"/>
                      </a:lnTo>
                      <a:lnTo>
                        <a:pt x="33" y="252"/>
                      </a:lnTo>
                      <a:close/>
                      <a:moveTo>
                        <a:pt x="8" y="235"/>
                      </a:moveTo>
                      <a:lnTo>
                        <a:pt x="6" y="234"/>
                      </a:lnTo>
                      <a:lnTo>
                        <a:pt x="8" y="233"/>
                      </a:lnTo>
                      <a:lnTo>
                        <a:pt x="10" y="234"/>
                      </a:lnTo>
                      <a:lnTo>
                        <a:pt x="9" y="235"/>
                      </a:lnTo>
                      <a:lnTo>
                        <a:pt x="8" y="235"/>
                      </a:lnTo>
                      <a:lnTo>
                        <a:pt x="8" y="235"/>
                      </a:lnTo>
                      <a:close/>
                      <a:moveTo>
                        <a:pt x="20" y="227"/>
                      </a:moveTo>
                      <a:lnTo>
                        <a:pt x="19" y="226"/>
                      </a:lnTo>
                      <a:lnTo>
                        <a:pt x="22" y="224"/>
                      </a:lnTo>
                      <a:lnTo>
                        <a:pt x="21" y="225"/>
                      </a:lnTo>
                      <a:lnTo>
                        <a:pt x="20" y="227"/>
                      </a:lnTo>
                      <a:lnTo>
                        <a:pt x="20" y="227"/>
                      </a:lnTo>
                      <a:lnTo>
                        <a:pt x="20" y="227"/>
                      </a:lnTo>
                      <a:close/>
                      <a:moveTo>
                        <a:pt x="207" y="144"/>
                      </a:moveTo>
                      <a:lnTo>
                        <a:pt x="204" y="144"/>
                      </a:lnTo>
                      <a:lnTo>
                        <a:pt x="207" y="142"/>
                      </a:lnTo>
                      <a:lnTo>
                        <a:pt x="207" y="142"/>
                      </a:lnTo>
                      <a:lnTo>
                        <a:pt x="208" y="142"/>
                      </a:lnTo>
                      <a:lnTo>
                        <a:pt x="207" y="144"/>
                      </a:lnTo>
                      <a:lnTo>
                        <a:pt x="207" y="144"/>
                      </a:lnTo>
                      <a:close/>
                      <a:moveTo>
                        <a:pt x="201" y="138"/>
                      </a:moveTo>
                      <a:lnTo>
                        <a:pt x="201" y="138"/>
                      </a:lnTo>
                      <a:lnTo>
                        <a:pt x="204" y="134"/>
                      </a:lnTo>
                      <a:lnTo>
                        <a:pt x="207" y="134"/>
                      </a:lnTo>
                      <a:lnTo>
                        <a:pt x="201" y="138"/>
                      </a:lnTo>
                      <a:lnTo>
                        <a:pt x="201" y="138"/>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553" name="Netherlands">
                  <a:extLst>
                    <a:ext uri="{FF2B5EF4-FFF2-40B4-BE49-F238E27FC236}">
                      <a16:creationId xmlns:a16="http://schemas.microsoft.com/office/drawing/2014/main" id="{FF2105F5-64AE-AD4F-AB3E-5395C0610C14}"/>
                    </a:ext>
                  </a:extLst>
                </p:cNvPr>
                <p:cNvSpPr>
                  <a:spLocks noEditPoints="1"/>
                </p:cNvSpPr>
                <p:nvPr/>
              </p:nvSpPr>
              <p:spPr bwMode="auto">
                <a:xfrm>
                  <a:off x="6439602" y="2392993"/>
                  <a:ext cx="86019" cy="80187"/>
                </a:xfrm>
                <a:custGeom>
                  <a:avLst/>
                  <a:gdLst>
                    <a:gd name="T0" fmla="*/ 40 w 59"/>
                    <a:gd name="T1" fmla="*/ 49 h 55"/>
                    <a:gd name="T2" fmla="*/ 44 w 59"/>
                    <a:gd name="T3" fmla="*/ 44 h 55"/>
                    <a:gd name="T4" fmla="*/ 40 w 59"/>
                    <a:gd name="T5" fmla="*/ 34 h 55"/>
                    <a:gd name="T6" fmla="*/ 46 w 59"/>
                    <a:gd name="T7" fmla="*/ 33 h 55"/>
                    <a:gd name="T8" fmla="*/ 52 w 59"/>
                    <a:gd name="T9" fmla="*/ 29 h 55"/>
                    <a:gd name="T10" fmla="*/ 56 w 59"/>
                    <a:gd name="T11" fmla="*/ 26 h 55"/>
                    <a:gd name="T12" fmla="*/ 52 w 59"/>
                    <a:gd name="T13" fmla="*/ 21 h 55"/>
                    <a:gd name="T14" fmla="*/ 57 w 59"/>
                    <a:gd name="T15" fmla="*/ 18 h 55"/>
                    <a:gd name="T16" fmla="*/ 58 w 59"/>
                    <a:gd name="T17" fmla="*/ 6 h 55"/>
                    <a:gd name="T18" fmla="*/ 41 w 59"/>
                    <a:gd name="T19" fmla="*/ 2 h 55"/>
                    <a:gd name="T20" fmla="*/ 27 w 59"/>
                    <a:gd name="T21" fmla="*/ 11 h 55"/>
                    <a:gd name="T22" fmla="*/ 21 w 59"/>
                    <a:gd name="T23" fmla="*/ 12 h 55"/>
                    <a:gd name="T24" fmla="*/ 18 w 59"/>
                    <a:gd name="T25" fmla="*/ 14 h 55"/>
                    <a:gd name="T26" fmla="*/ 23 w 59"/>
                    <a:gd name="T27" fmla="*/ 21 h 55"/>
                    <a:gd name="T28" fmla="*/ 26 w 59"/>
                    <a:gd name="T29" fmla="*/ 19 h 55"/>
                    <a:gd name="T30" fmla="*/ 30 w 59"/>
                    <a:gd name="T31" fmla="*/ 15 h 55"/>
                    <a:gd name="T32" fmla="*/ 26 w 59"/>
                    <a:gd name="T33" fmla="*/ 13 h 55"/>
                    <a:gd name="T34" fmla="*/ 30 w 59"/>
                    <a:gd name="T35" fmla="*/ 11 h 55"/>
                    <a:gd name="T36" fmla="*/ 34 w 59"/>
                    <a:gd name="T37" fmla="*/ 13 h 55"/>
                    <a:gd name="T38" fmla="*/ 34 w 59"/>
                    <a:gd name="T39" fmla="*/ 18 h 55"/>
                    <a:gd name="T40" fmla="*/ 36 w 59"/>
                    <a:gd name="T41" fmla="*/ 20 h 55"/>
                    <a:gd name="T42" fmla="*/ 27 w 59"/>
                    <a:gd name="T43" fmla="*/ 24 h 55"/>
                    <a:gd name="T44" fmla="*/ 16 w 59"/>
                    <a:gd name="T45" fmla="*/ 25 h 55"/>
                    <a:gd name="T46" fmla="*/ 10 w 59"/>
                    <a:gd name="T47" fmla="*/ 31 h 55"/>
                    <a:gd name="T48" fmla="*/ 12 w 59"/>
                    <a:gd name="T49" fmla="*/ 35 h 55"/>
                    <a:gd name="T50" fmla="*/ 5 w 59"/>
                    <a:gd name="T51" fmla="*/ 37 h 55"/>
                    <a:gd name="T52" fmla="*/ 12 w 59"/>
                    <a:gd name="T53" fmla="*/ 38 h 55"/>
                    <a:gd name="T54" fmla="*/ 14 w 59"/>
                    <a:gd name="T55" fmla="*/ 40 h 55"/>
                    <a:gd name="T56" fmla="*/ 10 w 59"/>
                    <a:gd name="T57" fmla="*/ 39 h 55"/>
                    <a:gd name="T58" fmla="*/ 1 w 59"/>
                    <a:gd name="T59" fmla="*/ 39 h 55"/>
                    <a:gd name="T60" fmla="*/ 5 w 59"/>
                    <a:gd name="T61" fmla="*/ 44 h 55"/>
                    <a:gd name="T62" fmla="*/ 14 w 59"/>
                    <a:gd name="T63" fmla="*/ 42 h 55"/>
                    <a:gd name="T64" fmla="*/ 18 w 59"/>
                    <a:gd name="T65" fmla="*/ 40 h 55"/>
                    <a:gd name="T66" fmla="*/ 21 w 59"/>
                    <a:gd name="T67" fmla="*/ 40 h 55"/>
                    <a:gd name="T68" fmla="*/ 26 w 59"/>
                    <a:gd name="T69" fmla="*/ 40 h 55"/>
                    <a:gd name="T70" fmla="*/ 31 w 59"/>
                    <a:gd name="T71" fmla="*/ 45 h 55"/>
                    <a:gd name="T72" fmla="*/ 38 w 59"/>
                    <a:gd name="T73" fmla="*/ 48 h 55"/>
                    <a:gd name="T74" fmla="*/ 37 w 59"/>
                    <a:gd name="T75" fmla="*/ 54 h 55"/>
                    <a:gd name="T76" fmla="*/ 18 w 59"/>
                    <a:gd name="T77" fmla="*/ 11 h 55"/>
                    <a:gd name="T78" fmla="*/ 19 w 59"/>
                    <a:gd name="T79" fmla="*/ 8 h 55"/>
                    <a:gd name="T80" fmla="*/ 20 w 59"/>
                    <a:gd name="T81" fmla="*/ 7 h 55"/>
                    <a:gd name="T82" fmla="*/ 19 w 59"/>
                    <a:gd name="T83" fmla="*/ 11 h 55"/>
                    <a:gd name="T84" fmla="*/ 21 w 59"/>
                    <a:gd name="T85" fmla="*/ 6 h 55"/>
                    <a:gd name="T86" fmla="*/ 25 w 59"/>
                    <a:gd name="T87" fmla="*/ 5 h 55"/>
                    <a:gd name="T88" fmla="*/ 23 w 59"/>
                    <a:gd name="T89" fmla="*/ 6 h 55"/>
                    <a:gd name="T90" fmla="*/ 26 w 59"/>
                    <a:gd name="T91" fmla="*/ 2 h 55"/>
                    <a:gd name="T92" fmla="*/ 32 w 59"/>
                    <a:gd name="T93" fmla="*/ 1 h 55"/>
                    <a:gd name="T94" fmla="*/ 32 w 59"/>
                    <a:gd name="T95" fmla="*/ 1 h 55"/>
                    <a:gd name="T96" fmla="*/ 27 w 59"/>
                    <a:gd name="T97" fmla="*/ 4 h 55"/>
                    <a:gd name="T98" fmla="*/ 34 w 59"/>
                    <a:gd name="T99" fmla="*/ 1 h 55"/>
                    <a:gd name="T100" fmla="*/ 37 w 59"/>
                    <a:gd name="T101" fmla="*/ 1 h 55"/>
                    <a:gd name="T102" fmla="*/ 38 w 59"/>
                    <a:gd name="T103" fmla="*/ 1 h 55"/>
                    <a:gd name="T104" fmla="*/ 41 w 59"/>
                    <a:gd name="T105" fmla="*/ 1 h 55"/>
                    <a:gd name="T106" fmla="*/ 41 w 59"/>
                    <a:gd name="T107" fmla="*/ 0 h 55"/>
                    <a:gd name="T108" fmla="*/ 45 w 59"/>
                    <a:gd name="T109" fmla="*/ 0 h 55"/>
                    <a:gd name="T110" fmla="*/ 41 w 59"/>
                    <a:gd name="T111" fmla="*/ 1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9" h="55">
                      <a:moveTo>
                        <a:pt x="43" y="54"/>
                      </a:moveTo>
                      <a:lnTo>
                        <a:pt x="41" y="54"/>
                      </a:lnTo>
                      <a:lnTo>
                        <a:pt x="43" y="53"/>
                      </a:lnTo>
                      <a:lnTo>
                        <a:pt x="43" y="53"/>
                      </a:lnTo>
                      <a:lnTo>
                        <a:pt x="43" y="53"/>
                      </a:lnTo>
                      <a:lnTo>
                        <a:pt x="43" y="52"/>
                      </a:lnTo>
                      <a:lnTo>
                        <a:pt x="41" y="51"/>
                      </a:lnTo>
                      <a:lnTo>
                        <a:pt x="40" y="49"/>
                      </a:lnTo>
                      <a:lnTo>
                        <a:pt x="40" y="51"/>
                      </a:lnTo>
                      <a:lnTo>
                        <a:pt x="39" y="49"/>
                      </a:lnTo>
                      <a:lnTo>
                        <a:pt x="40" y="48"/>
                      </a:lnTo>
                      <a:lnTo>
                        <a:pt x="41" y="48"/>
                      </a:lnTo>
                      <a:lnTo>
                        <a:pt x="43" y="46"/>
                      </a:lnTo>
                      <a:lnTo>
                        <a:pt x="43" y="46"/>
                      </a:lnTo>
                      <a:lnTo>
                        <a:pt x="43" y="45"/>
                      </a:lnTo>
                      <a:lnTo>
                        <a:pt x="44" y="44"/>
                      </a:lnTo>
                      <a:lnTo>
                        <a:pt x="44" y="44"/>
                      </a:lnTo>
                      <a:lnTo>
                        <a:pt x="44" y="42"/>
                      </a:lnTo>
                      <a:lnTo>
                        <a:pt x="44" y="40"/>
                      </a:lnTo>
                      <a:lnTo>
                        <a:pt x="44" y="40"/>
                      </a:lnTo>
                      <a:lnTo>
                        <a:pt x="43" y="38"/>
                      </a:lnTo>
                      <a:lnTo>
                        <a:pt x="43" y="38"/>
                      </a:lnTo>
                      <a:lnTo>
                        <a:pt x="41" y="37"/>
                      </a:lnTo>
                      <a:lnTo>
                        <a:pt x="40" y="34"/>
                      </a:lnTo>
                      <a:lnTo>
                        <a:pt x="40" y="34"/>
                      </a:lnTo>
                      <a:lnTo>
                        <a:pt x="40" y="33"/>
                      </a:lnTo>
                      <a:lnTo>
                        <a:pt x="43" y="33"/>
                      </a:lnTo>
                      <a:lnTo>
                        <a:pt x="43" y="33"/>
                      </a:lnTo>
                      <a:lnTo>
                        <a:pt x="44" y="33"/>
                      </a:lnTo>
                      <a:lnTo>
                        <a:pt x="45" y="33"/>
                      </a:lnTo>
                      <a:lnTo>
                        <a:pt x="46" y="33"/>
                      </a:lnTo>
                      <a:lnTo>
                        <a:pt x="46" y="33"/>
                      </a:lnTo>
                      <a:lnTo>
                        <a:pt x="48" y="34"/>
                      </a:lnTo>
                      <a:lnTo>
                        <a:pt x="50" y="33"/>
                      </a:lnTo>
                      <a:lnTo>
                        <a:pt x="51" y="32"/>
                      </a:lnTo>
                      <a:lnTo>
                        <a:pt x="52" y="32"/>
                      </a:lnTo>
                      <a:lnTo>
                        <a:pt x="52" y="32"/>
                      </a:lnTo>
                      <a:lnTo>
                        <a:pt x="53" y="31"/>
                      </a:lnTo>
                      <a:lnTo>
                        <a:pt x="52" y="29"/>
                      </a:lnTo>
                      <a:lnTo>
                        <a:pt x="52" y="29"/>
                      </a:lnTo>
                      <a:lnTo>
                        <a:pt x="52" y="29"/>
                      </a:lnTo>
                      <a:lnTo>
                        <a:pt x="52" y="28"/>
                      </a:lnTo>
                      <a:lnTo>
                        <a:pt x="53" y="28"/>
                      </a:lnTo>
                      <a:lnTo>
                        <a:pt x="54" y="27"/>
                      </a:lnTo>
                      <a:lnTo>
                        <a:pt x="54" y="27"/>
                      </a:lnTo>
                      <a:lnTo>
                        <a:pt x="54" y="27"/>
                      </a:lnTo>
                      <a:lnTo>
                        <a:pt x="54" y="27"/>
                      </a:lnTo>
                      <a:lnTo>
                        <a:pt x="56" y="26"/>
                      </a:lnTo>
                      <a:lnTo>
                        <a:pt x="57" y="25"/>
                      </a:lnTo>
                      <a:lnTo>
                        <a:pt x="57" y="25"/>
                      </a:lnTo>
                      <a:lnTo>
                        <a:pt x="57" y="24"/>
                      </a:lnTo>
                      <a:lnTo>
                        <a:pt x="57" y="22"/>
                      </a:lnTo>
                      <a:lnTo>
                        <a:pt x="56" y="21"/>
                      </a:lnTo>
                      <a:lnTo>
                        <a:pt x="56" y="21"/>
                      </a:lnTo>
                      <a:lnTo>
                        <a:pt x="56" y="21"/>
                      </a:lnTo>
                      <a:lnTo>
                        <a:pt x="52" y="21"/>
                      </a:lnTo>
                      <a:lnTo>
                        <a:pt x="51" y="19"/>
                      </a:lnTo>
                      <a:lnTo>
                        <a:pt x="52" y="19"/>
                      </a:lnTo>
                      <a:lnTo>
                        <a:pt x="52" y="18"/>
                      </a:lnTo>
                      <a:lnTo>
                        <a:pt x="51" y="18"/>
                      </a:lnTo>
                      <a:lnTo>
                        <a:pt x="52" y="18"/>
                      </a:lnTo>
                      <a:lnTo>
                        <a:pt x="54" y="18"/>
                      </a:lnTo>
                      <a:lnTo>
                        <a:pt x="54" y="18"/>
                      </a:lnTo>
                      <a:lnTo>
                        <a:pt x="57" y="18"/>
                      </a:lnTo>
                      <a:lnTo>
                        <a:pt x="57" y="18"/>
                      </a:lnTo>
                      <a:lnTo>
                        <a:pt x="57" y="15"/>
                      </a:lnTo>
                      <a:lnTo>
                        <a:pt x="57" y="14"/>
                      </a:lnTo>
                      <a:lnTo>
                        <a:pt x="57" y="14"/>
                      </a:lnTo>
                      <a:lnTo>
                        <a:pt x="58" y="12"/>
                      </a:lnTo>
                      <a:lnTo>
                        <a:pt x="59" y="11"/>
                      </a:lnTo>
                      <a:lnTo>
                        <a:pt x="59" y="7"/>
                      </a:lnTo>
                      <a:lnTo>
                        <a:pt x="58" y="6"/>
                      </a:lnTo>
                      <a:lnTo>
                        <a:pt x="57" y="5"/>
                      </a:lnTo>
                      <a:lnTo>
                        <a:pt x="54" y="4"/>
                      </a:lnTo>
                      <a:lnTo>
                        <a:pt x="53" y="2"/>
                      </a:lnTo>
                      <a:lnTo>
                        <a:pt x="53" y="1"/>
                      </a:lnTo>
                      <a:lnTo>
                        <a:pt x="51" y="1"/>
                      </a:lnTo>
                      <a:lnTo>
                        <a:pt x="47" y="2"/>
                      </a:lnTo>
                      <a:lnTo>
                        <a:pt x="43" y="2"/>
                      </a:lnTo>
                      <a:lnTo>
                        <a:pt x="41" y="2"/>
                      </a:lnTo>
                      <a:lnTo>
                        <a:pt x="33" y="5"/>
                      </a:lnTo>
                      <a:lnTo>
                        <a:pt x="32" y="6"/>
                      </a:lnTo>
                      <a:lnTo>
                        <a:pt x="31" y="7"/>
                      </a:lnTo>
                      <a:lnTo>
                        <a:pt x="31" y="7"/>
                      </a:lnTo>
                      <a:lnTo>
                        <a:pt x="31" y="8"/>
                      </a:lnTo>
                      <a:lnTo>
                        <a:pt x="30" y="8"/>
                      </a:lnTo>
                      <a:lnTo>
                        <a:pt x="28" y="9"/>
                      </a:lnTo>
                      <a:lnTo>
                        <a:pt x="27" y="11"/>
                      </a:lnTo>
                      <a:lnTo>
                        <a:pt x="26" y="11"/>
                      </a:lnTo>
                      <a:lnTo>
                        <a:pt x="25" y="12"/>
                      </a:lnTo>
                      <a:lnTo>
                        <a:pt x="25" y="12"/>
                      </a:lnTo>
                      <a:lnTo>
                        <a:pt x="24" y="12"/>
                      </a:lnTo>
                      <a:lnTo>
                        <a:pt x="23" y="12"/>
                      </a:lnTo>
                      <a:lnTo>
                        <a:pt x="23" y="12"/>
                      </a:lnTo>
                      <a:lnTo>
                        <a:pt x="21" y="12"/>
                      </a:lnTo>
                      <a:lnTo>
                        <a:pt x="21" y="12"/>
                      </a:lnTo>
                      <a:lnTo>
                        <a:pt x="21" y="11"/>
                      </a:lnTo>
                      <a:lnTo>
                        <a:pt x="20" y="11"/>
                      </a:lnTo>
                      <a:lnTo>
                        <a:pt x="20" y="12"/>
                      </a:lnTo>
                      <a:lnTo>
                        <a:pt x="19" y="12"/>
                      </a:lnTo>
                      <a:lnTo>
                        <a:pt x="18" y="12"/>
                      </a:lnTo>
                      <a:lnTo>
                        <a:pt x="18" y="12"/>
                      </a:lnTo>
                      <a:lnTo>
                        <a:pt x="18" y="13"/>
                      </a:lnTo>
                      <a:lnTo>
                        <a:pt x="18" y="14"/>
                      </a:lnTo>
                      <a:lnTo>
                        <a:pt x="17" y="15"/>
                      </a:lnTo>
                      <a:lnTo>
                        <a:pt x="17" y="17"/>
                      </a:lnTo>
                      <a:lnTo>
                        <a:pt x="18" y="18"/>
                      </a:lnTo>
                      <a:lnTo>
                        <a:pt x="18" y="18"/>
                      </a:lnTo>
                      <a:lnTo>
                        <a:pt x="18" y="19"/>
                      </a:lnTo>
                      <a:lnTo>
                        <a:pt x="19" y="20"/>
                      </a:lnTo>
                      <a:lnTo>
                        <a:pt x="18" y="20"/>
                      </a:lnTo>
                      <a:lnTo>
                        <a:pt x="23" y="21"/>
                      </a:lnTo>
                      <a:lnTo>
                        <a:pt x="24" y="22"/>
                      </a:lnTo>
                      <a:lnTo>
                        <a:pt x="25" y="22"/>
                      </a:lnTo>
                      <a:lnTo>
                        <a:pt x="25" y="21"/>
                      </a:lnTo>
                      <a:lnTo>
                        <a:pt x="25" y="21"/>
                      </a:lnTo>
                      <a:lnTo>
                        <a:pt x="24" y="20"/>
                      </a:lnTo>
                      <a:lnTo>
                        <a:pt x="25" y="19"/>
                      </a:lnTo>
                      <a:lnTo>
                        <a:pt x="25" y="19"/>
                      </a:lnTo>
                      <a:lnTo>
                        <a:pt x="26" y="19"/>
                      </a:lnTo>
                      <a:lnTo>
                        <a:pt x="25" y="18"/>
                      </a:lnTo>
                      <a:lnTo>
                        <a:pt x="26" y="18"/>
                      </a:lnTo>
                      <a:lnTo>
                        <a:pt x="26" y="18"/>
                      </a:lnTo>
                      <a:lnTo>
                        <a:pt x="27" y="17"/>
                      </a:lnTo>
                      <a:lnTo>
                        <a:pt x="27" y="17"/>
                      </a:lnTo>
                      <a:lnTo>
                        <a:pt x="28" y="17"/>
                      </a:lnTo>
                      <a:lnTo>
                        <a:pt x="30" y="15"/>
                      </a:lnTo>
                      <a:lnTo>
                        <a:pt x="30" y="15"/>
                      </a:lnTo>
                      <a:lnTo>
                        <a:pt x="28" y="15"/>
                      </a:lnTo>
                      <a:lnTo>
                        <a:pt x="28" y="14"/>
                      </a:lnTo>
                      <a:lnTo>
                        <a:pt x="28" y="14"/>
                      </a:lnTo>
                      <a:lnTo>
                        <a:pt x="28" y="14"/>
                      </a:lnTo>
                      <a:lnTo>
                        <a:pt x="27" y="15"/>
                      </a:lnTo>
                      <a:lnTo>
                        <a:pt x="27" y="14"/>
                      </a:lnTo>
                      <a:lnTo>
                        <a:pt x="26" y="14"/>
                      </a:lnTo>
                      <a:lnTo>
                        <a:pt x="26" y="13"/>
                      </a:lnTo>
                      <a:lnTo>
                        <a:pt x="26" y="13"/>
                      </a:lnTo>
                      <a:lnTo>
                        <a:pt x="26" y="12"/>
                      </a:lnTo>
                      <a:lnTo>
                        <a:pt x="26" y="12"/>
                      </a:lnTo>
                      <a:lnTo>
                        <a:pt x="28" y="9"/>
                      </a:lnTo>
                      <a:lnTo>
                        <a:pt x="30" y="9"/>
                      </a:lnTo>
                      <a:lnTo>
                        <a:pt x="30" y="11"/>
                      </a:lnTo>
                      <a:lnTo>
                        <a:pt x="31" y="11"/>
                      </a:lnTo>
                      <a:lnTo>
                        <a:pt x="30" y="11"/>
                      </a:lnTo>
                      <a:lnTo>
                        <a:pt x="31" y="12"/>
                      </a:lnTo>
                      <a:lnTo>
                        <a:pt x="30" y="13"/>
                      </a:lnTo>
                      <a:lnTo>
                        <a:pt x="31" y="13"/>
                      </a:lnTo>
                      <a:lnTo>
                        <a:pt x="32" y="13"/>
                      </a:lnTo>
                      <a:lnTo>
                        <a:pt x="32" y="13"/>
                      </a:lnTo>
                      <a:lnTo>
                        <a:pt x="33" y="13"/>
                      </a:lnTo>
                      <a:lnTo>
                        <a:pt x="33" y="13"/>
                      </a:lnTo>
                      <a:lnTo>
                        <a:pt x="34" y="13"/>
                      </a:lnTo>
                      <a:lnTo>
                        <a:pt x="36" y="13"/>
                      </a:lnTo>
                      <a:lnTo>
                        <a:pt x="36" y="14"/>
                      </a:lnTo>
                      <a:lnTo>
                        <a:pt x="34" y="14"/>
                      </a:lnTo>
                      <a:lnTo>
                        <a:pt x="33" y="15"/>
                      </a:lnTo>
                      <a:lnTo>
                        <a:pt x="33" y="15"/>
                      </a:lnTo>
                      <a:lnTo>
                        <a:pt x="33" y="17"/>
                      </a:lnTo>
                      <a:lnTo>
                        <a:pt x="34" y="17"/>
                      </a:lnTo>
                      <a:lnTo>
                        <a:pt x="34" y="18"/>
                      </a:lnTo>
                      <a:lnTo>
                        <a:pt x="36" y="18"/>
                      </a:lnTo>
                      <a:lnTo>
                        <a:pt x="36" y="18"/>
                      </a:lnTo>
                      <a:lnTo>
                        <a:pt x="36" y="19"/>
                      </a:lnTo>
                      <a:lnTo>
                        <a:pt x="36" y="19"/>
                      </a:lnTo>
                      <a:lnTo>
                        <a:pt x="36" y="19"/>
                      </a:lnTo>
                      <a:lnTo>
                        <a:pt x="36" y="20"/>
                      </a:lnTo>
                      <a:lnTo>
                        <a:pt x="36" y="20"/>
                      </a:lnTo>
                      <a:lnTo>
                        <a:pt x="36" y="20"/>
                      </a:lnTo>
                      <a:lnTo>
                        <a:pt x="34" y="21"/>
                      </a:lnTo>
                      <a:lnTo>
                        <a:pt x="33" y="21"/>
                      </a:lnTo>
                      <a:lnTo>
                        <a:pt x="32" y="22"/>
                      </a:lnTo>
                      <a:lnTo>
                        <a:pt x="32" y="24"/>
                      </a:lnTo>
                      <a:lnTo>
                        <a:pt x="31" y="24"/>
                      </a:lnTo>
                      <a:lnTo>
                        <a:pt x="30" y="24"/>
                      </a:lnTo>
                      <a:lnTo>
                        <a:pt x="28" y="24"/>
                      </a:lnTo>
                      <a:lnTo>
                        <a:pt x="27" y="24"/>
                      </a:lnTo>
                      <a:lnTo>
                        <a:pt x="26" y="24"/>
                      </a:lnTo>
                      <a:lnTo>
                        <a:pt x="25" y="22"/>
                      </a:lnTo>
                      <a:lnTo>
                        <a:pt x="24" y="22"/>
                      </a:lnTo>
                      <a:lnTo>
                        <a:pt x="19" y="21"/>
                      </a:lnTo>
                      <a:lnTo>
                        <a:pt x="18" y="21"/>
                      </a:lnTo>
                      <a:lnTo>
                        <a:pt x="17" y="21"/>
                      </a:lnTo>
                      <a:lnTo>
                        <a:pt x="17" y="22"/>
                      </a:lnTo>
                      <a:lnTo>
                        <a:pt x="16" y="25"/>
                      </a:lnTo>
                      <a:lnTo>
                        <a:pt x="14" y="25"/>
                      </a:lnTo>
                      <a:lnTo>
                        <a:pt x="13" y="26"/>
                      </a:lnTo>
                      <a:lnTo>
                        <a:pt x="12" y="27"/>
                      </a:lnTo>
                      <a:lnTo>
                        <a:pt x="11" y="28"/>
                      </a:lnTo>
                      <a:lnTo>
                        <a:pt x="12" y="29"/>
                      </a:lnTo>
                      <a:lnTo>
                        <a:pt x="11" y="31"/>
                      </a:lnTo>
                      <a:lnTo>
                        <a:pt x="10" y="31"/>
                      </a:lnTo>
                      <a:lnTo>
                        <a:pt x="10" y="31"/>
                      </a:lnTo>
                      <a:lnTo>
                        <a:pt x="11" y="33"/>
                      </a:lnTo>
                      <a:lnTo>
                        <a:pt x="10" y="33"/>
                      </a:lnTo>
                      <a:lnTo>
                        <a:pt x="7" y="33"/>
                      </a:lnTo>
                      <a:lnTo>
                        <a:pt x="7" y="34"/>
                      </a:lnTo>
                      <a:lnTo>
                        <a:pt x="8" y="34"/>
                      </a:lnTo>
                      <a:lnTo>
                        <a:pt x="10" y="34"/>
                      </a:lnTo>
                      <a:lnTo>
                        <a:pt x="10" y="34"/>
                      </a:lnTo>
                      <a:lnTo>
                        <a:pt x="12" y="35"/>
                      </a:lnTo>
                      <a:lnTo>
                        <a:pt x="12" y="37"/>
                      </a:lnTo>
                      <a:lnTo>
                        <a:pt x="11" y="37"/>
                      </a:lnTo>
                      <a:lnTo>
                        <a:pt x="10" y="35"/>
                      </a:lnTo>
                      <a:lnTo>
                        <a:pt x="8" y="35"/>
                      </a:lnTo>
                      <a:lnTo>
                        <a:pt x="7" y="35"/>
                      </a:lnTo>
                      <a:lnTo>
                        <a:pt x="5" y="35"/>
                      </a:lnTo>
                      <a:lnTo>
                        <a:pt x="5" y="35"/>
                      </a:lnTo>
                      <a:lnTo>
                        <a:pt x="5" y="37"/>
                      </a:lnTo>
                      <a:lnTo>
                        <a:pt x="5" y="37"/>
                      </a:lnTo>
                      <a:lnTo>
                        <a:pt x="6" y="37"/>
                      </a:lnTo>
                      <a:lnTo>
                        <a:pt x="10" y="38"/>
                      </a:lnTo>
                      <a:lnTo>
                        <a:pt x="10" y="38"/>
                      </a:lnTo>
                      <a:lnTo>
                        <a:pt x="11" y="38"/>
                      </a:lnTo>
                      <a:lnTo>
                        <a:pt x="11" y="37"/>
                      </a:lnTo>
                      <a:lnTo>
                        <a:pt x="12" y="38"/>
                      </a:lnTo>
                      <a:lnTo>
                        <a:pt x="12" y="38"/>
                      </a:lnTo>
                      <a:lnTo>
                        <a:pt x="13" y="38"/>
                      </a:lnTo>
                      <a:lnTo>
                        <a:pt x="13" y="38"/>
                      </a:lnTo>
                      <a:lnTo>
                        <a:pt x="13" y="38"/>
                      </a:lnTo>
                      <a:lnTo>
                        <a:pt x="11" y="38"/>
                      </a:lnTo>
                      <a:lnTo>
                        <a:pt x="10" y="38"/>
                      </a:lnTo>
                      <a:lnTo>
                        <a:pt x="10" y="39"/>
                      </a:lnTo>
                      <a:lnTo>
                        <a:pt x="13" y="40"/>
                      </a:lnTo>
                      <a:lnTo>
                        <a:pt x="14" y="40"/>
                      </a:lnTo>
                      <a:lnTo>
                        <a:pt x="14" y="40"/>
                      </a:lnTo>
                      <a:lnTo>
                        <a:pt x="14" y="41"/>
                      </a:lnTo>
                      <a:lnTo>
                        <a:pt x="14" y="41"/>
                      </a:lnTo>
                      <a:lnTo>
                        <a:pt x="14" y="41"/>
                      </a:lnTo>
                      <a:lnTo>
                        <a:pt x="12" y="41"/>
                      </a:lnTo>
                      <a:lnTo>
                        <a:pt x="11" y="41"/>
                      </a:lnTo>
                      <a:lnTo>
                        <a:pt x="11" y="40"/>
                      </a:lnTo>
                      <a:lnTo>
                        <a:pt x="10" y="39"/>
                      </a:lnTo>
                      <a:lnTo>
                        <a:pt x="8" y="39"/>
                      </a:lnTo>
                      <a:lnTo>
                        <a:pt x="7" y="39"/>
                      </a:lnTo>
                      <a:lnTo>
                        <a:pt x="8" y="39"/>
                      </a:lnTo>
                      <a:lnTo>
                        <a:pt x="8" y="39"/>
                      </a:lnTo>
                      <a:lnTo>
                        <a:pt x="7" y="38"/>
                      </a:lnTo>
                      <a:lnTo>
                        <a:pt x="5" y="38"/>
                      </a:lnTo>
                      <a:lnTo>
                        <a:pt x="3" y="38"/>
                      </a:lnTo>
                      <a:lnTo>
                        <a:pt x="1" y="39"/>
                      </a:lnTo>
                      <a:lnTo>
                        <a:pt x="1" y="39"/>
                      </a:lnTo>
                      <a:lnTo>
                        <a:pt x="1" y="39"/>
                      </a:lnTo>
                      <a:lnTo>
                        <a:pt x="3" y="41"/>
                      </a:lnTo>
                      <a:lnTo>
                        <a:pt x="0" y="42"/>
                      </a:lnTo>
                      <a:lnTo>
                        <a:pt x="0" y="44"/>
                      </a:lnTo>
                      <a:lnTo>
                        <a:pt x="1" y="44"/>
                      </a:lnTo>
                      <a:lnTo>
                        <a:pt x="4" y="42"/>
                      </a:lnTo>
                      <a:lnTo>
                        <a:pt x="5" y="44"/>
                      </a:lnTo>
                      <a:lnTo>
                        <a:pt x="6" y="44"/>
                      </a:lnTo>
                      <a:lnTo>
                        <a:pt x="6" y="45"/>
                      </a:lnTo>
                      <a:lnTo>
                        <a:pt x="8" y="45"/>
                      </a:lnTo>
                      <a:lnTo>
                        <a:pt x="11" y="44"/>
                      </a:lnTo>
                      <a:lnTo>
                        <a:pt x="12" y="44"/>
                      </a:lnTo>
                      <a:lnTo>
                        <a:pt x="12" y="42"/>
                      </a:lnTo>
                      <a:lnTo>
                        <a:pt x="13" y="42"/>
                      </a:lnTo>
                      <a:lnTo>
                        <a:pt x="14" y="42"/>
                      </a:lnTo>
                      <a:lnTo>
                        <a:pt x="14" y="42"/>
                      </a:lnTo>
                      <a:lnTo>
                        <a:pt x="17" y="44"/>
                      </a:lnTo>
                      <a:lnTo>
                        <a:pt x="17" y="42"/>
                      </a:lnTo>
                      <a:lnTo>
                        <a:pt x="16" y="42"/>
                      </a:lnTo>
                      <a:lnTo>
                        <a:pt x="17" y="42"/>
                      </a:lnTo>
                      <a:lnTo>
                        <a:pt x="16" y="41"/>
                      </a:lnTo>
                      <a:lnTo>
                        <a:pt x="17" y="40"/>
                      </a:lnTo>
                      <a:lnTo>
                        <a:pt x="18" y="40"/>
                      </a:lnTo>
                      <a:lnTo>
                        <a:pt x="18" y="41"/>
                      </a:lnTo>
                      <a:lnTo>
                        <a:pt x="18" y="41"/>
                      </a:lnTo>
                      <a:lnTo>
                        <a:pt x="18" y="41"/>
                      </a:lnTo>
                      <a:lnTo>
                        <a:pt x="19" y="41"/>
                      </a:lnTo>
                      <a:lnTo>
                        <a:pt x="19" y="41"/>
                      </a:lnTo>
                      <a:lnTo>
                        <a:pt x="20" y="41"/>
                      </a:lnTo>
                      <a:lnTo>
                        <a:pt x="20" y="40"/>
                      </a:lnTo>
                      <a:lnTo>
                        <a:pt x="21" y="40"/>
                      </a:lnTo>
                      <a:lnTo>
                        <a:pt x="21" y="41"/>
                      </a:lnTo>
                      <a:lnTo>
                        <a:pt x="21" y="41"/>
                      </a:lnTo>
                      <a:lnTo>
                        <a:pt x="23" y="42"/>
                      </a:lnTo>
                      <a:lnTo>
                        <a:pt x="24" y="42"/>
                      </a:lnTo>
                      <a:lnTo>
                        <a:pt x="25" y="41"/>
                      </a:lnTo>
                      <a:lnTo>
                        <a:pt x="25" y="41"/>
                      </a:lnTo>
                      <a:lnTo>
                        <a:pt x="25" y="40"/>
                      </a:lnTo>
                      <a:lnTo>
                        <a:pt x="26" y="40"/>
                      </a:lnTo>
                      <a:lnTo>
                        <a:pt x="27" y="41"/>
                      </a:lnTo>
                      <a:lnTo>
                        <a:pt x="26" y="42"/>
                      </a:lnTo>
                      <a:lnTo>
                        <a:pt x="27" y="42"/>
                      </a:lnTo>
                      <a:lnTo>
                        <a:pt x="27" y="42"/>
                      </a:lnTo>
                      <a:lnTo>
                        <a:pt x="27" y="44"/>
                      </a:lnTo>
                      <a:lnTo>
                        <a:pt x="28" y="44"/>
                      </a:lnTo>
                      <a:lnTo>
                        <a:pt x="28" y="45"/>
                      </a:lnTo>
                      <a:lnTo>
                        <a:pt x="31" y="45"/>
                      </a:lnTo>
                      <a:lnTo>
                        <a:pt x="32" y="45"/>
                      </a:lnTo>
                      <a:lnTo>
                        <a:pt x="33" y="45"/>
                      </a:lnTo>
                      <a:lnTo>
                        <a:pt x="33" y="45"/>
                      </a:lnTo>
                      <a:lnTo>
                        <a:pt x="33" y="46"/>
                      </a:lnTo>
                      <a:lnTo>
                        <a:pt x="36" y="46"/>
                      </a:lnTo>
                      <a:lnTo>
                        <a:pt x="37" y="46"/>
                      </a:lnTo>
                      <a:lnTo>
                        <a:pt x="38" y="47"/>
                      </a:lnTo>
                      <a:lnTo>
                        <a:pt x="38" y="48"/>
                      </a:lnTo>
                      <a:lnTo>
                        <a:pt x="38" y="49"/>
                      </a:lnTo>
                      <a:lnTo>
                        <a:pt x="37" y="51"/>
                      </a:lnTo>
                      <a:lnTo>
                        <a:pt x="37" y="51"/>
                      </a:lnTo>
                      <a:lnTo>
                        <a:pt x="36" y="52"/>
                      </a:lnTo>
                      <a:lnTo>
                        <a:pt x="36" y="54"/>
                      </a:lnTo>
                      <a:lnTo>
                        <a:pt x="37" y="54"/>
                      </a:lnTo>
                      <a:lnTo>
                        <a:pt x="37" y="54"/>
                      </a:lnTo>
                      <a:lnTo>
                        <a:pt x="37" y="54"/>
                      </a:lnTo>
                      <a:lnTo>
                        <a:pt x="38" y="55"/>
                      </a:lnTo>
                      <a:lnTo>
                        <a:pt x="43" y="54"/>
                      </a:lnTo>
                      <a:lnTo>
                        <a:pt x="43" y="54"/>
                      </a:lnTo>
                      <a:close/>
                      <a:moveTo>
                        <a:pt x="19" y="11"/>
                      </a:moveTo>
                      <a:lnTo>
                        <a:pt x="19" y="11"/>
                      </a:lnTo>
                      <a:lnTo>
                        <a:pt x="19" y="11"/>
                      </a:lnTo>
                      <a:lnTo>
                        <a:pt x="18" y="11"/>
                      </a:lnTo>
                      <a:lnTo>
                        <a:pt x="18" y="11"/>
                      </a:lnTo>
                      <a:lnTo>
                        <a:pt x="18" y="11"/>
                      </a:lnTo>
                      <a:lnTo>
                        <a:pt x="18" y="9"/>
                      </a:lnTo>
                      <a:lnTo>
                        <a:pt x="18" y="9"/>
                      </a:lnTo>
                      <a:lnTo>
                        <a:pt x="18" y="9"/>
                      </a:lnTo>
                      <a:lnTo>
                        <a:pt x="18" y="9"/>
                      </a:lnTo>
                      <a:lnTo>
                        <a:pt x="18" y="9"/>
                      </a:lnTo>
                      <a:lnTo>
                        <a:pt x="19" y="8"/>
                      </a:lnTo>
                      <a:lnTo>
                        <a:pt x="19" y="8"/>
                      </a:lnTo>
                      <a:lnTo>
                        <a:pt x="19" y="8"/>
                      </a:lnTo>
                      <a:lnTo>
                        <a:pt x="19" y="7"/>
                      </a:lnTo>
                      <a:lnTo>
                        <a:pt x="20" y="7"/>
                      </a:lnTo>
                      <a:lnTo>
                        <a:pt x="20" y="7"/>
                      </a:lnTo>
                      <a:lnTo>
                        <a:pt x="20" y="7"/>
                      </a:lnTo>
                      <a:lnTo>
                        <a:pt x="20" y="7"/>
                      </a:lnTo>
                      <a:lnTo>
                        <a:pt x="20" y="7"/>
                      </a:lnTo>
                      <a:lnTo>
                        <a:pt x="20" y="7"/>
                      </a:lnTo>
                      <a:lnTo>
                        <a:pt x="21" y="7"/>
                      </a:lnTo>
                      <a:lnTo>
                        <a:pt x="21" y="8"/>
                      </a:lnTo>
                      <a:lnTo>
                        <a:pt x="21" y="8"/>
                      </a:lnTo>
                      <a:lnTo>
                        <a:pt x="21" y="8"/>
                      </a:lnTo>
                      <a:lnTo>
                        <a:pt x="20" y="9"/>
                      </a:lnTo>
                      <a:lnTo>
                        <a:pt x="20" y="9"/>
                      </a:lnTo>
                      <a:lnTo>
                        <a:pt x="19" y="11"/>
                      </a:lnTo>
                      <a:lnTo>
                        <a:pt x="19" y="11"/>
                      </a:lnTo>
                      <a:lnTo>
                        <a:pt x="19" y="11"/>
                      </a:lnTo>
                      <a:lnTo>
                        <a:pt x="19" y="11"/>
                      </a:lnTo>
                      <a:close/>
                      <a:moveTo>
                        <a:pt x="23" y="6"/>
                      </a:moveTo>
                      <a:lnTo>
                        <a:pt x="21" y="7"/>
                      </a:lnTo>
                      <a:lnTo>
                        <a:pt x="21" y="6"/>
                      </a:lnTo>
                      <a:lnTo>
                        <a:pt x="21" y="6"/>
                      </a:lnTo>
                      <a:lnTo>
                        <a:pt x="21" y="6"/>
                      </a:lnTo>
                      <a:lnTo>
                        <a:pt x="21" y="6"/>
                      </a:lnTo>
                      <a:lnTo>
                        <a:pt x="21" y="6"/>
                      </a:lnTo>
                      <a:lnTo>
                        <a:pt x="23" y="6"/>
                      </a:lnTo>
                      <a:lnTo>
                        <a:pt x="23" y="6"/>
                      </a:lnTo>
                      <a:lnTo>
                        <a:pt x="24" y="5"/>
                      </a:lnTo>
                      <a:lnTo>
                        <a:pt x="24" y="5"/>
                      </a:lnTo>
                      <a:lnTo>
                        <a:pt x="24" y="5"/>
                      </a:lnTo>
                      <a:lnTo>
                        <a:pt x="25" y="5"/>
                      </a:lnTo>
                      <a:lnTo>
                        <a:pt x="25" y="5"/>
                      </a:lnTo>
                      <a:lnTo>
                        <a:pt x="25" y="5"/>
                      </a:lnTo>
                      <a:lnTo>
                        <a:pt x="25" y="5"/>
                      </a:lnTo>
                      <a:lnTo>
                        <a:pt x="25" y="5"/>
                      </a:lnTo>
                      <a:lnTo>
                        <a:pt x="25" y="5"/>
                      </a:lnTo>
                      <a:lnTo>
                        <a:pt x="25" y="5"/>
                      </a:lnTo>
                      <a:lnTo>
                        <a:pt x="24" y="6"/>
                      </a:lnTo>
                      <a:lnTo>
                        <a:pt x="23" y="6"/>
                      </a:lnTo>
                      <a:lnTo>
                        <a:pt x="23" y="6"/>
                      </a:lnTo>
                      <a:close/>
                      <a:moveTo>
                        <a:pt x="27" y="4"/>
                      </a:moveTo>
                      <a:lnTo>
                        <a:pt x="27" y="4"/>
                      </a:lnTo>
                      <a:lnTo>
                        <a:pt x="27" y="4"/>
                      </a:lnTo>
                      <a:lnTo>
                        <a:pt x="26" y="2"/>
                      </a:lnTo>
                      <a:lnTo>
                        <a:pt x="26" y="2"/>
                      </a:lnTo>
                      <a:lnTo>
                        <a:pt x="26" y="2"/>
                      </a:lnTo>
                      <a:lnTo>
                        <a:pt x="26" y="2"/>
                      </a:lnTo>
                      <a:lnTo>
                        <a:pt x="26" y="2"/>
                      </a:lnTo>
                      <a:lnTo>
                        <a:pt x="26" y="2"/>
                      </a:lnTo>
                      <a:lnTo>
                        <a:pt x="26" y="2"/>
                      </a:lnTo>
                      <a:lnTo>
                        <a:pt x="27" y="2"/>
                      </a:lnTo>
                      <a:lnTo>
                        <a:pt x="27" y="2"/>
                      </a:lnTo>
                      <a:lnTo>
                        <a:pt x="28" y="1"/>
                      </a:lnTo>
                      <a:lnTo>
                        <a:pt x="30" y="1"/>
                      </a:lnTo>
                      <a:lnTo>
                        <a:pt x="30" y="1"/>
                      </a:lnTo>
                      <a:lnTo>
                        <a:pt x="32" y="1"/>
                      </a:lnTo>
                      <a:lnTo>
                        <a:pt x="32" y="1"/>
                      </a:lnTo>
                      <a:lnTo>
                        <a:pt x="32" y="1"/>
                      </a:lnTo>
                      <a:lnTo>
                        <a:pt x="32" y="1"/>
                      </a:lnTo>
                      <a:lnTo>
                        <a:pt x="32" y="1"/>
                      </a:lnTo>
                      <a:lnTo>
                        <a:pt x="32" y="1"/>
                      </a:lnTo>
                      <a:lnTo>
                        <a:pt x="32" y="1"/>
                      </a:lnTo>
                      <a:lnTo>
                        <a:pt x="32" y="1"/>
                      </a:lnTo>
                      <a:lnTo>
                        <a:pt x="32" y="1"/>
                      </a:lnTo>
                      <a:lnTo>
                        <a:pt x="32" y="1"/>
                      </a:lnTo>
                      <a:lnTo>
                        <a:pt x="31" y="2"/>
                      </a:lnTo>
                      <a:lnTo>
                        <a:pt x="30" y="2"/>
                      </a:lnTo>
                      <a:lnTo>
                        <a:pt x="30" y="2"/>
                      </a:lnTo>
                      <a:lnTo>
                        <a:pt x="28" y="2"/>
                      </a:lnTo>
                      <a:lnTo>
                        <a:pt x="27" y="2"/>
                      </a:lnTo>
                      <a:lnTo>
                        <a:pt x="27" y="4"/>
                      </a:lnTo>
                      <a:lnTo>
                        <a:pt x="27" y="4"/>
                      </a:lnTo>
                      <a:close/>
                      <a:moveTo>
                        <a:pt x="36" y="1"/>
                      </a:moveTo>
                      <a:lnTo>
                        <a:pt x="34" y="1"/>
                      </a:lnTo>
                      <a:lnTo>
                        <a:pt x="34" y="1"/>
                      </a:lnTo>
                      <a:lnTo>
                        <a:pt x="34" y="1"/>
                      </a:lnTo>
                      <a:lnTo>
                        <a:pt x="34" y="1"/>
                      </a:lnTo>
                      <a:lnTo>
                        <a:pt x="34" y="1"/>
                      </a:lnTo>
                      <a:lnTo>
                        <a:pt x="34" y="1"/>
                      </a:lnTo>
                      <a:lnTo>
                        <a:pt x="34" y="1"/>
                      </a:lnTo>
                      <a:lnTo>
                        <a:pt x="34" y="1"/>
                      </a:lnTo>
                      <a:lnTo>
                        <a:pt x="34" y="0"/>
                      </a:lnTo>
                      <a:lnTo>
                        <a:pt x="34" y="0"/>
                      </a:lnTo>
                      <a:lnTo>
                        <a:pt x="34" y="0"/>
                      </a:lnTo>
                      <a:lnTo>
                        <a:pt x="34" y="1"/>
                      </a:lnTo>
                      <a:lnTo>
                        <a:pt x="36" y="1"/>
                      </a:lnTo>
                      <a:lnTo>
                        <a:pt x="36" y="1"/>
                      </a:lnTo>
                      <a:lnTo>
                        <a:pt x="37" y="1"/>
                      </a:lnTo>
                      <a:lnTo>
                        <a:pt x="38" y="1"/>
                      </a:lnTo>
                      <a:lnTo>
                        <a:pt x="38" y="1"/>
                      </a:lnTo>
                      <a:lnTo>
                        <a:pt x="39" y="1"/>
                      </a:lnTo>
                      <a:lnTo>
                        <a:pt x="39" y="1"/>
                      </a:lnTo>
                      <a:lnTo>
                        <a:pt x="39" y="1"/>
                      </a:lnTo>
                      <a:lnTo>
                        <a:pt x="39" y="1"/>
                      </a:lnTo>
                      <a:lnTo>
                        <a:pt x="39" y="1"/>
                      </a:lnTo>
                      <a:lnTo>
                        <a:pt x="38" y="1"/>
                      </a:lnTo>
                      <a:lnTo>
                        <a:pt x="37" y="1"/>
                      </a:lnTo>
                      <a:lnTo>
                        <a:pt x="37" y="1"/>
                      </a:lnTo>
                      <a:lnTo>
                        <a:pt x="37" y="1"/>
                      </a:lnTo>
                      <a:lnTo>
                        <a:pt x="37" y="1"/>
                      </a:lnTo>
                      <a:lnTo>
                        <a:pt x="36" y="1"/>
                      </a:lnTo>
                      <a:lnTo>
                        <a:pt x="36" y="1"/>
                      </a:lnTo>
                      <a:lnTo>
                        <a:pt x="36" y="1"/>
                      </a:lnTo>
                      <a:close/>
                      <a:moveTo>
                        <a:pt x="41" y="1"/>
                      </a:moveTo>
                      <a:lnTo>
                        <a:pt x="41" y="1"/>
                      </a:lnTo>
                      <a:lnTo>
                        <a:pt x="41" y="1"/>
                      </a:lnTo>
                      <a:lnTo>
                        <a:pt x="41" y="1"/>
                      </a:lnTo>
                      <a:lnTo>
                        <a:pt x="41" y="1"/>
                      </a:lnTo>
                      <a:lnTo>
                        <a:pt x="41" y="1"/>
                      </a:lnTo>
                      <a:lnTo>
                        <a:pt x="41" y="1"/>
                      </a:lnTo>
                      <a:lnTo>
                        <a:pt x="41" y="0"/>
                      </a:lnTo>
                      <a:lnTo>
                        <a:pt x="41" y="0"/>
                      </a:lnTo>
                      <a:lnTo>
                        <a:pt x="41" y="0"/>
                      </a:lnTo>
                      <a:lnTo>
                        <a:pt x="41" y="0"/>
                      </a:lnTo>
                      <a:lnTo>
                        <a:pt x="43" y="0"/>
                      </a:lnTo>
                      <a:lnTo>
                        <a:pt x="44" y="0"/>
                      </a:lnTo>
                      <a:lnTo>
                        <a:pt x="44" y="0"/>
                      </a:lnTo>
                      <a:lnTo>
                        <a:pt x="44" y="0"/>
                      </a:lnTo>
                      <a:lnTo>
                        <a:pt x="45" y="0"/>
                      </a:lnTo>
                      <a:lnTo>
                        <a:pt x="45" y="0"/>
                      </a:lnTo>
                      <a:lnTo>
                        <a:pt x="45" y="0"/>
                      </a:lnTo>
                      <a:lnTo>
                        <a:pt x="45" y="0"/>
                      </a:lnTo>
                      <a:lnTo>
                        <a:pt x="45" y="0"/>
                      </a:lnTo>
                      <a:lnTo>
                        <a:pt x="44" y="0"/>
                      </a:lnTo>
                      <a:lnTo>
                        <a:pt x="43" y="1"/>
                      </a:lnTo>
                      <a:lnTo>
                        <a:pt x="43" y="1"/>
                      </a:lnTo>
                      <a:lnTo>
                        <a:pt x="41" y="1"/>
                      </a:lnTo>
                      <a:lnTo>
                        <a:pt x="41" y="1"/>
                      </a:lnTo>
                      <a:lnTo>
                        <a:pt x="41" y="1"/>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554" name="Namibia">
                  <a:extLst>
                    <a:ext uri="{FF2B5EF4-FFF2-40B4-BE49-F238E27FC236}">
                      <a16:creationId xmlns:a16="http://schemas.microsoft.com/office/drawing/2014/main" id="{F3CD4540-65B9-2F40-AC2B-355FC24B97EF}"/>
                    </a:ext>
                  </a:extLst>
                </p:cNvPr>
                <p:cNvSpPr>
                  <a:spLocks/>
                </p:cNvSpPr>
                <p:nvPr/>
              </p:nvSpPr>
              <p:spPr bwMode="auto">
                <a:xfrm>
                  <a:off x="6669958" y="4495355"/>
                  <a:ext cx="352824" cy="360114"/>
                </a:xfrm>
                <a:custGeom>
                  <a:avLst/>
                  <a:gdLst>
                    <a:gd name="T0" fmla="*/ 47 w 242"/>
                    <a:gd name="T1" fmla="*/ 119 h 247"/>
                    <a:gd name="T2" fmla="*/ 46 w 242"/>
                    <a:gd name="T3" fmla="*/ 123 h 247"/>
                    <a:gd name="T4" fmla="*/ 46 w 242"/>
                    <a:gd name="T5" fmla="*/ 122 h 247"/>
                    <a:gd name="T6" fmla="*/ 45 w 242"/>
                    <a:gd name="T7" fmla="*/ 125 h 247"/>
                    <a:gd name="T8" fmla="*/ 46 w 242"/>
                    <a:gd name="T9" fmla="*/ 132 h 247"/>
                    <a:gd name="T10" fmla="*/ 45 w 242"/>
                    <a:gd name="T11" fmla="*/ 133 h 247"/>
                    <a:gd name="T12" fmla="*/ 46 w 242"/>
                    <a:gd name="T13" fmla="*/ 139 h 247"/>
                    <a:gd name="T14" fmla="*/ 46 w 242"/>
                    <a:gd name="T15" fmla="*/ 143 h 247"/>
                    <a:gd name="T16" fmla="*/ 48 w 242"/>
                    <a:gd name="T17" fmla="*/ 156 h 247"/>
                    <a:gd name="T18" fmla="*/ 52 w 242"/>
                    <a:gd name="T19" fmla="*/ 169 h 247"/>
                    <a:gd name="T20" fmla="*/ 52 w 242"/>
                    <a:gd name="T21" fmla="*/ 176 h 247"/>
                    <a:gd name="T22" fmla="*/ 53 w 242"/>
                    <a:gd name="T23" fmla="*/ 183 h 247"/>
                    <a:gd name="T24" fmla="*/ 53 w 242"/>
                    <a:gd name="T25" fmla="*/ 192 h 247"/>
                    <a:gd name="T26" fmla="*/ 56 w 242"/>
                    <a:gd name="T27" fmla="*/ 199 h 247"/>
                    <a:gd name="T28" fmla="*/ 55 w 242"/>
                    <a:gd name="T29" fmla="*/ 199 h 247"/>
                    <a:gd name="T30" fmla="*/ 57 w 242"/>
                    <a:gd name="T31" fmla="*/ 204 h 247"/>
                    <a:gd name="T32" fmla="*/ 59 w 242"/>
                    <a:gd name="T33" fmla="*/ 213 h 247"/>
                    <a:gd name="T34" fmla="*/ 62 w 242"/>
                    <a:gd name="T35" fmla="*/ 221 h 247"/>
                    <a:gd name="T36" fmla="*/ 70 w 242"/>
                    <a:gd name="T37" fmla="*/ 232 h 247"/>
                    <a:gd name="T38" fmla="*/ 80 w 242"/>
                    <a:gd name="T39" fmla="*/ 237 h 247"/>
                    <a:gd name="T40" fmla="*/ 85 w 242"/>
                    <a:gd name="T41" fmla="*/ 233 h 247"/>
                    <a:gd name="T42" fmla="*/ 86 w 242"/>
                    <a:gd name="T43" fmla="*/ 229 h 247"/>
                    <a:gd name="T44" fmla="*/ 92 w 242"/>
                    <a:gd name="T45" fmla="*/ 229 h 247"/>
                    <a:gd name="T46" fmla="*/ 94 w 242"/>
                    <a:gd name="T47" fmla="*/ 234 h 247"/>
                    <a:gd name="T48" fmla="*/ 95 w 242"/>
                    <a:gd name="T49" fmla="*/ 241 h 247"/>
                    <a:gd name="T50" fmla="*/ 105 w 242"/>
                    <a:gd name="T51" fmla="*/ 243 h 247"/>
                    <a:gd name="T52" fmla="*/ 121 w 242"/>
                    <a:gd name="T53" fmla="*/ 244 h 247"/>
                    <a:gd name="T54" fmla="*/ 127 w 242"/>
                    <a:gd name="T55" fmla="*/ 242 h 247"/>
                    <a:gd name="T56" fmla="*/ 134 w 242"/>
                    <a:gd name="T57" fmla="*/ 239 h 247"/>
                    <a:gd name="T58" fmla="*/ 143 w 242"/>
                    <a:gd name="T59" fmla="*/ 161 h 247"/>
                    <a:gd name="T60" fmla="*/ 207 w 242"/>
                    <a:gd name="T61" fmla="*/ 21 h 247"/>
                    <a:gd name="T62" fmla="*/ 212 w 242"/>
                    <a:gd name="T63" fmla="*/ 28 h 247"/>
                    <a:gd name="T64" fmla="*/ 214 w 242"/>
                    <a:gd name="T65" fmla="*/ 29 h 247"/>
                    <a:gd name="T66" fmla="*/ 227 w 242"/>
                    <a:gd name="T67" fmla="*/ 20 h 247"/>
                    <a:gd name="T68" fmla="*/ 233 w 242"/>
                    <a:gd name="T69" fmla="*/ 19 h 247"/>
                    <a:gd name="T70" fmla="*/ 240 w 242"/>
                    <a:gd name="T71" fmla="*/ 17 h 247"/>
                    <a:gd name="T72" fmla="*/ 239 w 242"/>
                    <a:gd name="T73" fmla="*/ 15 h 247"/>
                    <a:gd name="T74" fmla="*/ 233 w 242"/>
                    <a:gd name="T75" fmla="*/ 12 h 247"/>
                    <a:gd name="T76" fmla="*/ 226 w 242"/>
                    <a:gd name="T77" fmla="*/ 10 h 247"/>
                    <a:gd name="T78" fmla="*/ 172 w 242"/>
                    <a:gd name="T79" fmla="*/ 21 h 247"/>
                    <a:gd name="T80" fmla="*/ 161 w 242"/>
                    <a:gd name="T81" fmla="*/ 21 h 247"/>
                    <a:gd name="T82" fmla="*/ 155 w 242"/>
                    <a:gd name="T83" fmla="*/ 20 h 247"/>
                    <a:gd name="T84" fmla="*/ 147 w 242"/>
                    <a:gd name="T85" fmla="*/ 19 h 247"/>
                    <a:gd name="T86" fmla="*/ 142 w 242"/>
                    <a:gd name="T87" fmla="*/ 19 h 247"/>
                    <a:gd name="T88" fmla="*/ 134 w 242"/>
                    <a:gd name="T89" fmla="*/ 17 h 247"/>
                    <a:gd name="T90" fmla="*/ 123 w 242"/>
                    <a:gd name="T91" fmla="*/ 14 h 247"/>
                    <a:gd name="T92" fmla="*/ 120 w 242"/>
                    <a:gd name="T93" fmla="*/ 8 h 247"/>
                    <a:gd name="T94" fmla="*/ 37 w 242"/>
                    <a:gd name="T95" fmla="*/ 7 h 247"/>
                    <a:gd name="T96" fmla="*/ 27 w 242"/>
                    <a:gd name="T97" fmla="*/ 1 h 247"/>
                    <a:gd name="T98" fmla="*/ 15 w 242"/>
                    <a:gd name="T99" fmla="*/ 3 h 247"/>
                    <a:gd name="T100" fmla="*/ 7 w 242"/>
                    <a:gd name="T101" fmla="*/ 5 h 247"/>
                    <a:gd name="T102" fmla="*/ 0 w 242"/>
                    <a:gd name="T103" fmla="*/ 6 h 247"/>
                    <a:gd name="T104" fmla="*/ 0 w 242"/>
                    <a:gd name="T105" fmla="*/ 20 h 247"/>
                    <a:gd name="T106" fmla="*/ 5 w 242"/>
                    <a:gd name="T107" fmla="*/ 30 h 247"/>
                    <a:gd name="T108" fmla="*/ 14 w 242"/>
                    <a:gd name="T109" fmla="*/ 43 h 247"/>
                    <a:gd name="T110" fmla="*/ 23 w 242"/>
                    <a:gd name="T111" fmla="*/ 66 h 247"/>
                    <a:gd name="T112" fmla="*/ 28 w 242"/>
                    <a:gd name="T113" fmla="*/ 79 h 247"/>
                    <a:gd name="T114" fmla="*/ 30 w 242"/>
                    <a:gd name="T115" fmla="*/ 85 h 247"/>
                    <a:gd name="T116" fmla="*/ 36 w 242"/>
                    <a:gd name="T117" fmla="*/ 94 h 247"/>
                    <a:gd name="T118" fmla="*/ 37 w 242"/>
                    <a:gd name="T119" fmla="*/ 99 h 247"/>
                    <a:gd name="T120" fmla="*/ 46 w 242"/>
                    <a:gd name="T121" fmla="*/ 113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42" h="247">
                      <a:moveTo>
                        <a:pt x="47" y="114"/>
                      </a:moveTo>
                      <a:lnTo>
                        <a:pt x="47" y="115"/>
                      </a:lnTo>
                      <a:lnTo>
                        <a:pt x="47" y="116"/>
                      </a:lnTo>
                      <a:lnTo>
                        <a:pt x="47" y="117"/>
                      </a:lnTo>
                      <a:lnTo>
                        <a:pt x="47" y="119"/>
                      </a:lnTo>
                      <a:lnTo>
                        <a:pt x="47" y="119"/>
                      </a:lnTo>
                      <a:lnTo>
                        <a:pt x="47" y="121"/>
                      </a:lnTo>
                      <a:lnTo>
                        <a:pt x="47" y="121"/>
                      </a:lnTo>
                      <a:lnTo>
                        <a:pt x="47" y="122"/>
                      </a:lnTo>
                      <a:lnTo>
                        <a:pt x="47" y="123"/>
                      </a:lnTo>
                      <a:lnTo>
                        <a:pt x="46" y="125"/>
                      </a:lnTo>
                      <a:lnTo>
                        <a:pt x="46" y="123"/>
                      </a:lnTo>
                      <a:lnTo>
                        <a:pt x="46" y="123"/>
                      </a:lnTo>
                      <a:lnTo>
                        <a:pt x="46" y="123"/>
                      </a:lnTo>
                      <a:lnTo>
                        <a:pt x="46" y="123"/>
                      </a:lnTo>
                      <a:lnTo>
                        <a:pt x="46" y="122"/>
                      </a:lnTo>
                      <a:lnTo>
                        <a:pt x="46" y="122"/>
                      </a:lnTo>
                      <a:lnTo>
                        <a:pt x="46" y="122"/>
                      </a:lnTo>
                      <a:lnTo>
                        <a:pt x="46" y="121"/>
                      </a:lnTo>
                      <a:lnTo>
                        <a:pt x="45" y="122"/>
                      </a:lnTo>
                      <a:lnTo>
                        <a:pt x="45" y="122"/>
                      </a:lnTo>
                      <a:lnTo>
                        <a:pt x="45" y="123"/>
                      </a:lnTo>
                      <a:lnTo>
                        <a:pt x="45" y="123"/>
                      </a:lnTo>
                      <a:lnTo>
                        <a:pt x="45" y="125"/>
                      </a:lnTo>
                      <a:lnTo>
                        <a:pt x="45" y="127"/>
                      </a:lnTo>
                      <a:lnTo>
                        <a:pt x="46" y="128"/>
                      </a:lnTo>
                      <a:lnTo>
                        <a:pt x="46" y="129"/>
                      </a:lnTo>
                      <a:lnTo>
                        <a:pt x="46" y="129"/>
                      </a:lnTo>
                      <a:lnTo>
                        <a:pt x="47" y="130"/>
                      </a:lnTo>
                      <a:lnTo>
                        <a:pt x="46" y="132"/>
                      </a:lnTo>
                      <a:lnTo>
                        <a:pt x="46" y="132"/>
                      </a:lnTo>
                      <a:lnTo>
                        <a:pt x="46" y="133"/>
                      </a:lnTo>
                      <a:lnTo>
                        <a:pt x="46" y="132"/>
                      </a:lnTo>
                      <a:lnTo>
                        <a:pt x="46" y="132"/>
                      </a:lnTo>
                      <a:lnTo>
                        <a:pt x="46" y="132"/>
                      </a:lnTo>
                      <a:lnTo>
                        <a:pt x="45" y="133"/>
                      </a:lnTo>
                      <a:lnTo>
                        <a:pt x="46" y="133"/>
                      </a:lnTo>
                      <a:lnTo>
                        <a:pt x="46" y="134"/>
                      </a:lnTo>
                      <a:lnTo>
                        <a:pt x="47" y="135"/>
                      </a:lnTo>
                      <a:lnTo>
                        <a:pt x="47" y="136"/>
                      </a:lnTo>
                      <a:lnTo>
                        <a:pt x="47" y="137"/>
                      </a:lnTo>
                      <a:lnTo>
                        <a:pt x="46" y="139"/>
                      </a:lnTo>
                      <a:lnTo>
                        <a:pt x="46" y="140"/>
                      </a:lnTo>
                      <a:lnTo>
                        <a:pt x="46" y="140"/>
                      </a:lnTo>
                      <a:lnTo>
                        <a:pt x="46" y="141"/>
                      </a:lnTo>
                      <a:lnTo>
                        <a:pt x="46" y="143"/>
                      </a:lnTo>
                      <a:lnTo>
                        <a:pt x="46" y="143"/>
                      </a:lnTo>
                      <a:lnTo>
                        <a:pt x="46" y="143"/>
                      </a:lnTo>
                      <a:lnTo>
                        <a:pt x="46" y="147"/>
                      </a:lnTo>
                      <a:lnTo>
                        <a:pt x="47" y="149"/>
                      </a:lnTo>
                      <a:lnTo>
                        <a:pt x="48" y="154"/>
                      </a:lnTo>
                      <a:lnTo>
                        <a:pt x="48" y="155"/>
                      </a:lnTo>
                      <a:lnTo>
                        <a:pt x="48" y="155"/>
                      </a:lnTo>
                      <a:lnTo>
                        <a:pt x="48" y="156"/>
                      </a:lnTo>
                      <a:lnTo>
                        <a:pt x="50" y="159"/>
                      </a:lnTo>
                      <a:lnTo>
                        <a:pt x="50" y="161"/>
                      </a:lnTo>
                      <a:lnTo>
                        <a:pt x="52" y="162"/>
                      </a:lnTo>
                      <a:lnTo>
                        <a:pt x="52" y="163"/>
                      </a:lnTo>
                      <a:lnTo>
                        <a:pt x="52" y="166"/>
                      </a:lnTo>
                      <a:lnTo>
                        <a:pt x="52" y="169"/>
                      </a:lnTo>
                      <a:lnTo>
                        <a:pt x="50" y="170"/>
                      </a:lnTo>
                      <a:lnTo>
                        <a:pt x="52" y="173"/>
                      </a:lnTo>
                      <a:lnTo>
                        <a:pt x="52" y="174"/>
                      </a:lnTo>
                      <a:lnTo>
                        <a:pt x="52" y="175"/>
                      </a:lnTo>
                      <a:lnTo>
                        <a:pt x="52" y="176"/>
                      </a:lnTo>
                      <a:lnTo>
                        <a:pt x="52" y="176"/>
                      </a:lnTo>
                      <a:lnTo>
                        <a:pt x="52" y="177"/>
                      </a:lnTo>
                      <a:lnTo>
                        <a:pt x="52" y="179"/>
                      </a:lnTo>
                      <a:lnTo>
                        <a:pt x="50" y="180"/>
                      </a:lnTo>
                      <a:lnTo>
                        <a:pt x="52" y="181"/>
                      </a:lnTo>
                      <a:lnTo>
                        <a:pt x="53" y="182"/>
                      </a:lnTo>
                      <a:lnTo>
                        <a:pt x="53" y="183"/>
                      </a:lnTo>
                      <a:lnTo>
                        <a:pt x="53" y="186"/>
                      </a:lnTo>
                      <a:lnTo>
                        <a:pt x="54" y="187"/>
                      </a:lnTo>
                      <a:lnTo>
                        <a:pt x="54" y="187"/>
                      </a:lnTo>
                      <a:lnTo>
                        <a:pt x="53" y="188"/>
                      </a:lnTo>
                      <a:lnTo>
                        <a:pt x="53" y="189"/>
                      </a:lnTo>
                      <a:lnTo>
                        <a:pt x="53" y="192"/>
                      </a:lnTo>
                      <a:lnTo>
                        <a:pt x="55" y="194"/>
                      </a:lnTo>
                      <a:lnTo>
                        <a:pt x="56" y="197"/>
                      </a:lnTo>
                      <a:lnTo>
                        <a:pt x="56" y="197"/>
                      </a:lnTo>
                      <a:lnTo>
                        <a:pt x="56" y="199"/>
                      </a:lnTo>
                      <a:lnTo>
                        <a:pt x="56" y="199"/>
                      </a:lnTo>
                      <a:lnTo>
                        <a:pt x="56" y="199"/>
                      </a:lnTo>
                      <a:lnTo>
                        <a:pt x="56" y="199"/>
                      </a:lnTo>
                      <a:lnTo>
                        <a:pt x="56" y="200"/>
                      </a:lnTo>
                      <a:lnTo>
                        <a:pt x="55" y="200"/>
                      </a:lnTo>
                      <a:lnTo>
                        <a:pt x="55" y="199"/>
                      </a:lnTo>
                      <a:lnTo>
                        <a:pt x="55" y="199"/>
                      </a:lnTo>
                      <a:lnTo>
                        <a:pt x="55" y="199"/>
                      </a:lnTo>
                      <a:lnTo>
                        <a:pt x="55" y="200"/>
                      </a:lnTo>
                      <a:lnTo>
                        <a:pt x="55" y="203"/>
                      </a:lnTo>
                      <a:lnTo>
                        <a:pt x="56" y="204"/>
                      </a:lnTo>
                      <a:lnTo>
                        <a:pt x="56" y="204"/>
                      </a:lnTo>
                      <a:lnTo>
                        <a:pt x="57" y="204"/>
                      </a:lnTo>
                      <a:lnTo>
                        <a:pt x="57" y="204"/>
                      </a:lnTo>
                      <a:lnTo>
                        <a:pt x="57" y="207"/>
                      </a:lnTo>
                      <a:lnTo>
                        <a:pt x="57" y="208"/>
                      </a:lnTo>
                      <a:lnTo>
                        <a:pt x="57" y="209"/>
                      </a:lnTo>
                      <a:lnTo>
                        <a:pt x="57" y="210"/>
                      </a:lnTo>
                      <a:lnTo>
                        <a:pt x="57" y="212"/>
                      </a:lnTo>
                      <a:lnTo>
                        <a:pt x="59" y="213"/>
                      </a:lnTo>
                      <a:lnTo>
                        <a:pt x="60" y="215"/>
                      </a:lnTo>
                      <a:lnTo>
                        <a:pt x="60" y="215"/>
                      </a:lnTo>
                      <a:lnTo>
                        <a:pt x="61" y="217"/>
                      </a:lnTo>
                      <a:lnTo>
                        <a:pt x="62" y="220"/>
                      </a:lnTo>
                      <a:lnTo>
                        <a:pt x="62" y="220"/>
                      </a:lnTo>
                      <a:lnTo>
                        <a:pt x="62" y="221"/>
                      </a:lnTo>
                      <a:lnTo>
                        <a:pt x="65" y="223"/>
                      </a:lnTo>
                      <a:lnTo>
                        <a:pt x="65" y="226"/>
                      </a:lnTo>
                      <a:lnTo>
                        <a:pt x="66" y="227"/>
                      </a:lnTo>
                      <a:lnTo>
                        <a:pt x="67" y="228"/>
                      </a:lnTo>
                      <a:lnTo>
                        <a:pt x="68" y="230"/>
                      </a:lnTo>
                      <a:lnTo>
                        <a:pt x="70" y="232"/>
                      </a:lnTo>
                      <a:lnTo>
                        <a:pt x="73" y="235"/>
                      </a:lnTo>
                      <a:lnTo>
                        <a:pt x="74" y="235"/>
                      </a:lnTo>
                      <a:lnTo>
                        <a:pt x="76" y="239"/>
                      </a:lnTo>
                      <a:lnTo>
                        <a:pt x="77" y="240"/>
                      </a:lnTo>
                      <a:lnTo>
                        <a:pt x="77" y="239"/>
                      </a:lnTo>
                      <a:lnTo>
                        <a:pt x="80" y="237"/>
                      </a:lnTo>
                      <a:lnTo>
                        <a:pt x="81" y="236"/>
                      </a:lnTo>
                      <a:lnTo>
                        <a:pt x="83" y="236"/>
                      </a:lnTo>
                      <a:lnTo>
                        <a:pt x="85" y="237"/>
                      </a:lnTo>
                      <a:lnTo>
                        <a:pt x="85" y="236"/>
                      </a:lnTo>
                      <a:lnTo>
                        <a:pt x="83" y="234"/>
                      </a:lnTo>
                      <a:lnTo>
                        <a:pt x="85" y="233"/>
                      </a:lnTo>
                      <a:lnTo>
                        <a:pt x="85" y="232"/>
                      </a:lnTo>
                      <a:lnTo>
                        <a:pt x="85" y="232"/>
                      </a:lnTo>
                      <a:lnTo>
                        <a:pt x="85" y="230"/>
                      </a:lnTo>
                      <a:lnTo>
                        <a:pt x="85" y="229"/>
                      </a:lnTo>
                      <a:lnTo>
                        <a:pt x="85" y="228"/>
                      </a:lnTo>
                      <a:lnTo>
                        <a:pt x="86" y="229"/>
                      </a:lnTo>
                      <a:lnTo>
                        <a:pt x="87" y="227"/>
                      </a:lnTo>
                      <a:lnTo>
                        <a:pt x="87" y="226"/>
                      </a:lnTo>
                      <a:lnTo>
                        <a:pt x="89" y="226"/>
                      </a:lnTo>
                      <a:lnTo>
                        <a:pt x="89" y="228"/>
                      </a:lnTo>
                      <a:lnTo>
                        <a:pt x="90" y="228"/>
                      </a:lnTo>
                      <a:lnTo>
                        <a:pt x="92" y="229"/>
                      </a:lnTo>
                      <a:lnTo>
                        <a:pt x="92" y="230"/>
                      </a:lnTo>
                      <a:lnTo>
                        <a:pt x="92" y="232"/>
                      </a:lnTo>
                      <a:lnTo>
                        <a:pt x="93" y="230"/>
                      </a:lnTo>
                      <a:lnTo>
                        <a:pt x="94" y="230"/>
                      </a:lnTo>
                      <a:lnTo>
                        <a:pt x="95" y="232"/>
                      </a:lnTo>
                      <a:lnTo>
                        <a:pt x="94" y="234"/>
                      </a:lnTo>
                      <a:lnTo>
                        <a:pt x="93" y="235"/>
                      </a:lnTo>
                      <a:lnTo>
                        <a:pt x="94" y="237"/>
                      </a:lnTo>
                      <a:lnTo>
                        <a:pt x="95" y="239"/>
                      </a:lnTo>
                      <a:lnTo>
                        <a:pt x="94" y="240"/>
                      </a:lnTo>
                      <a:lnTo>
                        <a:pt x="94" y="241"/>
                      </a:lnTo>
                      <a:lnTo>
                        <a:pt x="95" y="241"/>
                      </a:lnTo>
                      <a:lnTo>
                        <a:pt x="96" y="241"/>
                      </a:lnTo>
                      <a:lnTo>
                        <a:pt x="97" y="242"/>
                      </a:lnTo>
                      <a:lnTo>
                        <a:pt x="97" y="242"/>
                      </a:lnTo>
                      <a:lnTo>
                        <a:pt x="100" y="242"/>
                      </a:lnTo>
                      <a:lnTo>
                        <a:pt x="102" y="242"/>
                      </a:lnTo>
                      <a:lnTo>
                        <a:pt x="105" y="243"/>
                      </a:lnTo>
                      <a:lnTo>
                        <a:pt x="108" y="246"/>
                      </a:lnTo>
                      <a:lnTo>
                        <a:pt x="108" y="244"/>
                      </a:lnTo>
                      <a:lnTo>
                        <a:pt x="110" y="244"/>
                      </a:lnTo>
                      <a:lnTo>
                        <a:pt x="112" y="244"/>
                      </a:lnTo>
                      <a:lnTo>
                        <a:pt x="117" y="243"/>
                      </a:lnTo>
                      <a:lnTo>
                        <a:pt x="121" y="244"/>
                      </a:lnTo>
                      <a:lnTo>
                        <a:pt x="122" y="244"/>
                      </a:lnTo>
                      <a:lnTo>
                        <a:pt x="122" y="247"/>
                      </a:lnTo>
                      <a:lnTo>
                        <a:pt x="125" y="246"/>
                      </a:lnTo>
                      <a:lnTo>
                        <a:pt x="127" y="246"/>
                      </a:lnTo>
                      <a:lnTo>
                        <a:pt x="126" y="244"/>
                      </a:lnTo>
                      <a:lnTo>
                        <a:pt x="127" y="242"/>
                      </a:lnTo>
                      <a:lnTo>
                        <a:pt x="128" y="241"/>
                      </a:lnTo>
                      <a:lnTo>
                        <a:pt x="129" y="240"/>
                      </a:lnTo>
                      <a:lnTo>
                        <a:pt x="132" y="239"/>
                      </a:lnTo>
                      <a:lnTo>
                        <a:pt x="133" y="239"/>
                      </a:lnTo>
                      <a:lnTo>
                        <a:pt x="134" y="237"/>
                      </a:lnTo>
                      <a:lnTo>
                        <a:pt x="134" y="239"/>
                      </a:lnTo>
                      <a:lnTo>
                        <a:pt x="135" y="237"/>
                      </a:lnTo>
                      <a:lnTo>
                        <a:pt x="136" y="236"/>
                      </a:lnTo>
                      <a:lnTo>
                        <a:pt x="137" y="235"/>
                      </a:lnTo>
                      <a:lnTo>
                        <a:pt x="137" y="235"/>
                      </a:lnTo>
                      <a:lnTo>
                        <a:pt x="140" y="235"/>
                      </a:lnTo>
                      <a:lnTo>
                        <a:pt x="143" y="161"/>
                      </a:lnTo>
                      <a:lnTo>
                        <a:pt x="145" y="103"/>
                      </a:lnTo>
                      <a:lnTo>
                        <a:pt x="162" y="103"/>
                      </a:lnTo>
                      <a:lnTo>
                        <a:pt x="165" y="27"/>
                      </a:lnTo>
                      <a:lnTo>
                        <a:pt x="173" y="27"/>
                      </a:lnTo>
                      <a:lnTo>
                        <a:pt x="202" y="21"/>
                      </a:lnTo>
                      <a:lnTo>
                        <a:pt x="207" y="21"/>
                      </a:lnTo>
                      <a:lnTo>
                        <a:pt x="207" y="23"/>
                      </a:lnTo>
                      <a:lnTo>
                        <a:pt x="208" y="25"/>
                      </a:lnTo>
                      <a:lnTo>
                        <a:pt x="208" y="26"/>
                      </a:lnTo>
                      <a:lnTo>
                        <a:pt x="209" y="26"/>
                      </a:lnTo>
                      <a:lnTo>
                        <a:pt x="210" y="27"/>
                      </a:lnTo>
                      <a:lnTo>
                        <a:pt x="212" y="28"/>
                      </a:lnTo>
                      <a:lnTo>
                        <a:pt x="210" y="29"/>
                      </a:lnTo>
                      <a:lnTo>
                        <a:pt x="210" y="30"/>
                      </a:lnTo>
                      <a:lnTo>
                        <a:pt x="213" y="32"/>
                      </a:lnTo>
                      <a:lnTo>
                        <a:pt x="213" y="30"/>
                      </a:lnTo>
                      <a:lnTo>
                        <a:pt x="213" y="29"/>
                      </a:lnTo>
                      <a:lnTo>
                        <a:pt x="214" y="29"/>
                      </a:lnTo>
                      <a:lnTo>
                        <a:pt x="217" y="26"/>
                      </a:lnTo>
                      <a:lnTo>
                        <a:pt x="221" y="23"/>
                      </a:lnTo>
                      <a:lnTo>
                        <a:pt x="223" y="21"/>
                      </a:lnTo>
                      <a:lnTo>
                        <a:pt x="224" y="22"/>
                      </a:lnTo>
                      <a:lnTo>
                        <a:pt x="226" y="20"/>
                      </a:lnTo>
                      <a:lnTo>
                        <a:pt x="227" y="20"/>
                      </a:lnTo>
                      <a:lnTo>
                        <a:pt x="228" y="22"/>
                      </a:lnTo>
                      <a:lnTo>
                        <a:pt x="229" y="22"/>
                      </a:lnTo>
                      <a:lnTo>
                        <a:pt x="230" y="21"/>
                      </a:lnTo>
                      <a:lnTo>
                        <a:pt x="230" y="20"/>
                      </a:lnTo>
                      <a:lnTo>
                        <a:pt x="232" y="19"/>
                      </a:lnTo>
                      <a:lnTo>
                        <a:pt x="233" y="19"/>
                      </a:lnTo>
                      <a:lnTo>
                        <a:pt x="235" y="17"/>
                      </a:lnTo>
                      <a:lnTo>
                        <a:pt x="236" y="17"/>
                      </a:lnTo>
                      <a:lnTo>
                        <a:pt x="237" y="16"/>
                      </a:lnTo>
                      <a:lnTo>
                        <a:pt x="237" y="17"/>
                      </a:lnTo>
                      <a:lnTo>
                        <a:pt x="239" y="17"/>
                      </a:lnTo>
                      <a:lnTo>
                        <a:pt x="240" y="17"/>
                      </a:lnTo>
                      <a:lnTo>
                        <a:pt x="240" y="16"/>
                      </a:lnTo>
                      <a:lnTo>
                        <a:pt x="242" y="16"/>
                      </a:lnTo>
                      <a:lnTo>
                        <a:pt x="241" y="16"/>
                      </a:lnTo>
                      <a:lnTo>
                        <a:pt x="240" y="16"/>
                      </a:lnTo>
                      <a:lnTo>
                        <a:pt x="240" y="15"/>
                      </a:lnTo>
                      <a:lnTo>
                        <a:pt x="239" y="15"/>
                      </a:lnTo>
                      <a:lnTo>
                        <a:pt x="239" y="13"/>
                      </a:lnTo>
                      <a:lnTo>
                        <a:pt x="237" y="13"/>
                      </a:lnTo>
                      <a:lnTo>
                        <a:pt x="237" y="13"/>
                      </a:lnTo>
                      <a:lnTo>
                        <a:pt x="236" y="12"/>
                      </a:lnTo>
                      <a:lnTo>
                        <a:pt x="235" y="12"/>
                      </a:lnTo>
                      <a:lnTo>
                        <a:pt x="233" y="12"/>
                      </a:lnTo>
                      <a:lnTo>
                        <a:pt x="232" y="10"/>
                      </a:lnTo>
                      <a:lnTo>
                        <a:pt x="230" y="10"/>
                      </a:lnTo>
                      <a:lnTo>
                        <a:pt x="230" y="12"/>
                      </a:lnTo>
                      <a:lnTo>
                        <a:pt x="229" y="12"/>
                      </a:lnTo>
                      <a:lnTo>
                        <a:pt x="228" y="10"/>
                      </a:lnTo>
                      <a:lnTo>
                        <a:pt x="226" y="10"/>
                      </a:lnTo>
                      <a:lnTo>
                        <a:pt x="226" y="10"/>
                      </a:lnTo>
                      <a:lnTo>
                        <a:pt x="224" y="10"/>
                      </a:lnTo>
                      <a:lnTo>
                        <a:pt x="224" y="10"/>
                      </a:lnTo>
                      <a:lnTo>
                        <a:pt x="222" y="10"/>
                      </a:lnTo>
                      <a:lnTo>
                        <a:pt x="210" y="14"/>
                      </a:lnTo>
                      <a:lnTo>
                        <a:pt x="172" y="21"/>
                      </a:lnTo>
                      <a:lnTo>
                        <a:pt x="169" y="21"/>
                      </a:lnTo>
                      <a:lnTo>
                        <a:pt x="169" y="20"/>
                      </a:lnTo>
                      <a:lnTo>
                        <a:pt x="166" y="20"/>
                      </a:lnTo>
                      <a:lnTo>
                        <a:pt x="163" y="21"/>
                      </a:lnTo>
                      <a:lnTo>
                        <a:pt x="162" y="22"/>
                      </a:lnTo>
                      <a:lnTo>
                        <a:pt x="161" y="21"/>
                      </a:lnTo>
                      <a:lnTo>
                        <a:pt x="161" y="21"/>
                      </a:lnTo>
                      <a:lnTo>
                        <a:pt x="160" y="21"/>
                      </a:lnTo>
                      <a:lnTo>
                        <a:pt x="159" y="21"/>
                      </a:lnTo>
                      <a:lnTo>
                        <a:pt x="157" y="21"/>
                      </a:lnTo>
                      <a:lnTo>
                        <a:pt x="156" y="21"/>
                      </a:lnTo>
                      <a:lnTo>
                        <a:pt x="155" y="20"/>
                      </a:lnTo>
                      <a:lnTo>
                        <a:pt x="153" y="19"/>
                      </a:lnTo>
                      <a:lnTo>
                        <a:pt x="152" y="19"/>
                      </a:lnTo>
                      <a:lnTo>
                        <a:pt x="150" y="19"/>
                      </a:lnTo>
                      <a:lnTo>
                        <a:pt x="149" y="20"/>
                      </a:lnTo>
                      <a:lnTo>
                        <a:pt x="149" y="19"/>
                      </a:lnTo>
                      <a:lnTo>
                        <a:pt x="147" y="19"/>
                      </a:lnTo>
                      <a:lnTo>
                        <a:pt x="146" y="19"/>
                      </a:lnTo>
                      <a:lnTo>
                        <a:pt x="145" y="19"/>
                      </a:lnTo>
                      <a:lnTo>
                        <a:pt x="143" y="19"/>
                      </a:lnTo>
                      <a:lnTo>
                        <a:pt x="143" y="19"/>
                      </a:lnTo>
                      <a:lnTo>
                        <a:pt x="142" y="19"/>
                      </a:lnTo>
                      <a:lnTo>
                        <a:pt x="142" y="19"/>
                      </a:lnTo>
                      <a:lnTo>
                        <a:pt x="142" y="17"/>
                      </a:lnTo>
                      <a:lnTo>
                        <a:pt x="140" y="19"/>
                      </a:lnTo>
                      <a:lnTo>
                        <a:pt x="135" y="17"/>
                      </a:lnTo>
                      <a:lnTo>
                        <a:pt x="135" y="17"/>
                      </a:lnTo>
                      <a:lnTo>
                        <a:pt x="134" y="17"/>
                      </a:lnTo>
                      <a:lnTo>
                        <a:pt x="134" y="17"/>
                      </a:lnTo>
                      <a:lnTo>
                        <a:pt x="133" y="17"/>
                      </a:lnTo>
                      <a:lnTo>
                        <a:pt x="132" y="17"/>
                      </a:lnTo>
                      <a:lnTo>
                        <a:pt x="132" y="19"/>
                      </a:lnTo>
                      <a:lnTo>
                        <a:pt x="129" y="17"/>
                      </a:lnTo>
                      <a:lnTo>
                        <a:pt x="126" y="16"/>
                      </a:lnTo>
                      <a:lnTo>
                        <a:pt x="123" y="14"/>
                      </a:lnTo>
                      <a:lnTo>
                        <a:pt x="123" y="14"/>
                      </a:lnTo>
                      <a:lnTo>
                        <a:pt x="122" y="13"/>
                      </a:lnTo>
                      <a:lnTo>
                        <a:pt x="121" y="13"/>
                      </a:lnTo>
                      <a:lnTo>
                        <a:pt x="121" y="12"/>
                      </a:lnTo>
                      <a:lnTo>
                        <a:pt x="120" y="9"/>
                      </a:lnTo>
                      <a:lnTo>
                        <a:pt x="120" y="8"/>
                      </a:lnTo>
                      <a:lnTo>
                        <a:pt x="76" y="8"/>
                      </a:lnTo>
                      <a:lnTo>
                        <a:pt x="45" y="8"/>
                      </a:lnTo>
                      <a:lnTo>
                        <a:pt x="43" y="9"/>
                      </a:lnTo>
                      <a:lnTo>
                        <a:pt x="40" y="9"/>
                      </a:lnTo>
                      <a:lnTo>
                        <a:pt x="39" y="9"/>
                      </a:lnTo>
                      <a:lnTo>
                        <a:pt x="37" y="7"/>
                      </a:lnTo>
                      <a:lnTo>
                        <a:pt x="36" y="6"/>
                      </a:lnTo>
                      <a:lnTo>
                        <a:pt x="32" y="3"/>
                      </a:lnTo>
                      <a:lnTo>
                        <a:pt x="32" y="2"/>
                      </a:lnTo>
                      <a:lnTo>
                        <a:pt x="30" y="2"/>
                      </a:lnTo>
                      <a:lnTo>
                        <a:pt x="29" y="1"/>
                      </a:lnTo>
                      <a:lnTo>
                        <a:pt x="27" y="1"/>
                      </a:lnTo>
                      <a:lnTo>
                        <a:pt x="26" y="0"/>
                      </a:lnTo>
                      <a:lnTo>
                        <a:pt x="23" y="0"/>
                      </a:lnTo>
                      <a:lnTo>
                        <a:pt x="22" y="0"/>
                      </a:lnTo>
                      <a:lnTo>
                        <a:pt x="20" y="2"/>
                      </a:lnTo>
                      <a:lnTo>
                        <a:pt x="16" y="3"/>
                      </a:lnTo>
                      <a:lnTo>
                        <a:pt x="15" y="3"/>
                      </a:lnTo>
                      <a:lnTo>
                        <a:pt x="15" y="5"/>
                      </a:lnTo>
                      <a:lnTo>
                        <a:pt x="14" y="6"/>
                      </a:lnTo>
                      <a:lnTo>
                        <a:pt x="12" y="6"/>
                      </a:lnTo>
                      <a:lnTo>
                        <a:pt x="9" y="6"/>
                      </a:lnTo>
                      <a:lnTo>
                        <a:pt x="8" y="5"/>
                      </a:lnTo>
                      <a:lnTo>
                        <a:pt x="7" y="5"/>
                      </a:lnTo>
                      <a:lnTo>
                        <a:pt x="5" y="3"/>
                      </a:lnTo>
                      <a:lnTo>
                        <a:pt x="3" y="5"/>
                      </a:lnTo>
                      <a:lnTo>
                        <a:pt x="2" y="6"/>
                      </a:lnTo>
                      <a:lnTo>
                        <a:pt x="1" y="6"/>
                      </a:lnTo>
                      <a:lnTo>
                        <a:pt x="1" y="6"/>
                      </a:lnTo>
                      <a:lnTo>
                        <a:pt x="0" y="6"/>
                      </a:lnTo>
                      <a:lnTo>
                        <a:pt x="0" y="6"/>
                      </a:lnTo>
                      <a:lnTo>
                        <a:pt x="0" y="8"/>
                      </a:lnTo>
                      <a:lnTo>
                        <a:pt x="0" y="12"/>
                      </a:lnTo>
                      <a:lnTo>
                        <a:pt x="0" y="16"/>
                      </a:lnTo>
                      <a:lnTo>
                        <a:pt x="0" y="19"/>
                      </a:lnTo>
                      <a:lnTo>
                        <a:pt x="0" y="20"/>
                      </a:lnTo>
                      <a:lnTo>
                        <a:pt x="1" y="22"/>
                      </a:lnTo>
                      <a:lnTo>
                        <a:pt x="3" y="26"/>
                      </a:lnTo>
                      <a:lnTo>
                        <a:pt x="3" y="27"/>
                      </a:lnTo>
                      <a:lnTo>
                        <a:pt x="5" y="28"/>
                      </a:lnTo>
                      <a:lnTo>
                        <a:pt x="5" y="29"/>
                      </a:lnTo>
                      <a:lnTo>
                        <a:pt x="5" y="30"/>
                      </a:lnTo>
                      <a:lnTo>
                        <a:pt x="7" y="33"/>
                      </a:lnTo>
                      <a:lnTo>
                        <a:pt x="9" y="35"/>
                      </a:lnTo>
                      <a:lnTo>
                        <a:pt x="13" y="41"/>
                      </a:lnTo>
                      <a:lnTo>
                        <a:pt x="13" y="42"/>
                      </a:lnTo>
                      <a:lnTo>
                        <a:pt x="13" y="42"/>
                      </a:lnTo>
                      <a:lnTo>
                        <a:pt x="14" y="43"/>
                      </a:lnTo>
                      <a:lnTo>
                        <a:pt x="15" y="47"/>
                      </a:lnTo>
                      <a:lnTo>
                        <a:pt x="16" y="48"/>
                      </a:lnTo>
                      <a:lnTo>
                        <a:pt x="16" y="50"/>
                      </a:lnTo>
                      <a:lnTo>
                        <a:pt x="22" y="61"/>
                      </a:lnTo>
                      <a:lnTo>
                        <a:pt x="22" y="63"/>
                      </a:lnTo>
                      <a:lnTo>
                        <a:pt x="23" y="66"/>
                      </a:lnTo>
                      <a:lnTo>
                        <a:pt x="25" y="66"/>
                      </a:lnTo>
                      <a:lnTo>
                        <a:pt x="25" y="68"/>
                      </a:lnTo>
                      <a:lnTo>
                        <a:pt x="26" y="72"/>
                      </a:lnTo>
                      <a:lnTo>
                        <a:pt x="28" y="76"/>
                      </a:lnTo>
                      <a:lnTo>
                        <a:pt x="28" y="77"/>
                      </a:lnTo>
                      <a:lnTo>
                        <a:pt x="28" y="79"/>
                      </a:lnTo>
                      <a:lnTo>
                        <a:pt x="28" y="80"/>
                      </a:lnTo>
                      <a:lnTo>
                        <a:pt x="28" y="81"/>
                      </a:lnTo>
                      <a:lnTo>
                        <a:pt x="29" y="82"/>
                      </a:lnTo>
                      <a:lnTo>
                        <a:pt x="30" y="83"/>
                      </a:lnTo>
                      <a:lnTo>
                        <a:pt x="30" y="83"/>
                      </a:lnTo>
                      <a:lnTo>
                        <a:pt x="30" y="85"/>
                      </a:lnTo>
                      <a:lnTo>
                        <a:pt x="30" y="86"/>
                      </a:lnTo>
                      <a:lnTo>
                        <a:pt x="32" y="87"/>
                      </a:lnTo>
                      <a:lnTo>
                        <a:pt x="33" y="88"/>
                      </a:lnTo>
                      <a:lnTo>
                        <a:pt x="34" y="90"/>
                      </a:lnTo>
                      <a:lnTo>
                        <a:pt x="36" y="93"/>
                      </a:lnTo>
                      <a:lnTo>
                        <a:pt x="36" y="94"/>
                      </a:lnTo>
                      <a:lnTo>
                        <a:pt x="36" y="95"/>
                      </a:lnTo>
                      <a:lnTo>
                        <a:pt x="37" y="96"/>
                      </a:lnTo>
                      <a:lnTo>
                        <a:pt x="37" y="97"/>
                      </a:lnTo>
                      <a:lnTo>
                        <a:pt x="39" y="97"/>
                      </a:lnTo>
                      <a:lnTo>
                        <a:pt x="37" y="99"/>
                      </a:lnTo>
                      <a:lnTo>
                        <a:pt x="37" y="99"/>
                      </a:lnTo>
                      <a:lnTo>
                        <a:pt x="39" y="100"/>
                      </a:lnTo>
                      <a:lnTo>
                        <a:pt x="43" y="106"/>
                      </a:lnTo>
                      <a:lnTo>
                        <a:pt x="43" y="107"/>
                      </a:lnTo>
                      <a:lnTo>
                        <a:pt x="45" y="109"/>
                      </a:lnTo>
                      <a:lnTo>
                        <a:pt x="46" y="112"/>
                      </a:lnTo>
                      <a:lnTo>
                        <a:pt x="46" y="113"/>
                      </a:lnTo>
                      <a:lnTo>
                        <a:pt x="47" y="114"/>
                      </a:lnTo>
                      <a:lnTo>
                        <a:pt x="47" y="114"/>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555" name="Mozambique">
                  <a:extLst>
                    <a:ext uri="{FF2B5EF4-FFF2-40B4-BE49-F238E27FC236}">
                      <a16:creationId xmlns:a16="http://schemas.microsoft.com/office/drawing/2014/main" id="{A571B81B-03E9-5746-992C-CC0341DFE561}"/>
                    </a:ext>
                  </a:extLst>
                </p:cNvPr>
                <p:cNvSpPr>
                  <a:spLocks/>
                </p:cNvSpPr>
                <p:nvPr/>
              </p:nvSpPr>
              <p:spPr bwMode="auto">
                <a:xfrm>
                  <a:off x="7155454" y="4298532"/>
                  <a:ext cx="277010" cy="492787"/>
                </a:xfrm>
                <a:custGeom>
                  <a:avLst/>
                  <a:gdLst>
                    <a:gd name="T0" fmla="*/ 20 w 190"/>
                    <a:gd name="T1" fmla="*/ 317 h 338"/>
                    <a:gd name="T2" fmla="*/ 17 w 190"/>
                    <a:gd name="T3" fmla="*/ 271 h 338"/>
                    <a:gd name="T4" fmla="*/ 34 w 190"/>
                    <a:gd name="T5" fmla="*/ 221 h 338"/>
                    <a:gd name="T6" fmla="*/ 44 w 190"/>
                    <a:gd name="T7" fmla="*/ 198 h 338"/>
                    <a:gd name="T8" fmla="*/ 43 w 190"/>
                    <a:gd name="T9" fmla="*/ 187 h 338"/>
                    <a:gd name="T10" fmla="*/ 44 w 190"/>
                    <a:gd name="T11" fmla="*/ 168 h 338"/>
                    <a:gd name="T12" fmla="*/ 47 w 190"/>
                    <a:gd name="T13" fmla="*/ 156 h 338"/>
                    <a:gd name="T14" fmla="*/ 48 w 190"/>
                    <a:gd name="T15" fmla="*/ 145 h 338"/>
                    <a:gd name="T16" fmla="*/ 43 w 190"/>
                    <a:gd name="T17" fmla="*/ 129 h 338"/>
                    <a:gd name="T18" fmla="*/ 22 w 190"/>
                    <a:gd name="T19" fmla="*/ 118 h 338"/>
                    <a:gd name="T20" fmla="*/ 2 w 190"/>
                    <a:gd name="T21" fmla="*/ 115 h 338"/>
                    <a:gd name="T22" fmla="*/ 2 w 190"/>
                    <a:gd name="T23" fmla="*/ 94 h 338"/>
                    <a:gd name="T24" fmla="*/ 59 w 190"/>
                    <a:gd name="T25" fmla="*/ 82 h 338"/>
                    <a:gd name="T26" fmla="*/ 76 w 190"/>
                    <a:gd name="T27" fmla="*/ 101 h 338"/>
                    <a:gd name="T28" fmla="*/ 76 w 190"/>
                    <a:gd name="T29" fmla="*/ 121 h 338"/>
                    <a:gd name="T30" fmla="*/ 86 w 190"/>
                    <a:gd name="T31" fmla="*/ 134 h 338"/>
                    <a:gd name="T32" fmla="*/ 87 w 190"/>
                    <a:gd name="T33" fmla="*/ 125 h 338"/>
                    <a:gd name="T34" fmla="*/ 100 w 190"/>
                    <a:gd name="T35" fmla="*/ 97 h 338"/>
                    <a:gd name="T36" fmla="*/ 76 w 190"/>
                    <a:gd name="T37" fmla="*/ 37 h 338"/>
                    <a:gd name="T38" fmla="*/ 103 w 190"/>
                    <a:gd name="T39" fmla="*/ 21 h 338"/>
                    <a:gd name="T40" fmla="*/ 122 w 190"/>
                    <a:gd name="T41" fmla="*/ 24 h 338"/>
                    <a:gd name="T42" fmla="*/ 136 w 190"/>
                    <a:gd name="T43" fmla="*/ 24 h 338"/>
                    <a:gd name="T44" fmla="*/ 166 w 190"/>
                    <a:gd name="T45" fmla="*/ 15 h 338"/>
                    <a:gd name="T46" fmla="*/ 189 w 190"/>
                    <a:gd name="T47" fmla="*/ 3 h 338"/>
                    <a:gd name="T48" fmla="*/ 190 w 190"/>
                    <a:gd name="T49" fmla="*/ 5 h 338"/>
                    <a:gd name="T50" fmla="*/ 187 w 190"/>
                    <a:gd name="T51" fmla="*/ 41 h 338"/>
                    <a:gd name="T52" fmla="*/ 187 w 190"/>
                    <a:gd name="T53" fmla="*/ 49 h 338"/>
                    <a:gd name="T54" fmla="*/ 186 w 190"/>
                    <a:gd name="T55" fmla="*/ 54 h 338"/>
                    <a:gd name="T56" fmla="*/ 187 w 190"/>
                    <a:gd name="T57" fmla="*/ 60 h 338"/>
                    <a:gd name="T58" fmla="*/ 187 w 190"/>
                    <a:gd name="T59" fmla="*/ 78 h 338"/>
                    <a:gd name="T60" fmla="*/ 187 w 190"/>
                    <a:gd name="T61" fmla="*/ 85 h 338"/>
                    <a:gd name="T62" fmla="*/ 187 w 190"/>
                    <a:gd name="T63" fmla="*/ 91 h 338"/>
                    <a:gd name="T64" fmla="*/ 187 w 190"/>
                    <a:gd name="T65" fmla="*/ 95 h 338"/>
                    <a:gd name="T66" fmla="*/ 176 w 190"/>
                    <a:gd name="T67" fmla="*/ 115 h 338"/>
                    <a:gd name="T68" fmla="*/ 171 w 190"/>
                    <a:gd name="T69" fmla="*/ 124 h 338"/>
                    <a:gd name="T70" fmla="*/ 157 w 190"/>
                    <a:gd name="T71" fmla="*/ 134 h 338"/>
                    <a:gd name="T72" fmla="*/ 146 w 190"/>
                    <a:gd name="T73" fmla="*/ 140 h 338"/>
                    <a:gd name="T74" fmla="*/ 121 w 190"/>
                    <a:gd name="T75" fmla="*/ 155 h 338"/>
                    <a:gd name="T76" fmla="*/ 116 w 190"/>
                    <a:gd name="T77" fmla="*/ 154 h 338"/>
                    <a:gd name="T78" fmla="*/ 117 w 190"/>
                    <a:gd name="T79" fmla="*/ 157 h 338"/>
                    <a:gd name="T80" fmla="*/ 107 w 190"/>
                    <a:gd name="T81" fmla="*/ 170 h 338"/>
                    <a:gd name="T82" fmla="*/ 104 w 190"/>
                    <a:gd name="T83" fmla="*/ 172 h 338"/>
                    <a:gd name="T84" fmla="*/ 100 w 190"/>
                    <a:gd name="T85" fmla="*/ 175 h 338"/>
                    <a:gd name="T86" fmla="*/ 97 w 190"/>
                    <a:gd name="T87" fmla="*/ 177 h 338"/>
                    <a:gd name="T88" fmla="*/ 77 w 190"/>
                    <a:gd name="T89" fmla="*/ 194 h 338"/>
                    <a:gd name="T90" fmla="*/ 76 w 190"/>
                    <a:gd name="T91" fmla="*/ 200 h 338"/>
                    <a:gd name="T92" fmla="*/ 77 w 190"/>
                    <a:gd name="T93" fmla="*/ 210 h 338"/>
                    <a:gd name="T94" fmla="*/ 82 w 190"/>
                    <a:gd name="T95" fmla="*/ 217 h 338"/>
                    <a:gd name="T96" fmla="*/ 81 w 190"/>
                    <a:gd name="T97" fmla="*/ 223 h 338"/>
                    <a:gd name="T98" fmla="*/ 82 w 190"/>
                    <a:gd name="T99" fmla="*/ 221 h 338"/>
                    <a:gd name="T100" fmla="*/ 84 w 190"/>
                    <a:gd name="T101" fmla="*/ 236 h 338"/>
                    <a:gd name="T102" fmla="*/ 87 w 190"/>
                    <a:gd name="T103" fmla="*/ 257 h 338"/>
                    <a:gd name="T104" fmla="*/ 84 w 190"/>
                    <a:gd name="T105" fmla="*/ 270 h 338"/>
                    <a:gd name="T106" fmla="*/ 82 w 190"/>
                    <a:gd name="T107" fmla="*/ 274 h 338"/>
                    <a:gd name="T108" fmla="*/ 79 w 190"/>
                    <a:gd name="T109" fmla="*/ 290 h 338"/>
                    <a:gd name="T110" fmla="*/ 62 w 190"/>
                    <a:gd name="T111" fmla="*/ 297 h 338"/>
                    <a:gd name="T112" fmla="*/ 44 w 190"/>
                    <a:gd name="T113" fmla="*/ 307 h 338"/>
                    <a:gd name="T114" fmla="*/ 34 w 190"/>
                    <a:gd name="T115" fmla="*/ 316 h 338"/>
                    <a:gd name="T116" fmla="*/ 33 w 190"/>
                    <a:gd name="T117" fmla="*/ 318 h 338"/>
                    <a:gd name="T118" fmla="*/ 29 w 190"/>
                    <a:gd name="T119" fmla="*/ 321 h 338"/>
                    <a:gd name="T120" fmla="*/ 35 w 190"/>
                    <a:gd name="T121" fmla="*/ 330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90" h="338">
                      <a:moveTo>
                        <a:pt x="35" y="338"/>
                      </a:moveTo>
                      <a:lnTo>
                        <a:pt x="26" y="338"/>
                      </a:lnTo>
                      <a:lnTo>
                        <a:pt x="22" y="337"/>
                      </a:lnTo>
                      <a:lnTo>
                        <a:pt x="22" y="331"/>
                      </a:lnTo>
                      <a:lnTo>
                        <a:pt x="21" y="329"/>
                      </a:lnTo>
                      <a:lnTo>
                        <a:pt x="22" y="325"/>
                      </a:lnTo>
                      <a:lnTo>
                        <a:pt x="22" y="321"/>
                      </a:lnTo>
                      <a:lnTo>
                        <a:pt x="21" y="319"/>
                      </a:lnTo>
                      <a:lnTo>
                        <a:pt x="20" y="317"/>
                      </a:lnTo>
                      <a:lnTo>
                        <a:pt x="21" y="314"/>
                      </a:lnTo>
                      <a:lnTo>
                        <a:pt x="22" y="303"/>
                      </a:lnTo>
                      <a:lnTo>
                        <a:pt x="22" y="292"/>
                      </a:lnTo>
                      <a:lnTo>
                        <a:pt x="23" y="287"/>
                      </a:lnTo>
                      <a:lnTo>
                        <a:pt x="21" y="282"/>
                      </a:lnTo>
                      <a:lnTo>
                        <a:pt x="21" y="278"/>
                      </a:lnTo>
                      <a:lnTo>
                        <a:pt x="20" y="276"/>
                      </a:lnTo>
                      <a:lnTo>
                        <a:pt x="17" y="272"/>
                      </a:lnTo>
                      <a:lnTo>
                        <a:pt x="17" y="271"/>
                      </a:lnTo>
                      <a:lnTo>
                        <a:pt x="16" y="269"/>
                      </a:lnTo>
                      <a:lnTo>
                        <a:pt x="16" y="268"/>
                      </a:lnTo>
                      <a:lnTo>
                        <a:pt x="16" y="263"/>
                      </a:lnTo>
                      <a:lnTo>
                        <a:pt x="13" y="244"/>
                      </a:lnTo>
                      <a:lnTo>
                        <a:pt x="33" y="225"/>
                      </a:lnTo>
                      <a:lnTo>
                        <a:pt x="34" y="224"/>
                      </a:lnTo>
                      <a:lnTo>
                        <a:pt x="35" y="225"/>
                      </a:lnTo>
                      <a:lnTo>
                        <a:pt x="33" y="222"/>
                      </a:lnTo>
                      <a:lnTo>
                        <a:pt x="34" y="221"/>
                      </a:lnTo>
                      <a:lnTo>
                        <a:pt x="33" y="221"/>
                      </a:lnTo>
                      <a:lnTo>
                        <a:pt x="35" y="217"/>
                      </a:lnTo>
                      <a:lnTo>
                        <a:pt x="35" y="216"/>
                      </a:lnTo>
                      <a:lnTo>
                        <a:pt x="35" y="209"/>
                      </a:lnTo>
                      <a:lnTo>
                        <a:pt x="36" y="209"/>
                      </a:lnTo>
                      <a:lnTo>
                        <a:pt x="39" y="209"/>
                      </a:lnTo>
                      <a:lnTo>
                        <a:pt x="43" y="202"/>
                      </a:lnTo>
                      <a:lnTo>
                        <a:pt x="43" y="200"/>
                      </a:lnTo>
                      <a:lnTo>
                        <a:pt x="44" y="198"/>
                      </a:lnTo>
                      <a:lnTo>
                        <a:pt x="44" y="197"/>
                      </a:lnTo>
                      <a:lnTo>
                        <a:pt x="46" y="197"/>
                      </a:lnTo>
                      <a:lnTo>
                        <a:pt x="46" y="196"/>
                      </a:lnTo>
                      <a:lnTo>
                        <a:pt x="47" y="192"/>
                      </a:lnTo>
                      <a:lnTo>
                        <a:pt x="44" y="191"/>
                      </a:lnTo>
                      <a:lnTo>
                        <a:pt x="44" y="190"/>
                      </a:lnTo>
                      <a:lnTo>
                        <a:pt x="44" y="191"/>
                      </a:lnTo>
                      <a:lnTo>
                        <a:pt x="43" y="191"/>
                      </a:lnTo>
                      <a:lnTo>
                        <a:pt x="43" y="187"/>
                      </a:lnTo>
                      <a:lnTo>
                        <a:pt x="42" y="187"/>
                      </a:lnTo>
                      <a:lnTo>
                        <a:pt x="44" y="178"/>
                      </a:lnTo>
                      <a:lnTo>
                        <a:pt x="43" y="177"/>
                      </a:lnTo>
                      <a:lnTo>
                        <a:pt x="41" y="177"/>
                      </a:lnTo>
                      <a:lnTo>
                        <a:pt x="41" y="174"/>
                      </a:lnTo>
                      <a:lnTo>
                        <a:pt x="44" y="172"/>
                      </a:lnTo>
                      <a:lnTo>
                        <a:pt x="44" y="171"/>
                      </a:lnTo>
                      <a:lnTo>
                        <a:pt x="46" y="170"/>
                      </a:lnTo>
                      <a:lnTo>
                        <a:pt x="44" y="168"/>
                      </a:lnTo>
                      <a:lnTo>
                        <a:pt x="47" y="165"/>
                      </a:lnTo>
                      <a:lnTo>
                        <a:pt x="47" y="164"/>
                      </a:lnTo>
                      <a:lnTo>
                        <a:pt x="48" y="163"/>
                      </a:lnTo>
                      <a:lnTo>
                        <a:pt x="48" y="163"/>
                      </a:lnTo>
                      <a:lnTo>
                        <a:pt x="47" y="161"/>
                      </a:lnTo>
                      <a:lnTo>
                        <a:pt x="47" y="160"/>
                      </a:lnTo>
                      <a:lnTo>
                        <a:pt x="47" y="157"/>
                      </a:lnTo>
                      <a:lnTo>
                        <a:pt x="47" y="156"/>
                      </a:lnTo>
                      <a:lnTo>
                        <a:pt x="47" y="156"/>
                      </a:lnTo>
                      <a:lnTo>
                        <a:pt x="47" y="156"/>
                      </a:lnTo>
                      <a:lnTo>
                        <a:pt x="47" y="155"/>
                      </a:lnTo>
                      <a:lnTo>
                        <a:pt x="47" y="154"/>
                      </a:lnTo>
                      <a:lnTo>
                        <a:pt x="47" y="151"/>
                      </a:lnTo>
                      <a:lnTo>
                        <a:pt x="48" y="151"/>
                      </a:lnTo>
                      <a:lnTo>
                        <a:pt x="48" y="150"/>
                      </a:lnTo>
                      <a:lnTo>
                        <a:pt x="48" y="148"/>
                      </a:lnTo>
                      <a:lnTo>
                        <a:pt x="47" y="147"/>
                      </a:lnTo>
                      <a:lnTo>
                        <a:pt x="48" y="145"/>
                      </a:lnTo>
                      <a:lnTo>
                        <a:pt x="48" y="143"/>
                      </a:lnTo>
                      <a:lnTo>
                        <a:pt x="48" y="142"/>
                      </a:lnTo>
                      <a:lnTo>
                        <a:pt x="47" y="138"/>
                      </a:lnTo>
                      <a:lnTo>
                        <a:pt x="46" y="134"/>
                      </a:lnTo>
                      <a:lnTo>
                        <a:pt x="47" y="133"/>
                      </a:lnTo>
                      <a:lnTo>
                        <a:pt x="48" y="130"/>
                      </a:lnTo>
                      <a:lnTo>
                        <a:pt x="47" y="129"/>
                      </a:lnTo>
                      <a:lnTo>
                        <a:pt x="44" y="130"/>
                      </a:lnTo>
                      <a:lnTo>
                        <a:pt x="43" y="129"/>
                      </a:lnTo>
                      <a:lnTo>
                        <a:pt x="43" y="127"/>
                      </a:lnTo>
                      <a:lnTo>
                        <a:pt x="37" y="124"/>
                      </a:lnTo>
                      <a:lnTo>
                        <a:pt x="35" y="124"/>
                      </a:lnTo>
                      <a:lnTo>
                        <a:pt x="31" y="124"/>
                      </a:lnTo>
                      <a:lnTo>
                        <a:pt x="28" y="124"/>
                      </a:lnTo>
                      <a:lnTo>
                        <a:pt x="28" y="122"/>
                      </a:lnTo>
                      <a:lnTo>
                        <a:pt x="26" y="120"/>
                      </a:lnTo>
                      <a:lnTo>
                        <a:pt x="23" y="120"/>
                      </a:lnTo>
                      <a:lnTo>
                        <a:pt x="22" y="118"/>
                      </a:lnTo>
                      <a:lnTo>
                        <a:pt x="21" y="118"/>
                      </a:lnTo>
                      <a:lnTo>
                        <a:pt x="20" y="117"/>
                      </a:lnTo>
                      <a:lnTo>
                        <a:pt x="19" y="116"/>
                      </a:lnTo>
                      <a:lnTo>
                        <a:pt x="15" y="115"/>
                      </a:lnTo>
                      <a:lnTo>
                        <a:pt x="15" y="116"/>
                      </a:lnTo>
                      <a:lnTo>
                        <a:pt x="14" y="116"/>
                      </a:lnTo>
                      <a:lnTo>
                        <a:pt x="11" y="116"/>
                      </a:lnTo>
                      <a:lnTo>
                        <a:pt x="13" y="115"/>
                      </a:lnTo>
                      <a:lnTo>
                        <a:pt x="2" y="115"/>
                      </a:lnTo>
                      <a:lnTo>
                        <a:pt x="3" y="108"/>
                      </a:lnTo>
                      <a:lnTo>
                        <a:pt x="2" y="107"/>
                      </a:lnTo>
                      <a:lnTo>
                        <a:pt x="2" y="105"/>
                      </a:lnTo>
                      <a:lnTo>
                        <a:pt x="2" y="104"/>
                      </a:lnTo>
                      <a:lnTo>
                        <a:pt x="2" y="101"/>
                      </a:lnTo>
                      <a:lnTo>
                        <a:pt x="0" y="98"/>
                      </a:lnTo>
                      <a:lnTo>
                        <a:pt x="0" y="96"/>
                      </a:lnTo>
                      <a:lnTo>
                        <a:pt x="0" y="94"/>
                      </a:lnTo>
                      <a:lnTo>
                        <a:pt x="2" y="94"/>
                      </a:lnTo>
                      <a:lnTo>
                        <a:pt x="7" y="93"/>
                      </a:lnTo>
                      <a:lnTo>
                        <a:pt x="11" y="90"/>
                      </a:lnTo>
                      <a:lnTo>
                        <a:pt x="22" y="87"/>
                      </a:lnTo>
                      <a:lnTo>
                        <a:pt x="35" y="81"/>
                      </a:lnTo>
                      <a:lnTo>
                        <a:pt x="55" y="74"/>
                      </a:lnTo>
                      <a:lnTo>
                        <a:pt x="56" y="75"/>
                      </a:lnTo>
                      <a:lnTo>
                        <a:pt x="56" y="76"/>
                      </a:lnTo>
                      <a:lnTo>
                        <a:pt x="57" y="78"/>
                      </a:lnTo>
                      <a:lnTo>
                        <a:pt x="59" y="82"/>
                      </a:lnTo>
                      <a:lnTo>
                        <a:pt x="60" y="82"/>
                      </a:lnTo>
                      <a:lnTo>
                        <a:pt x="62" y="85"/>
                      </a:lnTo>
                      <a:lnTo>
                        <a:pt x="63" y="83"/>
                      </a:lnTo>
                      <a:lnTo>
                        <a:pt x="64" y="84"/>
                      </a:lnTo>
                      <a:lnTo>
                        <a:pt x="75" y="82"/>
                      </a:lnTo>
                      <a:lnTo>
                        <a:pt x="77" y="85"/>
                      </a:lnTo>
                      <a:lnTo>
                        <a:pt x="79" y="94"/>
                      </a:lnTo>
                      <a:lnTo>
                        <a:pt x="79" y="100"/>
                      </a:lnTo>
                      <a:lnTo>
                        <a:pt x="76" y="101"/>
                      </a:lnTo>
                      <a:lnTo>
                        <a:pt x="76" y="103"/>
                      </a:lnTo>
                      <a:lnTo>
                        <a:pt x="76" y="103"/>
                      </a:lnTo>
                      <a:lnTo>
                        <a:pt x="75" y="108"/>
                      </a:lnTo>
                      <a:lnTo>
                        <a:pt x="71" y="111"/>
                      </a:lnTo>
                      <a:lnTo>
                        <a:pt x="71" y="113"/>
                      </a:lnTo>
                      <a:lnTo>
                        <a:pt x="74" y="116"/>
                      </a:lnTo>
                      <a:lnTo>
                        <a:pt x="74" y="118"/>
                      </a:lnTo>
                      <a:lnTo>
                        <a:pt x="75" y="121"/>
                      </a:lnTo>
                      <a:lnTo>
                        <a:pt x="76" y="121"/>
                      </a:lnTo>
                      <a:lnTo>
                        <a:pt x="79" y="124"/>
                      </a:lnTo>
                      <a:lnTo>
                        <a:pt x="80" y="125"/>
                      </a:lnTo>
                      <a:lnTo>
                        <a:pt x="82" y="129"/>
                      </a:lnTo>
                      <a:lnTo>
                        <a:pt x="83" y="129"/>
                      </a:lnTo>
                      <a:lnTo>
                        <a:pt x="82" y="130"/>
                      </a:lnTo>
                      <a:lnTo>
                        <a:pt x="83" y="130"/>
                      </a:lnTo>
                      <a:lnTo>
                        <a:pt x="83" y="131"/>
                      </a:lnTo>
                      <a:lnTo>
                        <a:pt x="87" y="131"/>
                      </a:lnTo>
                      <a:lnTo>
                        <a:pt x="86" y="134"/>
                      </a:lnTo>
                      <a:lnTo>
                        <a:pt x="84" y="136"/>
                      </a:lnTo>
                      <a:lnTo>
                        <a:pt x="84" y="138"/>
                      </a:lnTo>
                      <a:lnTo>
                        <a:pt x="89" y="138"/>
                      </a:lnTo>
                      <a:lnTo>
                        <a:pt x="89" y="136"/>
                      </a:lnTo>
                      <a:lnTo>
                        <a:pt x="89" y="135"/>
                      </a:lnTo>
                      <a:lnTo>
                        <a:pt x="88" y="135"/>
                      </a:lnTo>
                      <a:lnTo>
                        <a:pt x="89" y="131"/>
                      </a:lnTo>
                      <a:lnTo>
                        <a:pt x="89" y="129"/>
                      </a:lnTo>
                      <a:lnTo>
                        <a:pt x="87" y="125"/>
                      </a:lnTo>
                      <a:lnTo>
                        <a:pt x="89" y="124"/>
                      </a:lnTo>
                      <a:lnTo>
                        <a:pt x="89" y="120"/>
                      </a:lnTo>
                      <a:lnTo>
                        <a:pt x="91" y="117"/>
                      </a:lnTo>
                      <a:lnTo>
                        <a:pt x="94" y="118"/>
                      </a:lnTo>
                      <a:lnTo>
                        <a:pt x="95" y="117"/>
                      </a:lnTo>
                      <a:lnTo>
                        <a:pt x="97" y="117"/>
                      </a:lnTo>
                      <a:lnTo>
                        <a:pt x="100" y="115"/>
                      </a:lnTo>
                      <a:lnTo>
                        <a:pt x="101" y="103"/>
                      </a:lnTo>
                      <a:lnTo>
                        <a:pt x="100" y="97"/>
                      </a:lnTo>
                      <a:lnTo>
                        <a:pt x="102" y="91"/>
                      </a:lnTo>
                      <a:lnTo>
                        <a:pt x="102" y="87"/>
                      </a:lnTo>
                      <a:lnTo>
                        <a:pt x="95" y="76"/>
                      </a:lnTo>
                      <a:lnTo>
                        <a:pt x="88" y="67"/>
                      </a:lnTo>
                      <a:lnTo>
                        <a:pt x="84" y="63"/>
                      </a:lnTo>
                      <a:lnTo>
                        <a:pt x="81" y="63"/>
                      </a:lnTo>
                      <a:lnTo>
                        <a:pt x="79" y="60"/>
                      </a:lnTo>
                      <a:lnTo>
                        <a:pt x="80" y="53"/>
                      </a:lnTo>
                      <a:lnTo>
                        <a:pt x="76" y="37"/>
                      </a:lnTo>
                      <a:lnTo>
                        <a:pt x="79" y="31"/>
                      </a:lnTo>
                      <a:lnTo>
                        <a:pt x="81" y="28"/>
                      </a:lnTo>
                      <a:lnTo>
                        <a:pt x="81" y="24"/>
                      </a:lnTo>
                      <a:lnTo>
                        <a:pt x="87" y="23"/>
                      </a:lnTo>
                      <a:lnTo>
                        <a:pt x="96" y="23"/>
                      </a:lnTo>
                      <a:lnTo>
                        <a:pt x="96" y="24"/>
                      </a:lnTo>
                      <a:lnTo>
                        <a:pt x="100" y="24"/>
                      </a:lnTo>
                      <a:lnTo>
                        <a:pt x="101" y="21"/>
                      </a:lnTo>
                      <a:lnTo>
                        <a:pt x="103" y="21"/>
                      </a:lnTo>
                      <a:lnTo>
                        <a:pt x="106" y="21"/>
                      </a:lnTo>
                      <a:lnTo>
                        <a:pt x="106" y="22"/>
                      </a:lnTo>
                      <a:lnTo>
                        <a:pt x="108" y="23"/>
                      </a:lnTo>
                      <a:lnTo>
                        <a:pt x="109" y="27"/>
                      </a:lnTo>
                      <a:lnTo>
                        <a:pt x="115" y="25"/>
                      </a:lnTo>
                      <a:lnTo>
                        <a:pt x="115" y="27"/>
                      </a:lnTo>
                      <a:lnTo>
                        <a:pt x="118" y="27"/>
                      </a:lnTo>
                      <a:lnTo>
                        <a:pt x="121" y="23"/>
                      </a:lnTo>
                      <a:lnTo>
                        <a:pt x="122" y="24"/>
                      </a:lnTo>
                      <a:lnTo>
                        <a:pt x="124" y="24"/>
                      </a:lnTo>
                      <a:lnTo>
                        <a:pt x="124" y="23"/>
                      </a:lnTo>
                      <a:lnTo>
                        <a:pt x="127" y="25"/>
                      </a:lnTo>
                      <a:lnTo>
                        <a:pt x="128" y="27"/>
                      </a:lnTo>
                      <a:lnTo>
                        <a:pt x="130" y="25"/>
                      </a:lnTo>
                      <a:lnTo>
                        <a:pt x="133" y="27"/>
                      </a:lnTo>
                      <a:lnTo>
                        <a:pt x="135" y="24"/>
                      </a:lnTo>
                      <a:lnTo>
                        <a:pt x="136" y="25"/>
                      </a:lnTo>
                      <a:lnTo>
                        <a:pt x="136" y="24"/>
                      </a:lnTo>
                      <a:lnTo>
                        <a:pt x="140" y="23"/>
                      </a:lnTo>
                      <a:lnTo>
                        <a:pt x="142" y="17"/>
                      </a:lnTo>
                      <a:lnTo>
                        <a:pt x="147" y="17"/>
                      </a:lnTo>
                      <a:lnTo>
                        <a:pt x="149" y="20"/>
                      </a:lnTo>
                      <a:lnTo>
                        <a:pt x="151" y="21"/>
                      </a:lnTo>
                      <a:lnTo>
                        <a:pt x="154" y="17"/>
                      </a:lnTo>
                      <a:lnTo>
                        <a:pt x="156" y="17"/>
                      </a:lnTo>
                      <a:lnTo>
                        <a:pt x="158" y="15"/>
                      </a:lnTo>
                      <a:lnTo>
                        <a:pt x="166" y="15"/>
                      </a:lnTo>
                      <a:lnTo>
                        <a:pt x="170" y="13"/>
                      </a:lnTo>
                      <a:lnTo>
                        <a:pt x="178" y="8"/>
                      </a:lnTo>
                      <a:lnTo>
                        <a:pt x="182" y="4"/>
                      </a:lnTo>
                      <a:lnTo>
                        <a:pt x="187" y="2"/>
                      </a:lnTo>
                      <a:lnTo>
                        <a:pt x="188" y="0"/>
                      </a:lnTo>
                      <a:lnTo>
                        <a:pt x="188" y="2"/>
                      </a:lnTo>
                      <a:lnTo>
                        <a:pt x="189" y="2"/>
                      </a:lnTo>
                      <a:lnTo>
                        <a:pt x="189" y="2"/>
                      </a:lnTo>
                      <a:lnTo>
                        <a:pt x="189" y="3"/>
                      </a:lnTo>
                      <a:lnTo>
                        <a:pt x="188" y="3"/>
                      </a:lnTo>
                      <a:lnTo>
                        <a:pt x="189" y="4"/>
                      </a:lnTo>
                      <a:lnTo>
                        <a:pt x="189" y="4"/>
                      </a:lnTo>
                      <a:lnTo>
                        <a:pt x="189" y="5"/>
                      </a:lnTo>
                      <a:lnTo>
                        <a:pt x="190" y="5"/>
                      </a:lnTo>
                      <a:lnTo>
                        <a:pt x="190" y="5"/>
                      </a:lnTo>
                      <a:lnTo>
                        <a:pt x="190" y="5"/>
                      </a:lnTo>
                      <a:lnTo>
                        <a:pt x="190" y="5"/>
                      </a:lnTo>
                      <a:lnTo>
                        <a:pt x="190" y="5"/>
                      </a:lnTo>
                      <a:lnTo>
                        <a:pt x="189" y="5"/>
                      </a:lnTo>
                      <a:lnTo>
                        <a:pt x="189" y="5"/>
                      </a:lnTo>
                      <a:lnTo>
                        <a:pt x="188" y="8"/>
                      </a:lnTo>
                      <a:lnTo>
                        <a:pt x="188" y="8"/>
                      </a:lnTo>
                      <a:lnTo>
                        <a:pt x="189" y="9"/>
                      </a:lnTo>
                      <a:lnTo>
                        <a:pt x="189" y="9"/>
                      </a:lnTo>
                      <a:lnTo>
                        <a:pt x="188" y="10"/>
                      </a:lnTo>
                      <a:lnTo>
                        <a:pt x="187" y="40"/>
                      </a:lnTo>
                      <a:lnTo>
                        <a:pt x="187" y="41"/>
                      </a:lnTo>
                      <a:lnTo>
                        <a:pt x="188" y="41"/>
                      </a:lnTo>
                      <a:lnTo>
                        <a:pt x="188" y="41"/>
                      </a:lnTo>
                      <a:lnTo>
                        <a:pt x="189" y="49"/>
                      </a:lnTo>
                      <a:lnTo>
                        <a:pt x="189" y="49"/>
                      </a:lnTo>
                      <a:lnTo>
                        <a:pt x="188" y="49"/>
                      </a:lnTo>
                      <a:lnTo>
                        <a:pt x="188" y="49"/>
                      </a:lnTo>
                      <a:lnTo>
                        <a:pt x="188" y="49"/>
                      </a:lnTo>
                      <a:lnTo>
                        <a:pt x="187" y="49"/>
                      </a:lnTo>
                      <a:lnTo>
                        <a:pt x="187" y="49"/>
                      </a:lnTo>
                      <a:lnTo>
                        <a:pt x="187" y="50"/>
                      </a:lnTo>
                      <a:lnTo>
                        <a:pt x="188" y="50"/>
                      </a:lnTo>
                      <a:lnTo>
                        <a:pt x="188" y="51"/>
                      </a:lnTo>
                      <a:lnTo>
                        <a:pt x="187" y="51"/>
                      </a:lnTo>
                      <a:lnTo>
                        <a:pt x="187" y="51"/>
                      </a:lnTo>
                      <a:lnTo>
                        <a:pt x="186" y="51"/>
                      </a:lnTo>
                      <a:lnTo>
                        <a:pt x="184" y="53"/>
                      </a:lnTo>
                      <a:lnTo>
                        <a:pt x="186" y="54"/>
                      </a:lnTo>
                      <a:lnTo>
                        <a:pt x="186" y="54"/>
                      </a:lnTo>
                      <a:lnTo>
                        <a:pt x="187" y="54"/>
                      </a:lnTo>
                      <a:lnTo>
                        <a:pt x="187" y="54"/>
                      </a:lnTo>
                      <a:lnTo>
                        <a:pt x="187" y="53"/>
                      </a:lnTo>
                      <a:lnTo>
                        <a:pt x="188" y="53"/>
                      </a:lnTo>
                      <a:lnTo>
                        <a:pt x="188" y="57"/>
                      </a:lnTo>
                      <a:lnTo>
                        <a:pt x="187" y="58"/>
                      </a:lnTo>
                      <a:lnTo>
                        <a:pt x="187" y="60"/>
                      </a:lnTo>
                      <a:lnTo>
                        <a:pt x="187" y="60"/>
                      </a:lnTo>
                      <a:lnTo>
                        <a:pt x="187" y="60"/>
                      </a:lnTo>
                      <a:lnTo>
                        <a:pt x="187" y="60"/>
                      </a:lnTo>
                      <a:lnTo>
                        <a:pt x="188" y="60"/>
                      </a:lnTo>
                      <a:lnTo>
                        <a:pt x="188" y="60"/>
                      </a:lnTo>
                      <a:lnTo>
                        <a:pt x="187" y="76"/>
                      </a:lnTo>
                      <a:lnTo>
                        <a:pt x="187" y="76"/>
                      </a:lnTo>
                      <a:lnTo>
                        <a:pt x="187" y="76"/>
                      </a:lnTo>
                      <a:lnTo>
                        <a:pt x="187" y="77"/>
                      </a:lnTo>
                      <a:lnTo>
                        <a:pt x="186" y="77"/>
                      </a:lnTo>
                      <a:lnTo>
                        <a:pt x="187" y="78"/>
                      </a:lnTo>
                      <a:lnTo>
                        <a:pt x="187" y="78"/>
                      </a:lnTo>
                      <a:lnTo>
                        <a:pt x="188" y="81"/>
                      </a:lnTo>
                      <a:lnTo>
                        <a:pt x="188" y="82"/>
                      </a:lnTo>
                      <a:lnTo>
                        <a:pt x="188" y="83"/>
                      </a:lnTo>
                      <a:lnTo>
                        <a:pt x="187" y="83"/>
                      </a:lnTo>
                      <a:lnTo>
                        <a:pt x="187" y="84"/>
                      </a:lnTo>
                      <a:lnTo>
                        <a:pt x="187" y="84"/>
                      </a:lnTo>
                      <a:lnTo>
                        <a:pt x="187" y="85"/>
                      </a:lnTo>
                      <a:lnTo>
                        <a:pt x="187" y="85"/>
                      </a:lnTo>
                      <a:lnTo>
                        <a:pt x="188" y="84"/>
                      </a:lnTo>
                      <a:lnTo>
                        <a:pt x="187" y="84"/>
                      </a:lnTo>
                      <a:lnTo>
                        <a:pt x="188" y="83"/>
                      </a:lnTo>
                      <a:lnTo>
                        <a:pt x="188" y="83"/>
                      </a:lnTo>
                      <a:lnTo>
                        <a:pt x="190" y="91"/>
                      </a:lnTo>
                      <a:lnTo>
                        <a:pt x="189" y="91"/>
                      </a:lnTo>
                      <a:lnTo>
                        <a:pt x="189" y="93"/>
                      </a:lnTo>
                      <a:lnTo>
                        <a:pt x="188" y="91"/>
                      </a:lnTo>
                      <a:lnTo>
                        <a:pt x="187" y="91"/>
                      </a:lnTo>
                      <a:lnTo>
                        <a:pt x="187" y="93"/>
                      </a:lnTo>
                      <a:lnTo>
                        <a:pt x="188" y="93"/>
                      </a:lnTo>
                      <a:lnTo>
                        <a:pt x="189" y="93"/>
                      </a:lnTo>
                      <a:lnTo>
                        <a:pt x="189" y="93"/>
                      </a:lnTo>
                      <a:lnTo>
                        <a:pt x="189" y="94"/>
                      </a:lnTo>
                      <a:lnTo>
                        <a:pt x="189" y="95"/>
                      </a:lnTo>
                      <a:lnTo>
                        <a:pt x="189" y="95"/>
                      </a:lnTo>
                      <a:lnTo>
                        <a:pt x="188" y="94"/>
                      </a:lnTo>
                      <a:lnTo>
                        <a:pt x="187" y="95"/>
                      </a:lnTo>
                      <a:lnTo>
                        <a:pt x="188" y="95"/>
                      </a:lnTo>
                      <a:lnTo>
                        <a:pt x="188" y="96"/>
                      </a:lnTo>
                      <a:lnTo>
                        <a:pt x="187" y="97"/>
                      </a:lnTo>
                      <a:lnTo>
                        <a:pt x="184" y="105"/>
                      </a:lnTo>
                      <a:lnTo>
                        <a:pt x="182" y="108"/>
                      </a:lnTo>
                      <a:lnTo>
                        <a:pt x="181" y="109"/>
                      </a:lnTo>
                      <a:lnTo>
                        <a:pt x="181" y="110"/>
                      </a:lnTo>
                      <a:lnTo>
                        <a:pt x="176" y="115"/>
                      </a:lnTo>
                      <a:lnTo>
                        <a:pt x="176" y="115"/>
                      </a:lnTo>
                      <a:lnTo>
                        <a:pt x="177" y="115"/>
                      </a:lnTo>
                      <a:lnTo>
                        <a:pt x="177" y="115"/>
                      </a:lnTo>
                      <a:lnTo>
                        <a:pt x="177" y="115"/>
                      </a:lnTo>
                      <a:lnTo>
                        <a:pt x="177" y="116"/>
                      </a:lnTo>
                      <a:lnTo>
                        <a:pt x="175" y="120"/>
                      </a:lnTo>
                      <a:lnTo>
                        <a:pt x="174" y="120"/>
                      </a:lnTo>
                      <a:lnTo>
                        <a:pt x="170" y="121"/>
                      </a:lnTo>
                      <a:lnTo>
                        <a:pt x="170" y="122"/>
                      </a:lnTo>
                      <a:lnTo>
                        <a:pt x="171" y="124"/>
                      </a:lnTo>
                      <a:lnTo>
                        <a:pt x="171" y="124"/>
                      </a:lnTo>
                      <a:lnTo>
                        <a:pt x="170" y="124"/>
                      </a:lnTo>
                      <a:lnTo>
                        <a:pt x="170" y="124"/>
                      </a:lnTo>
                      <a:lnTo>
                        <a:pt x="169" y="124"/>
                      </a:lnTo>
                      <a:lnTo>
                        <a:pt x="169" y="125"/>
                      </a:lnTo>
                      <a:lnTo>
                        <a:pt x="164" y="130"/>
                      </a:lnTo>
                      <a:lnTo>
                        <a:pt x="158" y="133"/>
                      </a:lnTo>
                      <a:lnTo>
                        <a:pt x="157" y="134"/>
                      </a:lnTo>
                      <a:lnTo>
                        <a:pt x="157" y="134"/>
                      </a:lnTo>
                      <a:lnTo>
                        <a:pt x="157" y="134"/>
                      </a:lnTo>
                      <a:lnTo>
                        <a:pt x="149" y="137"/>
                      </a:lnTo>
                      <a:lnTo>
                        <a:pt x="149" y="137"/>
                      </a:lnTo>
                      <a:lnTo>
                        <a:pt x="148" y="137"/>
                      </a:lnTo>
                      <a:lnTo>
                        <a:pt x="148" y="137"/>
                      </a:lnTo>
                      <a:lnTo>
                        <a:pt x="148" y="137"/>
                      </a:lnTo>
                      <a:lnTo>
                        <a:pt x="147" y="137"/>
                      </a:lnTo>
                      <a:lnTo>
                        <a:pt x="147" y="138"/>
                      </a:lnTo>
                      <a:lnTo>
                        <a:pt x="146" y="140"/>
                      </a:lnTo>
                      <a:lnTo>
                        <a:pt x="136" y="143"/>
                      </a:lnTo>
                      <a:lnTo>
                        <a:pt x="133" y="144"/>
                      </a:lnTo>
                      <a:lnTo>
                        <a:pt x="122" y="150"/>
                      </a:lnTo>
                      <a:lnTo>
                        <a:pt x="122" y="150"/>
                      </a:lnTo>
                      <a:lnTo>
                        <a:pt x="122" y="150"/>
                      </a:lnTo>
                      <a:lnTo>
                        <a:pt x="122" y="151"/>
                      </a:lnTo>
                      <a:lnTo>
                        <a:pt x="122" y="152"/>
                      </a:lnTo>
                      <a:lnTo>
                        <a:pt x="122" y="154"/>
                      </a:lnTo>
                      <a:lnTo>
                        <a:pt x="121" y="155"/>
                      </a:lnTo>
                      <a:lnTo>
                        <a:pt x="120" y="155"/>
                      </a:lnTo>
                      <a:lnTo>
                        <a:pt x="120" y="156"/>
                      </a:lnTo>
                      <a:lnTo>
                        <a:pt x="120" y="156"/>
                      </a:lnTo>
                      <a:lnTo>
                        <a:pt x="118" y="156"/>
                      </a:lnTo>
                      <a:lnTo>
                        <a:pt x="117" y="155"/>
                      </a:lnTo>
                      <a:lnTo>
                        <a:pt x="117" y="154"/>
                      </a:lnTo>
                      <a:lnTo>
                        <a:pt x="117" y="154"/>
                      </a:lnTo>
                      <a:lnTo>
                        <a:pt x="116" y="154"/>
                      </a:lnTo>
                      <a:lnTo>
                        <a:pt x="116" y="154"/>
                      </a:lnTo>
                      <a:lnTo>
                        <a:pt x="116" y="154"/>
                      </a:lnTo>
                      <a:lnTo>
                        <a:pt x="116" y="154"/>
                      </a:lnTo>
                      <a:lnTo>
                        <a:pt x="116" y="154"/>
                      </a:lnTo>
                      <a:lnTo>
                        <a:pt x="116" y="154"/>
                      </a:lnTo>
                      <a:lnTo>
                        <a:pt x="116" y="155"/>
                      </a:lnTo>
                      <a:lnTo>
                        <a:pt x="116" y="155"/>
                      </a:lnTo>
                      <a:lnTo>
                        <a:pt x="116" y="156"/>
                      </a:lnTo>
                      <a:lnTo>
                        <a:pt x="117" y="157"/>
                      </a:lnTo>
                      <a:lnTo>
                        <a:pt x="117" y="157"/>
                      </a:lnTo>
                      <a:lnTo>
                        <a:pt x="117" y="160"/>
                      </a:lnTo>
                      <a:lnTo>
                        <a:pt x="116" y="161"/>
                      </a:lnTo>
                      <a:lnTo>
                        <a:pt x="115" y="160"/>
                      </a:lnTo>
                      <a:lnTo>
                        <a:pt x="115" y="161"/>
                      </a:lnTo>
                      <a:lnTo>
                        <a:pt x="115" y="161"/>
                      </a:lnTo>
                      <a:lnTo>
                        <a:pt x="116" y="161"/>
                      </a:lnTo>
                      <a:lnTo>
                        <a:pt x="115" y="161"/>
                      </a:lnTo>
                      <a:lnTo>
                        <a:pt x="115" y="162"/>
                      </a:lnTo>
                      <a:lnTo>
                        <a:pt x="107" y="170"/>
                      </a:lnTo>
                      <a:lnTo>
                        <a:pt x="107" y="170"/>
                      </a:lnTo>
                      <a:lnTo>
                        <a:pt x="107" y="171"/>
                      </a:lnTo>
                      <a:lnTo>
                        <a:pt x="107" y="172"/>
                      </a:lnTo>
                      <a:lnTo>
                        <a:pt x="106" y="172"/>
                      </a:lnTo>
                      <a:lnTo>
                        <a:pt x="104" y="172"/>
                      </a:lnTo>
                      <a:lnTo>
                        <a:pt x="104" y="171"/>
                      </a:lnTo>
                      <a:lnTo>
                        <a:pt x="104" y="170"/>
                      </a:lnTo>
                      <a:lnTo>
                        <a:pt x="104" y="171"/>
                      </a:lnTo>
                      <a:lnTo>
                        <a:pt x="104" y="172"/>
                      </a:lnTo>
                      <a:lnTo>
                        <a:pt x="104" y="174"/>
                      </a:lnTo>
                      <a:lnTo>
                        <a:pt x="104" y="175"/>
                      </a:lnTo>
                      <a:lnTo>
                        <a:pt x="104" y="175"/>
                      </a:lnTo>
                      <a:lnTo>
                        <a:pt x="101" y="174"/>
                      </a:lnTo>
                      <a:lnTo>
                        <a:pt x="100" y="175"/>
                      </a:lnTo>
                      <a:lnTo>
                        <a:pt x="100" y="176"/>
                      </a:lnTo>
                      <a:lnTo>
                        <a:pt x="100" y="176"/>
                      </a:lnTo>
                      <a:lnTo>
                        <a:pt x="100" y="175"/>
                      </a:lnTo>
                      <a:lnTo>
                        <a:pt x="100" y="175"/>
                      </a:lnTo>
                      <a:lnTo>
                        <a:pt x="100" y="174"/>
                      </a:lnTo>
                      <a:lnTo>
                        <a:pt x="99" y="175"/>
                      </a:lnTo>
                      <a:lnTo>
                        <a:pt x="99" y="176"/>
                      </a:lnTo>
                      <a:lnTo>
                        <a:pt x="99" y="176"/>
                      </a:lnTo>
                      <a:lnTo>
                        <a:pt x="99" y="176"/>
                      </a:lnTo>
                      <a:lnTo>
                        <a:pt x="97" y="176"/>
                      </a:lnTo>
                      <a:lnTo>
                        <a:pt x="97" y="176"/>
                      </a:lnTo>
                      <a:lnTo>
                        <a:pt x="97" y="176"/>
                      </a:lnTo>
                      <a:lnTo>
                        <a:pt x="97" y="177"/>
                      </a:lnTo>
                      <a:lnTo>
                        <a:pt x="94" y="180"/>
                      </a:lnTo>
                      <a:lnTo>
                        <a:pt x="93" y="181"/>
                      </a:lnTo>
                      <a:lnTo>
                        <a:pt x="90" y="184"/>
                      </a:lnTo>
                      <a:lnTo>
                        <a:pt x="89" y="185"/>
                      </a:lnTo>
                      <a:lnTo>
                        <a:pt x="82" y="191"/>
                      </a:lnTo>
                      <a:lnTo>
                        <a:pt x="81" y="194"/>
                      </a:lnTo>
                      <a:lnTo>
                        <a:pt x="80" y="194"/>
                      </a:lnTo>
                      <a:lnTo>
                        <a:pt x="79" y="195"/>
                      </a:lnTo>
                      <a:lnTo>
                        <a:pt x="77" y="194"/>
                      </a:lnTo>
                      <a:lnTo>
                        <a:pt x="74" y="189"/>
                      </a:lnTo>
                      <a:lnTo>
                        <a:pt x="74" y="190"/>
                      </a:lnTo>
                      <a:lnTo>
                        <a:pt x="74" y="190"/>
                      </a:lnTo>
                      <a:lnTo>
                        <a:pt x="75" y="194"/>
                      </a:lnTo>
                      <a:lnTo>
                        <a:pt x="77" y="195"/>
                      </a:lnTo>
                      <a:lnTo>
                        <a:pt x="76" y="195"/>
                      </a:lnTo>
                      <a:lnTo>
                        <a:pt x="76" y="195"/>
                      </a:lnTo>
                      <a:lnTo>
                        <a:pt x="76" y="198"/>
                      </a:lnTo>
                      <a:lnTo>
                        <a:pt x="76" y="200"/>
                      </a:lnTo>
                      <a:lnTo>
                        <a:pt x="76" y="201"/>
                      </a:lnTo>
                      <a:lnTo>
                        <a:pt x="75" y="201"/>
                      </a:lnTo>
                      <a:lnTo>
                        <a:pt x="76" y="202"/>
                      </a:lnTo>
                      <a:lnTo>
                        <a:pt x="75" y="203"/>
                      </a:lnTo>
                      <a:lnTo>
                        <a:pt x="75" y="209"/>
                      </a:lnTo>
                      <a:lnTo>
                        <a:pt x="76" y="209"/>
                      </a:lnTo>
                      <a:lnTo>
                        <a:pt x="76" y="209"/>
                      </a:lnTo>
                      <a:lnTo>
                        <a:pt x="77" y="209"/>
                      </a:lnTo>
                      <a:lnTo>
                        <a:pt x="77" y="210"/>
                      </a:lnTo>
                      <a:lnTo>
                        <a:pt x="80" y="211"/>
                      </a:lnTo>
                      <a:lnTo>
                        <a:pt x="80" y="214"/>
                      </a:lnTo>
                      <a:lnTo>
                        <a:pt x="80" y="215"/>
                      </a:lnTo>
                      <a:lnTo>
                        <a:pt x="80" y="216"/>
                      </a:lnTo>
                      <a:lnTo>
                        <a:pt x="80" y="216"/>
                      </a:lnTo>
                      <a:lnTo>
                        <a:pt x="81" y="216"/>
                      </a:lnTo>
                      <a:lnTo>
                        <a:pt x="81" y="216"/>
                      </a:lnTo>
                      <a:lnTo>
                        <a:pt x="82" y="216"/>
                      </a:lnTo>
                      <a:lnTo>
                        <a:pt x="82" y="217"/>
                      </a:lnTo>
                      <a:lnTo>
                        <a:pt x="81" y="217"/>
                      </a:lnTo>
                      <a:lnTo>
                        <a:pt x="81" y="217"/>
                      </a:lnTo>
                      <a:lnTo>
                        <a:pt x="81" y="218"/>
                      </a:lnTo>
                      <a:lnTo>
                        <a:pt x="81" y="218"/>
                      </a:lnTo>
                      <a:lnTo>
                        <a:pt x="81" y="221"/>
                      </a:lnTo>
                      <a:lnTo>
                        <a:pt x="81" y="221"/>
                      </a:lnTo>
                      <a:lnTo>
                        <a:pt x="80" y="222"/>
                      </a:lnTo>
                      <a:lnTo>
                        <a:pt x="80" y="223"/>
                      </a:lnTo>
                      <a:lnTo>
                        <a:pt x="81" y="223"/>
                      </a:lnTo>
                      <a:lnTo>
                        <a:pt x="81" y="224"/>
                      </a:lnTo>
                      <a:lnTo>
                        <a:pt x="81" y="224"/>
                      </a:lnTo>
                      <a:lnTo>
                        <a:pt x="81" y="224"/>
                      </a:lnTo>
                      <a:lnTo>
                        <a:pt x="81" y="224"/>
                      </a:lnTo>
                      <a:lnTo>
                        <a:pt x="81" y="224"/>
                      </a:lnTo>
                      <a:lnTo>
                        <a:pt x="81" y="223"/>
                      </a:lnTo>
                      <a:lnTo>
                        <a:pt x="81" y="222"/>
                      </a:lnTo>
                      <a:lnTo>
                        <a:pt x="81" y="221"/>
                      </a:lnTo>
                      <a:lnTo>
                        <a:pt x="82" y="221"/>
                      </a:lnTo>
                      <a:lnTo>
                        <a:pt x="82" y="222"/>
                      </a:lnTo>
                      <a:lnTo>
                        <a:pt x="82" y="222"/>
                      </a:lnTo>
                      <a:lnTo>
                        <a:pt x="82" y="223"/>
                      </a:lnTo>
                      <a:lnTo>
                        <a:pt x="82" y="224"/>
                      </a:lnTo>
                      <a:lnTo>
                        <a:pt x="81" y="225"/>
                      </a:lnTo>
                      <a:lnTo>
                        <a:pt x="81" y="227"/>
                      </a:lnTo>
                      <a:lnTo>
                        <a:pt x="82" y="228"/>
                      </a:lnTo>
                      <a:lnTo>
                        <a:pt x="83" y="231"/>
                      </a:lnTo>
                      <a:lnTo>
                        <a:pt x="84" y="236"/>
                      </a:lnTo>
                      <a:lnTo>
                        <a:pt x="84" y="238"/>
                      </a:lnTo>
                      <a:lnTo>
                        <a:pt x="84" y="241"/>
                      </a:lnTo>
                      <a:lnTo>
                        <a:pt x="83" y="244"/>
                      </a:lnTo>
                      <a:lnTo>
                        <a:pt x="83" y="245"/>
                      </a:lnTo>
                      <a:lnTo>
                        <a:pt x="83" y="247"/>
                      </a:lnTo>
                      <a:lnTo>
                        <a:pt x="87" y="252"/>
                      </a:lnTo>
                      <a:lnTo>
                        <a:pt x="87" y="254"/>
                      </a:lnTo>
                      <a:lnTo>
                        <a:pt x="86" y="255"/>
                      </a:lnTo>
                      <a:lnTo>
                        <a:pt x="87" y="257"/>
                      </a:lnTo>
                      <a:lnTo>
                        <a:pt x="87" y="257"/>
                      </a:lnTo>
                      <a:lnTo>
                        <a:pt x="87" y="257"/>
                      </a:lnTo>
                      <a:lnTo>
                        <a:pt x="88" y="256"/>
                      </a:lnTo>
                      <a:lnTo>
                        <a:pt x="88" y="257"/>
                      </a:lnTo>
                      <a:lnTo>
                        <a:pt x="88" y="258"/>
                      </a:lnTo>
                      <a:lnTo>
                        <a:pt x="87" y="260"/>
                      </a:lnTo>
                      <a:lnTo>
                        <a:pt x="86" y="263"/>
                      </a:lnTo>
                      <a:lnTo>
                        <a:pt x="87" y="265"/>
                      </a:lnTo>
                      <a:lnTo>
                        <a:pt x="84" y="270"/>
                      </a:lnTo>
                      <a:lnTo>
                        <a:pt x="84" y="272"/>
                      </a:lnTo>
                      <a:lnTo>
                        <a:pt x="83" y="274"/>
                      </a:lnTo>
                      <a:lnTo>
                        <a:pt x="83" y="274"/>
                      </a:lnTo>
                      <a:lnTo>
                        <a:pt x="83" y="275"/>
                      </a:lnTo>
                      <a:lnTo>
                        <a:pt x="83" y="274"/>
                      </a:lnTo>
                      <a:lnTo>
                        <a:pt x="82" y="272"/>
                      </a:lnTo>
                      <a:lnTo>
                        <a:pt x="82" y="272"/>
                      </a:lnTo>
                      <a:lnTo>
                        <a:pt x="83" y="274"/>
                      </a:lnTo>
                      <a:lnTo>
                        <a:pt x="82" y="274"/>
                      </a:lnTo>
                      <a:lnTo>
                        <a:pt x="82" y="275"/>
                      </a:lnTo>
                      <a:lnTo>
                        <a:pt x="86" y="275"/>
                      </a:lnTo>
                      <a:lnTo>
                        <a:pt x="86" y="276"/>
                      </a:lnTo>
                      <a:lnTo>
                        <a:pt x="86" y="278"/>
                      </a:lnTo>
                      <a:lnTo>
                        <a:pt x="84" y="281"/>
                      </a:lnTo>
                      <a:lnTo>
                        <a:pt x="83" y="284"/>
                      </a:lnTo>
                      <a:lnTo>
                        <a:pt x="82" y="288"/>
                      </a:lnTo>
                      <a:lnTo>
                        <a:pt x="80" y="289"/>
                      </a:lnTo>
                      <a:lnTo>
                        <a:pt x="79" y="290"/>
                      </a:lnTo>
                      <a:lnTo>
                        <a:pt x="76" y="292"/>
                      </a:lnTo>
                      <a:lnTo>
                        <a:pt x="74" y="294"/>
                      </a:lnTo>
                      <a:lnTo>
                        <a:pt x="71" y="296"/>
                      </a:lnTo>
                      <a:lnTo>
                        <a:pt x="69" y="297"/>
                      </a:lnTo>
                      <a:lnTo>
                        <a:pt x="67" y="297"/>
                      </a:lnTo>
                      <a:lnTo>
                        <a:pt x="64" y="296"/>
                      </a:lnTo>
                      <a:lnTo>
                        <a:pt x="63" y="297"/>
                      </a:lnTo>
                      <a:lnTo>
                        <a:pt x="62" y="296"/>
                      </a:lnTo>
                      <a:lnTo>
                        <a:pt x="62" y="297"/>
                      </a:lnTo>
                      <a:lnTo>
                        <a:pt x="61" y="297"/>
                      </a:lnTo>
                      <a:lnTo>
                        <a:pt x="61" y="297"/>
                      </a:lnTo>
                      <a:lnTo>
                        <a:pt x="61" y="298"/>
                      </a:lnTo>
                      <a:lnTo>
                        <a:pt x="60" y="301"/>
                      </a:lnTo>
                      <a:lnTo>
                        <a:pt x="57" y="303"/>
                      </a:lnTo>
                      <a:lnTo>
                        <a:pt x="56" y="303"/>
                      </a:lnTo>
                      <a:lnTo>
                        <a:pt x="46" y="305"/>
                      </a:lnTo>
                      <a:lnTo>
                        <a:pt x="44" y="307"/>
                      </a:lnTo>
                      <a:lnTo>
                        <a:pt x="44" y="307"/>
                      </a:lnTo>
                      <a:lnTo>
                        <a:pt x="44" y="307"/>
                      </a:lnTo>
                      <a:lnTo>
                        <a:pt x="43" y="305"/>
                      </a:lnTo>
                      <a:lnTo>
                        <a:pt x="41" y="307"/>
                      </a:lnTo>
                      <a:lnTo>
                        <a:pt x="37" y="310"/>
                      </a:lnTo>
                      <a:lnTo>
                        <a:pt x="35" y="312"/>
                      </a:lnTo>
                      <a:lnTo>
                        <a:pt x="34" y="314"/>
                      </a:lnTo>
                      <a:lnTo>
                        <a:pt x="35" y="314"/>
                      </a:lnTo>
                      <a:lnTo>
                        <a:pt x="34" y="316"/>
                      </a:lnTo>
                      <a:lnTo>
                        <a:pt x="34" y="316"/>
                      </a:lnTo>
                      <a:lnTo>
                        <a:pt x="34" y="316"/>
                      </a:lnTo>
                      <a:lnTo>
                        <a:pt x="34" y="317"/>
                      </a:lnTo>
                      <a:lnTo>
                        <a:pt x="34" y="317"/>
                      </a:lnTo>
                      <a:lnTo>
                        <a:pt x="34" y="317"/>
                      </a:lnTo>
                      <a:lnTo>
                        <a:pt x="34" y="316"/>
                      </a:lnTo>
                      <a:lnTo>
                        <a:pt x="34" y="316"/>
                      </a:lnTo>
                      <a:lnTo>
                        <a:pt x="33" y="317"/>
                      </a:lnTo>
                      <a:lnTo>
                        <a:pt x="33" y="317"/>
                      </a:lnTo>
                      <a:lnTo>
                        <a:pt x="33" y="318"/>
                      </a:lnTo>
                      <a:lnTo>
                        <a:pt x="33" y="318"/>
                      </a:lnTo>
                      <a:lnTo>
                        <a:pt x="33" y="319"/>
                      </a:lnTo>
                      <a:lnTo>
                        <a:pt x="31" y="319"/>
                      </a:lnTo>
                      <a:lnTo>
                        <a:pt x="31" y="321"/>
                      </a:lnTo>
                      <a:lnTo>
                        <a:pt x="30" y="319"/>
                      </a:lnTo>
                      <a:lnTo>
                        <a:pt x="29" y="319"/>
                      </a:lnTo>
                      <a:lnTo>
                        <a:pt x="29" y="319"/>
                      </a:lnTo>
                      <a:lnTo>
                        <a:pt x="29" y="321"/>
                      </a:lnTo>
                      <a:lnTo>
                        <a:pt x="29" y="321"/>
                      </a:lnTo>
                      <a:lnTo>
                        <a:pt x="29" y="321"/>
                      </a:lnTo>
                      <a:lnTo>
                        <a:pt x="29" y="319"/>
                      </a:lnTo>
                      <a:lnTo>
                        <a:pt x="30" y="321"/>
                      </a:lnTo>
                      <a:lnTo>
                        <a:pt x="33" y="322"/>
                      </a:lnTo>
                      <a:lnTo>
                        <a:pt x="35" y="330"/>
                      </a:lnTo>
                      <a:lnTo>
                        <a:pt x="34" y="325"/>
                      </a:lnTo>
                      <a:lnTo>
                        <a:pt x="35" y="324"/>
                      </a:lnTo>
                      <a:lnTo>
                        <a:pt x="35" y="329"/>
                      </a:lnTo>
                      <a:lnTo>
                        <a:pt x="35" y="330"/>
                      </a:lnTo>
                      <a:lnTo>
                        <a:pt x="35" y="332"/>
                      </a:lnTo>
                      <a:lnTo>
                        <a:pt x="35" y="332"/>
                      </a:lnTo>
                      <a:lnTo>
                        <a:pt x="36" y="334"/>
                      </a:lnTo>
                      <a:lnTo>
                        <a:pt x="35" y="338"/>
                      </a:lnTo>
                      <a:lnTo>
                        <a:pt x="35" y="338"/>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556" name="South Korea">
                  <a:extLst>
                    <a:ext uri="{FF2B5EF4-FFF2-40B4-BE49-F238E27FC236}">
                      <a16:creationId xmlns:a16="http://schemas.microsoft.com/office/drawing/2014/main" id="{120A7047-7830-4B4A-8513-8D52132A125A}"/>
                    </a:ext>
                  </a:extLst>
                </p:cNvPr>
                <p:cNvSpPr>
                  <a:spLocks noEditPoints="1"/>
                </p:cNvSpPr>
                <p:nvPr/>
              </p:nvSpPr>
              <p:spPr bwMode="auto">
                <a:xfrm>
                  <a:off x="9477967" y="2831837"/>
                  <a:ext cx="109346" cy="160374"/>
                </a:xfrm>
                <a:custGeom>
                  <a:avLst/>
                  <a:gdLst>
                    <a:gd name="T0" fmla="*/ 50 w 75"/>
                    <a:gd name="T1" fmla="*/ 88 h 110"/>
                    <a:gd name="T2" fmla="*/ 49 w 75"/>
                    <a:gd name="T3" fmla="*/ 85 h 110"/>
                    <a:gd name="T4" fmla="*/ 46 w 75"/>
                    <a:gd name="T5" fmla="*/ 88 h 110"/>
                    <a:gd name="T6" fmla="*/ 47 w 75"/>
                    <a:gd name="T7" fmla="*/ 92 h 110"/>
                    <a:gd name="T8" fmla="*/ 43 w 75"/>
                    <a:gd name="T9" fmla="*/ 108 h 110"/>
                    <a:gd name="T10" fmla="*/ 50 w 75"/>
                    <a:gd name="T11" fmla="*/ 102 h 110"/>
                    <a:gd name="T12" fmla="*/ 40 w 75"/>
                    <a:gd name="T13" fmla="*/ 101 h 110"/>
                    <a:gd name="T14" fmla="*/ 36 w 75"/>
                    <a:gd name="T15" fmla="*/ 108 h 110"/>
                    <a:gd name="T16" fmla="*/ 3 w 75"/>
                    <a:gd name="T17" fmla="*/ 22 h 110"/>
                    <a:gd name="T18" fmla="*/ 9 w 75"/>
                    <a:gd name="T19" fmla="*/ 26 h 110"/>
                    <a:gd name="T20" fmla="*/ 10 w 75"/>
                    <a:gd name="T21" fmla="*/ 31 h 110"/>
                    <a:gd name="T22" fmla="*/ 4 w 75"/>
                    <a:gd name="T23" fmla="*/ 30 h 110"/>
                    <a:gd name="T24" fmla="*/ 4 w 75"/>
                    <a:gd name="T25" fmla="*/ 35 h 110"/>
                    <a:gd name="T26" fmla="*/ 7 w 75"/>
                    <a:gd name="T27" fmla="*/ 34 h 110"/>
                    <a:gd name="T28" fmla="*/ 7 w 75"/>
                    <a:gd name="T29" fmla="*/ 37 h 110"/>
                    <a:gd name="T30" fmla="*/ 10 w 75"/>
                    <a:gd name="T31" fmla="*/ 38 h 110"/>
                    <a:gd name="T32" fmla="*/ 11 w 75"/>
                    <a:gd name="T33" fmla="*/ 39 h 110"/>
                    <a:gd name="T34" fmla="*/ 10 w 75"/>
                    <a:gd name="T35" fmla="*/ 41 h 110"/>
                    <a:gd name="T36" fmla="*/ 13 w 75"/>
                    <a:gd name="T37" fmla="*/ 42 h 110"/>
                    <a:gd name="T38" fmla="*/ 16 w 75"/>
                    <a:gd name="T39" fmla="*/ 47 h 110"/>
                    <a:gd name="T40" fmla="*/ 19 w 75"/>
                    <a:gd name="T41" fmla="*/ 50 h 110"/>
                    <a:gd name="T42" fmla="*/ 19 w 75"/>
                    <a:gd name="T43" fmla="*/ 55 h 110"/>
                    <a:gd name="T44" fmla="*/ 23 w 75"/>
                    <a:gd name="T45" fmla="*/ 62 h 110"/>
                    <a:gd name="T46" fmla="*/ 19 w 75"/>
                    <a:gd name="T47" fmla="*/ 62 h 110"/>
                    <a:gd name="T48" fmla="*/ 20 w 75"/>
                    <a:gd name="T49" fmla="*/ 70 h 110"/>
                    <a:gd name="T50" fmla="*/ 24 w 75"/>
                    <a:gd name="T51" fmla="*/ 77 h 110"/>
                    <a:gd name="T52" fmla="*/ 22 w 75"/>
                    <a:gd name="T53" fmla="*/ 81 h 110"/>
                    <a:gd name="T54" fmla="*/ 25 w 75"/>
                    <a:gd name="T55" fmla="*/ 85 h 110"/>
                    <a:gd name="T56" fmla="*/ 32 w 75"/>
                    <a:gd name="T57" fmla="*/ 86 h 110"/>
                    <a:gd name="T58" fmla="*/ 39 w 75"/>
                    <a:gd name="T59" fmla="*/ 86 h 110"/>
                    <a:gd name="T60" fmla="*/ 45 w 75"/>
                    <a:gd name="T61" fmla="*/ 84 h 110"/>
                    <a:gd name="T62" fmla="*/ 55 w 75"/>
                    <a:gd name="T63" fmla="*/ 78 h 110"/>
                    <a:gd name="T64" fmla="*/ 63 w 75"/>
                    <a:gd name="T65" fmla="*/ 75 h 110"/>
                    <a:gd name="T66" fmla="*/ 69 w 75"/>
                    <a:gd name="T67" fmla="*/ 74 h 110"/>
                    <a:gd name="T68" fmla="*/ 73 w 75"/>
                    <a:gd name="T69" fmla="*/ 68 h 110"/>
                    <a:gd name="T70" fmla="*/ 73 w 75"/>
                    <a:gd name="T71" fmla="*/ 59 h 110"/>
                    <a:gd name="T72" fmla="*/ 70 w 75"/>
                    <a:gd name="T73" fmla="*/ 52 h 110"/>
                    <a:gd name="T74" fmla="*/ 67 w 75"/>
                    <a:gd name="T75" fmla="*/ 47 h 110"/>
                    <a:gd name="T76" fmla="*/ 63 w 75"/>
                    <a:gd name="T77" fmla="*/ 41 h 110"/>
                    <a:gd name="T78" fmla="*/ 62 w 75"/>
                    <a:gd name="T79" fmla="*/ 35 h 110"/>
                    <a:gd name="T80" fmla="*/ 59 w 75"/>
                    <a:gd name="T81" fmla="*/ 30 h 110"/>
                    <a:gd name="T82" fmla="*/ 56 w 75"/>
                    <a:gd name="T83" fmla="*/ 26 h 110"/>
                    <a:gd name="T84" fmla="*/ 52 w 75"/>
                    <a:gd name="T85" fmla="*/ 21 h 110"/>
                    <a:gd name="T86" fmla="*/ 50 w 75"/>
                    <a:gd name="T87" fmla="*/ 20 h 110"/>
                    <a:gd name="T88" fmla="*/ 50 w 75"/>
                    <a:gd name="T89" fmla="*/ 18 h 110"/>
                    <a:gd name="T90" fmla="*/ 46 w 75"/>
                    <a:gd name="T91" fmla="*/ 14 h 110"/>
                    <a:gd name="T92" fmla="*/ 40 w 75"/>
                    <a:gd name="T93" fmla="*/ 12 h 110"/>
                    <a:gd name="T94" fmla="*/ 39 w 75"/>
                    <a:gd name="T95" fmla="*/ 7 h 110"/>
                    <a:gd name="T96" fmla="*/ 36 w 75"/>
                    <a:gd name="T97" fmla="*/ 5 h 110"/>
                    <a:gd name="T98" fmla="*/ 30 w 75"/>
                    <a:gd name="T99" fmla="*/ 2 h 110"/>
                    <a:gd name="T100" fmla="*/ 26 w 75"/>
                    <a:gd name="T101" fmla="*/ 2 h 110"/>
                    <a:gd name="T102" fmla="*/ 17 w 75"/>
                    <a:gd name="T103" fmla="*/ 10 h 110"/>
                    <a:gd name="T104" fmla="*/ 5 w 75"/>
                    <a:gd name="T105" fmla="*/ 15 h 110"/>
                    <a:gd name="T106" fmla="*/ 2 w 75"/>
                    <a:gd name="T107" fmla="*/ 22 h 1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75" h="110">
                      <a:moveTo>
                        <a:pt x="47" y="92"/>
                      </a:moveTo>
                      <a:lnTo>
                        <a:pt x="49" y="91"/>
                      </a:lnTo>
                      <a:lnTo>
                        <a:pt x="50" y="90"/>
                      </a:lnTo>
                      <a:lnTo>
                        <a:pt x="50" y="90"/>
                      </a:lnTo>
                      <a:lnTo>
                        <a:pt x="50" y="88"/>
                      </a:lnTo>
                      <a:lnTo>
                        <a:pt x="50" y="87"/>
                      </a:lnTo>
                      <a:lnTo>
                        <a:pt x="50" y="87"/>
                      </a:lnTo>
                      <a:lnTo>
                        <a:pt x="50" y="86"/>
                      </a:lnTo>
                      <a:lnTo>
                        <a:pt x="49" y="85"/>
                      </a:lnTo>
                      <a:lnTo>
                        <a:pt x="49" y="85"/>
                      </a:lnTo>
                      <a:lnTo>
                        <a:pt x="47" y="85"/>
                      </a:lnTo>
                      <a:lnTo>
                        <a:pt x="47" y="86"/>
                      </a:lnTo>
                      <a:lnTo>
                        <a:pt x="47" y="87"/>
                      </a:lnTo>
                      <a:lnTo>
                        <a:pt x="47" y="87"/>
                      </a:lnTo>
                      <a:lnTo>
                        <a:pt x="46" y="88"/>
                      </a:lnTo>
                      <a:lnTo>
                        <a:pt x="46" y="90"/>
                      </a:lnTo>
                      <a:lnTo>
                        <a:pt x="47" y="91"/>
                      </a:lnTo>
                      <a:lnTo>
                        <a:pt x="47" y="91"/>
                      </a:lnTo>
                      <a:lnTo>
                        <a:pt x="47" y="92"/>
                      </a:lnTo>
                      <a:lnTo>
                        <a:pt x="47" y="92"/>
                      </a:lnTo>
                      <a:close/>
                      <a:moveTo>
                        <a:pt x="36" y="108"/>
                      </a:moveTo>
                      <a:lnTo>
                        <a:pt x="36" y="106"/>
                      </a:lnTo>
                      <a:lnTo>
                        <a:pt x="38" y="110"/>
                      </a:lnTo>
                      <a:lnTo>
                        <a:pt x="40" y="108"/>
                      </a:lnTo>
                      <a:lnTo>
                        <a:pt x="43" y="108"/>
                      </a:lnTo>
                      <a:lnTo>
                        <a:pt x="46" y="107"/>
                      </a:lnTo>
                      <a:lnTo>
                        <a:pt x="45" y="105"/>
                      </a:lnTo>
                      <a:lnTo>
                        <a:pt x="50" y="105"/>
                      </a:lnTo>
                      <a:lnTo>
                        <a:pt x="50" y="104"/>
                      </a:lnTo>
                      <a:lnTo>
                        <a:pt x="50" y="102"/>
                      </a:lnTo>
                      <a:lnTo>
                        <a:pt x="46" y="101"/>
                      </a:lnTo>
                      <a:lnTo>
                        <a:pt x="45" y="101"/>
                      </a:lnTo>
                      <a:lnTo>
                        <a:pt x="43" y="102"/>
                      </a:lnTo>
                      <a:lnTo>
                        <a:pt x="43" y="101"/>
                      </a:lnTo>
                      <a:lnTo>
                        <a:pt x="40" y="101"/>
                      </a:lnTo>
                      <a:lnTo>
                        <a:pt x="38" y="102"/>
                      </a:lnTo>
                      <a:lnTo>
                        <a:pt x="35" y="104"/>
                      </a:lnTo>
                      <a:lnTo>
                        <a:pt x="32" y="108"/>
                      </a:lnTo>
                      <a:lnTo>
                        <a:pt x="36" y="108"/>
                      </a:lnTo>
                      <a:lnTo>
                        <a:pt x="36" y="108"/>
                      </a:lnTo>
                      <a:close/>
                      <a:moveTo>
                        <a:pt x="2" y="22"/>
                      </a:moveTo>
                      <a:lnTo>
                        <a:pt x="2" y="24"/>
                      </a:lnTo>
                      <a:lnTo>
                        <a:pt x="3" y="24"/>
                      </a:lnTo>
                      <a:lnTo>
                        <a:pt x="3" y="24"/>
                      </a:lnTo>
                      <a:lnTo>
                        <a:pt x="3" y="22"/>
                      </a:lnTo>
                      <a:lnTo>
                        <a:pt x="4" y="22"/>
                      </a:lnTo>
                      <a:lnTo>
                        <a:pt x="5" y="21"/>
                      </a:lnTo>
                      <a:lnTo>
                        <a:pt x="5" y="24"/>
                      </a:lnTo>
                      <a:lnTo>
                        <a:pt x="7" y="26"/>
                      </a:lnTo>
                      <a:lnTo>
                        <a:pt x="9" y="26"/>
                      </a:lnTo>
                      <a:lnTo>
                        <a:pt x="10" y="26"/>
                      </a:lnTo>
                      <a:lnTo>
                        <a:pt x="10" y="27"/>
                      </a:lnTo>
                      <a:lnTo>
                        <a:pt x="11" y="27"/>
                      </a:lnTo>
                      <a:lnTo>
                        <a:pt x="12" y="30"/>
                      </a:lnTo>
                      <a:lnTo>
                        <a:pt x="10" y="31"/>
                      </a:lnTo>
                      <a:lnTo>
                        <a:pt x="9" y="30"/>
                      </a:lnTo>
                      <a:lnTo>
                        <a:pt x="7" y="30"/>
                      </a:lnTo>
                      <a:lnTo>
                        <a:pt x="6" y="30"/>
                      </a:lnTo>
                      <a:lnTo>
                        <a:pt x="5" y="30"/>
                      </a:lnTo>
                      <a:lnTo>
                        <a:pt x="4" y="30"/>
                      </a:lnTo>
                      <a:lnTo>
                        <a:pt x="3" y="31"/>
                      </a:lnTo>
                      <a:lnTo>
                        <a:pt x="3" y="31"/>
                      </a:lnTo>
                      <a:lnTo>
                        <a:pt x="3" y="33"/>
                      </a:lnTo>
                      <a:lnTo>
                        <a:pt x="5" y="34"/>
                      </a:lnTo>
                      <a:lnTo>
                        <a:pt x="4" y="35"/>
                      </a:lnTo>
                      <a:lnTo>
                        <a:pt x="5" y="34"/>
                      </a:lnTo>
                      <a:lnTo>
                        <a:pt x="6" y="34"/>
                      </a:lnTo>
                      <a:lnTo>
                        <a:pt x="6" y="35"/>
                      </a:lnTo>
                      <a:lnTo>
                        <a:pt x="6" y="34"/>
                      </a:lnTo>
                      <a:lnTo>
                        <a:pt x="7" y="34"/>
                      </a:lnTo>
                      <a:lnTo>
                        <a:pt x="7" y="35"/>
                      </a:lnTo>
                      <a:lnTo>
                        <a:pt x="7" y="37"/>
                      </a:lnTo>
                      <a:lnTo>
                        <a:pt x="7" y="37"/>
                      </a:lnTo>
                      <a:lnTo>
                        <a:pt x="7" y="35"/>
                      </a:lnTo>
                      <a:lnTo>
                        <a:pt x="7" y="37"/>
                      </a:lnTo>
                      <a:lnTo>
                        <a:pt x="7" y="37"/>
                      </a:lnTo>
                      <a:lnTo>
                        <a:pt x="9" y="37"/>
                      </a:lnTo>
                      <a:lnTo>
                        <a:pt x="9" y="37"/>
                      </a:lnTo>
                      <a:lnTo>
                        <a:pt x="10" y="37"/>
                      </a:lnTo>
                      <a:lnTo>
                        <a:pt x="10" y="38"/>
                      </a:lnTo>
                      <a:lnTo>
                        <a:pt x="10" y="38"/>
                      </a:lnTo>
                      <a:lnTo>
                        <a:pt x="11" y="38"/>
                      </a:lnTo>
                      <a:lnTo>
                        <a:pt x="11" y="38"/>
                      </a:lnTo>
                      <a:lnTo>
                        <a:pt x="11" y="39"/>
                      </a:lnTo>
                      <a:lnTo>
                        <a:pt x="11" y="39"/>
                      </a:lnTo>
                      <a:lnTo>
                        <a:pt x="10" y="40"/>
                      </a:lnTo>
                      <a:lnTo>
                        <a:pt x="10" y="40"/>
                      </a:lnTo>
                      <a:lnTo>
                        <a:pt x="10" y="41"/>
                      </a:lnTo>
                      <a:lnTo>
                        <a:pt x="10" y="41"/>
                      </a:lnTo>
                      <a:lnTo>
                        <a:pt x="10" y="41"/>
                      </a:lnTo>
                      <a:lnTo>
                        <a:pt x="10" y="41"/>
                      </a:lnTo>
                      <a:lnTo>
                        <a:pt x="11" y="42"/>
                      </a:lnTo>
                      <a:lnTo>
                        <a:pt x="11" y="42"/>
                      </a:lnTo>
                      <a:lnTo>
                        <a:pt x="11" y="44"/>
                      </a:lnTo>
                      <a:lnTo>
                        <a:pt x="13" y="42"/>
                      </a:lnTo>
                      <a:lnTo>
                        <a:pt x="13" y="44"/>
                      </a:lnTo>
                      <a:lnTo>
                        <a:pt x="15" y="45"/>
                      </a:lnTo>
                      <a:lnTo>
                        <a:pt x="15" y="46"/>
                      </a:lnTo>
                      <a:lnTo>
                        <a:pt x="16" y="47"/>
                      </a:lnTo>
                      <a:lnTo>
                        <a:pt x="16" y="47"/>
                      </a:lnTo>
                      <a:lnTo>
                        <a:pt x="16" y="48"/>
                      </a:lnTo>
                      <a:lnTo>
                        <a:pt x="16" y="50"/>
                      </a:lnTo>
                      <a:lnTo>
                        <a:pt x="17" y="50"/>
                      </a:lnTo>
                      <a:lnTo>
                        <a:pt x="18" y="51"/>
                      </a:lnTo>
                      <a:lnTo>
                        <a:pt x="19" y="50"/>
                      </a:lnTo>
                      <a:lnTo>
                        <a:pt x="20" y="51"/>
                      </a:lnTo>
                      <a:lnTo>
                        <a:pt x="20" y="53"/>
                      </a:lnTo>
                      <a:lnTo>
                        <a:pt x="20" y="53"/>
                      </a:lnTo>
                      <a:lnTo>
                        <a:pt x="19" y="54"/>
                      </a:lnTo>
                      <a:lnTo>
                        <a:pt x="19" y="55"/>
                      </a:lnTo>
                      <a:lnTo>
                        <a:pt x="20" y="57"/>
                      </a:lnTo>
                      <a:lnTo>
                        <a:pt x="20" y="57"/>
                      </a:lnTo>
                      <a:lnTo>
                        <a:pt x="23" y="58"/>
                      </a:lnTo>
                      <a:lnTo>
                        <a:pt x="23" y="59"/>
                      </a:lnTo>
                      <a:lnTo>
                        <a:pt x="23" y="62"/>
                      </a:lnTo>
                      <a:lnTo>
                        <a:pt x="23" y="66"/>
                      </a:lnTo>
                      <a:lnTo>
                        <a:pt x="22" y="65"/>
                      </a:lnTo>
                      <a:lnTo>
                        <a:pt x="22" y="64"/>
                      </a:lnTo>
                      <a:lnTo>
                        <a:pt x="20" y="60"/>
                      </a:lnTo>
                      <a:lnTo>
                        <a:pt x="19" y="62"/>
                      </a:lnTo>
                      <a:lnTo>
                        <a:pt x="20" y="64"/>
                      </a:lnTo>
                      <a:lnTo>
                        <a:pt x="20" y="64"/>
                      </a:lnTo>
                      <a:lnTo>
                        <a:pt x="20" y="66"/>
                      </a:lnTo>
                      <a:lnTo>
                        <a:pt x="20" y="67"/>
                      </a:lnTo>
                      <a:lnTo>
                        <a:pt x="20" y="70"/>
                      </a:lnTo>
                      <a:lnTo>
                        <a:pt x="20" y="71"/>
                      </a:lnTo>
                      <a:lnTo>
                        <a:pt x="22" y="72"/>
                      </a:lnTo>
                      <a:lnTo>
                        <a:pt x="24" y="73"/>
                      </a:lnTo>
                      <a:lnTo>
                        <a:pt x="23" y="74"/>
                      </a:lnTo>
                      <a:lnTo>
                        <a:pt x="24" y="77"/>
                      </a:lnTo>
                      <a:lnTo>
                        <a:pt x="24" y="77"/>
                      </a:lnTo>
                      <a:lnTo>
                        <a:pt x="23" y="78"/>
                      </a:lnTo>
                      <a:lnTo>
                        <a:pt x="22" y="79"/>
                      </a:lnTo>
                      <a:lnTo>
                        <a:pt x="22" y="80"/>
                      </a:lnTo>
                      <a:lnTo>
                        <a:pt x="22" y="81"/>
                      </a:lnTo>
                      <a:lnTo>
                        <a:pt x="22" y="82"/>
                      </a:lnTo>
                      <a:lnTo>
                        <a:pt x="22" y="84"/>
                      </a:lnTo>
                      <a:lnTo>
                        <a:pt x="23" y="84"/>
                      </a:lnTo>
                      <a:lnTo>
                        <a:pt x="25" y="85"/>
                      </a:lnTo>
                      <a:lnTo>
                        <a:pt x="25" y="85"/>
                      </a:lnTo>
                      <a:lnTo>
                        <a:pt x="29" y="85"/>
                      </a:lnTo>
                      <a:lnTo>
                        <a:pt x="29" y="85"/>
                      </a:lnTo>
                      <a:lnTo>
                        <a:pt x="31" y="86"/>
                      </a:lnTo>
                      <a:lnTo>
                        <a:pt x="32" y="86"/>
                      </a:lnTo>
                      <a:lnTo>
                        <a:pt x="32" y="86"/>
                      </a:lnTo>
                      <a:lnTo>
                        <a:pt x="35" y="86"/>
                      </a:lnTo>
                      <a:lnTo>
                        <a:pt x="35" y="86"/>
                      </a:lnTo>
                      <a:lnTo>
                        <a:pt x="36" y="86"/>
                      </a:lnTo>
                      <a:lnTo>
                        <a:pt x="38" y="86"/>
                      </a:lnTo>
                      <a:lnTo>
                        <a:pt x="39" y="86"/>
                      </a:lnTo>
                      <a:lnTo>
                        <a:pt x="40" y="84"/>
                      </a:lnTo>
                      <a:lnTo>
                        <a:pt x="42" y="82"/>
                      </a:lnTo>
                      <a:lnTo>
                        <a:pt x="43" y="82"/>
                      </a:lnTo>
                      <a:lnTo>
                        <a:pt x="43" y="84"/>
                      </a:lnTo>
                      <a:lnTo>
                        <a:pt x="45" y="84"/>
                      </a:lnTo>
                      <a:lnTo>
                        <a:pt x="46" y="82"/>
                      </a:lnTo>
                      <a:lnTo>
                        <a:pt x="49" y="81"/>
                      </a:lnTo>
                      <a:lnTo>
                        <a:pt x="50" y="80"/>
                      </a:lnTo>
                      <a:lnTo>
                        <a:pt x="51" y="78"/>
                      </a:lnTo>
                      <a:lnTo>
                        <a:pt x="55" y="78"/>
                      </a:lnTo>
                      <a:lnTo>
                        <a:pt x="56" y="78"/>
                      </a:lnTo>
                      <a:lnTo>
                        <a:pt x="57" y="77"/>
                      </a:lnTo>
                      <a:lnTo>
                        <a:pt x="60" y="77"/>
                      </a:lnTo>
                      <a:lnTo>
                        <a:pt x="63" y="75"/>
                      </a:lnTo>
                      <a:lnTo>
                        <a:pt x="63" y="75"/>
                      </a:lnTo>
                      <a:lnTo>
                        <a:pt x="64" y="77"/>
                      </a:lnTo>
                      <a:lnTo>
                        <a:pt x="66" y="75"/>
                      </a:lnTo>
                      <a:lnTo>
                        <a:pt x="66" y="75"/>
                      </a:lnTo>
                      <a:lnTo>
                        <a:pt x="69" y="75"/>
                      </a:lnTo>
                      <a:lnTo>
                        <a:pt x="69" y="74"/>
                      </a:lnTo>
                      <a:lnTo>
                        <a:pt x="69" y="73"/>
                      </a:lnTo>
                      <a:lnTo>
                        <a:pt x="69" y="72"/>
                      </a:lnTo>
                      <a:lnTo>
                        <a:pt x="72" y="70"/>
                      </a:lnTo>
                      <a:lnTo>
                        <a:pt x="72" y="68"/>
                      </a:lnTo>
                      <a:lnTo>
                        <a:pt x="73" y="68"/>
                      </a:lnTo>
                      <a:lnTo>
                        <a:pt x="73" y="66"/>
                      </a:lnTo>
                      <a:lnTo>
                        <a:pt x="73" y="64"/>
                      </a:lnTo>
                      <a:lnTo>
                        <a:pt x="73" y="62"/>
                      </a:lnTo>
                      <a:lnTo>
                        <a:pt x="75" y="60"/>
                      </a:lnTo>
                      <a:lnTo>
                        <a:pt x="73" y="59"/>
                      </a:lnTo>
                      <a:lnTo>
                        <a:pt x="73" y="58"/>
                      </a:lnTo>
                      <a:lnTo>
                        <a:pt x="72" y="57"/>
                      </a:lnTo>
                      <a:lnTo>
                        <a:pt x="71" y="55"/>
                      </a:lnTo>
                      <a:lnTo>
                        <a:pt x="71" y="53"/>
                      </a:lnTo>
                      <a:lnTo>
                        <a:pt x="70" y="52"/>
                      </a:lnTo>
                      <a:lnTo>
                        <a:pt x="69" y="52"/>
                      </a:lnTo>
                      <a:lnTo>
                        <a:pt x="69" y="51"/>
                      </a:lnTo>
                      <a:lnTo>
                        <a:pt x="69" y="50"/>
                      </a:lnTo>
                      <a:lnTo>
                        <a:pt x="67" y="47"/>
                      </a:lnTo>
                      <a:lnTo>
                        <a:pt x="67" y="47"/>
                      </a:lnTo>
                      <a:lnTo>
                        <a:pt x="65" y="46"/>
                      </a:lnTo>
                      <a:lnTo>
                        <a:pt x="65" y="46"/>
                      </a:lnTo>
                      <a:lnTo>
                        <a:pt x="64" y="44"/>
                      </a:lnTo>
                      <a:lnTo>
                        <a:pt x="64" y="42"/>
                      </a:lnTo>
                      <a:lnTo>
                        <a:pt x="63" y="41"/>
                      </a:lnTo>
                      <a:lnTo>
                        <a:pt x="64" y="39"/>
                      </a:lnTo>
                      <a:lnTo>
                        <a:pt x="64" y="38"/>
                      </a:lnTo>
                      <a:lnTo>
                        <a:pt x="63" y="37"/>
                      </a:lnTo>
                      <a:lnTo>
                        <a:pt x="64" y="35"/>
                      </a:lnTo>
                      <a:lnTo>
                        <a:pt x="62" y="35"/>
                      </a:lnTo>
                      <a:lnTo>
                        <a:pt x="62" y="34"/>
                      </a:lnTo>
                      <a:lnTo>
                        <a:pt x="60" y="33"/>
                      </a:lnTo>
                      <a:lnTo>
                        <a:pt x="60" y="32"/>
                      </a:lnTo>
                      <a:lnTo>
                        <a:pt x="60" y="31"/>
                      </a:lnTo>
                      <a:lnTo>
                        <a:pt x="59" y="30"/>
                      </a:lnTo>
                      <a:lnTo>
                        <a:pt x="59" y="31"/>
                      </a:lnTo>
                      <a:lnTo>
                        <a:pt x="58" y="31"/>
                      </a:lnTo>
                      <a:lnTo>
                        <a:pt x="57" y="27"/>
                      </a:lnTo>
                      <a:lnTo>
                        <a:pt x="57" y="26"/>
                      </a:lnTo>
                      <a:lnTo>
                        <a:pt x="56" y="26"/>
                      </a:lnTo>
                      <a:lnTo>
                        <a:pt x="56" y="26"/>
                      </a:lnTo>
                      <a:lnTo>
                        <a:pt x="55" y="25"/>
                      </a:lnTo>
                      <a:lnTo>
                        <a:pt x="53" y="24"/>
                      </a:lnTo>
                      <a:lnTo>
                        <a:pt x="52" y="22"/>
                      </a:lnTo>
                      <a:lnTo>
                        <a:pt x="52" y="21"/>
                      </a:lnTo>
                      <a:lnTo>
                        <a:pt x="51" y="21"/>
                      </a:lnTo>
                      <a:lnTo>
                        <a:pt x="49" y="21"/>
                      </a:lnTo>
                      <a:lnTo>
                        <a:pt x="49" y="20"/>
                      </a:lnTo>
                      <a:lnTo>
                        <a:pt x="49" y="20"/>
                      </a:lnTo>
                      <a:lnTo>
                        <a:pt x="50" y="20"/>
                      </a:lnTo>
                      <a:lnTo>
                        <a:pt x="51" y="19"/>
                      </a:lnTo>
                      <a:lnTo>
                        <a:pt x="50" y="19"/>
                      </a:lnTo>
                      <a:lnTo>
                        <a:pt x="49" y="19"/>
                      </a:lnTo>
                      <a:lnTo>
                        <a:pt x="49" y="19"/>
                      </a:lnTo>
                      <a:lnTo>
                        <a:pt x="50" y="18"/>
                      </a:lnTo>
                      <a:lnTo>
                        <a:pt x="50" y="17"/>
                      </a:lnTo>
                      <a:lnTo>
                        <a:pt x="49" y="17"/>
                      </a:lnTo>
                      <a:lnTo>
                        <a:pt x="47" y="17"/>
                      </a:lnTo>
                      <a:lnTo>
                        <a:pt x="47" y="15"/>
                      </a:lnTo>
                      <a:lnTo>
                        <a:pt x="46" y="14"/>
                      </a:lnTo>
                      <a:lnTo>
                        <a:pt x="45" y="14"/>
                      </a:lnTo>
                      <a:lnTo>
                        <a:pt x="43" y="13"/>
                      </a:lnTo>
                      <a:lnTo>
                        <a:pt x="43" y="12"/>
                      </a:lnTo>
                      <a:lnTo>
                        <a:pt x="43" y="13"/>
                      </a:lnTo>
                      <a:lnTo>
                        <a:pt x="40" y="12"/>
                      </a:lnTo>
                      <a:lnTo>
                        <a:pt x="39" y="11"/>
                      </a:lnTo>
                      <a:lnTo>
                        <a:pt x="40" y="11"/>
                      </a:lnTo>
                      <a:lnTo>
                        <a:pt x="39" y="10"/>
                      </a:lnTo>
                      <a:lnTo>
                        <a:pt x="39" y="10"/>
                      </a:lnTo>
                      <a:lnTo>
                        <a:pt x="39" y="7"/>
                      </a:lnTo>
                      <a:lnTo>
                        <a:pt x="38" y="7"/>
                      </a:lnTo>
                      <a:lnTo>
                        <a:pt x="37" y="6"/>
                      </a:lnTo>
                      <a:lnTo>
                        <a:pt x="37" y="5"/>
                      </a:lnTo>
                      <a:lnTo>
                        <a:pt x="36" y="6"/>
                      </a:lnTo>
                      <a:lnTo>
                        <a:pt x="36" y="5"/>
                      </a:lnTo>
                      <a:lnTo>
                        <a:pt x="35" y="4"/>
                      </a:lnTo>
                      <a:lnTo>
                        <a:pt x="35" y="4"/>
                      </a:lnTo>
                      <a:lnTo>
                        <a:pt x="32" y="4"/>
                      </a:lnTo>
                      <a:lnTo>
                        <a:pt x="31" y="4"/>
                      </a:lnTo>
                      <a:lnTo>
                        <a:pt x="30" y="2"/>
                      </a:lnTo>
                      <a:lnTo>
                        <a:pt x="30" y="1"/>
                      </a:lnTo>
                      <a:lnTo>
                        <a:pt x="29" y="1"/>
                      </a:lnTo>
                      <a:lnTo>
                        <a:pt x="29" y="0"/>
                      </a:lnTo>
                      <a:lnTo>
                        <a:pt x="27" y="0"/>
                      </a:lnTo>
                      <a:lnTo>
                        <a:pt x="26" y="2"/>
                      </a:lnTo>
                      <a:lnTo>
                        <a:pt x="25" y="5"/>
                      </a:lnTo>
                      <a:lnTo>
                        <a:pt x="25" y="8"/>
                      </a:lnTo>
                      <a:lnTo>
                        <a:pt x="22" y="8"/>
                      </a:lnTo>
                      <a:lnTo>
                        <a:pt x="19" y="10"/>
                      </a:lnTo>
                      <a:lnTo>
                        <a:pt x="17" y="10"/>
                      </a:lnTo>
                      <a:lnTo>
                        <a:pt x="13" y="12"/>
                      </a:lnTo>
                      <a:lnTo>
                        <a:pt x="12" y="15"/>
                      </a:lnTo>
                      <a:lnTo>
                        <a:pt x="9" y="15"/>
                      </a:lnTo>
                      <a:lnTo>
                        <a:pt x="6" y="14"/>
                      </a:lnTo>
                      <a:lnTo>
                        <a:pt x="5" y="15"/>
                      </a:lnTo>
                      <a:lnTo>
                        <a:pt x="3" y="17"/>
                      </a:lnTo>
                      <a:lnTo>
                        <a:pt x="2" y="19"/>
                      </a:lnTo>
                      <a:lnTo>
                        <a:pt x="0" y="20"/>
                      </a:lnTo>
                      <a:lnTo>
                        <a:pt x="2" y="22"/>
                      </a:lnTo>
                      <a:lnTo>
                        <a:pt x="2" y="22"/>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557" name="Japan">
                  <a:extLst>
                    <a:ext uri="{FF2B5EF4-FFF2-40B4-BE49-F238E27FC236}">
                      <a16:creationId xmlns:a16="http://schemas.microsoft.com/office/drawing/2014/main" id="{F1588A8A-F6F7-1748-BF59-061DD38CA2A2}"/>
                    </a:ext>
                  </a:extLst>
                </p:cNvPr>
                <p:cNvSpPr>
                  <a:spLocks noEditPoints="1"/>
                </p:cNvSpPr>
                <p:nvPr>
                  <p:custDataLst>
                    <p:tags r:id="rId18"/>
                  </p:custDataLst>
                </p:nvPr>
              </p:nvSpPr>
              <p:spPr bwMode="auto">
                <a:xfrm>
                  <a:off x="9531911" y="2626266"/>
                  <a:ext cx="349909" cy="634208"/>
                </a:xfrm>
                <a:custGeom>
                  <a:avLst/>
                  <a:gdLst>
                    <a:gd name="T0" fmla="*/ 106 w 240"/>
                    <a:gd name="T1" fmla="*/ 307 h 435"/>
                    <a:gd name="T2" fmla="*/ 73 w 240"/>
                    <a:gd name="T3" fmla="*/ 258 h 435"/>
                    <a:gd name="T4" fmla="*/ 63 w 240"/>
                    <a:gd name="T5" fmla="*/ 245 h 435"/>
                    <a:gd name="T6" fmla="*/ 96 w 240"/>
                    <a:gd name="T7" fmla="*/ 298 h 435"/>
                    <a:gd name="T8" fmla="*/ 76 w 240"/>
                    <a:gd name="T9" fmla="*/ 280 h 435"/>
                    <a:gd name="T10" fmla="*/ 76 w 240"/>
                    <a:gd name="T11" fmla="*/ 272 h 435"/>
                    <a:gd name="T12" fmla="*/ 79 w 240"/>
                    <a:gd name="T13" fmla="*/ 272 h 435"/>
                    <a:gd name="T14" fmla="*/ 80 w 240"/>
                    <a:gd name="T15" fmla="*/ 269 h 435"/>
                    <a:gd name="T16" fmla="*/ 80 w 240"/>
                    <a:gd name="T17" fmla="*/ 265 h 435"/>
                    <a:gd name="T18" fmla="*/ 68 w 240"/>
                    <a:gd name="T19" fmla="*/ 262 h 435"/>
                    <a:gd name="T20" fmla="*/ 54 w 240"/>
                    <a:gd name="T21" fmla="*/ 260 h 435"/>
                    <a:gd name="T22" fmla="*/ 102 w 240"/>
                    <a:gd name="T23" fmla="*/ 256 h 435"/>
                    <a:gd name="T24" fmla="*/ 49 w 240"/>
                    <a:gd name="T25" fmla="*/ 253 h 435"/>
                    <a:gd name="T26" fmla="*/ 59 w 240"/>
                    <a:gd name="T27" fmla="*/ 249 h 435"/>
                    <a:gd name="T28" fmla="*/ 58 w 240"/>
                    <a:gd name="T29" fmla="*/ 247 h 435"/>
                    <a:gd name="T30" fmla="*/ 56 w 240"/>
                    <a:gd name="T31" fmla="*/ 241 h 435"/>
                    <a:gd name="T32" fmla="*/ 45 w 240"/>
                    <a:gd name="T33" fmla="*/ 233 h 435"/>
                    <a:gd name="T34" fmla="*/ 45 w 240"/>
                    <a:gd name="T35" fmla="*/ 225 h 435"/>
                    <a:gd name="T36" fmla="*/ 45 w 240"/>
                    <a:gd name="T37" fmla="*/ 223 h 435"/>
                    <a:gd name="T38" fmla="*/ 109 w 240"/>
                    <a:gd name="T39" fmla="*/ 251 h 435"/>
                    <a:gd name="T40" fmla="*/ 130 w 240"/>
                    <a:gd name="T41" fmla="*/ 246 h 435"/>
                    <a:gd name="T42" fmla="*/ 107 w 240"/>
                    <a:gd name="T43" fmla="*/ 253 h 435"/>
                    <a:gd name="T44" fmla="*/ 108 w 240"/>
                    <a:gd name="T45" fmla="*/ 238 h 435"/>
                    <a:gd name="T46" fmla="*/ 121 w 240"/>
                    <a:gd name="T47" fmla="*/ 231 h 435"/>
                    <a:gd name="T48" fmla="*/ 126 w 240"/>
                    <a:gd name="T49" fmla="*/ 226 h 435"/>
                    <a:gd name="T50" fmla="*/ 148 w 240"/>
                    <a:gd name="T51" fmla="*/ 228 h 435"/>
                    <a:gd name="T52" fmla="*/ 139 w 240"/>
                    <a:gd name="T53" fmla="*/ 203 h 435"/>
                    <a:gd name="T54" fmla="*/ 179 w 240"/>
                    <a:gd name="T55" fmla="*/ 153 h 435"/>
                    <a:gd name="T56" fmla="*/ 210 w 240"/>
                    <a:gd name="T57" fmla="*/ 127 h 435"/>
                    <a:gd name="T58" fmla="*/ 219 w 240"/>
                    <a:gd name="T59" fmla="*/ 205 h 435"/>
                    <a:gd name="T60" fmla="*/ 172 w 240"/>
                    <a:gd name="T61" fmla="*/ 216 h 435"/>
                    <a:gd name="T62" fmla="*/ 165 w 240"/>
                    <a:gd name="T63" fmla="*/ 247 h 435"/>
                    <a:gd name="T64" fmla="*/ 228 w 240"/>
                    <a:gd name="T65" fmla="*/ 239 h 435"/>
                    <a:gd name="T66" fmla="*/ 105 w 240"/>
                    <a:gd name="T67" fmla="*/ 238 h 435"/>
                    <a:gd name="T68" fmla="*/ 101 w 240"/>
                    <a:gd name="T69" fmla="*/ 235 h 435"/>
                    <a:gd name="T70" fmla="*/ 102 w 240"/>
                    <a:gd name="T71" fmla="*/ 234 h 435"/>
                    <a:gd name="T72" fmla="*/ 108 w 240"/>
                    <a:gd name="T73" fmla="*/ 233 h 435"/>
                    <a:gd name="T74" fmla="*/ 107 w 240"/>
                    <a:gd name="T75" fmla="*/ 232 h 435"/>
                    <a:gd name="T76" fmla="*/ 99 w 240"/>
                    <a:gd name="T77" fmla="*/ 232 h 435"/>
                    <a:gd name="T78" fmla="*/ 113 w 240"/>
                    <a:gd name="T79" fmla="*/ 231 h 435"/>
                    <a:gd name="T80" fmla="*/ 99 w 240"/>
                    <a:gd name="T81" fmla="*/ 229 h 435"/>
                    <a:gd name="T82" fmla="*/ 97 w 240"/>
                    <a:gd name="T83" fmla="*/ 229 h 435"/>
                    <a:gd name="T84" fmla="*/ 116 w 240"/>
                    <a:gd name="T85" fmla="*/ 228 h 435"/>
                    <a:gd name="T86" fmla="*/ 119 w 240"/>
                    <a:gd name="T87" fmla="*/ 228 h 435"/>
                    <a:gd name="T88" fmla="*/ 79 w 240"/>
                    <a:gd name="T89" fmla="*/ 227 h 435"/>
                    <a:gd name="T90" fmla="*/ 125 w 240"/>
                    <a:gd name="T91" fmla="*/ 226 h 435"/>
                    <a:gd name="T92" fmla="*/ 148 w 240"/>
                    <a:gd name="T93" fmla="*/ 222 h 435"/>
                    <a:gd name="T94" fmla="*/ 139 w 240"/>
                    <a:gd name="T95" fmla="*/ 221 h 435"/>
                    <a:gd name="T96" fmla="*/ 214 w 240"/>
                    <a:gd name="T97" fmla="*/ 206 h 435"/>
                    <a:gd name="T98" fmla="*/ 214 w 240"/>
                    <a:gd name="T99" fmla="*/ 202 h 435"/>
                    <a:gd name="T100" fmla="*/ 96 w 240"/>
                    <a:gd name="T101" fmla="*/ 189 h 435"/>
                    <a:gd name="T102" fmla="*/ 42 w 240"/>
                    <a:gd name="T103" fmla="*/ 160 h 435"/>
                    <a:gd name="T104" fmla="*/ 214 w 240"/>
                    <a:gd name="T105" fmla="*/ 147 h 435"/>
                    <a:gd name="T106" fmla="*/ 210 w 240"/>
                    <a:gd name="T107" fmla="*/ 135 h 435"/>
                    <a:gd name="T108" fmla="*/ 130 w 240"/>
                    <a:gd name="T109" fmla="*/ 4 h 435"/>
                    <a:gd name="T110" fmla="*/ 201 w 240"/>
                    <a:gd name="T111" fmla="*/ 26 h 435"/>
                    <a:gd name="T112" fmla="*/ 219 w 240"/>
                    <a:gd name="T113" fmla="*/ 47 h 435"/>
                    <a:gd name="T114" fmla="*/ 213 w 240"/>
                    <a:gd name="T115" fmla="*/ 52 h 435"/>
                    <a:gd name="T116" fmla="*/ 166 w 240"/>
                    <a:gd name="T117" fmla="*/ 60 h 435"/>
                    <a:gd name="T118" fmla="*/ 167 w 240"/>
                    <a:gd name="T119" fmla="*/ 76 h 435"/>
                    <a:gd name="T120" fmla="*/ 136 w 240"/>
                    <a:gd name="T121" fmla="*/ 56 h 435"/>
                    <a:gd name="T122" fmla="*/ 115 w 240"/>
                    <a:gd name="T123" fmla="*/ 1 h 435"/>
                    <a:gd name="T124" fmla="*/ 216 w 240"/>
                    <a:gd name="T125" fmla="*/ 49 h 4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40" h="435">
                      <a:moveTo>
                        <a:pt x="89" y="330"/>
                      </a:moveTo>
                      <a:lnTo>
                        <a:pt x="89" y="330"/>
                      </a:lnTo>
                      <a:lnTo>
                        <a:pt x="89" y="330"/>
                      </a:lnTo>
                      <a:lnTo>
                        <a:pt x="89" y="330"/>
                      </a:lnTo>
                      <a:lnTo>
                        <a:pt x="89" y="330"/>
                      </a:lnTo>
                      <a:close/>
                      <a:moveTo>
                        <a:pt x="90" y="327"/>
                      </a:moveTo>
                      <a:lnTo>
                        <a:pt x="89" y="326"/>
                      </a:lnTo>
                      <a:lnTo>
                        <a:pt x="89" y="326"/>
                      </a:lnTo>
                      <a:lnTo>
                        <a:pt x="90" y="327"/>
                      </a:lnTo>
                      <a:lnTo>
                        <a:pt x="90" y="327"/>
                      </a:lnTo>
                      <a:close/>
                      <a:moveTo>
                        <a:pt x="87" y="325"/>
                      </a:moveTo>
                      <a:lnTo>
                        <a:pt x="87" y="325"/>
                      </a:lnTo>
                      <a:lnTo>
                        <a:pt x="87" y="325"/>
                      </a:lnTo>
                      <a:lnTo>
                        <a:pt x="87" y="325"/>
                      </a:lnTo>
                      <a:lnTo>
                        <a:pt x="87" y="325"/>
                      </a:lnTo>
                      <a:close/>
                      <a:moveTo>
                        <a:pt x="92" y="322"/>
                      </a:moveTo>
                      <a:lnTo>
                        <a:pt x="90" y="321"/>
                      </a:lnTo>
                      <a:lnTo>
                        <a:pt x="92" y="321"/>
                      </a:lnTo>
                      <a:lnTo>
                        <a:pt x="92" y="322"/>
                      </a:lnTo>
                      <a:lnTo>
                        <a:pt x="92" y="322"/>
                      </a:lnTo>
                      <a:close/>
                      <a:moveTo>
                        <a:pt x="86" y="320"/>
                      </a:moveTo>
                      <a:lnTo>
                        <a:pt x="85" y="321"/>
                      </a:lnTo>
                      <a:lnTo>
                        <a:pt x="86" y="320"/>
                      </a:lnTo>
                      <a:lnTo>
                        <a:pt x="86" y="320"/>
                      </a:lnTo>
                      <a:lnTo>
                        <a:pt x="86" y="320"/>
                      </a:lnTo>
                      <a:close/>
                      <a:moveTo>
                        <a:pt x="92" y="319"/>
                      </a:moveTo>
                      <a:lnTo>
                        <a:pt x="90" y="319"/>
                      </a:lnTo>
                      <a:lnTo>
                        <a:pt x="92" y="319"/>
                      </a:lnTo>
                      <a:lnTo>
                        <a:pt x="92" y="319"/>
                      </a:lnTo>
                      <a:lnTo>
                        <a:pt x="92" y="319"/>
                      </a:lnTo>
                      <a:close/>
                      <a:moveTo>
                        <a:pt x="99" y="312"/>
                      </a:moveTo>
                      <a:lnTo>
                        <a:pt x="95" y="309"/>
                      </a:lnTo>
                      <a:lnTo>
                        <a:pt x="95" y="307"/>
                      </a:lnTo>
                      <a:lnTo>
                        <a:pt x="97" y="307"/>
                      </a:lnTo>
                      <a:lnTo>
                        <a:pt x="100" y="310"/>
                      </a:lnTo>
                      <a:lnTo>
                        <a:pt x="99" y="312"/>
                      </a:lnTo>
                      <a:lnTo>
                        <a:pt x="99" y="312"/>
                      </a:lnTo>
                      <a:close/>
                      <a:moveTo>
                        <a:pt x="93" y="309"/>
                      </a:moveTo>
                      <a:lnTo>
                        <a:pt x="92" y="308"/>
                      </a:lnTo>
                      <a:lnTo>
                        <a:pt x="93" y="308"/>
                      </a:lnTo>
                      <a:lnTo>
                        <a:pt x="93" y="309"/>
                      </a:lnTo>
                      <a:lnTo>
                        <a:pt x="93" y="309"/>
                      </a:lnTo>
                      <a:close/>
                      <a:moveTo>
                        <a:pt x="102" y="303"/>
                      </a:moveTo>
                      <a:lnTo>
                        <a:pt x="101" y="303"/>
                      </a:lnTo>
                      <a:lnTo>
                        <a:pt x="102" y="303"/>
                      </a:lnTo>
                      <a:lnTo>
                        <a:pt x="102" y="303"/>
                      </a:lnTo>
                      <a:lnTo>
                        <a:pt x="102" y="303"/>
                      </a:lnTo>
                      <a:close/>
                      <a:moveTo>
                        <a:pt x="92" y="302"/>
                      </a:moveTo>
                      <a:lnTo>
                        <a:pt x="92" y="302"/>
                      </a:lnTo>
                      <a:lnTo>
                        <a:pt x="92" y="302"/>
                      </a:lnTo>
                      <a:lnTo>
                        <a:pt x="92" y="302"/>
                      </a:lnTo>
                      <a:lnTo>
                        <a:pt x="92" y="302"/>
                      </a:lnTo>
                      <a:close/>
                      <a:moveTo>
                        <a:pt x="94" y="302"/>
                      </a:moveTo>
                      <a:lnTo>
                        <a:pt x="93" y="302"/>
                      </a:lnTo>
                      <a:lnTo>
                        <a:pt x="94" y="302"/>
                      </a:lnTo>
                      <a:lnTo>
                        <a:pt x="94" y="302"/>
                      </a:lnTo>
                      <a:lnTo>
                        <a:pt x="94" y="302"/>
                      </a:lnTo>
                      <a:close/>
                      <a:moveTo>
                        <a:pt x="106" y="309"/>
                      </a:moveTo>
                      <a:lnTo>
                        <a:pt x="105" y="307"/>
                      </a:lnTo>
                      <a:lnTo>
                        <a:pt x="103" y="302"/>
                      </a:lnTo>
                      <a:lnTo>
                        <a:pt x="105" y="300"/>
                      </a:lnTo>
                      <a:lnTo>
                        <a:pt x="106" y="303"/>
                      </a:lnTo>
                      <a:lnTo>
                        <a:pt x="106" y="307"/>
                      </a:lnTo>
                      <a:lnTo>
                        <a:pt x="107" y="309"/>
                      </a:lnTo>
                      <a:lnTo>
                        <a:pt x="106" y="309"/>
                      </a:lnTo>
                      <a:lnTo>
                        <a:pt x="106" y="309"/>
                      </a:lnTo>
                      <a:close/>
                      <a:moveTo>
                        <a:pt x="85" y="301"/>
                      </a:moveTo>
                      <a:lnTo>
                        <a:pt x="85" y="301"/>
                      </a:lnTo>
                      <a:lnTo>
                        <a:pt x="86" y="301"/>
                      </a:lnTo>
                      <a:lnTo>
                        <a:pt x="85" y="301"/>
                      </a:lnTo>
                      <a:lnTo>
                        <a:pt x="85" y="301"/>
                      </a:lnTo>
                      <a:close/>
                      <a:moveTo>
                        <a:pt x="96" y="298"/>
                      </a:moveTo>
                      <a:lnTo>
                        <a:pt x="96" y="296"/>
                      </a:lnTo>
                      <a:lnTo>
                        <a:pt x="96" y="293"/>
                      </a:lnTo>
                      <a:lnTo>
                        <a:pt x="95" y="289"/>
                      </a:lnTo>
                      <a:lnTo>
                        <a:pt x="93" y="287"/>
                      </a:lnTo>
                      <a:lnTo>
                        <a:pt x="90" y="286"/>
                      </a:lnTo>
                      <a:lnTo>
                        <a:pt x="93" y="285"/>
                      </a:lnTo>
                      <a:lnTo>
                        <a:pt x="94" y="286"/>
                      </a:lnTo>
                      <a:lnTo>
                        <a:pt x="93" y="283"/>
                      </a:lnTo>
                      <a:lnTo>
                        <a:pt x="90" y="282"/>
                      </a:lnTo>
                      <a:lnTo>
                        <a:pt x="90" y="285"/>
                      </a:lnTo>
                      <a:lnTo>
                        <a:pt x="90" y="289"/>
                      </a:lnTo>
                      <a:lnTo>
                        <a:pt x="93" y="292"/>
                      </a:lnTo>
                      <a:lnTo>
                        <a:pt x="95" y="293"/>
                      </a:lnTo>
                      <a:lnTo>
                        <a:pt x="94" y="294"/>
                      </a:lnTo>
                      <a:lnTo>
                        <a:pt x="93" y="294"/>
                      </a:lnTo>
                      <a:lnTo>
                        <a:pt x="89" y="293"/>
                      </a:lnTo>
                      <a:lnTo>
                        <a:pt x="87" y="293"/>
                      </a:lnTo>
                      <a:lnTo>
                        <a:pt x="86" y="292"/>
                      </a:lnTo>
                      <a:lnTo>
                        <a:pt x="86" y="290"/>
                      </a:lnTo>
                      <a:lnTo>
                        <a:pt x="85" y="289"/>
                      </a:lnTo>
                      <a:lnTo>
                        <a:pt x="85" y="288"/>
                      </a:lnTo>
                      <a:lnTo>
                        <a:pt x="86" y="289"/>
                      </a:lnTo>
                      <a:lnTo>
                        <a:pt x="87" y="288"/>
                      </a:lnTo>
                      <a:lnTo>
                        <a:pt x="85" y="285"/>
                      </a:lnTo>
                      <a:lnTo>
                        <a:pt x="82" y="282"/>
                      </a:lnTo>
                      <a:lnTo>
                        <a:pt x="82" y="281"/>
                      </a:lnTo>
                      <a:lnTo>
                        <a:pt x="81" y="278"/>
                      </a:lnTo>
                      <a:lnTo>
                        <a:pt x="80" y="276"/>
                      </a:lnTo>
                      <a:lnTo>
                        <a:pt x="80" y="275"/>
                      </a:lnTo>
                      <a:lnTo>
                        <a:pt x="81" y="275"/>
                      </a:lnTo>
                      <a:lnTo>
                        <a:pt x="82" y="274"/>
                      </a:lnTo>
                      <a:lnTo>
                        <a:pt x="82" y="273"/>
                      </a:lnTo>
                      <a:lnTo>
                        <a:pt x="82" y="272"/>
                      </a:lnTo>
                      <a:lnTo>
                        <a:pt x="83" y="272"/>
                      </a:lnTo>
                      <a:lnTo>
                        <a:pt x="83" y="270"/>
                      </a:lnTo>
                      <a:lnTo>
                        <a:pt x="83" y="268"/>
                      </a:lnTo>
                      <a:lnTo>
                        <a:pt x="83" y="267"/>
                      </a:lnTo>
                      <a:lnTo>
                        <a:pt x="82" y="266"/>
                      </a:lnTo>
                      <a:lnTo>
                        <a:pt x="83" y="265"/>
                      </a:lnTo>
                      <a:lnTo>
                        <a:pt x="83" y="263"/>
                      </a:lnTo>
                      <a:lnTo>
                        <a:pt x="81" y="265"/>
                      </a:lnTo>
                      <a:lnTo>
                        <a:pt x="81" y="263"/>
                      </a:lnTo>
                      <a:lnTo>
                        <a:pt x="82" y="262"/>
                      </a:lnTo>
                      <a:lnTo>
                        <a:pt x="81" y="261"/>
                      </a:lnTo>
                      <a:lnTo>
                        <a:pt x="79" y="259"/>
                      </a:lnTo>
                      <a:lnTo>
                        <a:pt x="77" y="258"/>
                      </a:lnTo>
                      <a:lnTo>
                        <a:pt x="76" y="256"/>
                      </a:lnTo>
                      <a:lnTo>
                        <a:pt x="75" y="254"/>
                      </a:lnTo>
                      <a:lnTo>
                        <a:pt x="74" y="253"/>
                      </a:lnTo>
                      <a:lnTo>
                        <a:pt x="73" y="253"/>
                      </a:lnTo>
                      <a:lnTo>
                        <a:pt x="70" y="253"/>
                      </a:lnTo>
                      <a:lnTo>
                        <a:pt x="70" y="254"/>
                      </a:lnTo>
                      <a:lnTo>
                        <a:pt x="72" y="256"/>
                      </a:lnTo>
                      <a:lnTo>
                        <a:pt x="73" y="258"/>
                      </a:lnTo>
                      <a:lnTo>
                        <a:pt x="73" y="259"/>
                      </a:lnTo>
                      <a:lnTo>
                        <a:pt x="72" y="260"/>
                      </a:lnTo>
                      <a:lnTo>
                        <a:pt x="73" y="260"/>
                      </a:lnTo>
                      <a:lnTo>
                        <a:pt x="75" y="259"/>
                      </a:lnTo>
                      <a:lnTo>
                        <a:pt x="77" y="262"/>
                      </a:lnTo>
                      <a:lnTo>
                        <a:pt x="76" y="265"/>
                      </a:lnTo>
                      <a:lnTo>
                        <a:pt x="75" y="265"/>
                      </a:lnTo>
                      <a:lnTo>
                        <a:pt x="75" y="262"/>
                      </a:lnTo>
                      <a:lnTo>
                        <a:pt x="74" y="261"/>
                      </a:lnTo>
                      <a:lnTo>
                        <a:pt x="70" y="261"/>
                      </a:lnTo>
                      <a:lnTo>
                        <a:pt x="70" y="262"/>
                      </a:lnTo>
                      <a:lnTo>
                        <a:pt x="69" y="263"/>
                      </a:lnTo>
                      <a:lnTo>
                        <a:pt x="68" y="265"/>
                      </a:lnTo>
                      <a:lnTo>
                        <a:pt x="68" y="265"/>
                      </a:lnTo>
                      <a:lnTo>
                        <a:pt x="68" y="262"/>
                      </a:lnTo>
                      <a:lnTo>
                        <a:pt x="68" y="262"/>
                      </a:lnTo>
                      <a:lnTo>
                        <a:pt x="68" y="261"/>
                      </a:lnTo>
                      <a:lnTo>
                        <a:pt x="67" y="260"/>
                      </a:lnTo>
                      <a:lnTo>
                        <a:pt x="65" y="260"/>
                      </a:lnTo>
                      <a:lnTo>
                        <a:pt x="63" y="258"/>
                      </a:lnTo>
                      <a:lnTo>
                        <a:pt x="62" y="255"/>
                      </a:lnTo>
                      <a:lnTo>
                        <a:pt x="62" y="254"/>
                      </a:lnTo>
                      <a:lnTo>
                        <a:pt x="63" y="255"/>
                      </a:lnTo>
                      <a:lnTo>
                        <a:pt x="65" y="256"/>
                      </a:lnTo>
                      <a:lnTo>
                        <a:pt x="65" y="256"/>
                      </a:lnTo>
                      <a:lnTo>
                        <a:pt x="66" y="258"/>
                      </a:lnTo>
                      <a:lnTo>
                        <a:pt x="66" y="258"/>
                      </a:lnTo>
                      <a:lnTo>
                        <a:pt x="66" y="259"/>
                      </a:lnTo>
                      <a:lnTo>
                        <a:pt x="67" y="259"/>
                      </a:lnTo>
                      <a:lnTo>
                        <a:pt x="68" y="259"/>
                      </a:lnTo>
                      <a:lnTo>
                        <a:pt x="69" y="259"/>
                      </a:lnTo>
                      <a:lnTo>
                        <a:pt x="69" y="259"/>
                      </a:lnTo>
                      <a:lnTo>
                        <a:pt x="69" y="259"/>
                      </a:lnTo>
                      <a:lnTo>
                        <a:pt x="67" y="255"/>
                      </a:lnTo>
                      <a:lnTo>
                        <a:pt x="66" y="255"/>
                      </a:lnTo>
                      <a:lnTo>
                        <a:pt x="65" y="254"/>
                      </a:lnTo>
                      <a:lnTo>
                        <a:pt x="65" y="255"/>
                      </a:lnTo>
                      <a:lnTo>
                        <a:pt x="63" y="254"/>
                      </a:lnTo>
                      <a:lnTo>
                        <a:pt x="63" y="254"/>
                      </a:lnTo>
                      <a:lnTo>
                        <a:pt x="63" y="254"/>
                      </a:lnTo>
                      <a:lnTo>
                        <a:pt x="62" y="253"/>
                      </a:lnTo>
                      <a:lnTo>
                        <a:pt x="62" y="254"/>
                      </a:lnTo>
                      <a:lnTo>
                        <a:pt x="62" y="253"/>
                      </a:lnTo>
                      <a:lnTo>
                        <a:pt x="61" y="253"/>
                      </a:lnTo>
                      <a:lnTo>
                        <a:pt x="61" y="252"/>
                      </a:lnTo>
                      <a:lnTo>
                        <a:pt x="60" y="252"/>
                      </a:lnTo>
                      <a:lnTo>
                        <a:pt x="59" y="252"/>
                      </a:lnTo>
                      <a:lnTo>
                        <a:pt x="59" y="249"/>
                      </a:lnTo>
                      <a:lnTo>
                        <a:pt x="59" y="248"/>
                      </a:lnTo>
                      <a:lnTo>
                        <a:pt x="60" y="249"/>
                      </a:lnTo>
                      <a:lnTo>
                        <a:pt x="60" y="248"/>
                      </a:lnTo>
                      <a:lnTo>
                        <a:pt x="61" y="249"/>
                      </a:lnTo>
                      <a:lnTo>
                        <a:pt x="63" y="249"/>
                      </a:lnTo>
                      <a:lnTo>
                        <a:pt x="63" y="249"/>
                      </a:lnTo>
                      <a:lnTo>
                        <a:pt x="62" y="249"/>
                      </a:lnTo>
                      <a:lnTo>
                        <a:pt x="62" y="248"/>
                      </a:lnTo>
                      <a:lnTo>
                        <a:pt x="63" y="248"/>
                      </a:lnTo>
                      <a:lnTo>
                        <a:pt x="61" y="247"/>
                      </a:lnTo>
                      <a:lnTo>
                        <a:pt x="62" y="247"/>
                      </a:lnTo>
                      <a:lnTo>
                        <a:pt x="62" y="247"/>
                      </a:lnTo>
                      <a:lnTo>
                        <a:pt x="61" y="246"/>
                      </a:lnTo>
                      <a:lnTo>
                        <a:pt x="62" y="246"/>
                      </a:lnTo>
                      <a:lnTo>
                        <a:pt x="63" y="245"/>
                      </a:lnTo>
                      <a:lnTo>
                        <a:pt x="65" y="247"/>
                      </a:lnTo>
                      <a:lnTo>
                        <a:pt x="65" y="247"/>
                      </a:lnTo>
                      <a:lnTo>
                        <a:pt x="66" y="246"/>
                      </a:lnTo>
                      <a:lnTo>
                        <a:pt x="67" y="245"/>
                      </a:lnTo>
                      <a:lnTo>
                        <a:pt x="66" y="245"/>
                      </a:lnTo>
                      <a:lnTo>
                        <a:pt x="67" y="243"/>
                      </a:lnTo>
                      <a:lnTo>
                        <a:pt x="67" y="242"/>
                      </a:lnTo>
                      <a:lnTo>
                        <a:pt x="68" y="243"/>
                      </a:lnTo>
                      <a:lnTo>
                        <a:pt x="70" y="243"/>
                      </a:lnTo>
                      <a:lnTo>
                        <a:pt x="70" y="242"/>
                      </a:lnTo>
                      <a:lnTo>
                        <a:pt x="69" y="242"/>
                      </a:lnTo>
                      <a:lnTo>
                        <a:pt x="69" y="242"/>
                      </a:lnTo>
                      <a:lnTo>
                        <a:pt x="70" y="240"/>
                      </a:lnTo>
                      <a:lnTo>
                        <a:pt x="70" y="239"/>
                      </a:lnTo>
                      <a:lnTo>
                        <a:pt x="72" y="239"/>
                      </a:lnTo>
                      <a:lnTo>
                        <a:pt x="73" y="236"/>
                      </a:lnTo>
                      <a:lnTo>
                        <a:pt x="75" y="236"/>
                      </a:lnTo>
                      <a:lnTo>
                        <a:pt x="75" y="238"/>
                      </a:lnTo>
                      <a:lnTo>
                        <a:pt x="75" y="238"/>
                      </a:lnTo>
                      <a:lnTo>
                        <a:pt x="76" y="238"/>
                      </a:lnTo>
                      <a:lnTo>
                        <a:pt x="77" y="236"/>
                      </a:lnTo>
                      <a:lnTo>
                        <a:pt x="79" y="238"/>
                      </a:lnTo>
                      <a:lnTo>
                        <a:pt x="79" y="239"/>
                      </a:lnTo>
                      <a:lnTo>
                        <a:pt x="80" y="240"/>
                      </a:lnTo>
                      <a:lnTo>
                        <a:pt x="81" y="242"/>
                      </a:lnTo>
                      <a:lnTo>
                        <a:pt x="83" y="243"/>
                      </a:lnTo>
                      <a:lnTo>
                        <a:pt x="85" y="243"/>
                      </a:lnTo>
                      <a:lnTo>
                        <a:pt x="87" y="245"/>
                      </a:lnTo>
                      <a:lnTo>
                        <a:pt x="88" y="245"/>
                      </a:lnTo>
                      <a:lnTo>
                        <a:pt x="89" y="243"/>
                      </a:lnTo>
                      <a:lnTo>
                        <a:pt x="89" y="242"/>
                      </a:lnTo>
                      <a:lnTo>
                        <a:pt x="89" y="242"/>
                      </a:lnTo>
                      <a:lnTo>
                        <a:pt x="90" y="242"/>
                      </a:lnTo>
                      <a:lnTo>
                        <a:pt x="92" y="242"/>
                      </a:lnTo>
                      <a:lnTo>
                        <a:pt x="94" y="245"/>
                      </a:lnTo>
                      <a:lnTo>
                        <a:pt x="94" y="248"/>
                      </a:lnTo>
                      <a:lnTo>
                        <a:pt x="94" y="248"/>
                      </a:lnTo>
                      <a:lnTo>
                        <a:pt x="93" y="249"/>
                      </a:lnTo>
                      <a:lnTo>
                        <a:pt x="92" y="249"/>
                      </a:lnTo>
                      <a:lnTo>
                        <a:pt x="95" y="252"/>
                      </a:lnTo>
                      <a:lnTo>
                        <a:pt x="96" y="251"/>
                      </a:lnTo>
                      <a:lnTo>
                        <a:pt x="97" y="252"/>
                      </a:lnTo>
                      <a:lnTo>
                        <a:pt x="100" y="251"/>
                      </a:lnTo>
                      <a:lnTo>
                        <a:pt x="100" y="253"/>
                      </a:lnTo>
                      <a:lnTo>
                        <a:pt x="99" y="254"/>
                      </a:lnTo>
                      <a:lnTo>
                        <a:pt x="101" y="254"/>
                      </a:lnTo>
                      <a:lnTo>
                        <a:pt x="101" y="254"/>
                      </a:lnTo>
                      <a:lnTo>
                        <a:pt x="103" y="258"/>
                      </a:lnTo>
                      <a:lnTo>
                        <a:pt x="100" y="266"/>
                      </a:lnTo>
                      <a:lnTo>
                        <a:pt x="103" y="275"/>
                      </a:lnTo>
                      <a:lnTo>
                        <a:pt x="103" y="281"/>
                      </a:lnTo>
                      <a:lnTo>
                        <a:pt x="106" y="289"/>
                      </a:lnTo>
                      <a:lnTo>
                        <a:pt x="103" y="289"/>
                      </a:lnTo>
                      <a:lnTo>
                        <a:pt x="102" y="288"/>
                      </a:lnTo>
                      <a:lnTo>
                        <a:pt x="101" y="288"/>
                      </a:lnTo>
                      <a:lnTo>
                        <a:pt x="100" y="290"/>
                      </a:lnTo>
                      <a:lnTo>
                        <a:pt x="102" y="292"/>
                      </a:lnTo>
                      <a:lnTo>
                        <a:pt x="101" y="293"/>
                      </a:lnTo>
                      <a:lnTo>
                        <a:pt x="101" y="295"/>
                      </a:lnTo>
                      <a:lnTo>
                        <a:pt x="97" y="296"/>
                      </a:lnTo>
                      <a:lnTo>
                        <a:pt x="96" y="298"/>
                      </a:lnTo>
                      <a:lnTo>
                        <a:pt x="96" y="298"/>
                      </a:lnTo>
                      <a:lnTo>
                        <a:pt x="96" y="298"/>
                      </a:lnTo>
                      <a:close/>
                      <a:moveTo>
                        <a:pt x="74" y="294"/>
                      </a:moveTo>
                      <a:lnTo>
                        <a:pt x="74" y="293"/>
                      </a:lnTo>
                      <a:lnTo>
                        <a:pt x="74" y="293"/>
                      </a:lnTo>
                      <a:lnTo>
                        <a:pt x="74" y="294"/>
                      </a:lnTo>
                      <a:lnTo>
                        <a:pt x="74" y="294"/>
                      </a:lnTo>
                      <a:lnTo>
                        <a:pt x="74" y="294"/>
                      </a:lnTo>
                      <a:close/>
                      <a:moveTo>
                        <a:pt x="75" y="293"/>
                      </a:moveTo>
                      <a:lnTo>
                        <a:pt x="74" y="293"/>
                      </a:lnTo>
                      <a:lnTo>
                        <a:pt x="75" y="293"/>
                      </a:lnTo>
                      <a:lnTo>
                        <a:pt x="75" y="293"/>
                      </a:lnTo>
                      <a:lnTo>
                        <a:pt x="75" y="293"/>
                      </a:lnTo>
                      <a:close/>
                      <a:moveTo>
                        <a:pt x="95" y="293"/>
                      </a:moveTo>
                      <a:lnTo>
                        <a:pt x="95" y="293"/>
                      </a:lnTo>
                      <a:lnTo>
                        <a:pt x="95" y="292"/>
                      </a:lnTo>
                      <a:lnTo>
                        <a:pt x="95" y="293"/>
                      </a:lnTo>
                      <a:lnTo>
                        <a:pt x="95" y="293"/>
                      </a:lnTo>
                      <a:close/>
                      <a:moveTo>
                        <a:pt x="86" y="290"/>
                      </a:moveTo>
                      <a:lnTo>
                        <a:pt x="85" y="290"/>
                      </a:lnTo>
                      <a:lnTo>
                        <a:pt x="85" y="290"/>
                      </a:lnTo>
                      <a:lnTo>
                        <a:pt x="86" y="290"/>
                      </a:lnTo>
                      <a:lnTo>
                        <a:pt x="86" y="290"/>
                      </a:lnTo>
                      <a:close/>
                      <a:moveTo>
                        <a:pt x="75" y="285"/>
                      </a:moveTo>
                      <a:lnTo>
                        <a:pt x="75" y="285"/>
                      </a:lnTo>
                      <a:lnTo>
                        <a:pt x="75" y="285"/>
                      </a:lnTo>
                      <a:lnTo>
                        <a:pt x="74" y="285"/>
                      </a:lnTo>
                      <a:lnTo>
                        <a:pt x="74" y="285"/>
                      </a:lnTo>
                      <a:lnTo>
                        <a:pt x="74" y="285"/>
                      </a:lnTo>
                      <a:lnTo>
                        <a:pt x="74" y="283"/>
                      </a:lnTo>
                      <a:lnTo>
                        <a:pt x="74" y="283"/>
                      </a:lnTo>
                      <a:lnTo>
                        <a:pt x="74" y="283"/>
                      </a:lnTo>
                      <a:lnTo>
                        <a:pt x="75" y="282"/>
                      </a:lnTo>
                      <a:lnTo>
                        <a:pt x="75" y="282"/>
                      </a:lnTo>
                      <a:lnTo>
                        <a:pt x="75" y="282"/>
                      </a:lnTo>
                      <a:lnTo>
                        <a:pt x="75" y="281"/>
                      </a:lnTo>
                      <a:lnTo>
                        <a:pt x="75" y="282"/>
                      </a:lnTo>
                      <a:lnTo>
                        <a:pt x="75" y="282"/>
                      </a:lnTo>
                      <a:lnTo>
                        <a:pt x="75" y="283"/>
                      </a:lnTo>
                      <a:lnTo>
                        <a:pt x="75" y="283"/>
                      </a:lnTo>
                      <a:lnTo>
                        <a:pt x="75" y="283"/>
                      </a:lnTo>
                      <a:lnTo>
                        <a:pt x="75" y="283"/>
                      </a:lnTo>
                      <a:lnTo>
                        <a:pt x="75" y="285"/>
                      </a:lnTo>
                      <a:lnTo>
                        <a:pt x="75" y="285"/>
                      </a:lnTo>
                      <a:lnTo>
                        <a:pt x="75" y="285"/>
                      </a:lnTo>
                      <a:lnTo>
                        <a:pt x="75" y="285"/>
                      </a:lnTo>
                      <a:close/>
                      <a:moveTo>
                        <a:pt x="76" y="281"/>
                      </a:moveTo>
                      <a:lnTo>
                        <a:pt x="75" y="281"/>
                      </a:lnTo>
                      <a:lnTo>
                        <a:pt x="75" y="281"/>
                      </a:lnTo>
                      <a:lnTo>
                        <a:pt x="76" y="281"/>
                      </a:lnTo>
                      <a:lnTo>
                        <a:pt x="76" y="281"/>
                      </a:lnTo>
                      <a:lnTo>
                        <a:pt x="76" y="281"/>
                      </a:lnTo>
                      <a:lnTo>
                        <a:pt x="76" y="281"/>
                      </a:lnTo>
                      <a:close/>
                      <a:moveTo>
                        <a:pt x="76" y="281"/>
                      </a:moveTo>
                      <a:lnTo>
                        <a:pt x="76" y="281"/>
                      </a:lnTo>
                      <a:lnTo>
                        <a:pt x="76" y="281"/>
                      </a:lnTo>
                      <a:lnTo>
                        <a:pt x="76" y="281"/>
                      </a:lnTo>
                      <a:lnTo>
                        <a:pt x="75" y="280"/>
                      </a:lnTo>
                      <a:lnTo>
                        <a:pt x="76" y="280"/>
                      </a:lnTo>
                      <a:lnTo>
                        <a:pt x="75" y="280"/>
                      </a:lnTo>
                      <a:lnTo>
                        <a:pt x="75" y="281"/>
                      </a:lnTo>
                      <a:lnTo>
                        <a:pt x="75" y="280"/>
                      </a:lnTo>
                      <a:lnTo>
                        <a:pt x="75" y="280"/>
                      </a:lnTo>
                      <a:lnTo>
                        <a:pt x="76" y="280"/>
                      </a:lnTo>
                      <a:lnTo>
                        <a:pt x="76" y="280"/>
                      </a:lnTo>
                      <a:lnTo>
                        <a:pt x="76" y="280"/>
                      </a:lnTo>
                      <a:lnTo>
                        <a:pt x="76" y="280"/>
                      </a:lnTo>
                      <a:lnTo>
                        <a:pt x="77" y="280"/>
                      </a:lnTo>
                      <a:lnTo>
                        <a:pt x="77" y="280"/>
                      </a:lnTo>
                      <a:lnTo>
                        <a:pt x="77" y="280"/>
                      </a:lnTo>
                      <a:lnTo>
                        <a:pt x="77" y="281"/>
                      </a:lnTo>
                      <a:lnTo>
                        <a:pt x="77" y="281"/>
                      </a:lnTo>
                      <a:lnTo>
                        <a:pt x="76" y="281"/>
                      </a:lnTo>
                      <a:lnTo>
                        <a:pt x="76" y="281"/>
                      </a:lnTo>
                      <a:close/>
                      <a:moveTo>
                        <a:pt x="48" y="278"/>
                      </a:moveTo>
                      <a:lnTo>
                        <a:pt x="48" y="276"/>
                      </a:lnTo>
                      <a:lnTo>
                        <a:pt x="48" y="276"/>
                      </a:lnTo>
                      <a:lnTo>
                        <a:pt x="48" y="278"/>
                      </a:lnTo>
                      <a:lnTo>
                        <a:pt x="48" y="278"/>
                      </a:lnTo>
                      <a:close/>
                      <a:moveTo>
                        <a:pt x="49" y="276"/>
                      </a:moveTo>
                      <a:lnTo>
                        <a:pt x="48" y="276"/>
                      </a:lnTo>
                      <a:lnTo>
                        <a:pt x="49" y="276"/>
                      </a:lnTo>
                      <a:lnTo>
                        <a:pt x="49" y="276"/>
                      </a:lnTo>
                      <a:lnTo>
                        <a:pt x="49" y="276"/>
                      </a:lnTo>
                      <a:close/>
                      <a:moveTo>
                        <a:pt x="80" y="275"/>
                      </a:moveTo>
                      <a:lnTo>
                        <a:pt x="79" y="275"/>
                      </a:lnTo>
                      <a:lnTo>
                        <a:pt x="79" y="274"/>
                      </a:lnTo>
                      <a:lnTo>
                        <a:pt x="77" y="274"/>
                      </a:lnTo>
                      <a:lnTo>
                        <a:pt x="77" y="273"/>
                      </a:lnTo>
                      <a:lnTo>
                        <a:pt x="77" y="273"/>
                      </a:lnTo>
                      <a:lnTo>
                        <a:pt x="77" y="273"/>
                      </a:lnTo>
                      <a:lnTo>
                        <a:pt x="77" y="273"/>
                      </a:lnTo>
                      <a:lnTo>
                        <a:pt x="77" y="273"/>
                      </a:lnTo>
                      <a:lnTo>
                        <a:pt x="79" y="273"/>
                      </a:lnTo>
                      <a:lnTo>
                        <a:pt x="79" y="272"/>
                      </a:lnTo>
                      <a:lnTo>
                        <a:pt x="79" y="273"/>
                      </a:lnTo>
                      <a:lnTo>
                        <a:pt x="79" y="273"/>
                      </a:lnTo>
                      <a:lnTo>
                        <a:pt x="80" y="274"/>
                      </a:lnTo>
                      <a:lnTo>
                        <a:pt x="80" y="274"/>
                      </a:lnTo>
                      <a:lnTo>
                        <a:pt x="79" y="274"/>
                      </a:lnTo>
                      <a:lnTo>
                        <a:pt x="80" y="275"/>
                      </a:lnTo>
                      <a:lnTo>
                        <a:pt x="80" y="275"/>
                      </a:lnTo>
                      <a:close/>
                      <a:moveTo>
                        <a:pt x="75" y="273"/>
                      </a:moveTo>
                      <a:lnTo>
                        <a:pt x="75" y="273"/>
                      </a:lnTo>
                      <a:lnTo>
                        <a:pt x="75" y="273"/>
                      </a:lnTo>
                      <a:lnTo>
                        <a:pt x="75" y="273"/>
                      </a:lnTo>
                      <a:lnTo>
                        <a:pt x="75" y="273"/>
                      </a:lnTo>
                      <a:close/>
                      <a:moveTo>
                        <a:pt x="76" y="273"/>
                      </a:moveTo>
                      <a:lnTo>
                        <a:pt x="76" y="273"/>
                      </a:lnTo>
                      <a:lnTo>
                        <a:pt x="76" y="273"/>
                      </a:lnTo>
                      <a:lnTo>
                        <a:pt x="76" y="274"/>
                      </a:lnTo>
                      <a:lnTo>
                        <a:pt x="76" y="273"/>
                      </a:lnTo>
                      <a:lnTo>
                        <a:pt x="76" y="273"/>
                      </a:lnTo>
                      <a:close/>
                      <a:moveTo>
                        <a:pt x="76" y="273"/>
                      </a:moveTo>
                      <a:lnTo>
                        <a:pt x="75" y="273"/>
                      </a:lnTo>
                      <a:lnTo>
                        <a:pt x="75" y="273"/>
                      </a:lnTo>
                      <a:lnTo>
                        <a:pt x="75" y="273"/>
                      </a:lnTo>
                      <a:lnTo>
                        <a:pt x="75" y="272"/>
                      </a:lnTo>
                      <a:lnTo>
                        <a:pt x="75" y="272"/>
                      </a:lnTo>
                      <a:lnTo>
                        <a:pt x="75" y="272"/>
                      </a:lnTo>
                      <a:lnTo>
                        <a:pt x="75" y="272"/>
                      </a:lnTo>
                      <a:lnTo>
                        <a:pt x="75" y="272"/>
                      </a:lnTo>
                      <a:lnTo>
                        <a:pt x="75" y="272"/>
                      </a:lnTo>
                      <a:lnTo>
                        <a:pt x="75" y="270"/>
                      </a:lnTo>
                      <a:lnTo>
                        <a:pt x="75" y="272"/>
                      </a:lnTo>
                      <a:lnTo>
                        <a:pt x="75" y="270"/>
                      </a:lnTo>
                      <a:lnTo>
                        <a:pt x="75" y="270"/>
                      </a:lnTo>
                      <a:lnTo>
                        <a:pt x="76" y="272"/>
                      </a:lnTo>
                      <a:lnTo>
                        <a:pt x="76" y="272"/>
                      </a:lnTo>
                      <a:lnTo>
                        <a:pt x="76" y="270"/>
                      </a:lnTo>
                      <a:lnTo>
                        <a:pt x="75" y="270"/>
                      </a:lnTo>
                      <a:lnTo>
                        <a:pt x="75" y="270"/>
                      </a:lnTo>
                      <a:lnTo>
                        <a:pt x="75" y="270"/>
                      </a:lnTo>
                      <a:lnTo>
                        <a:pt x="74" y="270"/>
                      </a:lnTo>
                      <a:lnTo>
                        <a:pt x="74" y="269"/>
                      </a:lnTo>
                      <a:lnTo>
                        <a:pt x="74" y="269"/>
                      </a:lnTo>
                      <a:lnTo>
                        <a:pt x="74" y="269"/>
                      </a:lnTo>
                      <a:lnTo>
                        <a:pt x="74" y="269"/>
                      </a:lnTo>
                      <a:lnTo>
                        <a:pt x="74" y="268"/>
                      </a:lnTo>
                      <a:lnTo>
                        <a:pt x="74" y="267"/>
                      </a:lnTo>
                      <a:lnTo>
                        <a:pt x="74" y="267"/>
                      </a:lnTo>
                      <a:lnTo>
                        <a:pt x="73" y="266"/>
                      </a:lnTo>
                      <a:lnTo>
                        <a:pt x="74" y="266"/>
                      </a:lnTo>
                      <a:lnTo>
                        <a:pt x="74" y="266"/>
                      </a:lnTo>
                      <a:lnTo>
                        <a:pt x="74" y="266"/>
                      </a:lnTo>
                      <a:lnTo>
                        <a:pt x="74" y="266"/>
                      </a:lnTo>
                      <a:lnTo>
                        <a:pt x="75" y="266"/>
                      </a:lnTo>
                      <a:lnTo>
                        <a:pt x="76" y="266"/>
                      </a:lnTo>
                      <a:lnTo>
                        <a:pt x="76" y="266"/>
                      </a:lnTo>
                      <a:lnTo>
                        <a:pt x="76" y="266"/>
                      </a:lnTo>
                      <a:lnTo>
                        <a:pt x="76" y="267"/>
                      </a:lnTo>
                      <a:lnTo>
                        <a:pt x="76" y="267"/>
                      </a:lnTo>
                      <a:lnTo>
                        <a:pt x="77" y="268"/>
                      </a:lnTo>
                      <a:lnTo>
                        <a:pt x="77" y="268"/>
                      </a:lnTo>
                      <a:lnTo>
                        <a:pt x="77" y="268"/>
                      </a:lnTo>
                      <a:lnTo>
                        <a:pt x="77" y="269"/>
                      </a:lnTo>
                      <a:lnTo>
                        <a:pt x="77" y="269"/>
                      </a:lnTo>
                      <a:lnTo>
                        <a:pt x="77" y="269"/>
                      </a:lnTo>
                      <a:lnTo>
                        <a:pt x="77" y="269"/>
                      </a:lnTo>
                      <a:lnTo>
                        <a:pt x="77" y="269"/>
                      </a:lnTo>
                      <a:lnTo>
                        <a:pt x="77" y="270"/>
                      </a:lnTo>
                      <a:lnTo>
                        <a:pt x="77" y="270"/>
                      </a:lnTo>
                      <a:lnTo>
                        <a:pt x="77" y="270"/>
                      </a:lnTo>
                      <a:lnTo>
                        <a:pt x="77" y="270"/>
                      </a:lnTo>
                      <a:lnTo>
                        <a:pt x="77" y="270"/>
                      </a:lnTo>
                      <a:lnTo>
                        <a:pt x="77" y="270"/>
                      </a:lnTo>
                      <a:lnTo>
                        <a:pt x="77" y="270"/>
                      </a:lnTo>
                      <a:lnTo>
                        <a:pt x="77" y="272"/>
                      </a:lnTo>
                      <a:lnTo>
                        <a:pt x="77" y="272"/>
                      </a:lnTo>
                      <a:lnTo>
                        <a:pt x="76" y="272"/>
                      </a:lnTo>
                      <a:lnTo>
                        <a:pt x="77" y="272"/>
                      </a:lnTo>
                      <a:lnTo>
                        <a:pt x="76" y="273"/>
                      </a:lnTo>
                      <a:lnTo>
                        <a:pt x="76" y="272"/>
                      </a:lnTo>
                      <a:lnTo>
                        <a:pt x="76" y="273"/>
                      </a:lnTo>
                      <a:lnTo>
                        <a:pt x="76" y="273"/>
                      </a:lnTo>
                      <a:lnTo>
                        <a:pt x="76" y="273"/>
                      </a:lnTo>
                      <a:lnTo>
                        <a:pt x="76" y="273"/>
                      </a:lnTo>
                      <a:lnTo>
                        <a:pt x="76" y="273"/>
                      </a:lnTo>
                      <a:lnTo>
                        <a:pt x="76" y="273"/>
                      </a:lnTo>
                      <a:lnTo>
                        <a:pt x="76" y="273"/>
                      </a:lnTo>
                      <a:close/>
                      <a:moveTo>
                        <a:pt x="79" y="273"/>
                      </a:moveTo>
                      <a:lnTo>
                        <a:pt x="79" y="273"/>
                      </a:lnTo>
                      <a:lnTo>
                        <a:pt x="79" y="272"/>
                      </a:lnTo>
                      <a:lnTo>
                        <a:pt x="79" y="273"/>
                      </a:lnTo>
                      <a:lnTo>
                        <a:pt x="79" y="273"/>
                      </a:lnTo>
                      <a:lnTo>
                        <a:pt x="79" y="273"/>
                      </a:lnTo>
                      <a:close/>
                      <a:moveTo>
                        <a:pt x="79" y="272"/>
                      </a:moveTo>
                      <a:lnTo>
                        <a:pt x="77" y="272"/>
                      </a:lnTo>
                      <a:lnTo>
                        <a:pt x="77" y="272"/>
                      </a:lnTo>
                      <a:lnTo>
                        <a:pt x="79" y="272"/>
                      </a:lnTo>
                      <a:lnTo>
                        <a:pt x="79" y="272"/>
                      </a:lnTo>
                      <a:lnTo>
                        <a:pt x="79" y="272"/>
                      </a:lnTo>
                      <a:close/>
                      <a:moveTo>
                        <a:pt x="77" y="272"/>
                      </a:moveTo>
                      <a:lnTo>
                        <a:pt x="77" y="272"/>
                      </a:lnTo>
                      <a:lnTo>
                        <a:pt x="77" y="272"/>
                      </a:lnTo>
                      <a:lnTo>
                        <a:pt x="77" y="272"/>
                      </a:lnTo>
                      <a:lnTo>
                        <a:pt x="77" y="272"/>
                      </a:lnTo>
                      <a:close/>
                      <a:moveTo>
                        <a:pt x="79" y="272"/>
                      </a:moveTo>
                      <a:lnTo>
                        <a:pt x="79" y="270"/>
                      </a:lnTo>
                      <a:lnTo>
                        <a:pt x="79" y="270"/>
                      </a:lnTo>
                      <a:lnTo>
                        <a:pt x="79" y="270"/>
                      </a:lnTo>
                      <a:lnTo>
                        <a:pt x="80" y="270"/>
                      </a:lnTo>
                      <a:lnTo>
                        <a:pt x="79" y="272"/>
                      </a:lnTo>
                      <a:lnTo>
                        <a:pt x="79" y="272"/>
                      </a:lnTo>
                      <a:lnTo>
                        <a:pt x="79" y="272"/>
                      </a:lnTo>
                      <a:lnTo>
                        <a:pt x="79" y="272"/>
                      </a:lnTo>
                      <a:close/>
                      <a:moveTo>
                        <a:pt x="80" y="270"/>
                      </a:moveTo>
                      <a:lnTo>
                        <a:pt x="80" y="270"/>
                      </a:lnTo>
                      <a:lnTo>
                        <a:pt x="80" y="270"/>
                      </a:lnTo>
                      <a:lnTo>
                        <a:pt x="80" y="270"/>
                      </a:lnTo>
                      <a:lnTo>
                        <a:pt x="80" y="270"/>
                      </a:lnTo>
                      <a:close/>
                      <a:moveTo>
                        <a:pt x="80" y="270"/>
                      </a:moveTo>
                      <a:lnTo>
                        <a:pt x="80" y="270"/>
                      </a:lnTo>
                      <a:lnTo>
                        <a:pt x="80" y="270"/>
                      </a:lnTo>
                      <a:lnTo>
                        <a:pt x="80" y="270"/>
                      </a:lnTo>
                      <a:lnTo>
                        <a:pt x="81" y="269"/>
                      </a:lnTo>
                      <a:lnTo>
                        <a:pt x="81" y="270"/>
                      </a:lnTo>
                      <a:lnTo>
                        <a:pt x="80" y="270"/>
                      </a:lnTo>
                      <a:lnTo>
                        <a:pt x="80" y="270"/>
                      </a:lnTo>
                      <a:close/>
                      <a:moveTo>
                        <a:pt x="80" y="270"/>
                      </a:moveTo>
                      <a:lnTo>
                        <a:pt x="80" y="270"/>
                      </a:lnTo>
                      <a:lnTo>
                        <a:pt x="80" y="269"/>
                      </a:lnTo>
                      <a:lnTo>
                        <a:pt x="80" y="269"/>
                      </a:lnTo>
                      <a:lnTo>
                        <a:pt x="80" y="269"/>
                      </a:lnTo>
                      <a:lnTo>
                        <a:pt x="80" y="269"/>
                      </a:lnTo>
                      <a:lnTo>
                        <a:pt x="80" y="269"/>
                      </a:lnTo>
                      <a:lnTo>
                        <a:pt x="80" y="270"/>
                      </a:lnTo>
                      <a:lnTo>
                        <a:pt x="80" y="270"/>
                      </a:lnTo>
                      <a:close/>
                      <a:moveTo>
                        <a:pt x="80" y="269"/>
                      </a:moveTo>
                      <a:lnTo>
                        <a:pt x="80" y="269"/>
                      </a:lnTo>
                      <a:lnTo>
                        <a:pt x="80" y="269"/>
                      </a:lnTo>
                      <a:lnTo>
                        <a:pt x="80" y="269"/>
                      </a:lnTo>
                      <a:lnTo>
                        <a:pt x="80" y="269"/>
                      </a:lnTo>
                      <a:close/>
                      <a:moveTo>
                        <a:pt x="80" y="269"/>
                      </a:moveTo>
                      <a:lnTo>
                        <a:pt x="80" y="269"/>
                      </a:lnTo>
                      <a:lnTo>
                        <a:pt x="80" y="269"/>
                      </a:lnTo>
                      <a:lnTo>
                        <a:pt x="80" y="269"/>
                      </a:lnTo>
                      <a:lnTo>
                        <a:pt x="80" y="269"/>
                      </a:lnTo>
                      <a:close/>
                      <a:moveTo>
                        <a:pt x="79" y="269"/>
                      </a:moveTo>
                      <a:lnTo>
                        <a:pt x="79" y="269"/>
                      </a:lnTo>
                      <a:lnTo>
                        <a:pt x="77" y="269"/>
                      </a:lnTo>
                      <a:lnTo>
                        <a:pt x="79" y="269"/>
                      </a:lnTo>
                      <a:lnTo>
                        <a:pt x="79" y="269"/>
                      </a:lnTo>
                      <a:close/>
                      <a:moveTo>
                        <a:pt x="81" y="269"/>
                      </a:moveTo>
                      <a:lnTo>
                        <a:pt x="81" y="269"/>
                      </a:lnTo>
                      <a:lnTo>
                        <a:pt x="81" y="269"/>
                      </a:lnTo>
                      <a:lnTo>
                        <a:pt x="81" y="269"/>
                      </a:lnTo>
                      <a:lnTo>
                        <a:pt x="81" y="269"/>
                      </a:lnTo>
                      <a:lnTo>
                        <a:pt x="81" y="269"/>
                      </a:lnTo>
                      <a:close/>
                      <a:moveTo>
                        <a:pt x="80" y="269"/>
                      </a:moveTo>
                      <a:lnTo>
                        <a:pt x="80" y="269"/>
                      </a:lnTo>
                      <a:lnTo>
                        <a:pt x="80" y="268"/>
                      </a:lnTo>
                      <a:lnTo>
                        <a:pt x="80" y="268"/>
                      </a:lnTo>
                      <a:lnTo>
                        <a:pt x="80" y="269"/>
                      </a:lnTo>
                      <a:lnTo>
                        <a:pt x="79" y="269"/>
                      </a:lnTo>
                      <a:lnTo>
                        <a:pt x="79" y="268"/>
                      </a:lnTo>
                      <a:lnTo>
                        <a:pt x="79" y="269"/>
                      </a:lnTo>
                      <a:lnTo>
                        <a:pt x="79" y="269"/>
                      </a:lnTo>
                      <a:lnTo>
                        <a:pt x="77" y="268"/>
                      </a:lnTo>
                      <a:lnTo>
                        <a:pt x="77" y="268"/>
                      </a:lnTo>
                      <a:lnTo>
                        <a:pt x="77" y="268"/>
                      </a:lnTo>
                      <a:lnTo>
                        <a:pt x="77" y="268"/>
                      </a:lnTo>
                      <a:lnTo>
                        <a:pt x="79" y="267"/>
                      </a:lnTo>
                      <a:lnTo>
                        <a:pt x="79" y="267"/>
                      </a:lnTo>
                      <a:lnTo>
                        <a:pt x="79" y="266"/>
                      </a:lnTo>
                      <a:lnTo>
                        <a:pt x="79" y="266"/>
                      </a:lnTo>
                      <a:lnTo>
                        <a:pt x="80" y="266"/>
                      </a:lnTo>
                      <a:lnTo>
                        <a:pt x="80" y="266"/>
                      </a:lnTo>
                      <a:lnTo>
                        <a:pt x="80" y="266"/>
                      </a:lnTo>
                      <a:lnTo>
                        <a:pt x="80" y="267"/>
                      </a:lnTo>
                      <a:lnTo>
                        <a:pt x="80" y="266"/>
                      </a:lnTo>
                      <a:lnTo>
                        <a:pt x="80" y="266"/>
                      </a:lnTo>
                      <a:lnTo>
                        <a:pt x="81" y="266"/>
                      </a:lnTo>
                      <a:lnTo>
                        <a:pt x="81" y="267"/>
                      </a:lnTo>
                      <a:lnTo>
                        <a:pt x="81" y="267"/>
                      </a:lnTo>
                      <a:lnTo>
                        <a:pt x="81" y="268"/>
                      </a:lnTo>
                      <a:lnTo>
                        <a:pt x="81" y="268"/>
                      </a:lnTo>
                      <a:lnTo>
                        <a:pt x="81" y="268"/>
                      </a:lnTo>
                      <a:lnTo>
                        <a:pt x="81" y="269"/>
                      </a:lnTo>
                      <a:lnTo>
                        <a:pt x="81" y="269"/>
                      </a:lnTo>
                      <a:lnTo>
                        <a:pt x="80" y="269"/>
                      </a:lnTo>
                      <a:lnTo>
                        <a:pt x="80" y="269"/>
                      </a:lnTo>
                      <a:lnTo>
                        <a:pt x="80" y="269"/>
                      </a:lnTo>
                      <a:close/>
                      <a:moveTo>
                        <a:pt x="82" y="267"/>
                      </a:moveTo>
                      <a:lnTo>
                        <a:pt x="82" y="267"/>
                      </a:lnTo>
                      <a:lnTo>
                        <a:pt x="82" y="267"/>
                      </a:lnTo>
                      <a:lnTo>
                        <a:pt x="82" y="267"/>
                      </a:lnTo>
                      <a:lnTo>
                        <a:pt x="82" y="267"/>
                      </a:lnTo>
                      <a:close/>
                      <a:moveTo>
                        <a:pt x="80" y="266"/>
                      </a:moveTo>
                      <a:lnTo>
                        <a:pt x="80" y="266"/>
                      </a:lnTo>
                      <a:lnTo>
                        <a:pt x="80" y="266"/>
                      </a:lnTo>
                      <a:lnTo>
                        <a:pt x="80" y="266"/>
                      </a:lnTo>
                      <a:lnTo>
                        <a:pt x="80" y="266"/>
                      </a:lnTo>
                      <a:close/>
                      <a:moveTo>
                        <a:pt x="75" y="266"/>
                      </a:moveTo>
                      <a:lnTo>
                        <a:pt x="74" y="266"/>
                      </a:lnTo>
                      <a:lnTo>
                        <a:pt x="75" y="266"/>
                      </a:lnTo>
                      <a:lnTo>
                        <a:pt x="75" y="266"/>
                      </a:lnTo>
                      <a:lnTo>
                        <a:pt x="75" y="266"/>
                      </a:lnTo>
                      <a:close/>
                      <a:moveTo>
                        <a:pt x="69" y="266"/>
                      </a:moveTo>
                      <a:lnTo>
                        <a:pt x="68" y="266"/>
                      </a:lnTo>
                      <a:lnTo>
                        <a:pt x="69" y="266"/>
                      </a:lnTo>
                      <a:lnTo>
                        <a:pt x="69" y="266"/>
                      </a:lnTo>
                      <a:lnTo>
                        <a:pt x="69" y="266"/>
                      </a:lnTo>
                      <a:close/>
                      <a:moveTo>
                        <a:pt x="54" y="266"/>
                      </a:moveTo>
                      <a:lnTo>
                        <a:pt x="53" y="266"/>
                      </a:lnTo>
                      <a:lnTo>
                        <a:pt x="54" y="266"/>
                      </a:lnTo>
                      <a:lnTo>
                        <a:pt x="54" y="266"/>
                      </a:lnTo>
                      <a:lnTo>
                        <a:pt x="54" y="266"/>
                      </a:lnTo>
                      <a:close/>
                      <a:moveTo>
                        <a:pt x="80" y="266"/>
                      </a:moveTo>
                      <a:lnTo>
                        <a:pt x="80" y="266"/>
                      </a:lnTo>
                      <a:lnTo>
                        <a:pt x="80" y="265"/>
                      </a:lnTo>
                      <a:lnTo>
                        <a:pt x="79" y="265"/>
                      </a:lnTo>
                      <a:lnTo>
                        <a:pt x="80" y="265"/>
                      </a:lnTo>
                      <a:lnTo>
                        <a:pt x="80" y="265"/>
                      </a:lnTo>
                      <a:lnTo>
                        <a:pt x="80" y="265"/>
                      </a:lnTo>
                      <a:lnTo>
                        <a:pt x="80" y="265"/>
                      </a:lnTo>
                      <a:lnTo>
                        <a:pt x="80" y="265"/>
                      </a:lnTo>
                      <a:lnTo>
                        <a:pt x="80" y="265"/>
                      </a:lnTo>
                      <a:lnTo>
                        <a:pt x="80" y="266"/>
                      </a:lnTo>
                      <a:lnTo>
                        <a:pt x="80" y="266"/>
                      </a:lnTo>
                      <a:lnTo>
                        <a:pt x="80" y="266"/>
                      </a:lnTo>
                      <a:lnTo>
                        <a:pt x="80" y="266"/>
                      </a:lnTo>
                      <a:close/>
                      <a:moveTo>
                        <a:pt x="81" y="266"/>
                      </a:moveTo>
                      <a:lnTo>
                        <a:pt x="81" y="266"/>
                      </a:lnTo>
                      <a:lnTo>
                        <a:pt x="80" y="265"/>
                      </a:lnTo>
                      <a:lnTo>
                        <a:pt x="81" y="265"/>
                      </a:lnTo>
                      <a:lnTo>
                        <a:pt x="81" y="266"/>
                      </a:lnTo>
                      <a:lnTo>
                        <a:pt x="81" y="266"/>
                      </a:lnTo>
                      <a:close/>
                      <a:moveTo>
                        <a:pt x="81" y="265"/>
                      </a:moveTo>
                      <a:lnTo>
                        <a:pt x="81" y="265"/>
                      </a:lnTo>
                      <a:lnTo>
                        <a:pt x="80" y="265"/>
                      </a:lnTo>
                      <a:lnTo>
                        <a:pt x="81" y="265"/>
                      </a:lnTo>
                      <a:lnTo>
                        <a:pt x="81" y="265"/>
                      </a:lnTo>
                      <a:lnTo>
                        <a:pt x="81" y="265"/>
                      </a:lnTo>
                      <a:lnTo>
                        <a:pt x="81" y="265"/>
                      </a:lnTo>
                      <a:close/>
                      <a:moveTo>
                        <a:pt x="52" y="265"/>
                      </a:moveTo>
                      <a:lnTo>
                        <a:pt x="52" y="265"/>
                      </a:lnTo>
                      <a:lnTo>
                        <a:pt x="52" y="265"/>
                      </a:lnTo>
                      <a:lnTo>
                        <a:pt x="52" y="265"/>
                      </a:lnTo>
                      <a:lnTo>
                        <a:pt x="52" y="265"/>
                      </a:lnTo>
                      <a:close/>
                      <a:moveTo>
                        <a:pt x="52" y="265"/>
                      </a:moveTo>
                      <a:lnTo>
                        <a:pt x="48" y="265"/>
                      </a:lnTo>
                      <a:lnTo>
                        <a:pt x="48" y="265"/>
                      </a:lnTo>
                      <a:lnTo>
                        <a:pt x="48" y="263"/>
                      </a:lnTo>
                      <a:lnTo>
                        <a:pt x="48" y="263"/>
                      </a:lnTo>
                      <a:lnTo>
                        <a:pt x="47" y="261"/>
                      </a:lnTo>
                      <a:lnTo>
                        <a:pt x="48" y="262"/>
                      </a:lnTo>
                      <a:lnTo>
                        <a:pt x="49" y="261"/>
                      </a:lnTo>
                      <a:lnTo>
                        <a:pt x="49" y="261"/>
                      </a:lnTo>
                      <a:lnTo>
                        <a:pt x="49" y="261"/>
                      </a:lnTo>
                      <a:lnTo>
                        <a:pt x="52" y="262"/>
                      </a:lnTo>
                      <a:lnTo>
                        <a:pt x="53" y="263"/>
                      </a:lnTo>
                      <a:lnTo>
                        <a:pt x="50" y="263"/>
                      </a:lnTo>
                      <a:lnTo>
                        <a:pt x="52" y="265"/>
                      </a:lnTo>
                      <a:lnTo>
                        <a:pt x="52" y="265"/>
                      </a:lnTo>
                      <a:close/>
                      <a:moveTo>
                        <a:pt x="102" y="265"/>
                      </a:moveTo>
                      <a:lnTo>
                        <a:pt x="102" y="265"/>
                      </a:lnTo>
                      <a:lnTo>
                        <a:pt x="102" y="265"/>
                      </a:lnTo>
                      <a:lnTo>
                        <a:pt x="102" y="265"/>
                      </a:lnTo>
                      <a:lnTo>
                        <a:pt x="102" y="265"/>
                      </a:lnTo>
                      <a:close/>
                      <a:moveTo>
                        <a:pt x="68" y="263"/>
                      </a:moveTo>
                      <a:lnTo>
                        <a:pt x="67" y="263"/>
                      </a:lnTo>
                      <a:lnTo>
                        <a:pt x="68" y="263"/>
                      </a:lnTo>
                      <a:lnTo>
                        <a:pt x="68" y="263"/>
                      </a:lnTo>
                      <a:lnTo>
                        <a:pt x="68" y="263"/>
                      </a:lnTo>
                      <a:close/>
                      <a:moveTo>
                        <a:pt x="103" y="263"/>
                      </a:moveTo>
                      <a:lnTo>
                        <a:pt x="103" y="263"/>
                      </a:lnTo>
                      <a:lnTo>
                        <a:pt x="103" y="263"/>
                      </a:lnTo>
                      <a:lnTo>
                        <a:pt x="103" y="263"/>
                      </a:lnTo>
                      <a:lnTo>
                        <a:pt x="103" y="263"/>
                      </a:lnTo>
                      <a:close/>
                      <a:moveTo>
                        <a:pt x="48" y="263"/>
                      </a:moveTo>
                      <a:lnTo>
                        <a:pt x="48" y="263"/>
                      </a:lnTo>
                      <a:lnTo>
                        <a:pt x="48" y="263"/>
                      </a:lnTo>
                      <a:lnTo>
                        <a:pt x="48" y="263"/>
                      </a:lnTo>
                      <a:lnTo>
                        <a:pt x="48" y="263"/>
                      </a:lnTo>
                      <a:close/>
                      <a:moveTo>
                        <a:pt x="68" y="263"/>
                      </a:moveTo>
                      <a:lnTo>
                        <a:pt x="68" y="262"/>
                      </a:lnTo>
                      <a:lnTo>
                        <a:pt x="68" y="262"/>
                      </a:lnTo>
                      <a:lnTo>
                        <a:pt x="68" y="262"/>
                      </a:lnTo>
                      <a:lnTo>
                        <a:pt x="68" y="262"/>
                      </a:lnTo>
                      <a:lnTo>
                        <a:pt x="68" y="263"/>
                      </a:lnTo>
                      <a:lnTo>
                        <a:pt x="68" y="263"/>
                      </a:lnTo>
                      <a:close/>
                      <a:moveTo>
                        <a:pt x="53" y="262"/>
                      </a:moveTo>
                      <a:lnTo>
                        <a:pt x="52" y="262"/>
                      </a:lnTo>
                      <a:lnTo>
                        <a:pt x="53" y="262"/>
                      </a:lnTo>
                      <a:lnTo>
                        <a:pt x="53" y="262"/>
                      </a:lnTo>
                      <a:lnTo>
                        <a:pt x="53" y="262"/>
                      </a:lnTo>
                      <a:close/>
                      <a:moveTo>
                        <a:pt x="68" y="262"/>
                      </a:moveTo>
                      <a:lnTo>
                        <a:pt x="68" y="262"/>
                      </a:lnTo>
                      <a:lnTo>
                        <a:pt x="67" y="262"/>
                      </a:lnTo>
                      <a:lnTo>
                        <a:pt x="68" y="262"/>
                      </a:lnTo>
                      <a:lnTo>
                        <a:pt x="68" y="262"/>
                      </a:lnTo>
                      <a:close/>
                      <a:moveTo>
                        <a:pt x="105" y="262"/>
                      </a:moveTo>
                      <a:lnTo>
                        <a:pt x="105" y="262"/>
                      </a:lnTo>
                      <a:lnTo>
                        <a:pt x="105" y="262"/>
                      </a:lnTo>
                      <a:lnTo>
                        <a:pt x="105" y="262"/>
                      </a:lnTo>
                      <a:lnTo>
                        <a:pt x="105" y="262"/>
                      </a:lnTo>
                      <a:close/>
                      <a:moveTo>
                        <a:pt x="47" y="262"/>
                      </a:moveTo>
                      <a:lnTo>
                        <a:pt x="47" y="262"/>
                      </a:lnTo>
                      <a:lnTo>
                        <a:pt x="47" y="262"/>
                      </a:lnTo>
                      <a:lnTo>
                        <a:pt x="47" y="262"/>
                      </a:lnTo>
                      <a:lnTo>
                        <a:pt x="47" y="262"/>
                      </a:lnTo>
                      <a:close/>
                      <a:moveTo>
                        <a:pt x="54" y="261"/>
                      </a:moveTo>
                      <a:lnTo>
                        <a:pt x="53" y="261"/>
                      </a:lnTo>
                      <a:lnTo>
                        <a:pt x="54" y="261"/>
                      </a:lnTo>
                      <a:lnTo>
                        <a:pt x="54" y="261"/>
                      </a:lnTo>
                      <a:lnTo>
                        <a:pt x="54" y="261"/>
                      </a:lnTo>
                      <a:close/>
                      <a:moveTo>
                        <a:pt x="70" y="261"/>
                      </a:moveTo>
                      <a:lnTo>
                        <a:pt x="70" y="261"/>
                      </a:lnTo>
                      <a:lnTo>
                        <a:pt x="70" y="261"/>
                      </a:lnTo>
                      <a:lnTo>
                        <a:pt x="70" y="261"/>
                      </a:lnTo>
                      <a:lnTo>
                        <a:pt x="70" y="261"/>
                      </a:lnTo>
                      <a:close/>
                      <a:moveTo>
                        <a:pt x="53" y="261"/>
                      </a:moveTo>
                      <a:lnTo>
                        <a:pt x="53" y="261"/>
                      </a:lnTo>
                      <a:lnTo>
                        <a:pt x="53" y="261"/>
                      </a:lnTo>
                      <a:lnTo>
                        <a:pt x="53" y="261"/>
                      </a:lnTo>
                      <a:lnTo>
                        <a:pt x="53" y="261"/>
                      </a:lnTo>
                      <a:close/>
                      <a:moveTo>
                        <a:pt x="105" y="261"/>
                      </a:moveTo>
                      <a:lnTo>
                        <a:pt x="103" y="261"/>
                      </a:lnTo>
                      <a:lnTo>
                        <a:pt x="103" y="261"/>
                      </a:lnTo>
                      <a:lnTo>
                        <a:pt x="105" y="261"/>
                      </a:lnTo>
                      <a:lnTo>
                        <a:pt x="105" y="261"/>
                      </a:lnTo>
                      <a:close/>
                      <a:moveTo>
                        <a:pt x="52" y="261"/>
                      </a:moveTo>
                      <a:lnTo>
                        <a:pt x="50" y="260"/>
                      </a:lnTo>
                      <a:lnTo>
                        <a:pt x="52" y="260"/>
                      </a:lnTo>
                      <a:lnTo>
                        <a:pt x="52" y="260"/>
                      </a:lnTo>
                      <a:lnTo>
                        <a:pt x="52" y="261"/>
                      </a:lnTo>
                      <a:lnTo>
                        <a:pt x="52" y="261"/>
                      </a:lnTo>
                      <a:close/>
                      <a:moveTo>
                        <a:pt x="53" y="260"/>
                      </a:moveTo>
                      <a:lnTo>
                        <a:pt x="52" y="260"/>
                      </a:lnTo>
                      <a:lnTo>
                        <a:pt x="50" y="259"/>
                      </a:lnTo>
                      <a:lnTo>
                        <a:pt x="52" y="259"/>
                      </a:lnTo>
                      <a:lnTo>
                        <a:pt x="53" y="260"/>
                      </a:lnTo>
                      <a:lnTo>
                        <a:pt x="53" y="260"/>
                      </a:lnTo>
                      <a:lnTo>
                        <a:pt x="53" y="260"/>
                      </a:lnTo>
                      <a:close/>
                      <a:moveTo>
                        <a:pt x="53" y="260"/>
                      </a:moveTo>
                      <a:lnTo>
                        <a:pt x="53" y="259"/>
                      </a:lnTo>
                      <a:lnTo>
                        <a:pt x="53" y="259"/>
                      </a:lnTo>
                      <a:lnTo>
                        <a:pt x="52" y="259"/>
                      </a:lnTo>
                      <a:lnTo>
                        <a:pt x="53" y="259"/>
                      </a:lnTo>
                      <a:lnTo>
                        <a:pt x="53" y="260"/>
                      </a:lnTo>
                      <a:lnTo>
                        <a:pt x="53" y="260"/>
                      </a:lnTo>
                      <a:close/>
                      <a:moveTo>
                        <a:pt x="54" y="260"/>
                      </a:moveTo>
                      <a:lnTo>
                        <a:pt x="54" y="259"/>
                      </a:lnTo>
                      <a:lnTo>
                        <a:pt x="54" y="259"/>
                      </a:lnTo>
                      <a:lnTo>
                        <a:pt x="53" y="258"/>
                      </a:lnTo>
                      <a:lnTo>
                        <a:pt x="52" y="258"/>
                      </a:lnTo>
                      <a:lnTo>
                        <a:pt x="53" y="256"/>
                      </a:lnTo>
                      <a:lnTo>
                        <a:pt x="53" y="255"/>
                      </a:lnTo>
                      <a:lnTo>
                        <a:pt x="52" y="253"/>
                      </a:lnTo>
                      <a:lnTo>
                        <a:pt x="53" y="255"/>
                      </a:lnTo>
                      <a:lnTo>
                        <a:pt x="54" y="256"/>
                      </a:lnTo>
                      <a:lnTo>
                        <a:pt x="55" y="258"/>
                      </a:lnTo>
                      <a:lnTo>
                        <a:pt x="54" y="258"/>
                      </a:lnTo>
                      <a:lnTo>
                        <a:pt x="54" y="259"/>
                      </a:lnTo>
                      <a:lnTo>
                        <a:pt x="54" y="260"/>
                      </a:lnTo>
                      <a:lnTo>
                        <a:pt x="54" y="260"/>
                      </a:lnTo>
                      <a:close/>
                      <a:moveTo>
                        <a:pt x="63" y="259"/>
                      </a:moveTo>
                      <a:lnTo>
                        <a:pt x="63" y="259"/>
                      </a:lnTo>
                      <a:lnTo>
                        <a:pt x="63" y="259"/>
                      </a:lnTo>
                      <a:lnTo>
                        <a:pt x="63" y="259"/>
                      </a:lnTo>
                      <a:lnTo>
                        <a:pt x="63" y="259"/>
                      </a:lnTo>
                      <a:close/>
                      <a:moveTo>
                        <a:pt x="52" y="259"/>
                      </a:moveTo>
                      <a:lnTo>
                        <a:pt x="52" y="259"/>
                      </a:lnTo>
                      <a:lnTo>
                        <a:pt x="52" y="258"/>
                      </a:lnTo>
                      <a:lnTo>
                        <a:pt x="52" y="259"/>
                      </a:lnTo>
                      <a:lnTo>
                        <a:pt x="52" y="259"/>
                      </a:lnTo>
                      <a:close/>
                      <a:moveTo>
                        <a:pt x="63" y="258"/>
                      </a:moveTo>
                      <a:lnTo>
                        <a:pt x="63" y="258"/>
                      </a:lnTo>
                      <a:lnTo>
                        <a:pt x="63" y="258"/>
                      </a:lnTo>
                      <a:lnTo>
                        <a:pt x="63" y="258"/>
                      </a:lnTo>
                      <a:lnTo>
                        <a:pt x="63" y="258"/>
                      </a:lnTo>
                      <a:close/>
                      <a:moveTo>
                        <a:pt x="52" y="259"/>
                      </a:moveTo>
                      <a:lnTo>
                        <a:pt x="52" y="258"/>
                      </a:lnTo>
                      <a:lnTo>
                        <a:pt x="52" y="258"/>
                      </a:lnTo>
                      <a:lnTo>
                        <a:pt x="52" y="259"/>
                      </a:lnTo>
                      <a:lnTo>
                        <a:pt x="52" y="259"/>
                      </a:lnTo>
                      <a:close/>
                      <a:moveTo>
                        <a:pt x="63" y="259"/>
                      </a:moveTo>
                      <a:lnTo>
                        <a:pt x="62" y="258"/>
                      </a:lnTo>
                      <a:lnTo>
                        <a:pt x="62" y="258"/>
                      </a:lnTo>
                      <a:lnTo>
                        <a:pt x="62" y="258"/>
                      </a:lnTo>
                      <a:lnTo>
                        <a:pt x="63" y="258"/>
                      </a:lnTo>
                      <a:lnTo>
                        <a:pt x="63" y="259"/>
                      </a:lnTo>
                      <a:lnTo>
                        <a:pt x="63" y="259"/>
                      </a:lnTo>
                      <a:close/>
                      <a:moveTo>
                        <a:pt x="73" y="258"/>
                      </a:moveTo>
                      <a:lnTo>
                        <a:pt x="73" y="258"/>
                      </a:lnTo>
                      <a:lnTo>
                        <a:pt x="73" y="258"/>
                      </a:lnTo>
                      <a:lnTo>
                        <a:pt x="73" y="258"/>
                      </a:lnTo>
                      <a:lnTo>
                        <a:pt x="73" y="258"/>
                      </a:lnTo>
                      <a:close/>
                      <a:moveTo>
                        <a:pt x="52" y="258"/>
                      </a:moveTo>
                      <a:lnTo>
                        <a:pt x="52" y="258"/>
                      </a:lnTo>
                      <a:lnTo>
                        <a:pt x="52" y="258"/>
                      </a:lnTo>
                      <a:lnTo>
                        <a:pt x="52" y="258"/>
                      </a:lnTo>
                      <a:lnTo>
                        <a:pt x="52" y="258"/>
                      </a:lnTo>
                      <a:close/>
                      <a:moveTo>
                        <a:pt x="106" y="258"/>
                      </a:moveTo>
                      <a:lnTo>
                        <a:pt x="106" y="258"/>
                      </a:lnTo>
                      <a:lnTo>
                        <a:pt x="106" y="258"/>
                      </a:lnTo>
                      <a:lnTo>
                        <a:pt x="106" y="258"/>
                      </a:lnTo>
                      <a:lnTo>
                        <a:pt x="106" y="258"/>
                      </a:lnTo>
                      <a:lnTo>
                        <a:pt x="106" y="258"/>
                      </a:lnTo>
                      <a:close/>
                      <a:moveTo>
                        <a:pt x="102" y="256"/>
                      </a:moveTo>
                      <a:lnTo>
                        <a:pt x="102" y="256"/>
                      </a:lnTo>
                      <a:lnTo>
                        <a:pt x="102" y="256"/>
                      </a:lnTo>
                      <a:lnTo>
                        <a:pt x="102" y="256"/>
                      </a:lnTo>
                      <a:lnTo>
                        <a:pt x="102" y="256"/>
                      </a:lnTo>
                      <a:lnTo>
                        <a:pt x="102" y="256"/>
                      </a:lnTo>
                      <a:lnTo>
                        <a:pt x="102" y="256"/>
                      </a:lnTo>
                      <a:lnTo>
                        <a:pt x="102" y="256"/>
                      </a:lnTo>
                      <a:close/>
                      <a:moveTo>
                        <a:pt x="56" y="256"/>
                      </a:moveTo>
                      <a:lnTo>
                        <a:pt x="55" y="256"/>
                      </a:lnTo>
                      <a:lnTo>
                        <a:pt x="56" y="256"/>
                      </a:lnTo>
                      <a:lnTo>
                        <a:pt x="56" y="256"/>
                      </a:lnTo>
                      <a:lnTo>
                        <a:pt x="56" y="256"/>
                      </a:lnTo>
                      <a:close/>
                      <a:moveTo>
                        <a:pt x="52" y="256"/>
                      </a:moveTo>
                      <a:lnTo>
                        <a:pt x="52" y="256"/>
                      </a:lnTo>
                      <a:lnTo>
                        <a:pt x="52" y="256"/>
                      </a:lnTo>
                      <a:lnTo>
                        <a:pt x="52" y="256"/>
                      </a:lnTo>
                      <a:lnTo>
                        <a:pt x="52" y="256"/>
                      </a:lnTo>
                      <a:close/>
                      <a:moveTo>
                        <a:pt x="55" y="256"/>
                      </a:moveTo>
                      <a:lnTo>
                        <a:pt x="55" y="256"/>
                      </a:lnTo>
                      <a:lnTo>
                        <a:pt x="55" y="256"/>
                      </a:lnTo>
                      <a:lnTo>
                        <a:pt x="55" y="256"/>
                      </a:lnTo>
                      <a:lnTo>
                        <a:pt x="55" y="256"/>
                      </a:lnTo>
                      <a:close/>
                      <a:moveTo>
                        <a:pt x="58" y="256"/>
                      </a:moveTo>
                      <a:lnTo>
                        <a:pt x="58" y="255"/>
                      </a:lnTo>
                      <a:lnTo>
                        <a:pt x="58" y="256"/>
                      </a:lnTo>
                      <a:lnTo>
                        <a:pt x="58" y="256"/>
                      </a:lnTo>
                      <a:lnTo>
                        <a:pt x="58" y="256"/>
                      </a:lnTo>
                      <a:close/>
                      <a:moveTo>
                        <a:pt x="62" y="255"/>
                      </a:moveTo>
                      <a:lnTo>
                        <a:pt x="62" y="255"/>
                      </a:lnTo>
                      <a:lnTo>
                        <a:pt x="62" y="255"/>
                      </a:lnTo>
                      <a:lnTo>
                        <a:pt x="62" y="255"/>
                      </a:lnTo>
                      <a:lnTo>
                        <a:pt x="62" y="255"/>
                      </a:lnTo>
                      <a:close/>
                      <a:moveTo>
                        <a:pt x="61" y="256"/>
                      </a:moveTo>
                      <a:lnTo>
                        <a:pt x="61" y="256"/>
                      </a:lnTo>
                      <a:lnTo>
                        <a:pt x="61" y="255"/>
                      </a:lnTo>
                      <a:lnTo>
                        <a:pt x="61" y="255"/>
                      </a:lnTo>
                      <a:lnTo>
                        <a:pt x="61" y="255"/>
                      </a:lnTo>
                      <a:lnTo>
                        <a:pt x="62" y="255"/>
                      </a:lnTo>
                      <a:lnTo>
                        <a:pt x="62" y="255"/>
                      </a:lnTo>
                      <a:lnTo>
                        <a:pt x="62" y="255"/>
                      </a:lnTo>
                      <a:lnTo>
                        <a:pt x="61" y="255"/>
                      </a:lnTo>
                      <a:lnTo>
                        <a:pt x="61" y="256"/>
                      </a:lnTo>
                      <a:lnTo>
                        <a:pt x="61" y="256"/>
                      </a:lnTo>
                      <a:close/>
                      <a:moveTo>
                        <a:pt x="103" y="254"/>
                      </a:moveTo>
                      <a:lnTo>
                        <a:pt x="102" y="254"/>
                      </a:lnTo>
                      <a:lnTo>
                        <a:pt x="102" y="254"/>
                      </a:lnTo>
                      <a:lnTo>
                        <a:pt x="103" y="254"/>
                      </a:lnTo>
                      <a:lnTo>
                        <a:pt x="103" y="254"/>
                      </a:lnTo>
                      <a:close/>
                      <a:moveTo>
                        <a:pt x="60" y="254"/>
                      </a:moveTo>
                      <a:lnTo>
                        <a:pt x="59" y="253"/>
                      </a:lnTo>
                      <a:lnTo>
                        <a:pt x="60" y="253"/>
                      </a:lnTo>
                      <a:lnTo>
                        <a:pt x="60" y="253"/>
                      </a:lnTo>
                      <a:lnTo>
                        <a:pt x="60" y="254"/>
                      </a:lnTo>
                      <a:lnTo>
                        <a:pt x="60" y="254"/>
                      </a:lnTo>
                      <a:lnTo>
                        <a:pt x="60" y="254"/>
                      </a:lnTo>
                      <a:close/>
                      <a:moveTo>
                        <a:pt x="102" y="253"/>
                      </a:moveTo>
                      <a:lnTo>
                        <a:pt x="102" y="253"/>
                      </a:lnTo>
                      <a:lnTo>
                        <a:pt x="102" y="253"/>
                      </a:lnTo>
                      <a:lnTo>
                        <a:pt x="102" y="253"/>
                      </a:lnTo>
                      <a:lnTo>
                        <a:pt x="102" y="253"/>
                      </a:lnTo>
                      <a:close/>
                      <a:moveTo>
                        <a:pt x="50" y="253"/>
                      </a:moveTo>
                      <a:lnTo>
                        <a:pt x="50" y="253"/>
                      </a:lnTo>
                      <a:lnTo>
                        <a:pt x="50" y="253"/>
                      </a:lnTo>
                      <a:lnTo>
                        <a:pt x="50" y="253"/>
                      </a:lnTo>
                      <a:lnTo>
                        <a:pt x="50" y="253"/>
                      </a:lnTo>
                      <a:close/>
                      <a:moveTo>
                        <a:pt x="49" y="253"/>
                      </a:moveTo>
                      <a:lnTo>
                        <a:pt x="49" y="253"/>
                      </a:lnTo>
                      <a:lnTo>
                        <a:pt x="49" y="253"/>
                      </a:lnTo>
                      <a:lnTo>
                        <a:pt x="49" y="253"/>
                      </a:lnTo>
                      <a:lnTo>
                        <a:pt x="49" y="253"/>
                      </a:lnTo>
                      <a:close/>
                      <a:moveTo>
                        <a:pt x="60" y="253"/>
                      </a:moveTo>
                      <a:lnTo>
                        <a:pt x="60" y="253"/>
                      </a:lnTo>
                      <a:lnTo>
                        <a:pt x="60" y="253"/>
                      </a:lnTo>
                      <a:lnTo>
                        <a:pt x="60" y="253"/>
                      </a:lnTo>
                      <a:lnTo>
                        <a:pt x="60" y="253"/>
                      </a:lnTo>
                      <a:lnTo>
                        <a:pt x="60" y="253"/>
                      </a:lnTo>
                      <a:lnTo>
                        <a:pt x="60" y="253"/>
                      </a:lnTo>
                      <a:close/>
                      <a:moveTo>
                        <a:pt x="52" y="253"/>
                      </a:moveTo>
                      <a:lnTo>
                        <a:pt x="52" y="252"/>
                      </a:lnTo>
                      <a:lnTo>
                        <a:pt x="52" y="253"/>
                      </a:lnTo>
                      <a:lnTo>
                        <a:pt x="52" y="253"/>
                      </a:lnTo>
                      <a:lnTo>
                        <a:pt x="52" y="253"/>
                      </a:lnTo>
                      <a:close/>
                      <a:moveTo>
                        <a:pt x="50" y="252"/>
                      </a:moveTo>
                      <a:lnTo>
                        <a:pt x="50" y="252"/>
                      </a:lnTo>
                      <a:lnTo>
                        <a:pt x="50" y="252"/>
                      </a:lnTo>
                      <a:lnTo>
                        <a:pt x="50" y="252"/>
                      </a:lnTo>
                      <a:lnTo>
                        <a:pt x="50" y="252"/>
                      </a:lnTo>
                      <a:close/>
                      <a:moveTo>
                        <a:pt x="53" y="253"/>
                      </a:moveTo>
                      <a:lnTo>
                        <a:pt x="52" y="252"/>
                      </a:lnTo>
                      <a:lnTo>
                        <a:pt x="53" y="253"/>
                      </a:lnTo>
                      <a:lnTo>
                        <a:pt x="53" y="253"/>
                      </a:lnTo>
                      <a:lnTo>
                        <a:pt x="53" y="253"/>
                      </a:lnTo>
                      <a:close/>
                      <a:moveTo>
                        <a:pt x="52" y="252"/>
                      </a:moveTo>
                      <a:lnTo>
                        <a:pt x="50" y="252"/>
                      </a:lnTo>
                      <a:lnTo>
                        <a:pt x="52" y="252"/>
                      </a:lnTo>
                      <a:lnTo>
                        <a:pt x="52" y="252"/>
                      </a:lnTo>
                      <a:lnTo>
                        <a:pt x="52" y="252"/>
                      </a:lnTo>
                      <a:close/>
                      <a:moveTo>
                        <a:pt x="56" y="253"/>
                      </a:moveTo>
                      <a:lnTo>
                        <a:pt x="56" y="253"/>
                      </a:lnTo>
                      <a:lnTo>
                        <a:pt x="56" y="252"/>
                      </a:lnTo>
                      <a:lnTo>
                        <a:pt x="56" y="252"/>
                      </a:lnTo>
                      <a:lnTo>
                        <a:pt x="56" y="253"/>
                      </a:lnTo>
                      <a:lnTo>
                        <a:pt x="56" y="253"/>
                      </a:lnTo>
                      <a:lnTo>
                        <a:pt x="56" y="252"/>
                      </a:lnTo>
                      <a:lnTo>
                        <a:pt x="56" y="252"/>
                      </a:lnTo>
                      <a:lnTo>
                        <a:pt x="56" y="252"/>
                      </a:lnTo>
                      <a:lnTo>
                        <a:pt x="56" y="252"/>
                      </a:lnTo>
                      <a:lnTo>
                        <a:pt x="56" y="252"/>
                      </a:lnTo>
                      <a:lnTo>
                        <a:pt x="56" y="252"/>
                      </a:lnTo>
                      <a:lnTo>
                        <a:pt x="56" y="251"/>
                      </a:lnTo>
                      <a:lnTo>
                        <a:pt x="56" y="251"/>
                      </a:lnTo>
                      <a:lnTo>
                        <a:pt x="56" y="251"/>
                      </a:lnTo>
                      <a:lnTo>
                        <a:pt x="56" y="251"/>
                      </a:lnTo>
                      <a:lnTo>
                        <a:pt x="56" y="249"/>
                      </a:lnTo>
                      <a:lnTo>
                        <a:pt x="56" y="249"/>
                      </a:lnTo>
                      <a:lnTo>
                        <a:pt x="56" y="249"/>
                      </a:lnTo>
                      <a:lnTo>
                        <a:pt x="56" y="249"/>
                      </a:lnTo>
                      <a:lnTo>
                        <a:pt x="58" y="249"/>
                      </a:lnTo>
                      <a:lnTo>
                        <a:pt x="58" y="248"/>
                      </a:lnTo>
                      <a:lnTo>
                        <a:pt x="58" y="249"/>
                      </a:lnTo>
                      <a:lnTo>
                        <a:pt x="58" y="249"/>
                      </a:lnTo>
                      <a:lnTo>
                        <a:pt x="58" y="248"/>
                      </a:lnTo>
                      <a:lnTo>
                        <a:pt x="58" y="248"/>
                      </a:lnTo>
                      <a:lnTo>
                        <a:pt x="58" y="248"/>
                      </a:lnTo>
                      <a:lnTo>
                        <a:pt x="58" y="248"/>
                      </a:lnTo>
                      <a:lnTo>
                        <a:pt x="58" y="248"/>
                      </a:lnTo>
                      <a:lnTo>
                        <a:pt x="58" y="248"/>
                      </a:lnTo>
                      <a:lnTo>
                        <a:pt x="58" y="248"/>
                      </a:lnTo>
                      <a:lnTo>
                        <a:pt x="59" y="249"/>
                      </a:lnTo>
                      <a:lnTo>
                        <a:pt x="58" y="249"/>
                      </a:lnTo>
                      <a:lnTo>
                        <a:pt x="59" y="249"/>
                      </a:lnTo>
                      <a:lnTo>
                        <a:pt x="58" y="249"/>
                      </a:lnTo>
                      <a:lnTo>
                        <a:pt x="58" y="249"/>
                      </a:lnTo>
                      <a:lnTo>
                        <a:pt x="58" y="251"/>
                      </a:lnTo>
                      <a:lnTo>
                        <a:pt x="58" y="251"/>
                      </a:lnTo>
                      <a:lnTo>
                        <a:pt x="58" y="251"/>
                      </a:lnTo>
                      <a:lnTo>
                        <a:pt x="58" y="251"/>
                      </a:lnTo>
                      <a:lnTo>
                        <a:pt x="58" y="252"/>
                      </a:lnTo>
                      <a:lnTo>
                        <a:pt x="58" y="252"/>
                      </a:lnTo>
                      <a:lnTo>
                        <a:pt x="58" y="253"/>
                      </a:lnTo>
                      <a:lnTo>
                        <a:pt x="56" y="253"/>
                      </a:lnTo>
                      <a:lnTo>
                        <a:pt x="56" y="253"/>
                      </a:lnTo>
                      <a:close/>
                      <a:moveTo>
                        <a:pt x="50" y="252"/>
                      </a:moveTo>
                      <a:lnTo>
                        <a:pt x="50" y="252"/>
                      </a:lnTo>
                      <a:lnTo>
                        <a:pt x="50" y="252"/>
                      </a:lnTo>
                      <a:lnTo>
                        <a:pt x="50" y="252"/>
                      </a:lnTo>
                      <a:lnTo>
                        <a:pt x="50" y="252"/>
                      </a:lnTo>
                      <a:close/>
                      <a:moveTo>
                        <a:pt x="52" y="252"/>
                      </a:moveTo>
                      <a:lnTo>
                        <a:pt x="50" y="251"/>
                      </a:lnTo>
                      <a:lnTo>
                        <a:pt x="52" y="251"/>
                      </a:lnTo>
                      <a:lnTo>
                        <a:pt x="52" y="252"/>
                      </a:lnTo>
                      <a:lnTo>
                        <a:pt x="52" y="252"/>
                      </a:lnTo>
                      <a:close/>
                      <a:moveTo>
                        <a:pt x="100" y="251"/>
                      </a:moveTo>
                      <a:lnTo>
                        <a:pt x="100" y="251"/>
                      </a:lnTo>
                      <a:lnTo>
                        <a:pt x="101" y="251"/>
                      </a:lnTo>
                      <a:lnTo>
                        <a:pt x="100" y="251"/>
                      </a:lnTo>
                      <a:lnTo>
                        <a:pt x="100" y="251"/>
                      </a:lnTo>
                      <a:close/>
                      <a:moveTo>
                        <a:pt x="60" y="248"/>
                      </a:moveTo>
                      <a:lnTo>
                        <a:pt x="60" y="248"/>
                      </a:lnTo>
                      <a:lnTo>
                        <a:pt x="60" y="248"/>
                      </a:lnTo>
                      <a:lnTo>
                        <a:pt x="60" y="248"/>
                      </a:lnTo>
                      <a:lnTo>
                        <a:pt x="60" y="248"/>
                      </a:lnTo>
                      <a:close/>
                      <a:moveTo>
                        <a:pt x="56" y="249"/>
                      </a:moveTo>
                      <a:lnTo>
                        <a:pt x="55" y="249"/>
                      </a:lnTo>
                      <a:lnTo>
                        <a:pt x="55" y="248"/>
                      </a:lnTo>
                      <a:lnTo>
                        <a:pt x="55" y="247"/>
                      </a:lnTo>
                      <a:lnTo>
                        <a:pt x="55" y="248"/>
                      </a:lnTo>
                      <a:lnTo>
                        <a:pt x="56" y="248"/>
                      </a:lnTo>
                      <a:lnTo>
                        <a:pt x="56" y="249"/>
                      </a:lnTo>
                      <a:lnTo>
                        <a:pt x="56" y="249"/>
                      </a:lnTo>
                      <a:lnTo>
                        <a:pt x="56" y="249"/>
                      </a:lnTo>
                      <a:close/>
                      <a:moveTo>
                        <a:pt x="56" y="247"/>
                      </a:moveTo>
                      <a:lnTo>
                        <a:pt x="56" y="247"/>
                      </a:lnTo>
                      <a:lnTo>
                        <a:pt x="56" y="247"/>
                      </a:lnTo>
                      <a:lnTo>
                        <a:pt x="58" y="247"/>
                      </a:lnTo>
                      <a:lnTo>
                        <a:pt x="56" y="247"/>
                      </a:lnTo>
                      <a:lnTo>
                        <a:pt x="56" y="247"/>
                      </a:lnTo>
                      <a:close/>
                      <a:moveTo>
                        <a:pt x="60" y="247"/>
                      </a:moveTo>
                      <a:lnTo>
                        <a:pt x="60" y="247"/>
                      </a:lnTo>
                      <a:lnTo>
                        <a:pt x="60" y="247"/>
                      </a:lnTo>
                      <a:lnTo>
                        <a:pt x="60" y="247"/>
                      </a:lnTo>
                      <a:lnTo>
                        <a:pt x="60" y="247"/>
                      </a:lnTo>
                      <a:close/>
                      <a:moveTo>
                        <a:pt x="61" y="248"/>
                      </a:moveTo>
                      <a:lnTo>
                        <a:pt x="60" y="248"/>
                      </a:lnTo>
                      <a:lnTo>
                        <a:pt x="61" y="247"/>
                      </a:lnTo>
                      <a:lnTo>
                        <a:pt x="61" y="247"/>
                      </a:lnTo>
                      <a:lnTo>
                        <a:pt x="61" y="247"/>
                      </a:lnTo>
                      <a:lnTo>
                        <a:pt x="61" y="247"/>
                      </a:lnTo>
                      <a:lnTo>
                        <a:pt x="61" y="247"/>
                      </a:lnTo>
                      <a:lnTo>
                        <a:pt x="61" y="248"/>
                      </a:lnTo>
                      <a:lnTo>
                        <a:pt x="61" y="248"/>
                      </a:lnTo>
                      <a:lnTo>
                        <a:pt x="61" y="248"/>
                      </a:lnTo>
                      <a:lnTo>
                        <a:pt x="61" y="248"/>
                      </a:lnTo>
                      <a:close/>
                      <a:moveTo>
                        <a:pt x="58" y="247"/>
                      </a:moveTo>
                      <a:lnTo>
                        <a:pt x="56" y="247"/>
                      </a:lnTo>
                      <a:lnTo>
                        <a:pt x="56" y="247"/>
                      </a:lnTo>
                      <a:lnTo>
                        <a:pt x="56" y="246"/>
                      </a:lnTo>
                      <a:lnTo>
                        <a:pt x="56" y="246"/>
                      </a:lnTo>
                      <a:lnTo>
                        <a:pt x="58" y="246"/>
                      </a:lnTo>
                      <a:lnTo>
                        <a:pt x="58" y="246"/>
                      </a:lnTo>
                      <a:lnTo>
                        <a:pt x="58" y="247"/>
                      </a:lnTo>
                      <a:lnTo>
                        <a:pt x="58" y="247"/>
                      </a:lnTo>
                      <a:lnTo>
                        <a:pt x="58" y="247"/>
                      </a:lnTo>
                      <a:close/>
                      <a:moveTo>
                        <a:pt x="65" y="245"/>
                      </a:moveTo>
                      <a:lnTo>
                        <a:pt x="63" y="246"/>
                      </a:lnTo>
                      <a:lnTo>
                        <a:pt x="63" y="245"/>
                      </a:lnTo>
                      <a:lnTo>
                        <a:pt x="65" y="245"/>
                      </a:lnTo>
                      <a:lnTo>
                        <a:pt x="65" y="245"/>
                      </a:lnTo>
                      <a:close/>
                      <a:moveTo>
                        <a:pt x="62" y="245"/>
                      </a:moveTo>
                      <a:lnTo>
                        <a:pt x="62" y="245"/>
                      </a:lnTo>
                      <a:lnTo>
                        <a:pt x="62" y="245"/>
                      </a:lnTo>
                      <a:lnTo>
                        <a:pt x="62" y="245"/>
                      </a:lnTo>
                      <a:lnTo>
                        <a:pt x="62" y="245"/>
                      </a:lnTo>
                      <a:close/>
                      <a:moveTo>
                        <a:pt x="65" y="245"/>
                      </a:moveTo>
                      <a:lnTo>
                        <a:pt x="65" y="245"/>
                      </a:lnTo>
                      <a:lnTo>
                        <a:pt x="65" y="245"/>
                      </a:lnTo>
                      <a:lnTo>
                        <a:pt x="65" y="245"/>
                      </a:lnTo>
                      <a:lnTo>
                        <a:pt x="65" y="245"/>
                      </a:lnTo>
                      <a:close/>
                      <a:moveTo>
                        <a:pt x="60" y="245"/>
                      </a:moveTo>
                      <a:lnTo>
                        <a:pt x="60" y="245"/>
                      </a:lnTo>
                      <a:lnTo>
                        <a:pt x="60" y="245"/>
                      </a:lnTo>
                      <a:lnTo>
                        <a:pt x="60" y="245"/>
                      </a:lnTo>
                      <a:lnTo>
                        <a:pt x="60" y="245"/>
                      </a:lnTo>
                      <a:lnTo>
                        <a:pt x="60" y="245"/>
                      </a:lnTo>
                      <a:close/>
                      <a:moveTo>
                        <a:pt x="62" y="243"/>
                      </a:moveTo>
                      <a:lnTo>
                        <a:pt x="62" y="243"/>
                      </a:lnTo>
                      <a:lnTo>
                        <a:pt x="62" y="243"/>
                      </a:lnTo>
                      <a:lnTo>
                        <a:pt x="62" y="243"/>
                      </a:lnTo>
                      <a:lnTo>
                        <a:pt x="62" y="243"/>
                      </a:lnTo>
                      <a:close/>
                      <a:moveTo>
                        <a:pt x="61" y="245"/>
                      </a:moveTo>
                      <a:lnTo>
                        <a:pt x="61" y="243"/>
                      </a:lnTo>
                      <a:lnTo>
                        <a:pt x="61" y="243"/>
                      </a:lnTo>
                      <a:lnTo>
                        <a:pt x="61" y="245"/>
                      </a:lnTo>
                      <a:lnTo>
                        <a:pt x="61" y="245"/>
                      </a:lnTo>
                      <a:close/>
                      <a:moveTo>
                        <a:pt x="69" y="243"/>
                      </a:moveTo>
                      <a:lnTo>
                        <a:pt x="69" y="243"/>
                      </a:lnTo>
                      <a:lnTo>
                        <a:pt x="69" y="243"/>
                      </a:lnTo>
                      <a:lnTo>
                        <a:pt x="69" y="243"/>
                      </a:lnTo>
                      <a:lnTo>
                        <a:pt x="69" y="243"/>
                      </a:lnTo>
                      <a:close/>
                      <a:moveTo>
                        <a:pt x="68" y="242"/>
                      </a:moveTo>
                      <a:lnTo>
                        <a:pt x="68" y="242"/>
                      </a:lnTo>
                      <a:lnTo>
                        <a:pt x="68" y="242"/>
                      </a:lnTo>
                      <a:lnTo>
                        <a:pt x="68" y="242"/>
                      </a:lnTo>
                      <a:lnTo>
                        <a:pt x="68" y="242"/>
                      </a:lnTo>
                      <a:lnTo>
                        <a:pt x="68" y="242"/>
                      </a:lnTo>
                      <a:close/>
                      <a:moveTo>
                        <a:pt x="67" y="242"/>
                      </a:moveTo>
                      <a:lnTo>
                        <a:pt x="67" y="242"/>
                      </a:lnTo>
                      <a:lnTo>
                        <a:pt x="67" y="242"/>
                      </a:lnTo>
                      <a:lnTo>
                        <a:pt x="67" y="242"/>
                      </a:lnTo>
                      <a:lnTo>
                        <a:pt x="67" y="242"/>
                      </a:lnTo>
                      <a:close/>
                      <a:moveTo>
                        <a:pt x="58" y="241"/>
                      </a:moveTo>
                      <a:lnTo>
                        <a:pt x="58" y="241"/>
                      </a:lnTo>
                      <a:lnTo>
                        <a:pt x="58" y="241"/>
                      </a:lnTo>
                      <a:lnTo>
                        <a:pt x="58" y="241"/>
                      </a:lnTo>
                      <a:lnTo>
                        <a:pt x="56" y="241"/>
                      </a:lnTo>
                      <a:lnTo>
                        <a:pt x="56" y="241"/>
                      </a:lnTo>
                      <a:lnTo>
                        <a:pt x="56" y="241"/>
                      </a:lnTo>
                      <a:lnTo>
                        <a:pt x="56" y="240"/>
                      </a:lnTo>
                      <a:lnTo>
                        <a:pt x="56" y="240"/>
                      </a:lnTo>
                      <a:lnTo>
                        <a:pt x="56" y="241"/>
                      </a:lnTo>
                      <a:lnTo>
                        <a:pt x="56" y="240"/>
                      </a:lnTo>
                      <a:lnTo>
                        <a:pt x="56" y="240"/>
                      </a:lnTo>
                      <a:lnTo>
                        <a:pt x="56" y="240"/>
                      </a:lnTo>
                      <a:lnTo>
                        <a:pt x="56" y="240"/>
                      </a:lnTo>
                      <a:lnTo>
                        <a:pt x="56" y="240"/>
                      </a:lnTo>
                      <a:lnTo>
                        <a:pt x="56" y="239"/>
                      </a:lnTo>
                      <a:lnTo>
                        <a:pt x="56" y="239"/>
                      </a:lnTo>
                      <a:lnTo>
                        <a:pt x="56" y="239"/>
                      </a:lnTo>
                      <a:lnTo>
                        <a:pt x="56" y="239"/>
                      </a:lnTo>
                      <a:lnTo>
                        <a:pt x="58" y="239"/>
                      </a:lnTo>
                      <a:lnTo>
                        <a:pt x="58" y="239"/>
                      </a:lnTo>
                      <a:lnTo>
                        <a:pt x="58" y="240"/>
                      </a:lnTo>
                      <a:lnTo>
                        <a:pt x="59" y="240"/>
                      </a:lnTo>
                      <a:lnTo>
                        <a:pt x="59" y="240"/>
                      </a:lnTo>
                      <a:lnTo>
                        <a:pt x="58" y="240"/>
                      </a:lnTo>
                      <a:lnTo>
                        <a:pt x="59" y="240"/>
                      </a:lnTo>
                      <a:lnTo>
                        <a:pt x="59" y="241"/>
                      </a:lnTo>
                      <a:lnTo>
                        <a:pt x="59" y="241"/>
                      </a:lnTo>
                      <a:lnTo>
                        <a:pt x="58" y="241"/>
                      </a:lnTo>
                      <a:lnTo>
                        <a:pt x="58" y="241"/>
                      </a:lnTo>
                      <a:lnTo>
                        <a:pt x="58" y="241"/>
                      </a:lnTo>
                      <a:close/>
                      <a:moveTo>
                        <a:pt x="92" y="241"/>
                      </a:moveTo>
                      <a:lnTo>
                        <a:pt x="90" y="241"/>
                      </a:lnTo>
                      <a:lnTo>
                        <a:pt x="90" y="241"/>
                      </a:lnTo>
                      <a:lnTo>
                        <a:pt x="92" y="241"/>
                      </a:lnTo>
                      <a:lnTo>
                        <a:pt x="92" y="241"/>
                      </a:lnTo>
                      <a:lnTo>
                        <a:pt x="92" y="241"/>
                      </a:lnTo>
                      <a:lnTo>
                        <a:pt x="92" y="241"/>
                      </a:lnTo>
                      <a:close/>
                      <a:moveTo>
                        <a:pt x="56" y="241"/>
                      </a:moveTo>
                      <a:lnTo>
                        <a:pt x="56" y="241"/>
                      </a:lnTo>
                      <a:lnTo>
                        <a:pt x="56" y="241"/>
                      </a:lnTo>
                      <a:lnTo>
                        <a:pt x="56" y="241"/>
                      </a:lnTo>
                      <a:lnTo>
                        <a:pt x="56" y="241"/>
                      </a:lnTo>
                      <a:close/>
                      <a:moveTo>
                        <a:pt x="56" y="241"/>
                      </a:moveTo>
                      <a:lnTo>
                        <a:pt x="56" y="241"/>
                      </a:lnTo>
                      <a:lnTo>
                        <a:pt x="56" y="241"/>
                      </a:lnTo>
                      <a:lnTo>
                        <a:pt x="56" y="241"/>
                      </a:lnTo>
                      <a:lnTo>
                        <a:pt x="56" y="241"/>
                      </a:lnTo>
                      <a:close/>
                      <a:moveTo>
                        <a:pt x="68" y="241"/>
                      </a:moveTo>
                      <a:lnTo>
                        <a:pt x="68" y="241"/>
                      </a:lnTo>
                      <a:lnTo>
                        <a:pt x="69" y="241"/>
                      </a:lnTo>
                      <a:lnTo>
                        <a:pt x="68" y="241"/>
                      </a:lnTo>
                      <a:lnTo>
                        <a:pt x="68" y="241"/>
                      </a:lnTo>
                      <a:close/>
                      <a:moveTo>
                        <a:pt x="62" y="239"/>
                      </a:moveTo>
                      <a:lnTo>
                        <a:pt x="62" y="239"/>
                      </a:lnTo>
                      <a:lnTo>
                        <a:pt x="62" y="239"/>
                      </a:lnTo>
                      <a:lnTo>
                        <a:pt x="62" y="239"/>
                      </a:lnTo>
                      <a:lnTo>
                        <a:pt x="62" y="239"/>
                      </a:lnTo>
                      <a:close/>
                      <a:moveTo>
                        <a:pt x="70" y="238"/>
                      </a:moveTo>
                      <a:lnTo>
                        <a:pt x="69" y="238"/>
                      </a:lnTo>
                      <a:lnTo>
                        <a:pt x="69" y="238"/>
                      </a:lnTo>
                      <a:lnTo>
                        <a:pt x="70" y="238"/>
                      </a:lnTo>
                      <a:lnTo>
                        <a:pt x="70" y="238"/>
                      </a:lnTo>
                      <a:close/>
                      <a:moveTo>
                        <a:pt x="68" y="238"/>
                      </a:moveTo>
                      <a:lnTo>
                        <a:pt x="68" y="238"/>
                      </a:lnTo>
                      <a:lnTo>
                        <a:pt x="68" y="238"/>
                      </a:lnTo>
                      <a:lnTo>
                        <a:pt x="68" y="238"/>
                      </a:lnTo>
                      <a:lnTo>
                        <a:pt x="68" y="238"/>
                      </a:lnTo>
                      <a:close/>
                      <a:moveTo>
                        <a:pt x="45" y="233"/>
                      </a:moveTo>
                      <a:lnTo>
                        <a:pt x="45" y="233"/>
                      </a:lnTo>
                      <a:lnTo>
                        <a:pt x="45" y="233"/>
                      </a:lnTo>
                      <a:lnTo>
                        <a:pt x="45" y="233"/>
                      </a:lnTo>
                      <a:lnTo>
                        <a:pt x="43" y="233"/>
                      </a:lnTo>
                      <a:lnTo>
                        <a:pt x="43" y="232"/>
                      </a:lnTo>
                      <a:lnTo>
                        <a:pt x="43" y="231"/>
                      </a:lnTo>
                      <a:lnTo>
                        <a:pt x="43" y="231"/>
                      </a:lnTo>
                      <a:lnTo>
                        <a:pt x="43" y="229"/>
                      </a:lnTo>
                      <a:lnTo>
                        <a:pt x="42" y="229"/>
                      </a:lnTo>
                      <a:lnTo>
                        <a:pt x="43" y="228"/>
                      </a:lnTo>
                      <a:lnTo>
                        <a:pt x="43" y="229"/>
                      </a:lnTo>
                      <a:lnTo>
                        <a:pt x="43" y="229"/>
                      </a:lnTo>
                      <a:lnTo>
                        <a:pt x="43" y="229"/>
                      </a:lnTo>
                      <a:lnTo>
                        <a:pt x="43" y="229"/>
                      </a:lnTo>
                      <a:lnTo>
                        <a:pt x="45" y="229"/>
                      </a:lnTo>
                      <a:lnTo>
                        <a:pt x="45" y="229"/>
                      </a:lnTo>
                      <a:lnTo>
                        <a:pt x="45" y="229"/>
                      </a:lnTo>
                      <a:lnTo>
                        <a:pt x="45" y="229"/>
                      </a:lnTo>
                      <a:lnTo>
                        <a:pt x="43" y="228"/>
                      </a:lnTo>
                      <a:lnTo>
                        <a:pt x="45" y="228"/>
                      </a:lnTo>
                      <a:lnTo>
                        <a:pt x="45" y="228"/>
                      </a:lnTo>
                      <a:lnTo>
                        <a:pt x="45" y="229"/>
                      </a:lnTo>
                      <a:lnTo>
                        <a:pt x="45" y="229"/>
                      </a:lnTo>
                      <a:lnTo>
                        <a:pt x="45" y="229"/>
                      </a:lnTo>
                      <a:lnTo>
                        <a:pt x="45" y="229"/>
                      </a:lnTo>
                      <a:lnTo>
                        <a:pt x="46" y="229"/>
                      </a:lnTo>
                      <a:lnTo>
                        <a:pt x="46" y="229"/>
                      </a:lnTo>
                      <a:lnTo>
                        <a:pt x="46" y="229"/>
                      </a:lnTo>
                      <a:lnTo>
                        <a:pt x="46" y="231"/>
                      </a:lnTo>
                      <a:lnTo>
                        <a:pt x="46" y="231"/>
                      </a:lnTo>
                      <a:lnTo>
                        <a:pt x="46" y="231"/>
                      </a:lnTo>
                      <a:lnTo>
                        <a:pt x="46" y="232"/>
                      </a:lnTo>
                      <a:lnTo>
                        <a:pt x="46" y="232"/>
                      </a:lnTo>
                      <a:lnTo>
                        <a:pt x="46" y="232"/>
                      </a:lnTo>
                      <a:lnTo>
                        <a:pt x="46" y="232"/>
                      </a:lnTo>
                      <a:lnTo>
                        <a:pt x="46" y="233"/>
                      </a:lnTo>
                      <a:lnTo>
                        <a:pt x="46" y="233"/>
                      </a:lnTo>
                      <a:lnTo>
                        <a:pt x="46" y="233"/>
                      </a:lnTo>
                      <a:lnTo>
                        <a:pt x="46" y="233"/>
                      </a:lnTo>
                      <a:lnTo>
                        <a:pt x="46" y="233"/>
                      </a:lnTo>
                      <a:lnTo>
                        <a:pt x="45" y="233"/>
                      </a:lnTo>
                      <a:lnTo>
                        <a:pt x="45" y="233"/>
                      </a:lnTo>
                      <a:close/>
                      <a:moveTo>
                        <a:pt x="47" y="229"/>
                      </a:moveTo>
                      <a:lnTo>
                        <a:pt x="47" y="229"/>
                      </a:lnTo>
                      <a:lnTo>
                        <a:pt x="47" y="229"/>
                      </a:lnTo>
                      <a:lnTo>
                        <a:pt x="47" y="229"/>
                      </a:lnTo>
                      <a:lnTo>
                        <a:pt x="47" y="229"/>
                      </a:lnTo>
                      <a:lnTo>
                        <a:pt x="47" y="229"/>
                      </a:lnTo>
                      <a:lnTo>
                        <a:pt x="47" y="229"/>
                      </a:lnTo>
                      <a:close/>
                      <a:moveTo>
                        <a:pt x="46" y="226"/>
                      </a:moveTo>
                      <a:lnTo>
                        <a:pt x="45" y="226"/>
                      </a:lnTo>
                      <a:lnTo>
                        <a:pt x="45" y="226"/>
                      </a:lnTo>
                      <a:lnTo>
                        <a:pt x="45" y="226"/>
                      </a:lnTo>
                      <a:lnTo>
                        <a:pt x="45" y="226"/>
                      </a:lnTo>
                      <a:lnTo>
                        <a:pt x="43" y="226"/>
                      </a:lnTo>
                      <a:lnTo>
                        <a:pt x="45" y="226"/>
                      </a:lnTo>
                      <a:lnTo>
                        <a:pt x="45" y="226"/>
                      </a:lnTo>
                      <a:lnTo>
                        <a:pt x="45" y="226"/>
                      </a:lnTo>
                      <a:lnTo>
                        <a:pt x="45" y="226"/>
                      </a:lnTo>
                      <a:lnTo>
                        <a:pt x="45" y="226"/>
                      </a:lnTo>
                      <a:lnTo>
                        <a:pt x="45" y="226"/>
                      </a:lnTo>
                      <a:lnTo>
                        <a:pt x="45" y="225"/>
                      </a:lnTo>
                      <a:lnTo>
                        <a:pt x="45" y="225"/>
                      </a:lnTo>
                      <a:lnTo>
                        <a:pt x="45" y="225"/>
                      </a:lnTo>
                      <a:lnTo>
                        <a:pt x="45" y="226"/>
                      </a:lnTo>
                      <a:lnTo>
                        <a:pt x="45" y="226"/>
                      </a:lnTo>
                      <a:lnTo>
                        <a:pt x="43" y="226"/>
                      </a:lnTo>
                      <a:lnTo>
                        <a:pt x="43" y="225"/>
                      </a:lnTo>
                      <a:lnTo>
                        <a:pt x="43" y="225"/>
                      </a:lnTo>
                      <a:lnTo>
                        <a:pt x="43" y="225"/>
                      </a:lnTo>
                      <a:lnTo>
                        <a:pt x="43" y="225"/>
                      </a:lnTo>
                      <a:lnTo>
                        <a:pt x="43" y="225"/>
                      </a:lnTo>
                      <a:lnTo>
                        <a:pt x="43" y="226"/>
                      </a:lnTo>
                      <a:lnTo>
                        <a:pt x="43" y="226"/>
                      </a:lnTo>
                      <a:lnTo>
                        <a:pt x="43" y="226"/>
                      </a:lnTo>
                      <a:lnTo>
                        <a:pt x="43" y="226"/>
                      </a:lnTo>
                      <a:lnTo>
                        <a:pt x="43" y="226"/>
                      </a:lnTo>
                      <a:lnTo>
                        <a:pt x="42" y="226"/>
                      </a:lnTo>
                      <a:lnTo>
                        <a:pt x="43" y="226"/>
                      </a:lnTo>
                      <a:lnTo>
                        <a:pt x="43" y="225"/>
                      </a:lnTo>
                      <a:lnTo>
                        <a:pt x="43" y="225"/>
                      </a:lnTo>
                      <a:lnTo>
                        <a:pt x="43" y="225"/>
                      </a:lnTo>
                      <a:lnTo>
                        <a:pt x="42" y="225"/>
                      </a:lnTo>
                      <a:lnTo>
                        <a:pt x="42" y="223"/>
                      </a:lnTo>
                      <a:lnTo>
                        <a:pt x="43" y="223"/>
                      </a:lnTo>
                      <a:lnTo>
                        <a:pt x="43" y="223"/>
                      </a:lnTo>
                      <a:lnTo>
                        <a:pt x="42" y="223"/>
                      </a:lnTo>
                      <a:lnTo>
                        <a:pt x="42" y="222"/>
                      </a:lnTo>
                      <a:lnTo>
                        <a:pt x="42" y="221"/>
                      </a:lnTo>
                      <a:lnTo>
                        <a:pt x="43" y="221"/>
                      </a:lnTo>
                      <a:lnTo>
                        <a:pt x="42" y="221"/>
                      </a:lnTo>
                      <a:lnTo>
                        <a:pt x="42" y="221"/>
                      </a:lnTo>
                      <a:lnTo>
                        <a:pt x="42" y="221"/>
                      </a:lnTo>
                      <a:lnTo>
                        <a:pt x="42" y="221"/>
                      </a:lnTo>
                      <a:lnTo>
                        <a:pt x="42" y="220"/>
                      </a:lnTo>
                      <a:lnTo>
                        <a:pt x="42" y="219"/>
                      </a:lnTo>
                      <a:lnTo>
                        <a:pt x="42" y="220"/>
                      </a:lnTo>
                      <a:lnTo>
                        <a:pt x="43" y="220"/>
                      </a:lnTo>
                      <a:lnTo>
                        <a:pt x="42" y="219"/>
                      </a:lnTo>
                      <a:lnTo>
                        <a:pt x="43" y="219"/>
                      </a:lnTo>
                      <a:lnTo>
                        <a:pt x="43" y="219"/>
                      </a:lnTo>
                      <a:lnTo>
                        <a:pt x="43" y="219"/>
                      </a:lnTo>
                      <a:lnTo>
                        <a:pt x="43" y="219"/>
                      </a:lnTo>
                      <a:lnTo>
                        <a:pt x="43" y="219"/>
                      </a:lnTo>
                      <a:lnTo>
                        <a:pt x="43" y="219"/>
                      </a:lnTo>
                      <a:lnTo>
                        <a:pt x="43" y="219"/>
                      </a:lnTo>
                      <a:lnTo>
                        <a:pt x="45" y="219"/>
                      </a:lnTo>
                      <a:lnTo>
                        <a:pt x="45" y="219"/>
                      </a:lnTo>
                      <a:lnTo>
                        <a:pt x="45" y="219"/>
                      </a:lnTo>
                      <a:lnTo>
                        <a:pt x="45" y="219"/>
                      </a:lnTo>
                      <a:lnTo>
                        <a:pt x="45" y="219"/>
                      </a:lnTo>
                      <a:lnTo>
                        <a:pt x="45" y="220"/>
                      </a:lnTo>
                      <a:lnTo>
                        <a:pt x="45" y="220"/>
                      </a:lnTo>
                      <a:lnTo>
                        <a:pt x="45" y="220"/>
                      </a:lnTo>
                      <a:lnTo>
                        <a:pt x="43" y="220"/>
                      </a:lnTo>
                      <a:lnTo>
                        <a:pt x="45" y="220"/>
                      </a:lnTo>
                      <a:lnTo>
                        <a:pt x="45" y="220"/>
                      </a:lnTo>
                      <a:lnTo>
                        <a:pt x="45" y="220"/>
                      </a:lnTo>
                      <a:lnTo>
                        <a:pt x="45" y="221"/>
                      </a:lnTo>
                      <a:lnTo>
                        <a:pt x="45" y="221"/>
                      </a:lnTo>
                      <a:lnTo>
                        <a:pt x="45" y="221"/>
                      </a:lnTo>
                      <a:lnTo>
                        <a:pt x="45" y="221"/>
                      </a:lnTo>
                      <a:lnTo>
                        <a:pt x="45" y="222"/>
                      </a:lnTo>
                      <a:lnTo>
                        <a:pt x="45" y="222"/>
                      </a:lnTo>
                      <a:lnTo>
                        <a:pt x="45" y="223"/>
                      </a:lnTo>
                      <a:lnTo>
                        <a:pt x="45" y="223"/>
                      </a:lnTo>
                      <a:lnTo>
                        <a:pt x="45" y="223"/>
                      </a:lnTo>
                      <a:lnTo>
                        <a:pt x="45" y="225"/>
                      </a:lnTo>
                      <a:lnTo>
                        <a:pt x="45" y="223"/>
                      </a:lnTo>
                      <a:lnTo>
                        <a:pt x="45" y="225"/>
                      </a:lnTo>
                      <a:lnTo>
                        <a:pt x="45" y="225"/>
                      </a:lnTo>
                      <a:lnTo>
                        <a:pt x="45" y="225"/>
                      </a:lnTo>
                      <a:lnTo>
                        <a:pt x="45" y="225"/>
                      </a:lnTo>
                      <a:lnTo>
                        <a:pt x="45" y="225"/>
                      </a:lnTo>
                      <a:lnTo>
                        <a:pt x="45" y="225"/>
                      </a:lnTo>
                      <a:lnTo>
                        <a:pt x="45" y="225"/>
                      </a:lnTo>
                      <a:lnTo>
                        <a:pt x="46" y="226"/>
                      </a:lnTo>
                      <a:lnTo>
                        <a:pt x="45" y="226"/>
                      </a:lnTo>
                      <a:lnTo>
                        <a:pt x="46" y="226"/>
                      </a:lnTo>
                      <a:lnTo>
                        <a:pt x="46" y="226"/>
                      </a:lnTo>
                      <a:lnTo>
                        <a:pt x="46" y="226"/>
                      </a:lnTo>
                      <a:lnTo>
                        <a:pt x="46" y="226"/>
                      </a:lnTo>
                      <a:lnTo>
                        <a:pt x="46" y="226"/>
                      </a:lnTo>
                      <a:lnTo>
                        <a:pt x="46" y="226"/>
                      </a:lnTo>
                      <a:lnTo>
                        <a:pt x="46" y="226"/>
                      </a:lnTo>
                      <a:close/>
                      <a:moveTo>
                        <a:pt x="47" y="229"/>
                      </a:moveTo>
                      <a:lnTo>
                        <a:pt x="47" y="229"/>
                      </a:lnTo>
                      <a:lnTo>
                        <a:pt x="47" y="229"/>
                      </a:lnTo>
                      <a:lnTo>
                        <a:pt x="47" y="229"/>
                      </a:lnTo>
                      <a:lnTo>
                        <a:pt x="47" y="229"/>
                      </a:lnTo>
                      <a:close/>
                      <a:moveTo>
                        <a:pt x="47" y="228"/>
                      </a:moveTo>
                      <a:lnTo>
                        <a:pt x="47" y="228"/>
                      </a:lnTo>
                      <a:lnTo>
                        <a:pt x="47" y="228"/>
                      </a:lnTo>
                      <a:lnTo>
                        <a:pt x="47" y="228"/>
                      </a:lnTo>
                      <a:lnTo>
                        <a:pt x="47" y="228"/>
                      </a:lnTo>
                      <a:close/>
                      <a:moveTo>
                        <a:pt x="123" y="262"/>
                      </a:moveTo>
                      <a:lnTo>
                        <a:pt x="122" y="261"/>
                      </a:lnTo>
                      <a:lnTo>
                        <a:pt x="122" y="261"/>
                      </a:lnTo>
                      <a:lnTo>
                        <a:pt x="121" y="261"/>
                      </a:lnTo>
                      <a:lnTo>
                        <a:pt x="120" y="261"/>
                      </a:lnTo>
                      <a:lnTo>
                        <a:pt x="119" y="261"/>
                      </a:lnTo>
                      <a:lnTo>
                        <a:pt x="117" y="261"/>
                      </a:lnTo>
                      <a:lnTo>
                        <a:pt x="116" y="261"/>
                      </a:lnTo>
                      <a:lnTo>
                        <a:pt x="116" y="260"/>
                      </a:lnTo>
                      <a:lnTo>
                        <a:pt x="116" y="259"/>
                      </a:lnTo>
                      <a:lnTo>
                        <a:pt x="117" y="259"/>
                      </a:lnTo>
                      <a:lnTo>
                        <a:pt x="116" y="259"/>
                      </a:lnTo>
                      <a:lnTo>
                        <a:pt x="115" y="259"/>
                      </a:lnTo>
                      <a:lnTo>
                        <a:pt x="114" y="258"/>
                      </a:lnTo>
                      <a:lnTo>
                        <a:pt x="113" y="258"/>
                      </a:lnTo>
                      <a:lnTo>
                        <a:pt x="113" y="259"/>
                      </a:lnTo>
                      <a:lnTo>
                        <a:pt x="113" y="258"/>
                      </a:lnTo>
                      <a:lnTo>
                        <a:pt x="113" y="256"/>
                      </a:lnTo>
                      <a:lnTo>
                        <a:pt x="114" y="258"/>
                      </a:lnTo>
                      <a:lnTo>
                        <a:pt x="112" y="256"/>
                      </a:lnTo>
                      <a:lnTo>
                        <a:pt x="112" y="255"/>
                      </a:lnTo>
                      <a:lnTo>
                        <a:pt x="110" y="256"/>
                      </a:lnTo>
                      <a:lnTo>
                        <a:pt x="110" y="255"/>
                      </a:lnTo>
                      <a:lnTo>
                        <a:pt x="112" y="255"/>
                      </a:lnTo>
                      <a:lnTo>
                        <a:pt x="110" y="254"/>
                      </a:lnTo>
                      <a:lnTo>
                        <a:pt x="112" y="254"/>
                      </a:lnTo>
                      <a:lnTo>
                        <a:pt x="109" y="253"/>
                      </a:lnTo>
                      <a:lnTo>
                        <a:pt x="109" y="253"/>
                      </a:lnTo>
                      <a:lnTo>
                        <a:pt x="109" y="253"/>
                      </a:lnTo>
                      <a:lnTo>
                        <a:pt x="109" y="252"/>
                      </a:lnTo>
                      <a:lnTo>
                        <a:pt x="110" y="253"/>
                      </a:lnTo>
                      <a:lnTo>
                        <a:pt x="110" y="252"/>
                      </a:lnTo>
                      <a:lnTo>
                        <a:pt x="112" y="252"/>
                      </a:lnTo>
                      <a:lnTo>
                        <a:pt x="110" y="251"/>
                      </a:lnTo>
                      <a:lnTo>
                        <a:pt x="109" y="251"/>
                      </a:lnTo>
                      <a:lnTo>
                        <a:pt x="109" y="249"/>
                      </a:lnTo>
                      <a:lnTo>
                        <a:pt x="108" y="249"/>
                      </a:lnTo>
                      <a:lnTo>
                        <a:pt x="108" y="249"/>
                      </a:lnTo>
                      <a:lnTo>
                        <a:pt x="107" y="248"/>
                      </a:lnTo>
                      <a:lnTo>
                        <a:pt x="107" y="247"/>
                      </a:lnTo>
                      <a:lnTo>
                        <a:pt x="107" y="247"/>
                      </a:lnTo>
                      <a:lnTo>
                        <a:pt x="106" y="247"/>
                      </a:lnTo>
                      <a:lnTo>
                        <a:pt x="105" y="247"/>
                      </a:lnTo>
                      <a:lnTo>
                        <a:pt x="103" y="248"/>
                      </a:lnTo>
                      <a:lnTo>
                        <a:pt x="102" y="248"/>
                      </a:lnTo>
                      <a:lnTo>
                        <a:pt x="101" y="249"/>
                      </a:lnTo>
                      <a:lnTo>
                        <a:pt x="102" y="248"/>
                      </a:lnTo>
                      <a:lnTo>
                        <a:pt x="102" y="247"/>
                      </a:lnTo>
                      <a:lnTo>
                        <a:pt x="103" y="247"/>
                      </a:lnTo>
                      <a:lnTo>
                        <a:pt x="105" y="247"/>
                      </a:lnTo>
                      <a:lnTo>
                        <a:pt x="106" y="246"/>
                      </a:lnTo>
                      <a:lnTo>
                        <a:pt x="107" y="243"/>
                      </a:lnTo>
                      <a:lnTo>
                        <a:pt x="109" y="242"/>
                      </a:lnTo>
                      <a:lnTo>
                        <a:pt x="108" y="239"/>
                      </a:lnTo>
                      <a:lnTo>
                        <a:pt x="108" y="235"/>
                      </a:lnTo>
                      <a:lnTo>
                        <a:pt x="109" y="234"/>
                      </a:lnTo>
                      <a:lnTo>
                        <a:pt x="109" y="233"/>
                      </a:lnTo>
                      <a:lnTo>
                        <a:pt x="110" y="233"/>
                      </a:lnTo>
                      <a:lnTo>
                        <a:pt x="114" y="236"/>
                      </a:lnTo>
                      <a:lnTo>
                        <a:pt x="115" y="238"/>
                      </a:lnTo>
                      <a:lnTo>
                        <a:pt x="116" y="236"/>
                      </a:lnTo>
                      <a:lnTo>
                        <a:pt x="119" y="236"/>
                      </a:lnTo>
                      <a:lnTo>
                        <a:pt x="120" y="236"/>
                      </a:lnTo>
                      <a:lnTo>
                        <a:pt x="122" y="234"/>
                      </a:lnTo>
                      <a:lnTo>
                        <a:pt x="121" y="232"/>
                      </a:lnTo>
                      <a:lnTo>
                        <a:pt x="120" y="231"/>
                      </a:lnTo>
                      <a:lnTo>
                        <a:pt x="121" y="231"/>
                      </a:lnTo>
                      <a:lnTo>
                        <a:pt x="122" y="229"/>
                      </a:lnTo>
                      <a:lnTo>
                        <a:pt x="123" y="228"/>
                      </a:lnTo>
                      <a:lnTo>
                        <a:pt x="123" y="229"/>
                      </a:lnTo>
                      <a:lnTo>
                        <a:pt x="125" y="228"/>
                      </a:lnTo>
                      <a:lnTo>
                        <a:pt x="127" y="228"/>
                      </a:lnTo>
                      <a:lnTo>
                        <a:pt x="128" y="228"/>
                      </a:lnTo>
                      <a:lnTo>
                        <a:pt x="129" y="228"/>
                      </a:lnTo>
                      <a:lnTo>
                        <a:pt x="129" y="228"/>
                      </a:lnTo>
                      <a:lnTo>
                        <a:pt x="130" y="229"/>
                      </a:lnTo>
                      <a:lnTo>
                        <a:pt x="133" y="231"/>
                      </a:lnTo>
                      <a:lnTo>
                        <a:pt x="134" y="231"/>
                      </a:lnTo>
                      <a:lnTo>
                        <a:pt x="137" y="231"/>
                      </a:lnTo>
                      <a:lnTo>
                        <a:pt x="137" y="231"/>
                      </a:lnTo>
                      <a:lnTo>
                        <a:pt x="139" y="233"/>
                      </a:lnTo>
                      <a:lnTo>
                        <a:pt x="139" y="234"/>
                      </a:lnTo>
                      <a:lnTo>
                        <a:pt x="139" y="234"/>
                      </a:lnTo>
                      <a:lnTo>
                        <a:pt x="140" y="235"/>
                      </a:lnTo>
                      <a:lnTo>
                        <a:pt x="142" y="236"/>
                      </a:lnTo>
                      <a:lnTo>
                        <a:pt x="141" y="239"/>
                      </a:lnTo>
                      <a:lnTo>
                        <a:pt x="142" y="239"/>
                      </a:lnTo>
                      <a:lnTo>
                        <a:pt x="143" y="239"/>
                      </a:lnTo>
                      <a:lnTo>
                        <a:pt x="142" y="240"/>
                      </a:lnTo>
                      <a:lnTo>
                        <a:pt x="141" y="241"/>
                      </a:lnTo>
                      <a:lnTo>
                        <a:pt x="140" y="242"/>
                      </a:lnTo>
                      <a:lnTo>
                        <a:pt x="139" y="243"/>
                      </a:lnTo>
                      <a:lnTo>
                        <a:pt x="139" y="245"/>
                      </a:lnTo>
                      <a:lnTo>
                        <a:pt x="139" y="246"/>
                      </a:lnTo>
                      <a:lnTo>
                        <a:pt x="139" y="251"/>
                      </a:lnTo>
                      <a:lnTo>
                        <a:pt x="136" y="249"/>
                      </a:lnTo>
                      <a:lnTo>
                        <a:pt x="134" y="247"/>
                      </a:lnTo>
                      <a:lnTo>
                        <a:pt x="130" y="246"/>
                      </a:lnTo>
                      <a:lnTo>
                        <a:pt x="127" y="246"/>
                      </a:lnTo>
                      <a:lnTo>
                        <a:pt x="126" y="247"/>
                      </a:lnTo>
                      <a:lnTo>
                        <a:pt x="123" y="247"/>
                      </a:lnTo>
                      <a:lnTo>
                        <a:pt x="123" y="248"/>
                      </a:lnTo>
                      <a:lnTo>
                        <a:pt x="125" y="247"/>
                      </a:lnTo>
                      <a:lnTo>
                        <a:pt x="125" y="248"/>
                      </a:lnTo>
                      <a:lnTo>
                        <a:pt x="125" y="248"/>
                      </a:lnTo>
                      <a:lnTo>
                        <a:pt x="123" y="249"/>
                      </a:lnTo>
                      <a:lnTo>
                        <a:pt x="122" y="248"/>
                      </a:lnTo>
                      <a:lnTo>
                        <a:pt x="122" y="249"/>
                      </a:lnTo>
                      <a:lnTo>
                        <a:pt x="122" y="251"/>
                      </a:lnTo>
                      <a:lnTo>
                        <a:pt x="123" y="252"/>
                      </a:lnTo>
                      <a:lnTo>
                        <a:pt x="123" y="253"/>
                      </a:lnTo>
                      <a:lnTo>
                        <a:pt x="122" y="254"/>
                      </a:lnTo>
                      <a:lnTo>
                        <a:pt x="121" y="255"/>
                      </a:lnTo>
                      <a:lnTo>
                        <a:pt x="121" y="258"/>
                      </a:lnTo>
                      <a:lnTo>
                        <a:pt x="122" y="259"/>
                      </a:lnTo>
                      <a:lnTo>
                        <a:pt x="122" y="260"/>
                      </a:lnTo>
                      <a:lnTo>
                        <a:pt x="123" y="262"/>
                      </a:lnTo>
                      <a:lnTo>
                        <a:pt x="123" y="262"/>
                      </a:lnTo>
                      <a:close/>
                      <a:moveTo>
                        <a:pt x="115" y="262"/>
                      </a:moveTo>
                      <a:lnTo>
                        <a:pt x="115" y="262"/>
                      </a:lnTo>
                      <a:lnTo>
                        <a:pt x="115" y="262"/>
                      </a:lnTo>
                      <a:lnTo>
                        <a:pt x="115" y="261"/>
                      </a:lnTo>
                      <a:lnTo>
                        <a:pt x="115" y="261"/>
                      </a:lnTo>
                      <a:lnTo>
                        <a:pt x="115" y="262"/>
                      </a:lnTo>
                      <a:lnTo>
                        <a:pt x="116" y="262"/>
                      </a:lnTo>
                      <a:lnTo>
                        <a:pt x="115" y="262"/>
                      </a:lnTo>
                      <a:lnTo>
                        <a:pt x="115" y="262"/>
                      </a:lnTo>
                      <a:close/>
                      <a:moveTo>
                        <a:pt x="116" y="261"/>
                      </a:moveTo>
                      <a:lnTo>
                        <a:pt x="116" y="261"/>
                      </a:lnTo>
                      <a:lnTo>
                        <a:pt x="116" y="261"/>
                      </a:lnTo>
                      <a:lnTo>
                        <a:pt x="116" y="261"/>
                      </a:lnTo>
                      <a:lnTo>
                        <a:pt x="116" y="261"/>
                      </a:lnTo>
                      <a:close/>
                      <a:moveTo>
                        <a:pt x="114" y="261"/>
                      </a:moveTo>
                      <a:lnTo>
                        <a:pt x="114" y="260"/>
                      </a:lnTo>
                      <a:lnTo>
                        <a:pt x="114" y="260"/>
                      </a:lnTo>
                      <a:lnTo>
                        <a:pt x="114" y="261"/>
                      </a:lnTo>
                      <a:lnTo>
                        <a:pt x="114" y="261"/>
                      </a:lnTo>
                      <a:close/>
                      <a:moveTo>
                        <a:pt x="112" y="258"/>
                      </a:moveTo>
                      <a:lnTo>
                        <a:pt x="112" y="258"/>
                      </a:lnTo>
                      <a:lnTo>
                        <a:pt x="112" y="258"/>
                      </a:lnTo>
                      <a:lnTo>
                        <a:pt x="112" y="258"/>
                      </a:lnTo>
                      <a:lnTo>
                        <a:pt x="112" y="258"/>
                      </a:lnTo>
                      <a:close/>
                      <a:moveTo>
                        <a:pt x="108" y="254"/>
                      </a:moveTo>
                      <a:lnTo>
                        <a:pt x="108" y="254"/>
                      </a:lnTo>
                      <a:lnTo>
                        <a:pt x="108" y="254"/>
                      </a:lnTo>
                      <a:lnTo>
                        <a:pt x="108" y="254"/>
                      </a:lnTo>
                      <a:lnTo>
                        <a:pt x="108" y="254"/>
                      </a:lnTo>
                      <a:close/>
                      <a:moveTo>
                        <a:pt x="110" y="254"/>
                      </a:moveTo>
                      <a:lnTo>
                        <a:pt x="109" y="254"/>
                      </a:lnTo>
                      <a:lnTo>
                        <a:pt x="109" y="254"/>
                      </a:lnTo>
                      <a:lnTo>
                        <a:pt x="110" y="254"/>
                      </a:lnTo>
                      <a:lnTo>
                        <a:pt x="110" y="254"/>
                      </a:lnTo>
                      <a:close/>
                      <a:moveTo>
                        <a:pt x="108" y="253"/>
                      </a:moveTo>
                      <a:lnTo>
                        <a:pt x="108" y="253"/>
                      </a:lnTo>
                      <a:lnTo>
                        <a:pt x="108" y="253"/>
                      </a:lnTo>
                      <a:lnTo>
                        <a:pt x="108" y="253"/>
                      </a:lnTo>
                      <a:lnTo>
                        <a:pt x="108" y="253"/>
                      </a:lnTo>
                      <a:close/>
                      <a:moveTo>
                        <a:pt x="108" y="253"/>
                      </a:moveTo>
                      <a:lnTo>
                        <a:pt x="107" y="253"/>
                      </a:lnTo>
                      <a:lnTo>
                        <a:pt x="107" y="253"/>
                      </a:lnTo>
                      <a:lnTo>
                        <a:pt x="107" y="253"/>
                      </a:lnTo>
                      <a:lnTo>
                        <a:pt x="107" y="253"/>
                      </a:lnTo>
                      <a:lnTo>
                        <a:pt x="107" y="253"/>
                      </a:lnTo>
                      <a:lnTo>
                        <a:pt x="108" y="253"/>
                      </a:lnTo>
                      <a:lnTo>
                        <a:pt x="108" y="253"/>
                      </a:lnTo>
                      <a:lnTo>
                        <a:pt x="108" y="253"/>
                      </a:lnTo>
                      <a:close/>
                      <a:moveTo>
                        <a:pt x="110" y="252"/>
                      </a:moveTo>
                      <a:lnTo>
                        <a:pt x="110" y="252"/>
                      </a:lnTo>
                      <a:lnTo>
                        <a:pt x="110" y="252"/>
                      </a:lnTo>
                      <a:lnTo>
                        <a:pt x="110" y="252"/>
                      </a:lnTo>
                      <a:lnTo>
                        <a:pt x="110" y="252"/>
                      </a:lnTo>
                      <a:close/>
                      <a:moveTo>
                        <a:pt x="108" y="253"/>
                      </a:moveTo>
                      <a:lnTo>
                        <a:pt x="108" y="252"/>
                      </a:lnTo>
                      <a:lnTo>
                        <a:pt x="108" y="252"/>
                      </a:lnTo>
                      <a:lnTo>
                        <a:pt x="108" y="252"/>
                      </a:lnTo>
                      <a:lnTo>
                        <a:pt x="108" y="252"/>
                      </a:lnTo>
                      <a:lnTo>
                        <a:pt x="108" y="253"/>
                      </a:lnTo>
                      <a:lnTo>
                        <a:pt x="108" y="253"/>
                      </a:lnTo>
                      <a:lnTo>
                        <a:pt x="108" y="253"/>
                      </a:lnTo>
                      <a:close/>
                      <a:moveTo>
                        <a:pt x="110" y="252"/>
                      </a:moveTo>
                      <a:lnTo>
                        <a:pt x="110" y="252"/>
                      </a:lnTo>
                      <a:lnTo>
                        <a:pt x="110" y="252"/>
                      </a:lnTo>
                      <a:lnTo>
                        <a:pt x="110" y="252"/>
                      </a:lnTo>
                      <a:lnTo>
                        <a:pt x="110" y="252"/>
                      </a:lnTo>
                      <a:close/>
                      <a:moveTo>
                        <a:pt x="107" y="248"/>
                      </a:moveTo>
                      <a:lnTo>
                        <a:pt x="107" y="248"/>
                      </a:lnTo>
                      <a:lnTo>
                        <a:pt x="107" y="248"/>
                      </a:lnTo>
                      <a:lnTo>
                        <a:pt x="107" y="248"/>
                      </a:lnTo>
                      <a:lnTo>
                        <a:pt x="107" y="248"/>
                      </a:lnTo>
                      <a:close/>
                      <a:moveTo>
                        <a:pt x="106" y="248"/>
                      </a:moveTo>
                      <a:lnTo>
                        <a:pt x="106" y="248"/>
                      </a:lnTo>
                      <a:lnTo>
                        <a:pt x="106" y="248"/>
                      </a:lnTo>
                      <a:lnTo>
                        <a:pt x="106" y="248"/>
                      </a:lnTo>
                      <a:lnTo>
                        <a:pt x="106" y="248"/>
                      </a:lnTo>
                      <a:close/>
                      <a:moveTo>
                        <a:pt x="141" y="243"/>
                      </a:moveTo>
                      <a:lnTo>
                        <a:pt x="141" y="243"/>
                      </a:lnTo>
                      <a:lnTo>
                        <a:pt x="141" y="243"/>
                      </a:lnTo>
                      <a:lnTo>
                        <a:pt x="141" y="243"/>
                      </a:lnTo>
                      <a:lnTo>
                        <a:pt x="141" y="243"/>
                      </a:lnTo>
                      <a:close/>
                      <a:moveTo>
                        <a:pt x="106" y="241"/>
                      </a:moveTo>
                      <a:lnTo>
                        <a:pt x="106" y="241"/>
                      </a:lnTo>
                      <a:lnTo>
                        <a:pt x="106" y="241"/>
                      </a:lnTo>
                      <a:lnTo>
                        <a:pt x="106" y="241"/>
                      </a:lnTo>
                      <a:lnTo>
                        <a:pt x="106" y="241"/>
                      </a:lnTo>
                      <a:close/>
                      <a:moveTo>
                        <a:pt x="145" y="239"/>
                      </a:moveTo>
                      <a:lnTo>
                        <a:pt x="145" y="239"/>
                      </a:lnTo>
                      <a:lnTo>
                        <a:pt x="145" y="239"/>
                      </a:lnTo>
                      <a:lnTo>
                        <a:pt x="145" y="239"/>
                      </a:lnTo>
                      <a:lnTo>
                        <a:pt x="145" y="239"/>
                      </a:lnTo>
                      <a:close/>
                      <a:moveTo>
                        <a:pt x="142" y="239"/>
                      </a:moveTo>
                      <a:lnTo>
                        <a:pt x="142" y="239"/>
                      </a:lnTo>
                      <a:lnTo>
                        <a:pt x="142" y="239"/>
                      </a:lnTo>
                      <a:lnTo>
                        <a:pt x="142" y="239"/>
                      </a:lnTo>
                      <a:lnTo>
                        <a:pt x="142" y="239"/>
                      </a:lnTo>
                      <a:close/>
                      <a:moveTo>
                        <a:pt x="145" y="238"/>
                      </a:moveTo>
                      <a:lnTo>
                        <a:pt x="143" y="238"/>
                      </a:lnTo>
                      <a:lnTo>
                        <a:pt x="145" y="238"/>
                      </a:lnTo>
                      <a:lnTo>
                        <a:pt x="145" y="238"/>
                      </a:lnTo>
                      <a:lnTo>
                        <a:pt x="145" y="238"/>
                      </a:lnTo>
                      <a:close/>
                      <a:moveTo>
                        <a:pt x="108" y="239"/>
                      </a:moveTo>
                      <a:lnTo>
                        <a:pt x="107" y="239"/>
                      </a:lnTo>
                      <a:lnTo>
                        <a:pt x="107" y="238"/>
                      </a:lnTo>
                      <a:lnTo>
                        <a:pt x="107" y="238"/>
                      </a:lnTo>
                      <a:lnTo>
                        <a:pt x="108" y="238"/>
                      </a:lnTo>
                      <a:lnTo>
                        <a:pt x="108" y="238"/>
                      </a:lnTo>
                      <a:lnTo>
                        <a:pt x="108" y="238"/>
                      </a:lnTo>
                      <a:lnTo>
                        <a:pt x="108" y="239"/>
                      </a:lnTo>
                      <a:lnTo>
                        <a:pt x="108" y="239"/>
                      </a:lnTo>
                      <a:lnTo>
                        <a:pt x="108" y="239"/>
                      </a:lnTo>
                      <a:close/>
                      <a:moveTo>
                        <a:pt x="145" y="238"/>
                      </a:moveTo>
                      <a:lnTo>
                        <a:pt x="145" y="238"/>
                      </a:lnTo>
                      <a:lnTo>
                        <a:pt x="145" y="238"/>
                      </a:lnTo>
                      <a:lnTo>
                        <a:pt x="145" y="238"/>
                      </a:lnTo>
                      <a:lnTo>
                        <a:pt x="145" y="238"/>
                      </a:lnTo>
                      <a:close/>
                      <a:moveTo>
                        <a:pt x="142" y="238"/>
                      </a:moveTo>
                      <a:lnTo>
                        <a:pt x="142" y="238"/>
                      </a:lnTo>
                      <a:lnTo>
                        <a:pt x="142" y="236"/>
                      </a:lnTo>
                      <a:lnTo>
                        <a:pt x="142" y="238"/>
                      </a:lnTo>
                      <a:lnTo>
                        <a:pt x="142" y="238"/>
                      </a:lnTo>
                      <a:close/>
                      <a:moveTo>
                        <a:pt x="107" y="236"/>
                      </a:moveTo>
                      <a:lnTo>
                        <a:pt x="107" y="236"/>
                      </a:lnTo>
                      <a:lnTo>
                        <a:pt x="107" y="236"/>
                      </a:lnTo>
                      <a:lnTo>
                        <a:pt x="107" y="236"/>
                      </a:lnTo>
                      <a:lnTo>
                        <a:pt x="107" y="236"/>
                      </a:lnTo>
                      <a:lnTo>
                        <a:pt x="107" y="236"/>
                      </a:lnTo>
                      <a:close/>
                      <a:moveTo>
                        <a:pt x="107" y="236"/>
                      </a:moveTo>
                      <a:lnTo>
                        <a:pt x="107" y="236"/>
                      </a:lnTo>
                      <a:lnTo>
                        <a:pt x="107" y="236"/>
                      </a:lnTo>
                      <a:lnTo>
                        <a:pt x="107" y="236"/>
                      </a:lnTo>
                      <a:lnTo>
                        <a:pt x="107" y="236"/>
                      </a:lnTo>
                      <a:close/>
                      <a:moveTo>
                        <a:pt x="119" y="236"/>
                      </a:moveTo>
                      <a:lnTo>
                        <a:pt x="119" y="236"/>
                      </a:lnTo>
                      <a:lnTo>
                        <a:pt x="119" y="235"/>
                      </a:lnTo>
                      <a:lnTo>
                        <a:pt x="119" y="236"/>
                      </a:lnTo>
                      <a:lnTo>
                        <a:pt x="119" y="236"/>
                      </a:lnTo>
                      <a:close/>
                      <a:moveTo>
                        <a:pt x="106" y="236"/>
                      </a:moveTo>
                      <a:lnTo>
                        <a:pt x="106" y="236"/>
                      </a:lnTo>
                      <a:lnTo>
                        <a:pt x="106" y="236"/>
                      </a:lnTo>
                      <a:lnTo>
                        <a:pt x="106" y="236"/>
                      </a:lnTo>
                      <a:lnTo>
                        <a:pt x="106" y="235"/>
                      </a:lnTo>
                      <a:lnTo>
                        <a:pt x="106" y="235"/>
                      </a:lnTo>
                      <a:lnTo>
                        <a:pt x="106" y="236"/>
                      </a:lnTo>
                      <a:lnTo>
                        <a:pt x="107" y="236"/>
                      </a:lnTo>
                      <a:lnTo>
                        <a:pt x="106" y="236"/>
                      </a:lnTo>
                      <a:lnTo>
                        <a:pt x="106" y="236"/>
                      </a:lnTo>
                      <a:lnTo>
                        <a:pt x="106" y="236"/>
                      </a:lnTo>
                      <a:close/>
                      <a:moveTo>
                        <a:pt x="110" y="233"/>
                      </a:moveTo>
                      <a:lnTo>
                        <a:pt x="110" y="233"/>
                      </a:lnTo>
                      <a:lnTo>
                        <a:pt x="110" y="233"/>
                      </a:lnTo>
                      <a:lnTo>
                        <a:pt x="110" y="233"/>
                      </a:lnTo>
                      <a:lnTo>
                        <a:pt x="110" y="233"/>
                      </a:lnTo>
                      <a:close/>
                      <a:moveTo>
                        <a:pt x="120" y="233"/>
                      </a:moveTo>
                      <a:lnTo>
                        <a:pt x="120" y="233"/>
                      </a:lnTo>
                      <a:lnTo>
                        <a:pt x="120" y="233"/>
                      </a:lnTo>
                      <a:lnTo>
                        <a:pt x="120" y="233"/>
                      </a:lnTo>
                      <a:lnTo>
                        <a:pt x="120" y="233"/>
                      </a:lnTo>
                      <a:close/>
                      <a:moveTo>
                        <a:pt x="139" y="232"/>
                      </a:moveTo>
                      <a:lnTo>
                        <a:pt x="137" y="232"/>
                      </a:lnTo>
                      <a:lnTo>
                        <a:pt x="137" y="232"/>
                      </a:lnTo>
                      <a:lnTo>
                        <a:pt x="139" y="231"/>
                      </a:lnTo>
                      <a:lnTo>
                        <a:pt x="137" y="231"/>
                      </a:lnTo>
                      <a:lnTo>
                        <a:pt x="139" y="232"/>
                      </a:lnTo>
                      <a:lnTo>
                        <a:pt x="139" y="232"/>
                      </a:lnTo>
                      <a:lnTo>
                        <a:pt x="139" y="232"/>
                      </a:lnTo>
                      <a:close/>
                      <a:moveTo>
                        <a:pt x="121" y="231"/>
                      </a:moveTo>
                      <a:lnTo>
                        <a:pt x="121" y="231"/>
                      </a:lnTo>
                      <a:lnTo>
                        <a:pt x="121" y="231"/>
                      </a:lnTo>
                      <a:lnTo>
                        <a:pt x="121" y="231"/>
                      </a:lnTo>
                      <a:lnTo>
                        <a:pt x="121" y="231"/>
                      </a:lnTo>
                      <a:close/>
                      <a:moveTo>
                        <a:pt x="121" y="231"/>
                      </a:moveTo>
                      <a:lnTo>
                        <a:pt x="120" y="229"/>
                      </a:lnTo>
                      <a:lnTo>
                        <a:pt x="120" y="229"/>
                      </a:lnTo>
                      <a:lnTo>
                        <a:pt x="121" y="231"/>
                      </a:lnTo>
                      <a:lnTo>
                        <a:pt x="121" y="229"/>
                      </a:lnTo>
                      <a:lnTo>
                        <a:pt x="121" y="231"/>
                      </a:lnTo>
                      <a:lnTo>
                        <a:pt x="121" y="231"/>
                      </a:lnTo>
                      <a:lnTo>
                        <a:pt x="121" y="231"/>
                      </a:lnTo>
                      <a:close/>
                      <a:moveTo>
                        <a:pt x="127" y="228"/>
                      </a:moveTo>
                      <a:lnTo>
                        <a:pt x="127" y="227"/>
                      </a:lnTo>
                      <a:lnTo>
                        <a:pt x="127" y="227"/>
                      </a:lnTo>
                      <a:lnTo>
                        <a:pt x="127" y="228"/>
                      </a:lnTo>
                      <a:lnTo>
                        <a:pt x="127" y="228"/>
                      </a:lnTo>
                      <a:close/>
                      <a:moveTo>
                        <a:pt x="128" y="227"/>
                      </a:moveTo>
                      <a:lnTo>
                        <a:pt x="127" y="227"/>
                      </a:lnTo>
                      <a:lnTo>
                        <a:pt x="128" y="227"/>
                      </a:lnTo>
                      <a:lnTo>
                        <a:pt x="128" y="227"/>
                      </a:lnTo>
                      <a:lnTo>
                        <a:pt x="128" y="227"/>
                      </a:lnTo>
                      <a:close/>
                      <a:moveTo>
                        <a:pt x="127" y="227"/>
                      </a:moveTo>
                      <a:lnTo>
                        <a:pt x="127" y="227"/>
                      </a:lnTo>
                      <a:lnTo>
                        <a:pt x="127" y="227"/>
                      </a:lnTo>
                      <a:lnTo>
                        <a:pt x="127" y="227"/>
                      </a:lnTo>
                      <a:lnTo>
                        <a:pt x="127" y="227"/>
                      </a:lnTo>
                      <a:close/>
                      <a:moveTo>
                        <a:pt x="129" y="227"/>
                      </a:moveTo>
                      <a:lnTo>
                        <a:pt x="129" y="227"/>
                      </a:lnTo>
                      <a:lnTo>
                        <a:pt x="129" y="227"/>
                      </a:lnTo>
                      <a:lnTo>
                        <a:pt x="129" y="226"/>
                      </a:lnTo>
                      <a:lnTo>
                        <a:pt x="129" y="226"/>
                      </a:lnTo>
                      <a:lnTo>
                        <a:pt x="129" y="226"/>
                      </a:lnTo>
                      <a:lnTo>
                        <a:pt x="128" y="226"/>
                      </a:lnTo>
                      <a:lnTo>
                        <a:pt x="128" y="226"/>
                      </a:lnTo>
                      <a:lnTo>
                        <a:pt x="127" y="225"/>
                      </a:lnTo>
                      <a:lnTo>
                        <a:pt x="128" y="225"/>
                      </a:lnTo>
                      <a:lnTo>
                        <a:pt x="128" y="225"/>
                      </a:lnTo>
                      <a:lnTo>
                        <a:pt x="129" y="225"/>
                      </a:lnTo>
                      <a:lnTo>
                        <a:pt x="129" y="225"/>
                      </a:lnTo>
                      <a:lnTo>
                        <a:pt x="129" y="223"/>
                      </a:lnTo>
                      <a:lnTo>
                        <a:pt x="130" y="225"/>
                      </a:lnTo>
                      <a:lnTo>
                        <a:pt x="130" y="225"/>
                      </a:lnTo>
                      <a:lnTo>
                        <a:pt x="130" y="225"/>
                      </a:lnTo>
                      <a:lnTo>
                        <a:pt x="130" y="225"/>
                      </a:lnTo>
                      <a:lnTo>
                        <a:pt x="130" y="226"/>
                      </a:lnTo>
                      <a:lnTo>
                        <a:pt x="130" y="226"/>
                      </a:lnTo>
                      <a:lnTo>
                        <a:pt x="132" y="226"/>
                      </a:lnTo>
                      <a:lnTo>
                        <a:pt x="132" y="227"/>
                      </a:lnTo>
                      <a:lnTo>
                        <a:pt x="130" y="227"/>
                      </a:lnTo>
                      <a:lnTo>
                        <a:pt x="130" y="226"/>
                      </a:lnTo>
                      <a:lnTo>
                        <a:pt x="130" y="227"/>
                      </a:lnTo>
                      <a:lnTo>
                        <a:pt x="130" y="227"/>
                      </a:lnTo>
                      <a:lnTo>
                        <a:pt x="130" y="226"/>
                      </a:lnTo>
                      <a:lnTo>
                        <a:pt x="130" y="226"/>
                      </a:lnTo>
                      <a:lnTo>
                        <a:pt x="130" y="226"/>
                      </a:lnTo>
                      <a:lnTo>
                        <a:pt x="130" y="226"/>
                      </a:lnTo>
                      <a:lnTo>
                        <a:pt x="130" y="226"/>
                      </a:lnTo>
                      <a:lnTo>
                        <a:pt x="129" y="226"/>
                      </a:lnTo>
                      <a:lnTo>
                        <a:pt x="129" y="227"/>
                      </a:lnTo>
                      <a:lnTo>
                        <a:pt x="129" y="227"/>
                      </a:lnTo>
                      <a:lnTo>
                        <a:pt x="129" y="227"/>
                      </a:lnTo>
                      <a:lnTo>
                        <a:pt x="129" y="227"/>
                      </a:lnTo>
                      <a:close/>
                      <a:moveTo>
                        <a:pt x="127" y="226"/>
                      </a:moveTo>
                      <a:lnTo>
                        <a:pt x="126" y="226"/>
                      </a:lnTo>
                      <a:lnTo>
                        <a:pt x="126" y="226"/>
                      </a:lnTo>
                      <a:lnTo>
                        <a:pt x="126" y="226"/>
                      </a:lnTo>
                      <a:lnTo>
                        <a:pt x="126" y="226"/>
                      </a:lnTo>
                      <a:lnTo>
                        <a:pt x="127" y="226"/>
                      </a:lnTo>
                      <a:lnTo>
                        <a:pt x="127" y="226"/>
                      </a:lnTo>
                      <a:lnTo>
                        <a:pt x="127" y="226"/>
                      </a:lnTo>
                      <a:lnTo>
                        <a:pt x="127" y="226"/>
                      </a:lnTo>
                      <a:close/>
                      <a:moveTo>
                        <a:pt x="127" y="226"/>
                      </a:moveTo>
                      <a:lnTo>
                        <a:pt x="127" y="226"/>
                      </a:lnTo>
                      <a:lnTo>
                        <a:pt x="127" y="226"/>
                      </a:lnTo>
                      <a:lnTo>
                        <a:pt x="127" y="226"/>
                      </a:lnTo>
                      <a:lnTo>
                        <a:pt x="127" y="226"/>
                      </a:lnTo>
                      <a:close/>
                      <a:moveTo>
                        <a:pt x="128" y="226"/>
                      </a:moveTo>
                      <a:lnTo>
                        <a:pt x="128" y="226"/>
                      </a:lnTo>
                      <a:lnTo>
                        <a:pt x="128" y="226"/>
                      </a:lnTo>
                      <a:lnTo>
                        <a:pt x="128" y="226"/>
                      </a:lnTo>
                      <a:lnTo>
                        <a:pt x="128" y="226"/>
                      </a:lnTo>
                      <a:lnTo>
                        <a:pt x="128" y="226"/>
                      </a:lnTo>
                      <a:close/>
                      <a:moveTo>
                        <a:pt x="236" y="254"/>
                      </a:moveTo>
                      <a:lnTo>
                        <a:pt x="236" y="254"/>
                      </a:lnTo>
                      <a:lnTo>
                        <a:pt x="236" y="254"/>
                      </a:lnTo>
                      <a:lnTo>
                        <a:pt x="236" y="254"/>
                      </a:lnTo>
                      <a:lnTo>
                        <a:pt x="236" y="254"/>
                      </a:lnTo>
                      <a:close/>
                      <a:moveTo>
                        <a:pt x="240" y="253"/>
                      </a:moveTo>
                      <a:lnTo>
                        <a:pt x="240" y="253"/>
                      </a:lnTo>
                      <a:lnTo>
                        <a:pt x="239" y="252"/>
                      </a:lnTo>
                      <a:lnTo>
                        <a:pt x="237" y="252"/>
                      </a:lnTo>
                      <a:lnTo>
                        <a:pt x="237" y="251"/>
                      </a:lnTo>
                      <a:lnTo>
                        <a:pt x="239" y="252"/>
                      </a:lnTo>
                      <a:lnTo>
                        <a:pt x="240" y="252"/>
                      </a:lnTo>
                      <a:lnTo>
                        <a:pt x="240" y="252"/>
                      </a:lnTo>
                      <a:lnTo>
                        <a:pt x="240" y="253"/>
                      </a:lnTo>
                      <a:lnTo>
                        <a:pt x="240" y="253"/>
                      </a:lnTo>
                      <a:lnTo>
                        <a:pt x="240" y="253"/>
                      </a:lnTo>
                      <a:close/>
                      <a:moveTo>
                        <a:pt x="166" y="247"/>
                      </a:moveTo>
                      <a:lnTo>
                        <a:pt x="166" y="247"/>
                      </a:lnTo>
                      <a:lnTo>
                        <a:pt x="166" y="247"/>
                      </a:lnTo>
                      <a:lnTo>
                        <a:pt x="166" y="247"/>
                      </a:lnTo>
                      <a:lnTo>
                        <a:pt x="166" y="247"/>
                      </a:lnTo>
                      <a:lnTo>
                        <a:pt x="166" y="247"/>
                      </a:lnTo>
                      <a:lnTo>
                        <a:pt x="166" y="247"/>
                      </a:lnTo>
                      <a:lnTo>
                        <a:pt x="166" y="247"/>
                      </a:lnTo>
                      <a:close/>
                      <a:moveTo>
                        <a:pt x="165" y="247"/>
                      </a:moveTo>
                      <a:lnTo>
                        <a:pt x="165" y="247"/>
                      </a:lnTo>
                      <a:lnTo>
                        <a:pt x="161" y="246"/>
                      </a:lnTo>
                      <a:lnTo>
                        <a:pt x="160" y="246"/>
                      </a:lnTo>
                      <a:lnTo>
                        <a:pt x="157" y="245"/>
                      </a:lnTo>
                      <a:lnTo>
                        <a:pt x="156" y="243"/>
                      </a:lnTo>
                      <a:lnTo>
                        <a:pt x="156" y="242"/>
                      </a:lnTo>
                      <a:lnTo>
                        <a:pt x="155" y="241"/>
                      </a:lnTo>
                      <a:lnTo>
                        <a:pt x="153" y="240"/>
                      </a:lnTo>
                      <a:lnTo>
                        <a:pt x="150" y="239"/>
                      </a:lnTo>
                      <a:lnTo>
                        <a:pt x="149" y="238"/>
                      </a:lnTo>
                      <a:lnTo>
                        <a:pt x="149" y="236"/>
                      </a:lnTo>
                      <a:lnTo>
                        <a:pt x="148" y="236"/>
                      </a:lnTo>
                      <a:lnTo>
                        <a:pt x="149" y="235"/>
                      </a:lnTo>
                      <a:lnTo>
                        <a:pt x="149" y="235"/>
                      </a:lnTo>
                      <a:lnTo>
                        <a:pt x="148" y="234"/>
                      </a:lnTo>
                      <a:lnTo>
                        <a:pt x="148" y="233"/>
                      </a:lnTo>
                      <a:lnTo>
                        <a:pt x="148" y="232"/>
                      </a:lnTo>
                      <a:lnTo>
                        <a:pt x="146" y="231"/>
                      </a:lnTo>
                      <a:lnTo>
                        <a:pt x="146" y="229"/>
                      </a:lnTo>
                      <a:lnTo>
                        <a:pt x="148" y="228"/>
                      </a:lnTo>
                      <a:lnTo>
                        <a:pt x="149" y="227"/>
                      </a:lnTo>
                      <a:lnTo>
                        <a:pt x="149" y="226"/>
                      </a:lnTo>
                      <a:lnTo>
                        <a:pt x="149" y="225"/>
                      </a:lnTo>
                      <a:lnTo>
                        <a:pt x="148" y="223"/>
                      </a:lnTo>
                      <a:lnTo>
                        <a:pt x="149" y="223"/>
                      </a:lnTo>
                      <a:lnTo>
                        <a:pt x="148" y="223"/>
                      </a:lnTo>
                      <a:lnTo>
                        <a:pt x="149" y="222"/>
                      </a:lnTo>
                      <a:lnTo>
                        <a:pt x="149" y="222"/>
                      </a:lnTo>
                      <a:lnTo>
                        <a:pt x="148" y="222"/>
                      </a:lnTo>
                      <a:lnTo>
                        <a:pt x="148" y="222"/>
                      </a:lnTo>
                      <a:lnTo>
                        <a:pt x="147" y="221"/>
                      </a:lnTo>
                      <a:lnTo>
                        <a:pt x="147" y="221"/>
                      </a:lnTo>
                      <a:lnTo>
                        <a:pt x="146" y="221"/>
                      </a:lnTo>
                      <a:lnTo>
                        <a:pt x="145" y="221"/>
                      </a:lnTo>
                      <a:lnTo>
                        <a:pt x="143" y="221"/>
                      </a:lnTo>
                      <a:lnTo>
                        <a:pt x="142" y="222"/>
                      </a:lnTo>
                      <a:lnTo>
                        <a:pt x="139" y="222"/>
                      </a:lnTo>
                      <a:lnTo>
                        <a:pt x="135" y="220"/>
                      </a:lnTo>
                      <a:lnTo>
                        <a:pt x="133" y="220"/>
                      </a:lnTo>
                      <a:lnTo>
                        <a:pt x="128" y="220"/>
                      </a:lnTo>
                      <a:lnTo>
                        <a:pt x="121" y="223"/>
                      </a:lnTo>
                      <a:lnTo>
                        <a:pt x="117" y="225"/>
                      </a:lnTo>
                      <a:lnTo>
                        <a:pt x="110" y="226"/>
                      </a:lnTo>
                      <a:lnTo>
                        <a:pt x="107" y="228"/>
                      </a:lnTo>
                      <a:lnTo>
                        <a:pt x="96" y="228"/>
                      </a:lnTo>
                      <a:lnTo>
                        <a:pt x="94" y="233"/>
                      </a:lnTo>
                      <a:lnTo>
                        <a:pt x="87" y="234"/>
                      </a:lnTo>
                      <a:lnTo>
                        <a:pt x="80" y="236"/>
                      </a:lnTo>
                      <a:lnTo>
                        <a:pt x="77" y="235"/>
                      </a:lnTo>
                      <a:lnTo>
                        <a:pt x="74" y="231"/>
                      </a:lnTo>
                      <a:lnTo>
                        <a:pt x="80" y="229"/>
                      </a:lnTo>
                      <a:lnTo>
                        <a:pt x="81" y="221"/>
                      </a:lnTo>
                      <a:lnTo>
                        <a:pt x="87" y="214"/>
                      </a:lnTo>
                      <a:lnTo>
                        <a:pt x="94" y="206"/>
                      </a:lnTo>
                      <a:lnTo>
                        <a:pt x="96" y="205"/>
                      </a:lnTo>
                      <a:lnTo>
                        <a:pt x="101" y="203"/>
                      </a:lnTo>
                      <a:lnTo>
                        <a:pt x="102" y="203"/>
                      </a:lnTo>
                      <a:lnTo>
                        <a:pt x="106" y="206"/>
                      </a:lnTo>
                      <a:lnTo>
                        <a:pt x="108" y="205"/>
                      </a:lnTo>
                      <a:lnTo>
                        <a:pt x="113" y="205"/>
                      </a:lnTo>
                      <a:lnTo>
                        <a:pt x="115" y="205"/>
                      </a:lnTo>
                      <a:lnTo>
                        <a:pt x="120" y="203"/>
                      </a:lnTo>
                      <a:lnTo>
                        <a:pt x="121" y="202"/>
                      </a:lnTo>
                      <a:lnTo>
                        <a:pt x="122" y="201"/>
                      </a:lnTo>
                      <a:lnTo>
                        <a:pt x="123" y="201"/>
                      </a:lnTo>
                      <a:lnTo>
                        <a:pt x="125" y="201"/>
                      </a:lnTo>
                      <a:lnTo>
                        <a:pt x="126" y="201"/>
                      </a:lnTo>
                      <a:lnTo>
                        <a:pt x="127" y="201"/>
                      </a:lnTo>
                      <a:lnTo>
                        <a:pt x="128" y="201"/>
                      </a:lnTo>
                      <a:lnTo>
                        <a:pt x="130" y="201"/>
                      </a:lnTo>
                      <a:lnTo>
                        <a:pt x="132" y="201"/>
                      </a:lnTo>
                      <a:lnTo>
                        <a:pt x="132" y="200"/>
                      </a:lnTo>
                      <a:lnTo>
                        <a:pt x="134" y="199"/>
                      </a:lnTo>
                      <a:lnTo>
                        <a:pt x="135" y="200"/>
                      </a:lnTo>
                      <a:lnTo>
                        <a:pt x="135" y="201"/>
                      </a:lnTo>
                      <a:lnTo>
                        <a:pt x="135" y="203"/>
                      </a:lnTo>
                      <a:lnTo>
                        <a:pt x="136" y="203"/>
                      </a:lnTo>
                      <a:lnTo>
                        <a:pt x="136" y="205"/>
                      </a:lnTo>
                      <a:lnTo>
                        <a:pt x="139" y="205"/>
                      </a:lnTo>
                      <a:lnTo>
                        <a:pt x="139" y="205"/>
                      </a:lnTo>
                      <a:lnTo>
                        <a:pt x="140" y="205"/>
                      </a:lnTo>
                      <a:lnTo>
                        <a:pt x="137" y="203"/>
                      </a:lnTo>
                      <a:lnTo>
                        <a:pt x="139" y="203"/>
                      </a:lnTo>
                      <a:lnTo>
                        <a:pt x="140" y="203"/>
                      </a:lnTo>
                      <a:lnTo>
                        <a:pt x="141" y="205"/>
                      </a:lnTo>
                      <a:lnTo>
                        <a:pt x="141" y="203"/>
                      </a:lnTo>
                      <a:lnTo>
                        <a:pt x="142" y="205"/>
                      </a:lnTo>
                      <a:lnTo>
                        <a:pt x="143" y="205"/>
                      </a:lnTo>
                      <a:lnTo>
                        <a:pt x="143" y="205"/>
                      </a:lnTo>
                      <a:lnTo>
                        <a:pt x="145" y="205"/>
                      </a:lnTo>
                      <a:lnTo>
                        <a:pt x="145" y="205"/>
                      </a:lnTo>
                      <a:lnTo>
                        <a:pt x="143" y="203"/>
                      </a:lnTo>
                      <a:lnTo>
                        <a:pt x="145" y="203"/>
                      </a:lnTo>
                      <a:lnTo>
                        <a:pt x="146" y="203"/>
                      </a:lnTo>
                      <a:lnTo>
                        <a:pt x="146" y="203"/>
                      </a:lnTo>
                      <a:lnTo>
                        <a:pt x="146" y="202"/>
                      </a:lnTo>
                      <a:lnTo>
                        <a:pt x="146" y="202"/>
                      </a:lnTo>
                      <a:lnTo>
                        <a:pt x="147" y="202"/>
                      </a:lnTo>
                      <a:lnTo>
                        <a:pt x="147" y="201"/>
                      </a:lnTo>
                      <a:lnTo>
                        <a:pt x="147" y="200"/>
                      </a:lnTo>
                      <a:lnTo>
                        <a:pt x="148" y="200"/>
                      </a:lnTo>
                      <a:lnTo>
                        <a:pt x="148" y="201"/>
                      </a:lnTo>
                      <a:lnTo>
                        <a:pt x="149" y="201"/>
                      </a:lnTo>
                      <a:lnTo>
                        <a:pt x="147" y="198"/>
                      </a:lnTo>
                      <a:lnTo>
                        <a:pt x="145" y="194"/>
                      </a:lnTo>
                      <a:lnTo>
                        <a:pt x="145" y="192"/>
                      </a:lnTo>
                      <a:lnTo>
                        <a:pt x="145" y="189"/>
                      </a:lnTo>
                      <a:lnTo>
                        <a:pt x="147" y="187"/>
                      </a:lnTo>
                      <a:lnTo>
                        <a:pt x="148" y="185"/>
                      </a:lnTo>
                      <a:lnTo>
                        <a:pt x="149" y="182"/>
                      </a:lnTo>
                      <a:lnTo>
                        <a:pt x="149" y="178"/>
                      </a:lnTo>
                      <a:lnTo>
                        <a:pt x="148" y="174"/>
                      </a:lnTo>
                      <a:lnTo>
                        <a:pt x="146" y="172"/>
                      </a:lnTo>
                      <a:lnTo>
                        <a:pt x="145" y="171"/>
                      </a:lnTo>
                      <a:lnTo>
                        <a:pt x="145" y="168"/>
                      </a:lnTo>
                      <a:lnTo>
                        <a:pt x="143" y="167"/>
                      </a:lnTo>
                      <a:lnTo>
                        <a:pt x="145" y="166"/>
                      </a:lnTo>
                      <a:lnTo>
                        <a:pt x="147" y="166"/>
                      </a:lnTo>
                      <a:lnTo>
                        <a:pt x="148" y="163"/>
                      </a:lnTo>
                      <a:lnTo>
                        <a:pt x="152" y="163"/>
                      </a:lnTo>
                      <a:lnTo>
                        <a:pt x="153" y="165"/>
                      </a:lnTo>
                      <a:lnTo>
                        <a:pt x="152" y="166"/>
                      </a:lnTo>
                      <a:lnTo>
                        <a:pt x="153" y="167"/>
                      </a:lnTo>
                      <a:lnTo>
                        <a:pt x="150" y="168"/>
                      </a:lnTo>
                      <a:lnTo>
                        <a:pt x="150" y="171"/>
                      </a:lnTo>
                      <a:lnTo>
                        <a:pt x="148" y="169"/>
                      </a:lnTo>
                      <a:lnTo>
                        <a:pt x="148" y="169"/>
                      </a:lnTo>
                      <a:lnTo>
                        <a:pt x="148" y="171"/>
                      </a:lnTo>
                      <a:lnTo>
                        <a:pt x="148" y="172"/>
                      </a:lnTo>
                      <a:lnTo>
                        <a:pt x="149" y="172"/>
                      </a:lnTo>
                      <a:lnTo>
                        <a:pt x="152" y="173"/>
                      </a:lnTo>
                      <a:lnTo>
                        <a:pt x="152" y="173"/>
                      </a:lnTo>
                      <a:lnTo>
                        <a:pt x="153" y="175"/>
                      </a:lnTo>
                      <a:lnTo>
                        <a:pt x="155" y="178"/>
                      </a:lnTo>
                      <a:lnTo>
                        <a:pt x="157" y="179"/>
                      </a:lnTo>
                      <a:lnTo>
                        <a:pt x="160" y="179"/>
                      </a:lnTo>
                      <a:lnTo>
                        <a:pt x="160" y="175"/>
                      </a:lnTo>
                      <a:lnTo>
                        <a:pt x="160" y="175"/>
                      </a:lnTo>
                      <a:lnTo>
                        <a:pt x="165" y="173"/>
                      </a:lnTo>
                      <a:lnTo>
                        <a:pt x="167" y="172"/>
                      </a:lnTo>
                      <a:lnTo>
                        <a:pt x="169" y="171"/>
                      </a:lnTo>
                      <a:lnTo>
                        <a:pt x="173" y="167"/>
                      </a:lnTo>
                      <a:lnTo>
                        <a:pt x="174" y="163"/>
                      </a:lnTo>
                      <a:lnTo>
                        <a:pt x="175" y="159"/>
                      </a:lnTo>
                      <a:lnTo>
                        <a:pt x="176" y="154"/>
                      </a:lnTo>
                      <a:lnTo>
                        <a:pt x="179" y="153"/>
                      </a:lnTo>
                      <a:lnTo>
                        <a:pt x="180" y="151"/>
                      </a:lnTo>
                      <a:lnTo>
                        <a:pt x="180" y="147"/>
                      </a:lnTo>
                      <a:lnTo>
                        <a:pt x="179" y="145"/>
                      </a:lnTo>
                      <a:lnTo>
                        <a:pt x="179" y="142"/>
                      </a:lnTo>
                      <a:lnTo>
                        <a:pt x="179" y="140"/>
                      </a:lnTo>
                      <a:lnTo>
                        <a:pt x="179" y="139"/>
                      </a:lnTo>
                      <a:lnTo>
                        <a:pt x="179" y="134"/>
                      </a:lnTo>
                      <a:lnTo>
                        <a:pt x="177" y="131"/>
                      </a:lnTo>
                      <a:lnTo>
                        <a:pt x="177" y="128"/>
                      </a:lnTo>
                      <a:lnTo>
                        <a:pt x="176" y="125"/>
                      </a:lnTo>
                      <a:lnTo>
                        <a:pt x="173" y="118"/>
                      </a:lnTo>
                      <a:lnTo>
                        <a:pt x="169" y="114"/>
                      </a:lnTo>
                      <a:lnTo>
                        <a:pt x="168" y="115"/>
                      </a:lnTo>
                      <a:lnTo>
                        <a:pt x="166" y="113"/>
                      </a:lnTo>
                      <a:lnTo>
                        <a:pt x="165" y="112"/>
                      </a:lnTo>
                      <a:lnTo>
                        <a:pt x="167" y="113"/>
                      </a:lnTo>
                      <a:lnTo>
                        <a:pt x="166" y="105"/>
                      </a:lnTo>
                      <a:lnTo>
                        <a:pt x="163" y="102"/>
                      </a:lnTo>
                      <a:lnTo>
                        <a:pt x="161" y="100"/>
                      </a:lnTo>
                      <a:lnTo>
                        <a:pt x="160" y="99"/>
                      </a:lnTo>
                      <a:lnTo>
                        <a:pt x="161" y="96"/>
                      </a:lnTo>
                      <a:lnTo>
                        <a:pt x="163" y="96"/>
                      </a:lnTo>
                      <a:lnTo>
                        <a:pt x="161" y="89"/>
                      </a:lnTo>
                      <a:lnTo>
                        <a:pt x="161" y="88"/>
                      </a:lnTo>
                      <a:lnTo>
                        <a:pt x="160" y="87"/>
                      </a:lnTo>
                      <a:lnTo>
                        <a:pt x="163" y="87"/>
                      </a:lnTo>
                      <a:lnTo>
                        <a:pt x="166" y="88"/>
                      </a:lnTo>
                      <a:lnTo>
                        <a:pt x="168" y="93"/>
                      </a:lnTo>
                      <a:lnTo>
                        <a:pt x="173" y="95"/>
                      </a:lnTo>
                      <a:lnTo>
                        <a:pt x="173" y="93"/>
                      </a:lnTo>
                      <a:lnTo>
                        <a:pt x="172" y="92"/>
                      </a:lnTo>
                      <a:lnTo>
                        <a:pt x="174" y="92"/>
                      </a:lnTo>
                      <a:lnTo>
                        <a:pt x="177" y="94"/>
                      </a:lnTo>
                      <a:lnTo>
                        <a:pt x="176" y="89"/>
                      </a:lnTo>
                      <a:lnTo>
                        <a:pt x="173" y="86"/>
                      </a:lnTo>
                      <a:lnTo>
                        <a:pt x="173" y="87"/>
                      </a:lnTo>
                      <a:lnTo>
                        <a:pt x="170" y="88"/>
                      </a:lnTo>
                      <a:lnTo>
                        <a:pt x="168" y="88"/>
                      </a:lnTo>
                      <a:lnTo>
                        <a:pt x="167" y="86"/>
                      </a:lnTo>
                      <a:lnTo>
                        <a:pt x="166" y="82"/>
                      </a:lnTo>
                      <a:lnTo>
                        <a:pt x="166" y="80"/>
                      </a:lnTo>
                      <a:lnTo>
                        <a:pt x="169" y="81"/>
                      </a:lnTo>
                      <a:lnTo>
                        <a:pt x="174" y="85"/>
                      </a:lnTo>
                      <a:lnTo>
                        <a:pt x="176" y="84"/>
                      </a:lnTo>
                      <a:lnTo>
                        <a:pt x="177" y="87"/>
                      </a:lnTo>
                      <a:lnTo>
                        <a:pt x="181" y="93"/>
                      </a:lnTo>
                      <a:lnTo>
                        <a:pt x="187" y="100"/>
                      </a:lnTo>
                      <a:lnTo>
                        <a:pt x="190" y="101"/>
                      </a:lnTo>
                      <a:lnTo>
                        <a:pt x="193" y="104"/>
                      </a:lnTo>
                      <a:lnTo>
                        <a:pt x="196" y="107"/>
                      </a:lnTo>
                      <a:lnTo>
                        <a:pt x="199" y="108"/>
                      </a:lnTo>
                      <a:lnTo>
                        <a:pt x="199" y="111"/>
                      </a:lnTo>
                      <a:lnTo>
                        <a:pt x="203" y="113"/>
                      </a:lnTo>
                      <a:lnTo>
                        <a:pt x="205" y="116"/>
                      </a:lnTo>
                      <a:lnTo>
                        <a:pt x="206" y="118"/>
                      </a:lnTo>
                      <a:lnTo>
                        <a:pt x="207" y="120"/>
                      </a:lnTo>
                      <a:lnTo>
                        <a:pt x="208" y="120"/>
                      </a:lnTo>
                      <a:lnTo>
                        <a:pt x="209" y="121"/>
                      </a:lnTo>
                      <a:lnTo>
                        <a:pt x="209" y="121"/>
                      </a:lnTo>
                      <a:lnTo>
                        <a:pt x="209" y="125"/>
                      </a:lnTo>
                      <a:lnTo>
                        <a:pt x="210" y="126"/>
                      </a:lnTo>
                      <a:lnTo>
                        <a:pt x="209" y="126"/>
                      </a:lnTo>
                      <a:lnTo>
                        <a:pt x="210" y="127"/>
                      </a:lnTo>
                      <a:lnTo>
                        <a:pt x="212" y="129"/>
                      </a:lnTo>
                      <a:lnTo>
                        <a:pt x="210" y="131"/>
                      </a:lnTo>
                      <a:lnTo>
                        <a:pt x="212" y="132"/>
                      </a:lnTo>
                      <a:lnTo>
                        <a:pt x="208" y="135"/>
                      </a:lnTo>
                      <a:lnTo>
                        <a:pt x="210" y="139"/>
                      </a:lnTo>
                      <a:lnTo>
                        <a:pt x="210" y="139"/>
                      </a:lnTo>
                      <a:lnTo>
                        <a:pt x="209" y="140"/>
                      </a:lnTo>
                      <a:lnTo>
                        <a:pt x="210" y="140"/>
                      </a:lnTo>
                      <a:lnTo>
                        <a:pt x="210" y="141"/>
                      </a:lnTo>
                      <a:lnTo>
                        <a:pt x="212" y="142"/>
                      </a:lnTo>
                      <a:lnTo>
                        <a:pt x="212" y="142"/>
                      </a:lnTo>
                      <a:lnTo>
                        <a:pt x="213" y="143"/>
                      </a:lnTo>
                      <a:lnTo>
                        <a:pt x="213" y="145"/>
                      </a:lnTo>
                      <a:lnTo>
                        <a:pt x="214" y="145"/>
                      </a:lnTo>
                      <a:lnTo>
                        <a:pt x="213" y="146"/>
                      </a:lnTo>
                      <a:lnTo>
                        <a:pt x="215" y="147"/>
                      </a:lnTo>
                      <a:lnTo>
                        <a:pt x="214" y="147"/>
                      </a:lnTo>
                      <a:lnTo>
                        <a:pt x="213" y="146"/>
                      </a:lnTo>
                      <a:lnTo>
                        <a:pt x="213" y="146"/>
                      </a:lnTo>
                      <a:lnTo>
                        <a:pt x="212" y="145"/>
                      </a:lnTo>
                      <a:lnTo>
                        <a:pt x="210" y="145"/>
                      </a:lnTo>
                      <a:lnTo>
                        <a:pt x="208" y="146"/>
                      </a:lnTo>
                      <a:lnTo>
                        <a:pt x="207" y="146"/>
                      </a:lnTo>
                      <a:lnTo>
                        <a:pt x="206" y="146"/>
                      </a:lnTo>
                      <a:lnTo>
                        <a:pt x="207" y="147"/>
                      </a:lnTo>
                      <a:lnTo>
                        <a:pt x="207" y="147"/>
                      </a:lnTo>
                      <a:lnTo>
                        <a:pt x="207" y="148"/>
                      </a:lnTo>
                      <a:lnTo>
                        <a:pt x="207" y="149"/>
                      </a:lnTo>
                      <a:lnTo>
                        <a:pt x="207" y="151"/>
                      </a:lnTo>
                      <a:lnTo>
                        <a:pt x="207" y="153"/>
                      </a:lnTo>
                      <a:lnTo>
                        <a:pt x="209" y="155"/>
                      </a:lnTo>
                      <a:lnTo>
                        <a:pt x="210" y="156"/>
                      </a:lnTo>
                      <a:lnTo>
                        <a:pt x="210" y="156"/>
                      </a:lnTo>
                      <a:lnTo>
                        <a:pt x="214" y="161"/>
                      </a:lnTo>
                      <a:lnTo>
                        <a:pt x="216" y="167"/>
                      </a:lnTo>
                      <a:lnTo>
                        <a:pt x="219" y="172"/>
                      </a:lnTo>
                      <a:lnTo>
                        <a:pt x="220" y="175"/>
                      </a:lnTo>
                      <a:lnTo>
                        <a:pt x="219" y="175"/>
                      </a:lnTo>
                      <a:lnTo>
                        <a:pt x="219" y="178"/>
                      </a:lnTo>
                      <a:lnTo>
                        <a:pt x="219" y="181"/>
                      </a:lnTo>
                      <a:lnTo>
                        <a:pt x="219" y="185"/>
                      </a:lnTo>
                      <a:lnTo>
                        <a:pt x="220" y="187"/>
                      </a:lnTo>
                      <a:lnTo>
                        <a:pt x="223" y="193"/>
                      </a:lnTo>
                      <a:lnTo>
                        <a:pt x="226" y="196"/>
                      </a:lnTo>
                      <a:lnTo>
                        <a:pt x="226" y="196"/>
                      </a:lnTo>
                      <a:lnTo>
                        <a:pt x="232" y="200"/>
                      </a:lnTo>
                      <a:lnTo>
                        <a:pt x="228" y="201"/>
                      </a:lnTo>
                      <a:lnTo>
                        <a:pt x="226" y="207"/>
                      </a:lnTo>
                      <a:lnTo>
                        <a:pt x="228" y="209"/>
                      </a:lnTo>
                      <a:lnTo>
                        <a:pt x="227" y="212"/>
                      </a:lnTo>
                      <a:lnTo>
                        <a:pt x="227" y="213"/>
                      </a:lnTo>
                      <a:lnTo>
                        <a:pt x="225" y="213"/>
                      </a:lnTo>
                      <a:lnTo>
                        <a:pt x="223" y="215"/>
                      </a:lnTo>
                      <a:lnTo>
                        <a:pt x="221" y="218"/>
                      </a:lnTo>
                      <a:lnTo>
                        <a:pt x="221" y="215"/>
                      </a:lnTo>
                      <a:lnTo>
                        <a:pt x="220" y="214"/>
                      </a:lnTo>
                      <a:lnTo>
                        <a:pt x="219" y="213"/>
                      </a:lnTo>
                      <a:lnTo>
                        <a:pt x="219" y="211"/>
                      </a:lnTo>
                      <a:lnTo>
                        <a:pt x="217" y="208"/>
                      </a:lnTo>
                      <a:lnTo>
                        <a:pt x="217" y="207"/>
                      </a:lnTo>
                      <a:lnTo>
                        <a:pt x="219" y="206"/>
                      </a:lnTo>
                      <a:lnTo>
                        <a:pt x="219" y="206"/>
                      </a:lnTo>
                      <a:lnTo>
                        <a:pt x="219" y="205"/>
                      </a:lnTo>
                      <a:lnTo>
                        <a:pt x="220" y="205"/>
                      </a:lnTo>
                      <a:lnTo>
                        <a:pt x="220" y="202"/>
                      </a:lnTo>
                      <a:lnTo>
                        <a:pt x="216" y="201"/>
                      </a:lnTo>
                      <a:lnTo>
                        <a:pt x="216" y="201"/>
                      </a:lnTo>
                      <a:lnTo>
                        <a:pt x="216" y="202"/>
                      </a:lnTo>
                      <a:lnTo>
                        <a:pt x="215" y="201"/>
                      </a:lnTo>
                      <a:lnTo>
                        <a:pt x="214" y="201"/>
                      </a:lnTo>
                      <a:lnTo>
                        <a:pt x="214" y="202"/>
                      </a:lnTo>
                      <a:lnTo>
                        <a:pt x="213" y="202"/>
                      </a:lnTo>
                      <a:lnTo>
                        <a:pt x="213" y="201"/>
                      </a:lnTo>
                      <a:lnTo>
                        <a:pt x="213" y="202"/>
                      </a:lnTo>
                      <a:lnTo>
                        <a:pt x="215" y="205"/>
                      </a:lnTo>
                      <a:lnTo>
                        <a:pt x="214" y="205"/>
                      </a:lnTo>
                      <a:lnTo>
                        <a:pt x="213" y="206"/>
                      </a:lnTo>
                      <a:lnTo>
                        <a:pt x="214" y="206"/>
                      </a:lnTo>
                      <a:lnTo>
                        <a:pt x="213" y="207"/>
                      </a:lnTo>
                      <a:lnTo>
                        <a:pt x="214" y="207"/>
                      </a:lnTo>
                      <a:lnTo>
                        <a:pt x="214" y="208"/>
                      </a:lnTo>
                      <a:lnTo>
                        <a:pt x="215" y="209"/>
                      </a:lnTo>
                      <a:lnTo>
                        <a:pt x="216" y="209"/>
                      </a:lnTo>
                      <a:lnTo>
                        <a:pt x="215" y="211"/>
                      </a:lnTo>
                      <a:lnTo>
                        <a:pt x="216" y="212"/>
                      </a:lnTo>
                      <a:lnTo>
                        <a:pt x="215" y="212"/>
                      </a:lnTo>
                      <a:lnTo>
                        <a:pt x="215" y="211"/>
                      </a:lnTo>
                      <a:lnTo>
                        <a:pt x="214" y="209"/>
                      </a:lnTo>
                      <a:lnTo>
                        <a:pt x="210" y="208"/>
                      </a:lnTo>
                      <a:lnTo>
                        <a:pt x="207" y="212"/>
                      </a:lnTo>
                      <a:lnTo>
                        <a:pt x="207" y="213"/>
                      </a:lnTo>
                      <a:lnTo>
                        <a:pt x="207" y="214"/>
                      </a:lnTo>
                      <a:lnTo>
                        <a:pt x="209" y="216"/>
                      </a:lnTo>
                      <a:lnTo>
                        <a:pt x="209" y="219"/>
                      </a:lnTo>
                      <a:lnTo>
                        <a:pt x="209" y="221"/>
                      </a:lnTo>
                      <a:lnTo>
                        <a:pt x="208" y="222"/>
                      </a:lnTo>
                      <a:lnTo>
                        <a:pt x="208" y="222"/>
                      </a:lnTo>
                      <a:lnTo>
                        <a:pt x="206" y="222"/>
                      </a:lnTo>
                      <a:lnTo>
                        <a:pt x="205" y="220"/>
                      </a:lnTo>
                      <a:lnTo>
                        <a:pt x="203" y="219"/>
                      </a:lnTo>
                      <a:lnTo>
                        <a:pt x="203" y="216"/>
                      </a:lnTo>
                      <a:lnTo>
                        <a:pt x="202" y="214"/>
                      </a:lnTo>
                      <a:lnTo>
                        <a:pt x="205" y="215"/>
                      </a:lnTo>
                      <a:lnTo>
                        <a:pt x="203" y="214"/>
                      </a:lnTo>
                      <a:lnTo>
                        <a:pt x="199" y="213"/>
                      </a:lnTo>
                      <a:lnTo>
                        <a:pt x="197" y="215"/>
                      </a:lnTo>
                      <a:lnTo>
                        <a:pt x="197" y="215"/>
                      </a:lnTo>
                      <a:lnTo>
                        <a:pt x="196" y="218"/>
                      </a:lnTo>
                      <a:lnTo>
                        <a:pt x="195" y="221"/>
                      </a:lnTo>
                      <a:lnTo>
                        <a:pt x="196" y="223"/>
                      </a:lnTo>
                      <a:lnTo>
                        <a:pt x="190" y="222"/>
                      </a:lnTo>
                      <a:lnTo>
                        <a:pt x="189" y="222"/>
                      </a:lnTo>
                      <a:lnTo>
                        <a:pt x="188" y="222"/>
                      </a:lnTo>
                      <a:lnTo>
                        <a:pt x="185" y="221"/>
                      </a:lnTo>
                      <a:lnTo>
                        <a:pt x="179" y="223"/>
                      </a:lnTo>
                      <a:lnTo>
                        <a:pt x="176" y="222"/>
                      </a:lnTo>
                      <a:lnTo>
                        <a:pt x="177" y="222"/>
                      </a:lnTo>
                      <a:lnTo>
                        <a:pt x="179" y="221"/>
                      </a:lnTo>
                      <a:lnTo>
                        <a:pt x="180" y="221"/>
                      </a:lnTo>
                      <a:lnTo>
                        <a:pt x="180" y="220"/>
                      </a:lnTo>
                      <a:lnTo>
                        <a:pt x="179" y="219"/>
                      </a:lnTo>
                      <a:lnTo>
                        <a:pt x="177" y="219"/>
                      </a:lnTo>
                      <a:lnTo>
                        <a:pt x="176" y="220"/>
                      </a:lnTo>
                      <a:lnTo>
                        <a:pt x="175" y="220"/>
                      </a:lnTo>
                      <a:lnTo>
                        <a:pt x="173" y="219"/>
                      </a:lnTo>
                      <a:lnTo>
                        <a:pt x="172" y="216"/>
                      </a:lnTo>
                      <a:lnTo>
                        <a:pt x="173" y="219"/>
                      </a:lnTo>
                      <a:lnTo>
                        <a:pt x="174" y="221"/>
                      </a:lnTo>
                      <a:lnTo>
                        <a:pt x="172" y="220"/>
                      </a:lnTo>
                      <a:lnTo>
                        <a:pt x="169" y="215"/>
                      </a:lnTo>
                      <a:lnTo>
                        <a:pt x="169" y="214"/>
                      </a:lnTo>
                      <a:lnTo>
                        <a:pt x="169" y="213"/>
                      </a:lnTo>
                      <a:lnTo>
                        <a:pt x="168" y="214"/>
                      </a:lnTo>
                      <a:lnTo>
                        <a:pt x="168" y="214"/>
                      </a:lnTo>
                      <a:lnTo>
                        <a:pt x="167" y="214"/>
                      </a:lnTo>
                      <a:lnTo>
                        <a:pt x="167" y="215"/>
                      </a:lnTo>
                      <a:lnTo>
                        <a:pt x="166" y="215"/>
                      </a:lnTo>
                      <a:lnTo>
                        <a:pt x="166" y="216"/>
                      </a:lnTo>
                      <a:lnTo>
                        <a:pt x="166" y="220"/>
                      </a:lnTo>
                      <a:lnTo>
                        <a:pt x="167" y="222"/>
                      </a:lnTo>
                      <a:lnTo>
                        <a:pt x="168" y="223"/>
                      </a:lnTo>
                      <a:lnTo>
                        <a:pt x="170" y="225"/>
                      </a:lnTo>
                      <a:lnTo>
                        <a:pt x="172" y="225"/>
                      </a:lnTo>
                      <a:lnTo>
                        <a:pt x="172" y="226"/>
                      </a:lnTo>
                      <a:lnTo>
                        <a:pt x="174" y="226"/>
                      </a:lnTo>
                      <a:lnTo>
                        <a:pt x="174" y="226"/>
                      </a:lnTo>
                      <a:lnTo>
                        <a:pt x="175" y="226"/>
                      </a:lnTo>
                      <a:lnTo>
                        <a:pt x="175" y="227"/>
                      </a:lnTo>
                      <a:lnTo>
                        <a:pt x="176" y="228"/>
                      </a:lnTo>
                      <a:lnTo>
                        <a:pt x="175" y="228"/>
                      </a:lnTo>
                      <a:lnTo>
                        <a:pt x="175" y="228"/>
                      </a:lnTo>
                      <a:lnTo>
                        <a:pt x="176" y="229"/>
                      </a:lnTo>
                      <a:lnTo>
                        <a:pt x="176" y="231"/>
                      </a:lnTo>
                      <a:lnTo>
                        <a:pt x="174" y="231"/>
                      </a:lnTo>
                      <a:lnTo>
                        <a:pt x="176" y="231"/>
                      </a:lnTo>
                      <a:lnTo>
                        <a:pt x="176" y="229"/>
                      </a:lnTo>
                      <a:lnTo>
                        <a:pt x="175" y="229"/>
                      </a:lnTo>
                      <a:lnTo>
                        <a:pt x="175" y="229"/>
                      </a:lnTo>
                      <a:lnTo>
                        <a:pt x="174" y="229"/>
                      </a:lnTo>
                      <a:lnTo>
                        <a:pt x="174" y="229"/>
                      </a:lnTo>
                      <a:lnTo>
                        <a:pt x="173" y="229"/>
                      </a:lnTo>
                      <a:lnTo>
                        <a:pt x="173" y="229"/>
                      </a:lnTo>
                      <a:lnTo>
                        <a:pt x="173" y="229"/>
                      </a:lnTo>
                      <a:lnTo>
                        <a:pt x="173" y="229"/>
                      </a:lnTo>
                      <a:lnTo>
                        <a:pt x="172" y="231"/>
                      </a:lnTo>
                      <a:lnTo>
                        <a:pt x="172" y="231"/>
                      </a:lnTo>
                      <a:lnTo>
                        <a:pt x="170" y="231"/>
                      </a:lnTo>
                      <a:lnTo>
                        <a:pt x="170" y="231"/>
                      </a:lnTo>
                      <a:lnTo>
                        <a:pt x="169" y="232"/>
                      </a:lnTo>
                      <a:lnTo>
                        <a:pt x="168" y="232"/>
                      </a:lnTo>
                      <a:lnTo>
                        <a:pt x="168" y="232"/>
                      </a:lnTo>
                      <a:lnTo>
                        <a:pt x="168" y="233"/>
                      </a:lnTo>
                      <a:lnTo>
                        <a:pt x="168" y="234"/>
                      </a:lnTo>
                      <a:lnTo>
                        <a:pt x="167" y="233"/>
                      </a:lnTo>
                      <a:lnTo>
                        <a:pt x="167" y="234"/>
                      </a:lnTo>
                      <a:lnTo>
                        <a:pt x="168" y="235"/>
                      </a:lnTo>
                      <a:lnTo>
                        <a:pt x="168" y="236"/>
                      </a:lnTo>
                      <a:lnTo>
                        <a:pt x="167" y="236"/>
                      </a:lnTo>
                      <a:lnTo>
                        <a:pt x="168" y="236"/>
                      </a:lnTo>
                      <a:lnTo>
                        <a:pt x="168" y="238"/>
                      </a:lnTo>
                      <a:lnTo>
                        <a:pt x="167" y="238"/>
                      </a:lnTo>
                      <a:lnTo>
                        <a:pt x="167" y="241"/>
                      </a:lnTo>
                      <a:lnTo>
                        <a:pt x="167" y="243"/>
                      </a:lnTo>
                      <a:lnTo>
                        <a:pt x="166" y="243"/>
                      </a:lnTo>
                      <a:lnTo>
                        <a:pt x="167" y="245"/>
                      </a:lnTo>
                      <a:lnTo>
                        <a:pt x="166" y="245"/>
                      </a:lnTo>
                      <a:lnTo>
                        <a:pt x="165" y="247"/>
                      </a:lnTo>
                      <a:lnTo>
                        <a:pt x="165" y="247"/>
                      </a:lnTo>
                      <a:lnTo>
                        <a:pt x="165" y="247"/>
                      </a:lnTo>
                      <a:close/>
                      <a:moveTo>
                        <a:pt x="100" y="241"/>
                      </a:moveTo>
                      <a:lnTo>
                        <a:pt x="100" y="241"/>
                      </a:lnTo>
                      <a:lnTo>
                        <a:pt x="100" y="241"/>
                      </a:lnTo>
                      <a:lnTo>
                        <a:pt x="100" y="241"/>
                      </a:lnTo>
                      <a:lnTo>
                        <a:pt x="100" y="241"/>
                      </a:lnTo>
                      <a:lnTo>
                        <a:pt x="100" y="241"/>
                      </a:lnTo>
                      <a:lnTo>
                        <a:pt x="100" y="241"/>
                      </a:lnTo>
                      <a:close/>
                      <a:moveTo>
                        <a:pt x="101" y="240"/>
                      </a:moveTo>
                      <a:lnTo>
                        <a:pt x="101" y="240"/>
                      </a:lnTo>
                      <a:lnTo>
                        <a:pt x="100" y="240"/>
                      </a:lnTo>
                      <a:lnTo>
                        <a:pt x="100" y="240"/>
                      </a:lnTo>
                      <a:lnTo>
                        <a:pt x="100" y="240"/>
                      </a:lnTo>
                      <a:lnTo>
                        <a:pt x="100" y="240"/>
                      </a:lnTo>
                      <a:lnTo>
                        <a:pt x="100" y="240"/>
                      </a:lnTo>
                      <a:lnTo>
                        <a:pt x="101" y="240"/>
                      </a:lnTo>
                      <a:lnTo>
                        <a:pt x="101" y="240"/>
                      </a:lnTo>
                      <a:lnTo>
                        <a:pt x="101" y="240"/>
                      </a:lnTo>
                      <a:lnTo>
                        <a:pt x="101" y="240"/>
                      </a:lnTo>
                      <a:close/>
                      <a:moveTo>
                        <a:pt x="97" y="240"/>
                      </a:moveTo>
                      <a:lnTo>
                        <a:pt x="97" y="240"/>
                      </a:lnTo>
                      <a:lnTo>
                        <a:pt x="97" y="240"/>
                      </a:lnTo>
                      <a:lnTo>
                        <a:pt x="97" y="240"/>
                      </a:lnTo>
                      <a:lnTo>
                        <a:pt x="97" y="239"/>
                      </a:lnTo>
                      <a:lnTo>
                        <a:pt x="97" y="239"/>
                      </a:lnTo>
                      <a:lnTo>
                        <a:pt x="97" y="239"/>
                      </a:lnTo>
                      <a:lnTo>
                        <a:pt x="97" y="239"/>
                      </a:lnTo>
                      <a:lnTo>
                        <a:pt x="99" y="239"/>
                      </a:lnTo>
                      <a:lnTo>
                        <a:pt x="97" y="239"/>
                      </a:lnTo>
                      <a:lnTo>
                        <a:pt x="97" y="240"/>
                      </a:lnTo>
                      <a:lnTo>
                        <a:pt x="97" y="240"/>
                      </a:lnTo>
                      <a:lnTo>
                        <a:pt x="97" y="240"/>
                      </a:lnTo>
                      <a:lnTo>
                        <a:pt x="97" y="240"/>
                      </a:lnTo>
                      <a:close/>
                      <a:moveTo>
                        <a:pt x="96" y="240"/>
                      </a:moveTo>
                      <a:lnTo>
                        <a:pt x="96" y="240"/>
                      </a:lnTo>
                      <a:lnTo>
                        <a:pt x="96" y="240"/>
                      </a:lnTo>
                      <a:lnTo>
                        <a:pt x="96" y="240"/>
                      </a:lnTo>
                      <a:lnTo>
                        <a:pt x="96" y="240"/>
                      </a:lnTo>
                      <a:close/>
                      <a:moveTo>
                        <a:pt x="103" y="240"/>
                      </a:moveTo>
                      <a:lnTo>
                        <a:pt x="103" y="240"/>
                      </a:lnTo>
                      <a:lnTo>
                        <a:pt x="103" y="240"/>
                      </a:lnTo>
                      <a:lnTo>
                        <a:pt x="103" y="240"/>
                      </a:lnTo>
                      <a:lnTo>
                        <a:pt x="103" y="240"/>
                      </a:lnTo>
                      <a:close/>
                      <a:moveTo>
                        <a:pt x="101" y="240"/>
                      </a:moveTo>
                      <a:lnTo>
                        <a:pt x="101" y="240"/>
                      </a:lnTo>
                      <a:lnTo>
                        <a:pt x="101" y="240"/>
                      </a:lnTo>
                      <a:lnTo>
                        <a:pt x="101" y="240"/>
                      </a:lnTo>
                      <a:lnTo>
                        <a:pt x="101" y="240"/>
                      </a:lnTo>
                      <a:close/>
                      <a:moveTo>
                        <a:pt x="102" y="239"/>
                      </a:moveTo>
                      <a:lnTo>
                        <a:pt x="102" y="239"/>
                      </a:lnTo>
                      <a:lnTo>
                        <a:pt x="102" y="239"/>
                      </a:lnTo>
                      <a:lnTo>
                        <a:pt x="102" y="239"/>
                      </a:lnTo>
                      <a:lnTo>
                        <a:pt x="102" y="239"/>
                      </a:lnTo>
                      <a:close/>
                      <a:moveTo>
                        <a:pt x="106" y="239"/>
                      </a:moveTo>
                      <a:lnTo>
                        <a:pt x="106" y="239"/>
                      </a:lnTo>
                      <a:lnTo>
                        <a:pt x="106" y="239"/>
                      </a:lnTo>
                      <a:lnTo>
                        <a:pt x="106" y="239"/>
                      </a:lnTo>
                      <a:lnTo>
                        <a:pt x="106" y="239"/>
                      </a:lnTo>
                      <a:close/>
                      <a:moveTo>
                        <a:pt x="228" y="239"/>
                      </a:moveTo>
                      <a:lnTo>
                        <a:pt x="227" y="239"/>
                      </a:lnTo>
                      <a:lnTo>
                        <a:pt x="227" y="238"/>
                      </a:lnTo>
                      <a:lnTo>
                        <a:pt x="228" y="238"/>
                      </a:lnTo>
                      <a:lnTo>
                        <a:pt x="228" y="239"/>
                      </a:lnTo>
                      <a:lnTo>
                        <a:pt x="228" y="239"/>
                      </a:lnTo>
                      <a:close/>
                      <a:moveTo>
                        <a:pt x="96" y="239"/>
                      </a:moveTo>
                      <a:lnTo>
                        <a:pt x="96" y="239"/>
                      </a:lnTo>
                      <a:lnTo>
                        <a:pt x="96" y="239"/>
                      </a:lnTo>
                      <a:lnTo>
                        <a:pt x="96" y="239"/>
                      </a:lnTo>
                      <a:lnTo>
                        <a:pt x="96" y="239"/>
                      </a:lnTo>
                      <a:close/>
                      <a:moveTo>
                        <a:pt x="102" y="239"/>
                      </a:moveTo>
                      <a:lnTo>
                        <a:pt x="101" y="239"/>
                      </a:lnTo>
                      <a:lnTo>
                        <a:pt x="101" y="238"/>
                      </a:lnTo>
                      <a:lnTo>
                        <a:pt x="101" y="238"/>
                      </a:lnTo>
                      <a:lnTo>
                        <a:pt x="101" y="238"/>
                      </a:lnTo>
                      <a:lnTo>
                        <a:pt x="101" y="238"/>
                      </a:lnTo>
                      <a:lnTo>
                        <a:pt x="101" y="238"/>
                      </a:lnTo>
                      <a:lnTo>
                        <a:pt x="101" y="239"/>
                      </a:lnTo>
                      <a:lnTo>
                        <a:pt x="100" y="239"/>
                      </a:lnTo>
                      <a:lnTo>
                        <a:pt x="100" y="239"/>
                      </a:lnTo>
                      <a:lnTo>
                        <a:pt x="100" y="239"/>
                      </a:lnTo>
                      <a:lnTo>
                        <a:pt x="100" y="238"/>
                      </a:lnTo>
                      <a:lnTo>
                        <a:pt x="99" y="238"/>
                      </a:lnTo>
                      <a:lnTo>
                        <a:pt x="99" y="238"/>
                      </a:lnTo>
                      <a:lnTo>
                        <a:pt x="99" y="238"/>
                      </a:lnTo>
                      <a:lnTo>
                        <a:pt x="99" y="236"/>
                      </a:lnTo>
                      <a:lnTo>
                        <a:pt x="99" y="236"/>
                      </a:lnTo>
                      <a:lnTo>
                        <a:pt x="99" y="236"/>
                      </a:lnTo>
                      <a:lnTo>
                        <a:pt x="100" y="236"/>
                      </a:lnTo>
                      <a:lnTo>
                        <a:pt x="100" y="236"/>
                      </a:lnTo>
                      <a:lnTo>
                        <a:pt x="100" y="238"/>
                      </a:lnTo>
                      <a:lnTo>
                        <a:pt x="101" y="238"/>
                      </a:lnTo>
                      <a:lnTo>
                        <a:pt x="101" y="238"/>
                      </a:lnTo>
                      <a:lnTo>
                        <a:pt x="101" y="238"/>
                      </a:lnTo>
                      <a:lnTo>
                        <a:pt x="101" y="238"/>
                      </a:lnTo>
                      <a:lnTo>
                        <a:pt x="102" y="238"/>
                      </a:lnTo>
                      <a:lnTo>
                        <a:pt x="102" y="238"/>
                      </a:lnTo>
                      <a:lnTo>
                        <a:pt x="102" y="236"/>
                      </a:lnTo>
                      <a:lnTo>
                        <a:pt x="102" y="236"/>
                      </a:lnTo>
                      <a:lnTo>
                        <a:pt x="103" y="236"/>
                      </a:lnTo>
                      <a:lnTo>
                        <a:pt x="103" y="236"/>
                      </a:lnTo>
                      <a:lnTo>
                        <a:pt x="103" y="236"/>
                      </a:lnTo>
                      <a:lnTo>
                        <a:pt x="103" y="238"/>
                      </a:lnTo>
                      <a:lnTo>
                        <a:pt x="102" y="238"/>
                      </a:lnTo>
                      <a:lnTo>
                        <a:pt x="102" y="238"/>
                      </a:lnTo>
                      <a:lnTo>
                        <a:pt x="102" y="238"/>
                      </a:lnTo>
                      <a:lnTo>
                        <a:pt x="102" y="238"/>
                      </a:lnTo>
                      <a:lnTo>
                        <a:pt x="102" y="239"/>
                      </a:lnTo>
                      <a:lnTo>
                        <a:pt x="102" y="239"/>
                      </a:lnTo>
                      <a:lnTo>
                        <a:pt x="102" y="239"/>
                      </a:lnTo>
                      <a:lnTo>
                        <a:pt x="102" y="239"/>
                      </a:lnTo>
                      <a:lnTo>
                        <a:pt x="102" y="239"/>
                      </a:lnTo>
                      <a:close/>
                      <a:moveTo>
                        <a:pt x="97" y="239"/>
                      </a:moveTo>
                      <a:lnTo>
                        <a:pt x="97" y="239"/>
                      </a:lnTo>
                      <a:lnTo>
                        <a:pt x="97" y="239"/>
                      </a:lnTo>
                      <a:lnTo>
                        <a:pt x="97" y="239"/>
                      </a:lnTo>
                      <a:lnTo>
                        <a:pt x="97" y="239"/>
                      </a:lnTo>
                      <a:close/>
                      <a:moveTo>
                        <a:pt x="96" y="238"/>
                      </a:moveTo>
                      <a:lnTo>
                        <a:pt x="96" y="238"/>
                      </a:lnTo>
                      <a:lnTo>
                        <a:pt x="96" y="238"/>
                      </a:lnTo>
                      <a:lnTo>
                        <a:pt x="96" y="238"/>
                      </a:lnTo>
                      <a:lnTo>
                        <a:pt x="96" y="238"/>
                      </a:lnTo>
                      <a:close/>
                      <a:moveTo>
                        <a:pt x="103" y="238"/>
                      </a:moveTo>
                      <a:lnTo>
                        <a:pt x="103" y="238"/>
                      </a:lnTo>
                      <a:lnTo>
                        <a:pt x="103" y="238"/>
                      </a:lnTo>
                      <a:lnTo>
                        <a:pt x="103" y="238"/>
                      </a:lnTo>
                      <a:lnTo>
                        <a:pt x="103" y="238"/>
                      </a:lnTo>
                      <a:close/>
                      <a:moveTo>
                        <a:pt x="105" y="238"/>
                      </a:moveTo>
                      <a:lnTo>
                        <a:pt x="105" y="238"/>
                      </a:lnTo>
                      <a:lnTo>
                        <a:pt x="105" y="238"/>
                      </a:lnTo>
                      <a:lnTo>
                        <a:pt x="105" y="238"/>
                      </a:lnTo>
                      <a:lnTo>
                        <a:pt x="105" y="238"/>
                      </a:lnTo>
                      <a:close/>
                      <a:moveTo>
                        <a:pt x="90" y="238"/>
                      </a:moveTo>
                      <a:lnTo>
                        <a:pt x="90" y="238"/>
                      </a:lnTo>
                      <a:lnTo>
                        <a:pt x="90" y="238"/>
                      </a:lnTo>
                      <a:lnTo>
                        <a:pt x="90" y="238"/>
                      </a:lnTo>
                      <a:lnTo>
                        <a:pt x="90" y="238"/>
                      </a:lnTo>
                      <a:close/>
                      <a:moveTo>
                        <a:pt x="99" y="236"/>
                      </a:moveTo>
                      <a:lnTo>
                        <a:pt x="99" y="236"/>
                      </a:lnTo>
                      <a:lnTo>
                        <a:pt x="99" y="236"/>
                      </a:lnTo>
                      <a:lnTo>
                        <a:pt x="99" y="236"/>
                      </a:lnTo>
                      <a:lnTo>
                        <a:pt x="99" y="236"/>
                      </a:lnTo>
                      <a:close/>
                      <a:moveTo>
                        <a:pt x="101" y="236"/>
                      </a:moveTo>
                      <a:lnTo>
                        <a:pt x="101" y="236"/>
                      </a:lnTo>
                      <a:lnTo>
                        <a:pt x="101" y="236"/>
                      </a:lnTo>
                      <a:lnTo>
                        <a:pt x="101" y="236"/>
                      </a:lnTo>
                      <a:lnTo>
                        <a:pt x="101" y="236"/>
                      </a:lnTo>
                      <a:close/>
                      <a:moveTo>
                        <a:pt x="103" y="236"/>
                      </a:moveTo>
                      <a:lnTo>
                        <a:pt x="103" y="236"/>
                      </a:lnTo>
                      <a:lnTo>
                        <a:pt x="103" y="236"/>
                      </a:lnTo>
                      <a:lnTo>
                        <a:pt x="103" y="236"/>
                      </a:lnTo>
                      <a:lnTo>
                        <a:pt x="103" y="236"/>
                      </a:lnTo>
                      <a:close/>
                      <a:moveTo>
                        <a:pt x="75" y="236"/>
                      </a:moveTo>
                      <a:lnTo>
                        <a:pt x="75" y="236"/>
                      </a:lnTo>
                      <a:lnTo>
                        <a:pt x="75" y="236"/>
                      </a:lnTo>
                      <a:lnTo>
                        <a:pt x="75" y="236"/>
                      </a:lnTo>
                      <a:lnTo>
                        <a:pt x="75" y="236"/>
                      </a:lnTo>
                      <a:close/>
                      <a:moveTo>
                        <a:pt x="101" y="236"/>
                      </a:moveTo>
                      <a:lnTo>
                        <a:pt x="101" y="236"/>
                      </a:lnTo>
                      <a:lnTo>
                        <a:pt x="101" y="236"/>
                      </a:lnTo>
                      <a:lnTo>
                        <a:pt x="101" y="236"/>
                      </a:lnTo>
                      <a:lnTo>
                        <a:pt x="101" y="236"/>
                      </a:lnTo>
                      <a:close/>
                      <a:moveTo>
                        <a:pt x="93" y="238"/>
                      </a:moveTo>
                      <a:lnTo>
                        <a:pt x="92" y="236"/>
                      </a:lnTo>
                      <a:lnTo>
                        <a:pt x="92" y="236"/>
                      </a:lnTo>
                      <a:lnTo>
                        <a:pt x="93" y="236"/>
                      </a:lnTo>
                      <a:lnTo>
                        <a:pt x="93" y="236"/>
                      </a:lnTo>
                      <a:lnTo>
                        <a:pt x="93" y="236"/>
                      </a:lnTo>
                      <a:lnTo>
                        <a:pt x="93" y="236"/>
                      </a:lnTo>
                      <a:lnTo>
                        <a:pt x="93" y="236"/>
                      </a:lnTo>
                      <a:lnTo>
                        <a:pt x="93" y="236"/>
                      </a:lnTo>
                      <a:lnTo>
                        <a:pt x="93" y="236"/>
                      </a:lnTo>
                      <a:lnTo>
                        <a:pt x="93" y="236"/>
                      </a:lnTo>
                      <a:lnTo>
                        <a:pt x="93" y="238"/>
                      </a:lnTo>
                      <a:lnTo>
                        <a:pt x="93" y="238"/>
                      </a:lnTo>
                      <a:close/>
                      <a:moveTo>
                        <a:pt x="103" y="236"/>
                      </a:moveTo>
                      <a:lnTo>
                        <a:pt x="103" y="236"/>
                      </a:lnTo>
                      <a:lnTo>
                        <a:pt x="103" y="236"/>
                      </a:lnTo>
                      <a:lnTo>
                        <a:pt x="103" y="236"/>
                      </a:lnTo>
                      <a:lnTo>
                        <a:pt x="103" y="236"/>
                      </a:lnTo>
                      <a:lnTo>
                        <a:pt x="103" y="236"/>
                      </a:lnTo>
                      <a:close/>
                      <a:moveTo>
                        <a:pt x="105" y="236"/>
                      </a:moveTo>
                      <a:lnTo>
                        <a:pt x="105" y="236"/>
                      </a:lnTo>
                      <a:lnTo>
                        <a:pt x="105" y="236"/>
                      </a:lnTo>
                      <a:lnTo>
                        <a:pt x="105" y="236"/>
                      </a:lnTo>
                      <a:lnTo>
                        <a:pt x="105" y="236"/>
                      </a:lnTo>
                      <a:lnTo>
                        <a:pt x="105" y="236"/>
                      </a:lnTo>
                      <a:lnTo>
                        <a:pt x="105" y="236"/>
                      </a:lnTo>
                      <a:close/>
                      <a:moveTo>
                        <a:pt x="101" y="236"/>
                      </a:moveTo>
                      <a:lnTo>
                        <a:pt x="101" y="235"/>
                      </a:lnTo>
                      <a:lnTo>
                        <a:pt x="101" y="235"/>
                      </a:lnTo>
                      <a:lnTo>
                        <a:pt x="101" y="236"/>
                      </a:lnTo>
                      <a:lnTo>
                        <a:pt x="101" y="236"/>
                      </a:lnTo>
                      <a:close/>
                      <a:moveTo>
                        <a:pt x="148" y="235"/>
                      </a:moveTo>
                      <a:lnTo>
                        <a:pt x="148" y="235"/>
                      </a:lnTo>
                      <a:lnTo>
                        <a:pt x="148" y="235"/>
                      </a:lnTo>
                      <a:lnTo>
                        <a:pt x="148" y="235"/>
                      </a:lnTo>
                      <a:lnTo>
                        <a:pt x="148" y="235"/>
                      </a:lnTo>
                      <a:close/>
                      <a:moveTo>
                        <a:pt x="74" y="235"/>
                      </a:moveTo>
                      <a:lnTo>
                        <a:pt x="74" y="236"/>
                      </a:lnTo>
                      <a:lnTo>
                        <a:pt x="74" y="235"/>
                      </a:lnTo>
                      <a:lnTo>
                        <a:pt x="74" y="235"/>
                      </a:lnTo>
                      <a:lnTo>
                        <a:pt x="74" y="235"/>
                      </a:lnTo>
                      <a:close/>
                      <a:moveTo>
                        <a:pt x="100" y="235"/>
                      </a:moveTo>
                      <a:lnTo>
                        <a:pt x="100" y="236"/>
                      </a:lnTo>
                      <a:lnTo>
                        <a:pt x="100" y="235"/>
                      </a:lnTo>
                      <a:lnTo>
                        <a:pt x="100" y="235"/>
                      </a:lnTo>
                      <a:lnTo>
                        <a:pt x="100" y="235"/>
                      </a:lnTo>
                      <a:close/>
                      <a:moveTo>
                        <a:pt x="102" y="235"/>
                      </a:moveTo>
                      <a:lnTo>
                        <a:pt x="101" y="235"/>
                      </a:lnTo>
                      <a:lnTo>
                        <a:pt x="102" y="235"/>
                      </a:lnTo>
                      <a:lnTo>
                        <a:pt x="102" y="235"/>
                      </a:lnTo>
                      <a:lnTo>
                        <a:pt x="102" y="235"/>
                      </a:lnTo>
                      <a:close/>
                      <a:moveTo>
                        <a:pt x="90" y="236"/>
                      </a:moveTo>
                      <a:lnTo>
                        <a:pt x="89" y="236"/>
                      </a:lnTo>
                      <a:lnTo>
                        <a:pt x="89" y="235"/>
                      </a:lnTo>
                      <a:lnTo>
                        <a:pt x="89" y="235"/>
                      </a:lnTo>
                      <a:lnTo>
                        <a:pt x="89" y="235"/>
                      </a:lnTo>
                      <a:lnTo>
                        <a:pt x="90" y="236"/>
                      </a:lnTo>
                      <a:lnTo>
                        <a:pt x="90" y="236"/>
                      </a:lnTo>
                      <a:lnTo>
                        <a:pt x="90" y="236"/>
                      </a:lnTo>
                      <a:close/>
                      <a:moveTo>
                        <a:pt x="101" y="235"/>
                      </a:moveTo>
                      <a:lnTo>
                        <a:pt x="101" y="235"/>
                      </a:lnTo>
                      <a:lnTo>
                        <a:pt x="101" y="235"/>
                      </a:lnTo>
                      <a:lnTo>
                        <a:pt x="101" y="235"/>
                      </a:lnTo>
                      <a:lnTo>
                        <a:pt x="101" y="235"/>
                      </a:lnTo>
                      <a:close/>
                      <a:moveTo>
                        <a:pt x="103" y="235"/>
                      </a:moveTo>
                      <a:lnTo>
                        <a:pt x="102" y="235"/>
                      </a:lnTo>
                      <a:lnTo>
                        <a:pt x="103" y="235"/>
                      </a:lnTo>
                      <a:lnTo>
                        <a:pt x="103" y="235"/>
                      </a:lnTo>
                      <a:lnTo>
                        <a:pt x="103" y="235"/>
                      </a:lnTo>
                      <a:close/>
                      <a:moveTo>
                        <a:pt x="90" y="235"/>
                      </a:moveTo>
                      <a:lnTo>
                        <a:pt x="89" y="235"/>
                      </a:lnTo>
                      <a:lnTo>
                        <a:pt x="90" y="234"/>
                      </a:lnTo>
                      <a:lnTo>
                        <a:pt x="90" y="235"/>
                      </a:lnTo>
                      <a:lnTo>
                        <a:pt x="90" y="235"/>
                      </a:lnTo>
                      <a:lnTo>
                        <a:pt x="90" y="235"/>
                      </a:lnTo>
                      <a:lnTo>
                        <a:pt x="90" y="235"/>
                      </a:lnTo>
                      <a:close/>
                      <a:moveTo>
                        <a:pt x="225" y="233"/>
                      </a:moveTo>
                      <a:lnTo>
                        <a:pt x="225" y="233"/>
                      </a:lnTo>
                      <a:lnTo>
                        <a:pt x="223" y="233"/>
                      </a:lnTo>
                      <a:lnTo>
                        <a:pt x="223" y="232"/>
                      </a:lnTo>
                      <a:lnTo>
                        <a:pt x="223" y="232"/>
                      </a:lnTo>
                      <a:lnTo>
                        <a:pt x="225" y="232"/>
                      </a:lnTo>
                      <a:lnTo>
                        <a:pt x="225" y="233"/>
                      </a:lnTo>
                      <a:lnTo>
                        <a:pt x="225" y="233"/>
                      </a:lnTo>
                      <a:close/>
                      <a:moveTo>
                        <a:pt x="103" y="234"/>
                      </a:moveTo>
                      <a:lnTo>
                        <a:pt x="103" y="234"/>
                      </a:lnTo>
                      <a:lnTo>
                        <a:pt x="103" y="234"/>
                      </a:lnTo>
                      <a:lnTo>
                        <a:pt x="103" y="233"/>
                      </a:lnTo>
                      <a:lnTo>
                        <a:pt x="102" y="233"/>
                      </a:lnTo>
                      <a:lnTo>
                        <a:pt x="102" y="234"/>
                      </a:lnTo>
                      <a:lnTo>
                        <a:pt x="102" y="234"/>
                      </a:lnTo>
                      <a:lnTo>
                        <a:pt x="102" y="234"/>
                      </a:lnTo>
                      <a:lnTo>
                        <a:pt x="102" y="233"/>
                      </a:lnTo>
                      <a:lnTo>
                        <a:pt x="102" y="233"/>
                      </a:lnTo>
                      <a:lnTo>
                        <a:pt x="102" y="233"/>
                      </a:lnTo>
                      <a:lnTo>
                        <a:pt x="102" y="232"/>
                      </a:lnTo>
                      <a:lnTo>
                        <a:pt x="102" y="232"/>
                      </a:lnTo>
                      <a:lnTo>
                        <a:pt x="102" y="232"/>
                      </a:lnTo>
                      <a:lnTo>
                        <a:pt x="103" y="232"/>
                      </a:lnTo>
                      <a:lnTo>
                        <a:pt x="102" y="232"/>
                      </a:lnTo>
                      <a:lnTo>
                        <a:pt x="102" y="233"/>
                      </a:lnTo>
                      <a:lnTo>
                        <a:pt x="103" y="233"/>
                      </a:lnTo>
                      <a:lnTo>
                        <a:pt x="103" y="233"/>
                      </a:lnTo>
                      <a:lnTo>
                        <a:pt x="103" y="233"/>
                      </a:lnTo>
                      <a:lnTo>
                        <a:pt x="103" y="233"/>
                      </a:lnTo>
                      <a:lnTo>
                        <a:pt x="103" y="233"/>
                      </a:lnTo>
                      <a:lnTo>
                        <a:pt x="103" y="233"/>
                      </a:lnTo>
                      <a:lnTo>
                        <a:pt x="103" y="233"/>
                      </a:lnTo>
                      <a:lnTo>
                        <a:pt x="103" y="234"/>
                      </a:lnTo>
                      <a:lnTo>
                        <a:pt x="103" y="234"/>
                      </a:lnTo>
                      <a:lnTo>
                        <a:pt x="103" y="234"/>
                      </a:lnTo>
                      <a:lnTo>
                        <a:pt x="103" y="234"/>
                      </a:lnTo>
                      <a:close/>
                      <a:moveTo>
                        <a:pt x="103" y="234"/>
                      </a:moveTo>
                      <a:lnTo>
                        <a:pt x="103" y="234"/>
                      </a:lnTo>
                      <a:lnTo>
                        <a:pt x="103" y="234"/>
                      </a:lnTo>
                      <a:lnTo>
                        <a:pt x="103" y="234"/>
                      </a:lnTo>
                      <a:lnTo>
                        <a:pt x="103" y="234"/>
                      </a:lnTo>
                      <a:close/>
                      <a:moveTo>
                        <a:pt x="73" y="234"/>
                      </a:moveTo>
                      <a:lnTo>
                        <a:pt x="73" y="234"/>
                      </a:lnTo>
                      <a:lnTo>
                        <a:pt x="73" y="233"/>
                      </a:lnTo>
                      <a:lnTo>
                        <a:pt x="73" y="233"/>
                      </a:lnTo>
                      <a:lnTo>
                        <a:pt x="73" y="234"/>
                      </a:lnTo>
                      <a:lnTo>
                        <a:pt x="73" y="234"/>
                      </a:lnTo>
                      <a:close/>
                      <a:moveTo>
                        <a:pt x="112" y="233"/>
                      </a:moveTo>
                      <a:lnTo>
                        <a:pt x="112" y="233"/>
                      </a:lnTo>
                      <a:lnTo>
                        <a:pt x="112" y="233"/>
                      </a:lnTo>
                      <a:lnTo>
                        <a:pt x="112" y="233"/>
                      </a:lnTo>
                      <a:lnTo>
                        <a:pt x="112" y="233"/>
                      </a:lnTo>
                      <a:lnTo>
                        <a:pt x="112" y="232"/>
                      </a:lnTo>
                      <a:lnTo>
                        <a:pt x="110" y="232"/>
                      </a:lnTo>
                      <a:lnTo>
                        <a:pt x="110" y="232"/>
                      </a:lnTo>
                      <a:lnTo>
                        <a:pt x="112" y="232"/>
                      </a:lnTo>
                      <a:lnTo>
                        <a:pt x="113" y="232"/>
                      </a:lnTo>
                      <a:lnTo>
                        <a:pt x="112" y="233"/>
                      </a:lnTo>
                      <a:lnTo>
                        <a:pt x="112" y="233"/>
                      </a:lnTo>
                      <a:lnTo>
                        <a:pt x="112" y="233"/>
                      </a:lnTo>
                      <a:lnTo>
                        <a:pt x="112" y="233"/>
                      </a:lnTo>
                      <a:close/>
                      <a:moveTo>
                        <a:pt x="108" y="233"/>
                      </a:moveTo>
                      <a:lnTo>
                        <a:pt x="107" y="233"/>
                      </a:lnTo>
                      <a:lnTo>
                        <a:pt x="108" y="233"/>
                      </a:lnTo>
                      <a:lnTo>
                        <a:pt x="108" y="233"/>
                      </a:lnTo>
                      <a:lnTo>
                        <a:pt x="108" y="233"/>
                      </a:lnTo>
                      <a:close/>
                      <a:moveTo>
                        <a:pt x="114" y="233"/>
                      </a:moveTo>
                      <a:lnTo>
                        <a:pt x="114" y="233"/>
                      </a:lnTo>
                      <a:lnTo>
                        <a:pt x="114" y="233"/>
                      </a:lnTo>
                      <a:lnTo>
                        <a:pt x="114" y="233"/>
                      </a:lnTo>
                      <a:lnTo>
                        <a:pt x="114" y="233"/>
                      </a:lnTo>
                      <a:close/>
                      <a:moveTo>
                        <a:pt x="108" y="233"/>
                      </a:moveTo>
                      <a:lnTo>
                        <a:pt x="107" y="233"/>
                      </a:lnTo>
                      <a:lnTo>
                        <a:pt x="107" y="232"/>
                      </a:lnTo>
                      <a:lnTo>
                        <a:pt x="108" y="232"/>
                      </a:lnTo>
                      <a:lnTo>
                        <a:pt x="108" y="232"/>
                      </a:lnTo>
                      <a:lnTo>
                        <a:pt x="108" y="232"/>
                      </a:lnTo>
                      <a:lnTo>
                        <a:pt x="108" y="233"/>
                      </a:lnTo>
                      <a:lnTo>
                        <a:pt x="108" y="233"/>
                      </a:lnTo>
                      <a:close/>
                      <a:moveTo>
                        <a:pt x="110" y="233"/>
                      </a:moveTo>
                      <a:lnTo>
                        <a:pt x="110" y="233"/>
                      </a:lnTo>
                      <a:lnTo>
                        <a:pt x="110" y="233"/>
                      </a:lnTo>
                      <a:lnTo>
                        <a:pt x="110" y="233"/>
                      </a:lnTo>
                      <a:lnTo>
                        <a:pt x="110" y="233"/>
                      </a:lnTo>
                      <a:close/>
                      <a:moveTo>
                        <a:pt x="107" y="233"/>
                      </a:moveTo>
                      <a:lnTo>
                        <a:pt x="107" y="233"/>
                      </a:lnTo>
                      <a:lnTo>
                        <a:pt x="107" y="233"/>
                      </a:lnTo>
                      <a:lnTo>
                        <a:pt x="107" y="233"/>
                      </a:lnTo>
                      <a:lnTo>
                        <a:pt x="107" y="233"/>
                      </a:lnTo>
                      <a:close/>
                      <a:moveTo>
                        <a:pt x="101" y="233"/>
                      </a:moveTo>
                      <a:lnTo>
                        <a:pt x="101" y="233"/>
                      </a:lnTo>
                      <a:lnTo>
                        <a:pt x="101" y="233"/>
                      </a:lnTo>
                      <a:lnTo>
                        <a:pt x="101" y="233"/>
                      </a:lnTo>
                      <a:lnTo>
                        <a:pt x="101" y="233"/>
                      </a:lnTo>
                      <a:close/>
                      <a:moveTo>
                        <a:pt x="103" y="233"/>
                      </a:moveTo>
                      <a:lnTo>
                        <a:pt x="103" y="232"/>
                      </a:lnTo>
                      <a:lnTo>
                        <a:pt x="103" y="232"/>
                      </a:lnTo>
                      <a:lnTo>
                        <a:pt x="103" y="233"/>
                      </a:lnTo>
                      <a:lnTo>
                        <a:pt x="103" y="233"/>
                      </a:lnTo>
                      <a:close/>
                      <a:moveTo>
                        <a:pt x="101" y="233"/>
                      </a:moveTo>
                      <a:lnTo>
                        <a:pt x="100" y="233"/>
                      </a:lnTo>
                      <a:lnTo>
                        <a:pt x="100" y="232"/>
                      </a:lnTo>
                      <a:lnTo>
                        <a:pt x="101" y="233"/>
                      </a:lnTo>
                      <a:lnTo>
                        <a:pt x="101" y="233"/>
                      </a:lnTo>
                      <a:lnTo>
                        <a:pt x="101" y="233"/>
                      </a:lnTo>
                      <a:close/>
                      <a:moveTo>
                        <a:pt x="106" y="232"/>
                      </a:moveTo>
                      <a:lnTo>
                        <a:pt x="106" y="232"/>
                      </a:lnTo>
                      <a:lnTo>
                        <a:pt x="106" y="232"/>
                      </a:lnTo>
                      <a:lnTo>
                        <a:pt x="105" y="232"/>
                      </a:lnTo>
                      <a:lnTo>
                        <a:pt x="106" y="232"/>
                      </a:lnTo>
                      <a:lnTo>
                        <a:pt x="106" y="232"/>
                      </a:lnTo>
                      <a:lnTo>
                        <a:pt x="106" y="232"/>
                      </a:lnTo>
                      <a:lnTo>
                        <a:pt x="107" y="232"/>
                      </a:lnTo>
                      <a:lnTo>
                        <a:pt x="107" y="232"/>
                      </a:lnTo>
                      <a:lnTo>
                        <a:pt x="106" y="232"/>
                      </a:lnTo>
                      <a:lnTo>
                        <a:pt x="106" y="232"/>
                      </a:lnTo>
                      <a:close/>
                      <a:moveTo>
                        <a:pt x="168" y="232"/>
                      </a:moveTo>
                      <a:lnTo>
                        <a:pt x="168" y="232"/>
                      </a:lnTo>
                      <a:lnTo>
                        <a:pt x="168" y="232"/>
                      </a:lnTo>
                      <a:lnTo>
                        <a:pt x="168" y="232"/>
                      </a:lnTo>
                      <a:lnTo>
                        <a:pt x="168" y="232"/>
                      </a:lnTo>
                      <a:close/>
                      <a:moveTo>
                        <a:pt x="105" y="232"/>
                      </a:moveTo>
                      <a:lnTo>
                        <a:pt x="105" y="232"/>
                      </a:lnTo>
                      <a:lnTo>
                        <a:pt x="105" y="232"/>
                      </a:lnTo>
                      <a:lnTo>
                        <a:pt x="105" y="232"/>
                      </a:lnTo>
                      <a:lnTo>
                        <a:pt x="105" y="232"/>
                      </a:lnTo>
                      <a:lnTo>
                        <a:pt x="105" y="232"/>
                      </a:lnTo>
                      <a:lnTo>
                        <a:pt x="105" y="232"/>
                      </a:lnTo>
                      <a:close/>
                      <a:moveTo>
                        <a:pt x="142" y="233"/>
                      </a:moveTo>
                      <a:lnTo>
                        <a:pt x="142" y="232"/>
                      </a:lnTo>
                      <a:lnTo>
                        <a:pt x="142" y="232"/>
                      </a:lnTo>
                      <a:lnTo>
                        <a:pt x="142" y="233"/>
                      </a:lnTo>
                      <a:lnTo>
                        <a:pt x="142" y="233"/>
                      </a:lnTo>
                      <a:lnTo>
                        <a:pt x="142" y="233"/>
                      </a:lnTo>
                      <a:close/>
                      <a:moveTo>
                        <a:pt x="116" y="232"/>
                      </a:moveTo>
                      <a:lnTo>
                        <a:pt x="115" y="232"/>
                      </a:lnTo>
                      <a:lnTo>
                        <a:pt x="116" y="232"/>
                      </a:lnTo>
                      <a:lnTo>
                        <a:pt x="116" y="232"/>
                      </a:lnTo>
                      <a:lnTo>
                        <a:pt x="116" y="232"/>
                      </a:lnTo>
                      <a:close/>
                      <a:moveTo>
                        <a:pt x="107" y="232"/>
                      </a:moveTo>
                      <a:lnTo>
                        <a:pt x="107" y="232"/>
                      </a:lnTo>
                      <a:lnTo>
                        <a:pt x="107" y="232"/>
                      </a:lnTo>
                      <a:lnTo>
                        <a:pt x="107" y="232"/>
                      </a:lnTo>
                      <a:lnTo>
                        <a:pt x="107" y="232"/>
                      </a:lnTo>
                      <a:close/>
                      <a:moveTo>
                        <a:pt x="112" y="232"/>
                      </a:moveTo>
                      <a:lnTo>
                        <a:pt x="112" y="232"/>
                      </a:lnTo>
                      <a:lnTo>
                        <a:pt x="112" y="232"/>
                      </a:lnTo>
                      <a:lnTo>
                        <a:pt x="112" y="232"/>
                      </a:lnTo>
                      <a:lnTo>
                        <a:pt x="112" y="232"/>
                      </a:lnTo>
                      <a:close/>
                      <a:moveTo>
                        <a:pt x="101" y="233"/>
                      </a:moveTo>
                      <a:lnTo>
                        <a:pt x="101" y="233"/>
                      </a:lnTo>
                      <a:lnTo>
                        <a:pt x="101" y="232"/>
                      </a:lnTo>
                      <a:lnTo>
                        <a:pt x="101" y="232"/>
                      </a:lnTo>
                      <a:lnTo>
                        <a:pt x="101" y="232"/>
                      </a:lnTo>
                      <a:lnTo>
                        <a:pt x="101" y="232"/>
                      </a:lnTo>
                      <a:lnTo>
                        <a:pt x="100" y="232"/>
                      </a:lnTo>
                      <a:lnTo>
                        <a:pt x="100" y="231"/>
                      </a:lnTo>
                      <a:lnTo>
                        <a:pt x="99" y="231"/>
                      </a:lnTo>
                      <a:lnTo>
                        <a:pt x="100" y="231"/>
                      </a:lnTo>
                      <a:lnTo>
                        <a:pt x="100" y="231"/>
                      </a:lnTo>
                      <a:lnTo>
                        <a:pt x="101" y="231"/>
                      </a:lnTo>
                      <a:lnTo>
                        <a:pt x="101" y="231"/>
                      </a:lnTo>
                      <a:lnTo>
                        <a:pt x="100" y="231"/>
                      </a:lnTo>
                      <a:lnTo>
                        <a:pt x="100" y="231"/>
                      </a:lnTo>
                      <a:lnTo>
                        <a:pt x="100" y="231"/>
                      </a:lnTo>
                      <a:lnTo>
                        <a:pt x="100" y="229"/>
                      </a:lnTo>
                      <a:lnTo>
                        <a:pt x="100" y="229"/>
                      </a:lnTo>
                      <a:lnTo>
                        <a:pt x="101" y="229"/>
                      </a:lnTo>
                      <a:lnTo>
                        <a:pt x="101" y="231"/>
                      </a:lnTo>
                      <a:lnTo>
                        <a:pt x="101" y="232"/>
                      </a:lnTo>
                      <a:lnTo>
                        <a:pt x="101" y="232"/>
                      </a:lnTo>
                      <a:lnTo>
                        <a:pt x="102" y="233"/>
                      </a:lnTo>
                      <a:lnTo>
                        <a:pt x="102" y="233"/>
                      </a:lnTo>
                      <a:lnTo>
                        <a:pt x="101" y="233"/>
                      </a:lnTo>
                      <a:lnTo>
                        <a:pt x="101" y="233"/>
                      </a:lnTo>
                      <a:close/>
                      <a:moveTo>
                        <a:pt x="110" y="232"/>
                      </a:moveTo>
                      <a:lnTo>
                        <a:pt x="109" y="232"/>
                      </a:lnTo>
                      <a:lnTo>
                        <a:pt x="109" y="232"/>
                      </a:lnTo>
                      <a:lnTo>
                        <a:pt x="109" y="231"/>
                      </a:lnTo>
                      <a:lnTo>
                        <a:pt x="109" y="231"/>
                      </a:lnTo>
                      <a:lnTo>
                        <a:pt x="109" y="231"/>
                      </a:lnTo>
                      <a:lnTo>
                        <a:pt x="109" y="231"/>
                      </a:lnTo>
                      <a:lnTo>
                        <a:pt x="109" y="231"/>
                      </a:lnTo>
                      <a:lnTo>
                        <a:pt x="109" y="229"/>
                      </a:lnTo>
                      <a:lnTo>
                        <a:pt x="109" y="229"/>
                      </a:lnTo>
                      <a:lnTo>
                        <a:pt x="110" y="229"/>
                      </a:lnTo>
                      <a:lnTo>
                        <a:pt x="110" y="231"/>
                      </a:lnTo>
                      <a:lnTo>
                        <a:pt x="110" y="231"/>
                      </a:lnTo>
                      <a:lnTo>
                        <a:pt x="112" y="231"/>
                      </a:lnTo>
                      <a:lnTo>
                        <a:pt x="110" y="232"/>
                      </a:lnTo>
                      <a:lnTo>
                        <a:pt x="110" y="232"/>
                      </a:lnTo>
                      <a:lnTo>
                        <a:pt x="110" y="232"/>
                      </a:lnTo>
                      <a:close/>
                      <a:moveTo>
                        <a:pt x="108" y="232"/>
                      </a:moveTo>
                      <a:lnTo>
                        <a:pt x="108" y="232"/>
                      </a:lnTo>
                      <a:lnTo>
                        <a:pt x="108" y="232"/>
                      </a:lnTo>
                      <a:lnTo>
                        <a:pt x="108" y="232"/>
                      </a:lnTo>
                      <a:lnTo>
                        <a:pt x="108" y="232"/>
                      </a:lnTo>
                      <a:close/>
                      <a:moveTo>
                        <a:pt x="109" y="232"/>
                      </a:moveTo>
                      <a:lnTo>
                        <a:pt x="108" y="232"/>
                      </a:lnTo>
                      <a:lnTo>
                        <a:pt x="109" y="232"/>
                      </a:lnTo>
                      <a:lnTo>
                        <a:pt x="109" y="232"/>
                      </a:lnTo>
                      <a:lnTo>
                        <a:pt x="109" y="232"/>
                      </a:lnTo>
                      <a:close/>
                      <a:moveTo>
                        <a:pt x="99" y="232"/>
                      </a:moveTo>
                      <a:lnTo>
                        <a:pt x="99" y="232"/>
                      </a:lnTo>
                      <a:lnTo>
                        <a:pt x="99" y="232"/>
                      </a:lnTo>
                      <a:lnTo>
                        <a:pt x="99" y="232"/>
                      </a:lnTo>
                      <a:lnTo>
                        <a:pt x="99" y="232"/>
                      </a:lnTo>
                      <a:close/>
                      <a:moveTo>
                        <a:pt x="107" y="232"/>
                      </a:moveTo>
                      <a:lnTo>
                        <a:pt x="107" y="232"/>
                      </a:lnTo>
                      <a:lnTo>
                        <a:pt x="107" y="232"/>
                      </a:lnTo>
                      <a:lnTo>
                        <a:pt x="107" y="232"/>
                      </a:lnTo>
                      <a:lnTo>
                        <a:pt x="107" y="232"/>
                      </a:lnTo>
                      <a:close/>
                      <a:moveTo>
                        <a:pt x="115" y="232"/>
                      </a:moveTo>
                      <a:lnTo>
                        <a:pt x="115" y="232"/>
                      </a:lnTo>
                      <a:lnTo>
                        <a:pt x="115" y="232"/>
                      </a:lnTo>
                      <a:lnTo>
                        <a:pt x="115" y="232"/>
                      </a:lnTo>
                      <a:lnTo>
                        <a:pt x="115" y="232"/>
                      </a:lnTo>
                      <a:close/>
                      <a:moveTo>
                        <a:pt x="109" y="232"/>
                      </a:moveTo>
                      <a:lnTo>
                        <a:pt x="109" y="232"/>
                      </a:lnTo>
                      <a:lnTo>
                        <a:pt x="109" y="232"/>
                      </a:lnTo>
                      <a:lnTo>
                        <a:pt x="109" y="232"/>
                      </a:lnTo>
                      <a:lnTo>
                        <a:pt x="109" y="232"/>
                      </a:lnTo>
                      <a:close/>
                      <a:moveTo>
                        <a:pt x="113" y="232"/>
                      </a:moveTo>
                      <a:lnTo>
                        <a:pt x="112" y="232"/>
                      </a:lnTo>
                      <a:lnTo>
                        <a:pt x="112" y="232"/>
                      </a:lnTo>
                      <a:lnTo>
                        <a:pt x="112" y="232"/>
                      </a:lnTo>
                      <a:lnTo>
                        <a:pt x="112" y="231"/>
                      </a:lnTo>
                      <a:lnTo>
                        <a:pt x="112" y="231"/>
                      </a:lnTo>
                      <a:lnTo>
                        <a:pt x="112" y="231"/>
                      </a:lnTo>
                      <a:lnTo>
                        <a:pt x="112" y="231"/>
                      </a:lnTo>
                      <a:lnTo>
                        <a:pt x="113" y="232"/>
                      </a:lnTo>
                      <a:lnTo>
                        <a:pt x="113" y="232"/>
                      </a:lnTo>
                      <a:lnTo>
                        <a:pt x="113" y="232"/>
                      </a:lnTo>
                      <a:lnTo>
                        <a:pt x="113" y="232"/>
                      </a:lnTo>
                      <a:close/>
                      <a:moveTo>
                        <a:pt x="108" y="232"/>
                      </a:moveTo>
                      <a:lnTo>
                        <a:pt x="108" y="232"/>
                      </a:lnTo>
                      <a:lnTo>
                        <a:pt x="107" y="231"/>
                      </a:lnTo>
                      <a:lnTo>
                        <a:pt x="107" y="231"/>
                      </a:lnTo>
                      <a:lnTo>
                        <a:pt x="108" y="231"/>
                      </a:lnTo>
                      <a:lnTo>
                        <a:pt x="108" y="231"/>
                      </a:lnTo>
                      <a:lnTo>
                        <a:pt x="108" y="231"/>
                      </a:lnTo>
                      <a:lnTo>
                        <a:pt x="108" y="231"/>
                      </a:lnTo>
                      <a:lnTo>
                        <a:pt x="108" y="229"/>
                      </a:lnTo>
                      <a:lnTo>
                        <a:pt x="108" y="231"/>
                      </a:lnTo>
                      <a:lnTo>
                        <a:pt x="109" y="232"/>
                      </a:lnTo>
                      <a:lnTo>
                        <a:pt x="108" y="232"/>
                      </a:lnTo>
                      <a:lnTo>
                        <a:pt x="108" y="232"/>
                      </a:lnTo>
                      <a:lnTo>
                        <a:pt x="108" y="232"/>
                      </a:lnTo>
                      <a:close/>
                      <a:moveTo>
                        <a:pt x="115" y="232"/>
                      </a:moveTo>
                      <a:lnTo>
                        <a:pt x="115" y="232"/>
                      </a:lnTo>
                      <a:lnTo>
                        <a:pt x="115" y="232"/>
                      </a:lnTo>
                      <a:lnTo>
                        <a:pt x="115" y="232"/>
                      </a:lnTo>
                      <a:lnTo>
                        <a:pt x="115" y="232"/>
                      </a:lnTo>
                      <a:close/>
                      <a:moveTo>
                        <a:pt x="113" y="232"/>
                      </a:moveTo>
                      <a:lnTo>
                        <a:pt x="113" y="231"/>
                      </a:lnTo>
                      <a:lnTo>
                        <a:pt x="113" y="231"/>
                      </a:lnTo>
                      <a:lnTo>
                        <a:pt x="113" y="232"/>
                      </a:lnTo>
                      <a:lnTo>
                        <a:pt x="113" y="232"/>
                      </a:lnTo>
                      <a:close/>
                      <a:moveTo>
                        <a:pt x="114" y="231"/>
                      </a:moveTo>
                      <a:lnTo>
                        <a:pt x="114" y="231"/>
                      </a:lnTo>
                      <a:lnTo>
                        <a:pt x="114" y="231"/>
                      </a:lnTo>
                      <a:lnTo>
                        <a:pt x="114" y="231"/>
                      </a:lnTo>
                      <a:lnTo>
                        <a:pt x="114" y="231"/>
                      </a:lnTo>
                      <a:close/>
                      <a:moveTo>
                        <a:pt x="113" y="231"/>
                      </a:moveTo>
                      <a:lnTo>
                        <a:pt x="113" y="231"/>
                      </a:lnTo>
                      <a:lnTo>
                        <a:pt x="113" y="231"/>
                      </a:lnTo>
                      <a:lnTo>
                        <a:pt x="113" y="231"/>
                      </a:lnTo>
                      <a:lnTo>
                        <a:pt x="113" y="231"/>
                      </a:lnTo>
                      <a:close/>
                      <a:moveTo>
                        <a:pt x="216" y="232"/>
                      </a:moveTo>
                      <a:lnTo>
                        <a:pt x="216" y="232"/>
                      </a:lnTo>
                      <a:lnTo>
                        <a:pt x="216" y="232"/>
                      </a:lnTo>
                      <a:lnTo>
                        <a:pt x="216" y="231"/>
                      </a:lnTo>
                      <a:lnTo>
                        <a:pt x="216" y="231"/>
                      </a:lnTo>
                      <a:lnTo>
                        <a:pt x="216" y="232"/>
                      </a:lnTo>
                      <a:lnTo>
                        <a:pt x="216" y="232"/>
                      </a:lnTo>
                      <a:lnTo>
                        <a:pt x="216" y="232"/>
                      </a:lnTo>
                      <a:lnTo>
                        <a:pt x="216" y="232"/>
                      </a:lnTo>
                      <a:close/>
                      <a:moveTo>
                        <a:pt x="113" y="231"/>
                      </a:moveTo>
                      <a:lnTo>
                        <a:pt x="113" y="231"/>
                      </a:lnTo>
                      <a:lnTo>
                        <a:pt x="113" y="231"/>
                      </a:lnTo>
                      <a:lnTo>
                        <a:pt x="113" y="231"/>
                      </a:lnTo>
                      <a:lnTo>
                        <a:pt x="113" y="231"/>
                      </a:lnTo>
                      <a:lnTo>
                        <a:pt x="113" y="231"/>
                      </a:lnTo>
                      <a:close/>
                      <a:moveTo>
                        <a:pt x="141" y="232"/>
                      </a:moveTo>
                      <a:lnTo>
                        <a:pt x="140" y="232"/>
                      </a:lnTo>
                      <a:lnTo>
                        <a:pt x="140" y="231"/>
                      </a:lnTo>
                      <a:lnTo>
                        <a:pt x="140" y="231"/>
                      </a:lnTo>
                      <a:lnTo>
                        <a:pt x="140" y="231"/>
                      </a:lnTo>
                      <a:lnTo>
                        <a:pt x="140" y="231"/>
                      </a:lnTo>
                      <a:lnTo>
                        <a:pt x="139" y="231"/>
                      </a:lnTo>
                      <a:lnTo>
                        <a:pt x="139" y="231"/>
                      </a:lnTo>
                      <a:lnTo>
                        <a:pt x="139" y="231"/>
                      </a:lnTo>
                      <a:lnTo>
                        <a:pt x="139" y="231"/>
                      </a:lnTo>
                      <a:lnTo>
                        <a:pt x="139" y="229"/>
                      </a:lnTo>
                      <a:lnTo>
                        <a:pt x="139" y="229"/>
                      </a:lnTo>
                      <a:lnTo>
                        <a:pt x="139" y="228"/>
                      </a:lnTo>
                      <a:lnTo>
                        <a:pt x="139" y="227"/>
                      </a:lnTo>
                      <a:lnTo>
                        <a:pt x="139" y="226"/>
                      </a:lnTo>
                      <a:lnTo>
                        <a:pt x="139" y="226"/>
                      </a:lnTo>
                      <a:lnTo>
                        <a:pt x="140" y="225"/>
                      </a:lnTo>
                      <a:lnTo>
                        <a:pt x="140" y="225"/>
                      </a:lnTo>
                      <a:lnTo>
                        <a:pt x="140" y="225"/>
                      </a:lnTo>
                      <a:lnTo>
                        <a:pt x="141" y="223"/>
                      </a:lnTo>
                      <a:lnTo>
                        <a:pt x="141" y="223"/>
                      </a:lnTo>
                      <a:lnTo>
                        <a:pt x="142" y="223"/>
                      </a:lnTo>
                      <a:lnTo>
                        <a:pt x="141" y="225"/>
                      </a:lnTo>
                      <a:lnTo>
                        <a:pt x="142" y="226"/>
                      </a:lnTo>
                      <a:lnTo>
                        <a:pt x="141" y="226"/>
                      </a:lnTo>
                      <a:lnTo>
                        <a:pt x="141" y="227"/>
                      </a:lnTo>
                      <a:lnTo>
                        <a:pt x="141" y="228"/>
                      </a:lnTo>
                      <a:lnTo>
                        <a:pt x="142" y="228"/>
                      </a:lnTo>
                      <a:lnTo>
                        <a:pt x="142" y="229"/>
                      </a:lnTo>
                      <a:lnTo>
                        <a:pt x="143" y="229"/>
                      </a:lnTo>
                      <a:lnTo>
                        <a:pt x="143" y="229"/>
                      </a:lnTo>
                      <a:lnTo>
                        <a:pt x="143" y="231"/>
                      </a:lnTo>
                      <a:lnTo>
                        <a:pt x="142" y="231"/>
                      </a:lnTo>
                      <a:lnTo>
                        <a:pt x="141" y="232"/>
                      </a:lnTo>
                      <a:lnTo>
                        <a:pt x="141" y="232"/>
                      </a:lnTo>
                      <a:lnTo>
                        <a:pt x="141" y="232"/>
                      </a:lnTo>
                      <a:close/>
                      <a:moveTo>
                        <a:pt x="108" y="231"/>
                      </a:moveTo>
                      <a:lnTo>
                        <a:pt x="107" y="231"/>
                      </a:lnTo>
                      <a:lnTo>
                        <a:pt x="108" y="231"/>
                      </a:lnTo>
                      <a:lnTo>
                        <a:pt x="108" y="231"/>
                      </a:lnTo>
                      <a:lnTo>
                        <a:pt x="108" y="231"/>
                      </a:lnTo>
                      <a:close/>
                      <a:moveTo>
                        <a:pt x="113" y="231"/>
                      </a:moveTo>
                      <a:lnTo>
                        <a:pt x="112" y="231"/>
                      </a:lnTo>
                      <a:lnTo>
                        <a:pt x="113" y="231"/>
                      </a:lnTo>
                      <a:lnTo>
                        <a:pt x="113" y="231"/>
                      </a:lnTo>
                      <a:lnTo>
                        <a:pt x="113" y="231"/>
                      </a:lnTo>
                      <a:close/>
                      <a:moveTo>
                        <a:pt x="99" y="231"/>
                      </a:moveTo>
                      <a:lnTo>
                        <a:pt x="99" y="229"/>
                      </a:lnTo>
                      <a:lnTo>
                        <a:pt x="99" y="229"/>
                      </a:lnTo>
                      <a:lnTo>
                        <a:pt x="99" y="231"/>
                      </a:lnTo>
                      <a:lnTo>
                        <a:pt x="99" y="231"/>
                      </a:lnTo>
                      <a:close/>
                      <a:moveTo>
                        <a:pt x="107" y="231"/>
                      </a:moveTo>
                      <a:lnTo>
                        <a:pt x="106" y="231"/>
                      </a:lnTo>
                      <a:lnTo>
                        <a:pt x="107" y="229"/>
                      </a:lnTo>
                      <a:lnTo>
                        <a:pt x="107" y="231"/>
                      </a:lnTo>
                      <a:lnTo>
                        <a:pt x="107" y="231"/>
                      </a:lnTo>
                      <a:close/>
                      <a:moveTo>
                        <a:pt x="113" y="231"/>
                      </a:moveTo>
                      <a:lnTo>
                        <a:pt x="113" y="231"/>
                      </a:lnTo>
                      <a:lnTo>
                        <a:pt x="113" y="229"/>
                      </a:lnTo>
                      <a:lnTo>
                        <a:pt x="113" y="231"/>
                      </a:lnTo>
                      <a:lnTo>
                        <a:pt x="113" y="231"/>
                      </a:lnTo>
                      <a:lnTo>
                        <a:pt x="113" y="231"/>
                      </a:lnTo>
                      <a:close/>
                      <a:moveTo>
                        <a:pt x="108" y="229"/>
                      </a:moveTo>
                      <a:lnTo>
                        <a:pt x="108" y="231"/>
                      </a:lnTo>
                      <a:lnTo>
                        <a:pt x="108" y="229"/>
                      </a:lnTo>
                      <a:lnTo>
                        <a:pt x="108" y="229"/>
                      </a:lnTo>
                      <a:lnTo>
                        <a:pt x="108" y="229"/>
                      </a:lnTo>
                      <a:close/>
                      <a:moveTo>
                        <a:pt x="114" y="231"/>
                      </a:moveTo>
                      <a:lnTo>
                        <a:pt x="113" y="231"/>
                      </a:lnTo>
                      <a:lnTo>
                        <a:pt x="113" y="229"/>
                      </a:lnTo>
                      <a:lnTo>
                        <a:pt x="113" y="229"/>
                      </a:lnTo>
                      <a:lnTo>
                        <a:pt x="114" y="231"/>
                      </a:lnTo>
                      <a:lnTo>
                        <a:pt x="113" y="231"/>
                      </a:lnTo>
                      <a:lnTo>
                        <a:pt x="114" y="231"/>
                      </a:lnTo>
                      <a:lnTo>
                        <a:pt x="114" y="231"/>
                      </a:lnTo>
                      <a:close/>
                      <a:moveTo>
                        <a:pt x="145" y="229"/>
                      </a:moveTo>
                      <a:lnTo>
                        <a:pt x="145" y="229"/>
                      </a:lnTo>
                      <a:lnTo>
                        <a:pt x="145" y="229"/>
                      </a:lnTo>
                      <a:lnTo>
                        <a:pt x="145" y="229"/>
                      </a:lnTo>
                      <a:lnTo>
                        <a:pt x="145" y="229"/>
                      </a:lnTo>
                      <a:close/>
                      <a:moveTo>
                        <a:pt x="108" y="229"/>
                      </a:moveTo>
                      <a:lnTo>
                        <a:pt x="108" y="229"/>
                      </a:lnTo>
                      <a:lnTo>
                        <a:pt x="108" y="229"/>
                      </a:lnTo>
                      <a:lnTo>
                        <a:pt x="108" y="229"/>
                      </a:lnTo>
                      <a:lnTo>
                        <a:pt x="108" y="229"/>
                      </a:lnTo>
                      <a:lnTo>
                        <a:pt x="108" y="229"/>
                      </a:lnTo>
                      <a:close/>
                      <a:moveTo>
                        <a:pt x="143" y="229"/>
                      </a:moveTo>
                      <a:lnTo>
                        <a:pt x="143" y="229"/>
                      </a:lnTo>
                      <a:lnTo>
                        <a:pt x="143" y="229"/>
                      </a:lnTo>
                      <a:lnTo>
                        <a:pt x="143" y="229"/>
                      </a:lnTo>
                      <a:lnTo>
                        <a:pt x="143" y="229"/>
                      </a:lnTo>
                      <a:close/>
                      <a:moveTo>
                        <a:pt x="145" y="229"/>
                      </a:moveTo>
                      <a:lnTo>
                        <a:pt x="145" y="229"/>
                      </a:lnTo>
                      <a:lnTo>
                        <a:pt x="145" y="229"/>
                      </a:lnTo>
                      <a:lnTo>
                        <a:pt x="145" y="229"/>
                      </a:lnTo>
                      <a:lnTo>
                        <a:pt x="145" y="229"/>
                      </a:lnTo>
                      <a:close/>
                      <a:moveTo>
                        <a:pt x="100" y="229"/>
                      </a:moveTo>
                      <a:lnTo>
                        <a:pt x="100" y="229"/>
                      </a:lnTo>
                      <a:lnTo>
                        <a:pt x="100" y="229"/>
                      </a:lnTo>
                      <a:lnTo>
                        <a:pt x="100" y="229"/>
                      </a:lnTo>
                      <a:lnTo>
                        <a:pt x="100" y="229"/>
                      </a:lnTo>
                      <a:lnTo>
                        <a:pt x="100" y="229"/>
                      </a:lnTo>
                      <a:lnTo>
                        <a:pt x="100" y="229"/>
                      </a:lnTo>
                      <a:close/>
                      <a:moveTo>
                        <a:pt x="119" y="229"/>
                      </a:moveTo>
                      <a:lnTo>
                        <a:pt x="119" y="229"/>
                      </a:lnTo>
                      <a:lnTo>
                        <a:pt x="119" y="229"/>
                      </a:lnTo>
                      <a:lnTo>
                        <a:pt x="119" y="229"/>
                      </a:lnTo>
                      <a:lnTo>
                        <a:pt x="119" y="229"/>
                      </a:lnTo>
                      <a:close/>
                      <a:moveTo>
                        <a:pt x="97" y="231"/>
                      </a:moveTo>
                      <a:lnTo>
                        <a:pt x="97" y="231"/>
                      </a:lnTo>
                      <a:lnTo>
                        <a:pt x="97" y="229"/>
                      </a:lnTo>
                      <a:lnTo>
                        <a:pt x="97" y="229"/>
                      </a:lnTo>
                      <a:lnTo>
                        <a:pt x="97" y="229"/>
                      </a:lnTo>
                      <a:lnTo>
                        <a:pt x="99" y="229"/>
                      </a:lnTo>
                      <a:lnTo>
                        <a:pt x="97" y="231"/>
                      </a:lnTo>
                      <a:lnTo>
                        <a:pt x="97" y="231"/>
                      </a:lnTo>
                      <a:lnTo>
                        <a:pt x="97" y="231"/>
                      </a:lnTo>
                      <a:close/>
                      <a:moveTo>
                        <a:pt x="109" y="229"/>
                      </a:moveTo>
                      <a:lnTo>
                        <a:pt x="109" y="229"/>
                      </a:lnTo>
                      <a:lnTo>
                        <a:pt x="109" y="229"/>
                      </a:lnTo>
                      <a:lnTo>
                        <a:pt x="109" y="229"/>
                      </a:lnTo>
                      <a:lnTo>
                        <a:pt x="109" y="229"/>
                      </a:lnTo>
                      <a:close/>
                      <a:moveTo>
                        <a:pt x="112" y="231"/>
                      </a:moveTo>
                      <a:lnTo>
                        <a:pt x="110" y="231"/>
                      </a:lnTo>
                      <a:lnTo>
                        <a:pt x="110" y="229"/>
                      </a:lnTo>
                      <a:lnTo>
                        <a:pt x="110" y="229"/>
                      </a:lnTo>
                      <a:lnTo>
                        <a:pt x="110" y="229"/>
                      </a:lnTo>
                      <a:lnTo>
                        <a:pt x="112" y="229"/>
                      </a:lnTo>
                      <a:lnTo>
                        <a:pt x="112" y="229"/>
                      </a:lnTo>
                      <a:lnTo>
                        <a:pt x="112" y="229"/>
                      </a:lnTo>
                      <a:lnTo>
                        <a:pt x="112" y="231"/>
                      </a:lnTo>
                      <a:lnTo>
                        <a:pt x="112" y="231"/>
                      </a:lnTo>
                      <a:close/>
                      <a:moveTo>
                        <a:pt x="216" y="229"/>
                      </a:moveTo>
                      <a:lnTo>
                        <a:pt x="216" y="229"/>
                      </a:lnTo>
                      <a:lnTo>
                        <a:pt x="216" y="228"/>
                      </a:lnTo>
                      <a:lnTo>
                        <a:pt x="216" y="229"/>
                      </a:lnTo>
                      <a:lnTo>
                        <a:pt x="216" y="229"/>
                      </a:lnTo>
                      <a:lnTo>
                        <a:pt x="216" y="229"/>
                      </a:lnTo>
                      <a:close/>
                      <a:moveTo>
                        <a:pt x="108" y="229"/>
                      </a:moveTo>
                      <a:lnTo>
                        <a:pt x="108" y="229"/>
                      </a:lnTo>
                      <a:lnTo>
                        <a:pt x="108" y="229"/>
                      </a:lnTo>
                      <a:lnTo>
                        <a:pt x="108" y="229"/>
                      </a:lnTo>
                      <a:lnTo>
                        <a:pt x="108" y="229"/>
                      </a:lnTo>
                      <a:close/>
                      <a:moveTo>
                        <a:pt x="121" y="229"/>
                      </a:moveTo>
                      <a:lnTo>
                        <a:pt x="121" y="229"/>
                      </a:lnTo>
                      <a:lnTo>
                        <a:pt x="121" y="229"/>
                      </a:lnTo>
                      <a:lnTo>
                        <a:pt x="121" y="229"/>
                      </a:lnTo>
                      <a:lnTo>
                        <a:pt x="121" y="229"/>
                      </a:lnTo>
                      <a:close/>
                      <a:moveTo>
                        <a:pt x="113" y="231"/>
                      </a:moveTo>
                      <a:lnTo>
                        <a:pt x="113" y="229"/>
                      </a:lnTo>
                      <a:lnTo>
                        <a:pt x="112" y="229"/>
                      </a:lnTo>
                      <a:lnTo>
                        <a:pt x="112" y="228"/>
                      </a:lnTo>
                      <a:lnTo>
                        <a:pt x="112" y="228"/>
                      </a:lnTo>
                      <a:lnTo>
                        <a:pt x="112" y="228"/>
                      </a:lnTo>
                      <a:lnTo>
                        <a:pt x="112" y="228"/>
                      </a:lnTo>
                      <a:lnTo>
                        <a:pt x="113" y="229"/>
                      </a:lnTo>
                      <a:lnTo>
                        <a:pt x="113" y="229"/>
                      </a:lnTo>
                      <a:lnTo>
                        <a:pt x="113" y="229"/>
                      </a:lnTo>
                      <a:lnTo>
                        <a:pt x="113" y="229"/>
                      </a:lnTo>
                      <a:lnTo>
                        <a:pt x="113" y="231"/>
                      </a:lnTo>
                      <a:lnTo>
                        <a:pt x="113" y="231"/>
                      </a:lnTo>
                      <a:close/>
                      <a:moveTo>
                        <a:pt x="100" y="229"/>
                      </a:moveTo>
                      <a:lnTo>
                        <a:pt x="100" y="228"/>
                      </a:lnTo>
                      <a:lnTo>
                        <a:pt x="100" y="228"/>
                      </a:lnTo>
                      <a:lnTo>
                        <a:pt x="100" y="229"/>
                      </a:lnTo>
                      <a:lnTo>
                        <a:pt x="100" y="229"/>
                      </a:lnTo>
                      <a:close/>
                      <a:moveTo>
                        <a:pt x="117" y="228"/>
                      </a:moveTo>
                      <a:lnTo>
                        <a:pt x="117" y="228"/>
                      </a:lnTo>
                      <a:lnTo>
                        <a:pt x="117" y="228"/>
                      </a:lnTo>
                      <a:lnTo>
                        <a:pt x="117" y="228"/>
                      </a:lnTo>
                      <a:lnTo>
                        <a:pt x="117" y="228"/>
                      </a:lnTo>
                      <a:close/>
                      <a:moveTo>
                        <a:pt x="116" y="228"/>
                      </a:moveTo>
                      <a:lnTo>
                        <a:pt x="116" y="228"/>
                      </a:lnTo>
                      <a:lnTo>
                        <a:pt x="116" y="228"/>
                      </a:lnTo>
                      <a:lnTo>
                        <a:pt x="116" y="228"/>
                      </a:lnTo>
                      <a:lnTo>
                        <a:pt x="116" y="228"/>
                      </a:lnTo>
                      <a:close/>
                      <a:moveTo>
                        <a:pt x="120" y="229"/>
                      </a:moveTo>
                      <a:lnTo>
                        <a:pt x="120" y="228"/>
                      </a:lnTo>
                      <a:lnTo>
                        <a:pt x="120" y="228"/>
                      </a:lnTo>
                      <a:lnTo>
                        <a:pt x="120" y="229"/>
                      </a:lnTo>
                      <a:lnTo>
                        <a:pt x="120" y="229"/>
                      </a:lnTo>
                      <a:close/>
                      <a:moveTo>
                        <a:pt x="114" y="228"/>
                      </a:moveTo>
                      <a:lnTo>
                        <a:pt x="114" y="228"/>
                      </a:lnTo>
                      <a:lnTo>
                        <a:pt x="114" y="228"/>
                      </a:lnTo>
                      <a:lnTo>
                        <a:pt x="114" y="228"/>
                      </a:lnTo>
                      <a:lnTo>
                        <a:pt x="114" y="228"/>
                      </a:lnTo>
                      <a:close/>
                      <a:moveTo>
                        <a:pt x="112" y="229"/>
                      </a:moveTo>
                      <a:lnTo>
                        <a:pt x="110" y="228"/>
                      </a:lnTo>
                      <a:lnTo>
                        <a:pt x="110" y="228"/>
                      </a:lnTo>
                      <a:lnTo>
                        <a:pt x="112" y="228"/>
                      </a:lnTo>
                      <a:lnTo>
                        <a:pt x="112" y="229"/>
                      </a:lnTo>
                      <a:lnTo>
                        <a:pt x="112" y="229"/>
                      </a:lnTo>
                      <a:close/>
                      <a:moveTo>
                        <a:pt x="113" y="228"/>
                      </a:moveTo>
                      <a:lnTo>
                        <a:pt x="112" y="228"/>
                      </a:lnTo>
                      <a:lnTo>
                        <a:pt x="112" y="228"/>
                      </a:lnTo>
                      <a:lnTo>
                        <a:pt x="112" y="228"/>
                      </a:lnTo>
                      <a:lnTo>
                        <a:pt x="112" y="227"/>
                      </a:lnTo>
                      <a:lnTo>
                        <a:pt x="113" y="227"/>
                      </a:lnTo>
                      <a:lnTo>
                        <a:pt x="113" y="228"/>
                      </a:lnTo>
                      <a:lnTo>
                        <a:pt x="113" y="228"/>
                      </a:lnTo>
                      <a:lnTo>
                        <a:pt x="113" y="228"/>
                      </a:lnTo>
                      <a:lnTo>
                        <a:pt x="113" y="228"/>
                      </a:lnTo>
                      <a:close/>
                      <a:moveTo>
                        <a:pt x="119" y="228"/>
                      </a:moveTo>
                      <a:lnTo>
                        <a:pt x="119" y="228"/>
                      </a:lnTo>
                      <a:lnTo>
                        <a:pt x="119" y="228"/>
                      </a:lnTo>
                      <a:lnTo>
                        <a:pt x="119" y="228"/>
                      </a:lnTo>
                      <a:lnTo>
                        <a:pt x="119" y="228"/>
                      </a:lnTo>
                      <a:close/>
                      <a:moveTo>
                        <a:pt x="122" y="228"/>
                      </a:moveTo>
                      <a:lnTo>
                        <a:pt x="122" y="228"/>
                      </a:lnTo>
                      <a:lnTo>
                        <a:pt x="122" y="228"/>
                      </a:lnTo>
                      <a:lnTo>
                        <a:pt x="122" y="228"/>
                      </a:lnTo>
                      <a:lnTo>
                        <a:pt x="122" y="228"/>
                      </a:lnTo>
                      <a:close/>
                      <a:moveTo>
                        <a:pt x="112" y="228"/>
                      </a:moveTo>
                      <a:lnTo>
                        <a:pt x="112" y="228"/>
                      </a:lnTo>
                      <a:lnTo>
                        <a:pt x="112" y="228"/>
                      </a:lnTo>
                      <a:lnTo>
                        <a:pt x="112" y="228"/>
                      </a:lnTo>
                      <a:lnTo>
                        <a:pt x="112" y="228"/>
                      </a:lnTo>
                      <a:close/>
                      <a:moveTo>
                        <a:pt x="114" y="228"/>
                      </a:moveTo>
                      <a:lnTo>
                        <a:pt x="114" y="228"/>
                      </a:lnTo>
                      <a:lnTo>
                        <a:pt x="114" y="228"/>
                      </a:lnTo>
                      <a:lnTo>
                        <a:pt x="114" y="228"/>
                      </a:lnTo>
                      <a:lnTo>
                        <a:pt x="115" y="228"/>
                      </a:lnTo>
                      <a:lnTo>
                        <a:pt x="114" y="228"/>
                      </a:lnTo>
                      <a:lnTo>
                        <a:pt x="114" y="228"/>
                      </a:lnTo>
                      <a:close/>
                      <a:moveTo>
                        <a:pt x="72" y="228"/>
                      </a:moveTo>
                      <a:lnTo>
                        <a:pt x="72" y="228"/>
                      </a:lnTo>
                      <a:lnTo>
                        <a:pt x="72" y="228"/>
                      </a:lnTo>
                      <a:lnTo>
                        <a:pt x="73" y="228"/>
                      </a:lnTo>
                      <a:lnTo>
                        <a:pt x="73" y="228"/>
                      </a:lnTo>
                      <a:lnTo>
                        <a:pt x="72" y="228"/>
                      </a:lnTo>
                      <a:lnTo>
                        <a:pt x="72" y="228"/>
                      </a:lnTo>
                      <a:close/>
                      <a:moveTo>
                        <a:pt x="119" y="228"/>
                      </a:moveTo>
                      <a:lnTo>
                        <a:pt x="117" y="228"/>
                      </a:lnTo>
                      <a:lnTo>
                        <a:pt x="117" y="227"/>
                      </a:lnTo>
                      <a:lnTo>
                        <a:pt x="117" y="227"/>
                      </a:lnTo>
                      <a:lnTo>
                        <a:pt x="119" y="227"/>
                      </a:lnTo>
                      <a:lnTo>
                        <a:pt x="119" y="228"/>
                      </a:lnTo>
                      <a:lnTo>
                        <a:pt x="119" y="228"/>
                      </a:lnTo>
                      <a:lnTo>
                        <a:pt x="119" y="228"/>
                      </a:lnTo>
                      <a:close/>
                      <a:moveTo>
                        <a:pt x="112" y="228"/>
                      </a:moveTo>
                      <a:lnTo>
                        <a:pt x="112" y="228"/>
                      </a:lnTo>
                      <a:lnTo>
                        <a:pt x="112" y="228"/>
                      </a:lnTo>
                      <a:lnTo>
                        <a:pt x="112" y="228"/>
                      </a:lnTo>
                      <a:lnTo>
                        <a:pt x="112" y="228"/>
                      </a:lnTo>
                      <a:close/>
                      <a:moveTo>
                        <a:pt x="113" y="228"/>
                      </a:moveTo>
                      <a:lnTo>
                        <a:pt x="113" y="228"/>
                      </a:lnTo>
                      <a:lnTo>
                        <a:pt x="113" y="228"/>
                      </a:lnTo>
                      <a:lnTo>
                        <a:pt x="113" y="228"/>
                      </a:lnTo>
                      <a:lnTo>
                        <a:pt x="113" y="228"/>
                      </a:lnTo>
                      <a:close/>
                      <a:moveTo>
                        <a:pt x="114" y="228"/>
                      </a:moveTo>
                      <a:lnTo>
                        <a:pt x="113" y="228"/>
                      </a:lnTo>
                      <a:lnTo>
                        <a:pt x="113" y="228"/>
                      </a:lnTo>
                      <a:lnTo>
                        <a:pt x="114" y="228"/>
                      </a:lnTo>
                      <a:lnTo>
                        <a:pt x="114" y="228"/>
                      </a:lnTo>
                      <a:lnTo>
                        <a:pt x="114" y="228"/>
                      </a:lnTo>
                      <a:close/>
                      <a:moveTo>
                        <a:pt x="119" y="228"/>
                      </a:moveTo>
                      <a:lnTo>
                        <a:pt x="119" y="228"/>
                      </a:lnTo>
                      <a:lnTo>
                        <a:pt x="119" y="228"/>
                      </a:lnTo>
                      <a:lnTo>
                        <a:pt x="119" y="228"/>
                      </a:lnTo>
                      <a:lnTo>
                        <a:pt x="119" y="228"/>
                      </a:lnTo>
                      <a:close/>
                      <a:moveTo>
                        <a:pt x="120" y="228"/>
                      </a:moveTo>
                      <a:lnTo>
                        <a:pt x="120" y="228"/>
                      </a:lnTo>
                      <a:lnTo>
                        <a:pt x="120" y="228"/>
                      </a:lnTo>
                      <a:lnTo>
                        <a:pt x="120" y="228"/>
                      </a:lnTo>
                      <a:lnTo>
                        <a:pt x="120" y="228"/>
                      </a:lnTo>
                      <a:close/>
                      <a:moveTo>
                        <a:pt x="122" y="228"/>
                      </a:moveTo>
                      <a:lnTo>
                        <a:pt x="122" y="228"/>
                      </a:lnTo>
                      <a:lnTo>
                        <a:pt x="122" y="227"/>
                      </a:lnTo>
                      <a:lnTo>
                        <a:pt x="122" y="228"/>
                      </a:lnTo>
                      <a:lnTo>
                        <a:pt x="122" y="228"/>
                      </a:lnTo>
                      <a:close/>
                      <a:moveTo>
                        <a:pt x="122" y="228"/>
                      </a:moveTo>
                      <a:lnTo>
                        <a:pt x="122" y="228"/>
                      </a:lnTo>
                      <a:lnTo>
                        <a:pt x="121" y="227"/>
                      </a:lnTo>
                      <a:lnTo>
                        <a:pt x="122" y="227"/>
                      </a:lnTo>
                      <a:lnTo>
                        <a:pt x="122" y="228"/>
                      </a:lnTo>
                      <a:lnTo>
                        <a:pt x="122" y="228"/>
                      </a:lnTo>
                      <a:lnTo>
                        <a:pt x="122" y="228"/>
                      </a:lnTo>
                      <a:close/>
                      <a:moveTo>
                        <a:pt x="120" y="227"/>
                      </a:moveTo>
                      <a:lnTo>
                        <a:pt x="120" y="227"/>
                      </a:lnTo>
                      <a:lnTo>
                        <a:pt x="120" y="227"/>
                      </a:lnTo>
                      <a:lnTo>
                        <a:pt x="120" y="227"/>
                      </a:lnTo>
                      <a:lnTo>
                        <a:pt x="120" y="227"/>
                      </a:lnTo>
                      <a:lnTo>
                        <a:pt x="120" y="227"/>
                      </a:lnTo>
                      <a:close/>
                      <a:moveTo>
                        <a:pt x="121" y="228"/>
                      </a:moveTo>
                      <a:lnTo>
                        <a:pt x="121" y="228"/>
                      </a:lnTo>
                      <a:lnTo>
                        <a:pt x="121" y="228"/>
                      </a:lnTo>
                      <a:lnTo>
                        <a:pt x="121" y="228"/>
                      </a:lnTo>
                      <a:lnTo>
                        <a:pt x="121" y="228"/>
                      </a:lnTo>
                      <a:lnTo>
                        <a:pt x="121" y="228"/>
                      </a:lnTo>
                      <a:lnTo>
                        <a:pt x="121" y="228"/>
                      </a:lnTo>
                      <a:lnTo>
                        <a:pt x="121" y="228"/>
                      </a:lnTo>
                      <a:close/>
                      <a:moveTo>
                        <a:pt x="117" y="227"/>
                      </a:moveTo>
                      <a:lnTo>
                        <a:pt x="117" y="227"/>
                      </a:lnTo>
                      <a:lnTo>
                        <a:pt x="117" y="227"/>
                      </a:lnTo>
                      <a:lnTo>
                        <a:pt x="117" y="227"/>
                      </a:lnTo>
                      <a:lnTo>
                        <a:pt x="117" y="227"/>
                      </a:lnTo>
                      <a:close/>
                      <a:moveTo>
                        <a:pt x="79" y="227"/>
                      </a:moveTo>
                      <a:lnTo>
                        <a:pt x="79" y="227"/>
                      </a:lnTo>
                      <a:lnTo>
                        <a:pt x="79" y="227"/>
                      </a:lnTo>
                      <a:lnTo>
                        <a:pt x="79" y="227"/>
                      </a:lnTo>
                      <a:lnTo>
                        <a:pt x="79" y="227"/>
                      </a:lnTo>
                      <a:close/>
                      <a:moveTo>
                        <a:pt x="122" y="227"/>
                      </a:moveTo>
                      <a:lnTo>
                        <a:pt x="122" y="227"/>
                      </a:lnTo>
                      <a:lnTo>
                        <a:pt x="122" y="227"/>
                      </a:lnTo>
                      <a:lnTo>
                        <a:pt x="122" y="227"/>
                      </a:lnTo>
                      <a:lnTo>
                        <a:pt x="122" y="227"/>
                      </a:lnTo>
                      <a:close/>
                      <a:moveTo>
                        <a:pt x="121" y="227"/>
                      </a:moveTo>
                      <a:lnTo>
                        <a:pt x="121" y="227"/>
                      </a:lnTo>
                      <a:lnTo>
                        <a:pt x="121" y="227"/>
                      </a:lnTo>
                      <a:lnTo>
                        <a:pt x="121" y="227"/>
                      </a:lnTo>
                      <a:lnTo>
                        <a:pt x="121" y="227"/>
                      </a:lnTo>
                      <a:close/>
                      <a:moveTo>
                        <a:pt x="217" y="228"/>
                      </a:moveTo>
                      <a:lnTo>
                        <a:pt x="216" y="228"/>
                      </a:lnTo>
                      <a:lnTo>
                        <a:pt x="216" y="227"/>
                      </a:lnTo>
                      <a:lnTo>
                        <a:pt x="216" y="227"/>
                      </a:lnTo>
                      <a:lnTo>
                        <a:pt x="216" y="227"/>
                      </a:lnTo>
                      <a:lnTo>
                        <a:pt x="217" y="228"/>
                      </a:lnTo>
                      <a:lnTo>
                        <a:pt x="217" y="228"/>
                      </a:lnTo>
                      <a:lnTo>
                        <a:pt x="217" y="228"/>
                      </a:lnTo>
                      <a:close/>
                      <a:moveTo>
                        <a:pt x="117" y="227"/>
                      </a:moveTo>
                      <a:lnTo>
                        <a:pt x="117" y="227"/>
                      </a:lnTo>
                      <a:lnTo>
                        <a:pt x="117" y="227"/>
                      </a:lnTo>
                      <a:lnTo>
                        <a:pt x="117" y="227"/>
                      </a:lnTo>
                      <a:lnTo>
                        <a:pt x="117" y="227"/>
                      </a:lnTo>
                      <a:close/>
                      <a:moveTo>
                        <a:pt x="125" y="227"/>
                      </a:moveTo>
                      <a:lnTo>
                        <a:pt x="125" y="226"/>
                      </a:lnTo>
                      <a:lnTo>
                        <a:pt x="125" y="226"/>
                      </a:lnTo>
                      <a:lnTo>
                        <a:pt x="125" y="226"/>
                      </a:lnTo>
                      <a:lnTo>
                        <a:pt x="125" y="226"/>
                      </a:lnTo>
                      <a:lnTo>
                        <a:pt x="126" y="226"/>
                      </a:lnTo>
                      <a:lnTo>
                        <a:pt x="125" y="227"/>
                      </a:lnTo>
                      <a:lnTo>
                        <a:pt x="125" y="227"/>
                      </a:lnTo>
                      <a:close/>
                      <a:moveTo>
                        <a:pt x="125" y="226"/>
                      </a:moveTo>
                      <a:lnTo>
                        <a:pt x="125" y="226"/>
                      </a:lnTo>
                      <a:lnTo>
                        <a:pt x="125" y="226"/>
                      </a:lnTo>
                      <a:lnTo>
                        <a:pt x="125" y="226"/>
                      </a:lnTo>
                      <a:lnTo>
                        <a:pt x="125" y="226"/>
                      </a:lnTo>
                      <a:close/>
                      <a:moveTo>
                        <a:pt x="116" y="227"/>
                      </a:moveTo>
                      <a:lnTo>
                        <a:pt x="116" y="226"/>
                      </a:lnTo>
                      <a:lnTo>
                        <a:pt x="116" y="226"/>
                      </a:lnTo>
                      <a:lnTo>
                        <a:pt x="117" y="226"/>
                      </a:lnTo>
                      <a:lnTo>
                        <a:pt x="116" y="226"/>
                      </a:lnTo>
                      <a:lnTo>
                        <a:pt x="116" y="227"/>
                      </a:lnTo>
                      <a:lnTo>
                        <a:pt x="116" y="227"/>
                      </a:lnTo>
                      <a:close/>
                      <a:moveTo>
                        <a:pt x="216" y="226"/>
                      </a:moveTo>
                      <a:lnTo>
                        <a:pt x="216" y="226"/>
                      </a:lnTo>
                      <a:lnTo>
                        <a:pt x="216" y="226"/>
                      </a:lnTo>
                      <a:lnTo>
                        <a:pt x="216" y="226"/>
                      </a:lnTo>
                      <a:lnTo>
                        <a:pt x="216" y="226"/>
                      </a:lnTo>
                      <a:close/>
                      <a:moveTo>
                        <a:pt x="116" y="226"/>
                      </a:moveTo>
                      <a:lnTo>
                        <a:pt x="116" y="226"/>
                      </a:lnTo>
                      <a:lnTo>
                        <a:pt x="116" y="226"/>
                      </a:lnTo>
                      <a:lnTo>
                        <a:pt x="116" y="226"/>
                      </a:lnTo>
                      <a:lnTo>
                        <a:pt x="116" y="226"/>
                      </a:lnTo>
                      <a:close/>
                      <a:moveTo>
                        <a:pt x="175" y="226"/>
                      </a:moveTo>
                      <a:lnTo>
                        <a:pt x="174" y="226"/>
                      </a:lnTo>
                      <a:lnTo>
                        <a:pt x="175" y="225"/>
                      </a:lnTo>
                      <a:lnTo>
                        <a:pt x="175" y="226"/>
                      </a:lnTo>
                      <a:lnTo>
                        <a:pt x="175" y="226"/>
                      </a:lnTo>
                      <a:lnTo>
                        <a:pt x="175" y="226"/>
                      </a:lnTo>
                      <a:close/>
                      <a:moveTo>
                        <a:pt x="126" y="226"/>
                      </a:moveTo>
                      <a:lnTo>
                        <a:pt x="125" y="226"/>
                      </a:lnTo>
                      <a:lnTo>
                        <a:pt x="125" y="226"/>
                      </a:lnTo>
                      <a:lnTo>
                        <a:pt x="126" y="226"/>
                      </a:lnTo>
                      <a:lnTo>
                        <a:pt x="126" y="226"/>
                      </a:lnTo>
                      <a:close/>
                      <a:moveTo>
                        <a:pt x="125" y="226"/>
                      </a:moveTo>
                      <a:lnTo>
                        <a:pt x="125" y="226"/>
                      </a:lnTo>
                      <a:lnTo>
                        <a:pt x="125" y="225"/>
                      </a:lnTo>
                      <a:lnTo>
                        <a:pt x="125" y="226"/>
                      </a:lnTo>
                      <a:lnTo>
                        <a:pt x="125" y="226"/>
                      </a:lnTo>
                      <a:close/>
                      <a:moveTo>
                        <a:pt x="80" y="226"/>
                      </a:moveTo>
                      <a:lnTo>
                        <a:pt x="80" y="226"/>
                      </a:lnTo>
                      <a:lnTo>
                        <a:pt x="80" y="225"/>
                      </a:lnTo>
                      <a:lnTo>
                        <a:pt x="80" y="226"/>
                      </a:lnTo>
                      <a:lnTo>
                        <a:pt x="80" y="226"/>
                      </a:lnTo>
                      <a:close/>
                      <a:moveTo>
                        <a:pt x="77" y="226"/>
                      </a:moveTo>
                      <a:lnTo>
                        <a:pt x="77" y="225"/>
                      </a:lnTo>
                      <a:lnTo>
                        <a:pt x="77" y="226"/>
                      </a:lnTo>
                      <a:lnTo>
                        <a:pt x="77" y="226"/>
                      </a:lnTo>
                      <a:lnTo>
                        <a:pt x="77" y="226"/>
                      </a:lnTo>
                      <a:close/>
                      <a:moveTo>
                        <a:pt x="80" y="225"/>
                      </a:moveTo>
                      <a:lnTo>
                        <a:pt x="80" y="225"/>
                      </a:lnTo>
                      <a:lnTo>
                        <a:pt x="80" y="225"/>
                      </a:lnTo>
                      <a:lnTo>
                        <a:pt x="80" y="225"/>
                      </a:lnTo>
                      <a:lnTo>
                        <a:pt x="80" y="225"/>
                      </a:lnTo>
                      <a:close/>
                      <a:moveTo>
                        <a:pt x="216" y="225"/>
                      </a:moveTo>
                      <a:lnTo>
                        <a:pt x="215" y="225"/>
                      </a:lnTo>
                      <a:lnTo>
                        <a:pt x="216" y="225"/>
                      </a:lnTo>
                      <a:lnTo>
                        <a:pt x="216" y="225"/>
                      </a:lnTo>
                      <a:lnTo>
                        <a:pt x="216" y="225"/>
                      </a:lnTo>
                      <a:close/>
                      <a:moveTo>
                        <a:pt x="172" y="225"/>
                      </a:moveTo>
                      <a:lnTo>
                        <a:pt x="172" y="225"/>
                      </a:lnTo>
                      <a:lnTo>
                        <a:pt x="172" y="225"/>
                      </a:lnTo>
                      <a:lnTo>
                        <a:pt x="172" y="225"/>
                      </a:lnTo>
                      <a:lnTo>
                        <a:pt x="172" y="225"/>
                      </a:lnTo>
                      <a:close/>
                      <a:moveTo>
                        <a:pt x="174" y="225"/>
                      </a:moveTo>
                      <a:lnTo>
                        <a:pt x="174" y="225"/>
                      </a:lnTo>
                      <a:lnTo>
                        <a:pt x="174" y="225"/>
                      </a:lnTo>
                      <a:lnTo>
                        <a:pt x="174" y="225"/>
                      </a:lnTo>
                      <a:lnTo>
                        <a:pt x="174" y="225"/>
                      </a:lnTo>
                      <a:lnTo>
                        <a:pt x="175" y="225"/>
                      </a:lnTo>
                      <a:lnTo>
                        <a:pt x="174" y="225"/>
                      </a:lnTo>
                      <a:lnTo>
                        <a:pt x="174" y="225"/>
                      </a:lnTo>
                      <a:lnTo>
                        <a:pt x="174" y="225"/>
                      </a:lnTo>
                      <a:lnTo>
                        <a:pt x="174" y="225"/>
                      </a:lnTo>
                      <a:close/>
                      <a:moveTo>
                        <a:pt x="149" y="225"/>
                      </a:moveTo>
                      <a:lnTo>
                        <a:pt x="149" y="225"/>
                      </a:lnTo>
                      <a:lnTo>
                        <a:pt x="148" y="225"/>
                      </a:lnTo>
                      <a:lnTo>
                        <a:pt x="149" y="225"/>
                      </a:lnTo>
                      <a:lnTo>
                        <a:pt x="149" y="225"/>
                      </a:lnTo>
                      <a:lnTo>
                        <a:pt x="149" y="225"/>
                      </a:lnTo>
                      <a:lnTo>
                        <a:pt x="149" y="225"/>
                      </a:lnTo>
                      <a:lnTo>
                        <a:pt x="149" y="225"/>
                      </a:lnTo>
                      <a:close/>
                      <a:moveTo>
                        <a:pt x="176" y="225"/>
                      </a:moveTo>
                      <a:lnTo>
                        <a:pt x="175" y="225"/>
                      </a:lnTo>
                      <a:lnTo>
                        <a:pt x="175" y="225"/>
                      </a:lnTo>
                      <a:lnTo>
                        <a:pt x="176" y="225"/>
                      </a:lnTo>
                      <a:lnTo>
                        <a:pt x="176" y="225"/>
                      </a:lnTo>
                      <a:close/>
                      <a:moveTo>
                        <a:pt x="127" y="223"/>
                      </a:moveTo>
                      <a:lnTo>
                        <a:pt x="127" y="222"/>
                      </a:lnTo>
                      <a:lnTo>
                        <a:pt x="127" y="222"/>
                      </a:lnTo>
                      <a:lnTo>
                        <a:pt x="127" y="223"/>
                      </a:lnTo>
                      <a:lnTo>
                        <a:pt x="127" y="223"/>
                      </a:lnTo>
                      <a:close/>
                      <a:moveTo>
                        <a:pt x="148" y="222"/>
                      </a:moveTo>
                      <a:lnTo>
                        <a:pt x="148" y="222"/>
                      </a:lnTo>
                      <a:lnTo>
                        <a:pt x="148" y="222"/>
                      </a:lnTo>
                      <a:lnTo>
                        <a:pt x="148" y="222"/>
                      </a:lnTo>
                      <a:lnTo>
                        <a:pt x="148" y="222"/>
                      </a:lnTo>
                      <a:lnTo>
                        <a:pt x="148" y="222"/>
                      </a:lnTo>
                      <a:close/>
                      <a:moveTo>
                        <a:pt x="133" y="222"/>
                      </a:moveTo>
                      <a:lnTo>
                        <a:pt x="132" y="222"/>
                      </a:lnTo>
                      <a:lnTo>
                        <a:pt x="132" y="222"/>
                      </a:lnTo>
                      <a:lnTo>
                        <a:pt x="133" y="222"/>
                      </a:lnTo>
                      <a:lnTo>
                        <a:pt x="133" y="222"/>
                      </a:lnTo>
                      <a:lnTo>
                        <a:pt x="133" y="222"/>
                      </a:lnTo>
                      <a:close/>
                      <a:moveTo>
                        <a:pt x="133" y="222"/>
                      </a:moveTo>
                      <a:lnTo>
                        <a:pt x="133" y="221"/>
                      </a:lnTo>
                      <a:lnTo>
                        <a:pt x="133" y="221"/>
                      </a:lnTo>
                      <a:lnTo>
                        <a:pt x="133" y="222"/>
                      </a:lnTo>
                      <a:lnTo>
                        <a:pt x="133" y="222"/>
                      </a:lnTo>
                      <a:close/>
                      <a:moveTo>
                        <a:pt x="132" y="222"/>
                      </a:moveTo>
                      <a:lnTo>
                        <a:pt x="132" y="222"/>
                      </a:lnTo>
                      <a:lnTo>
                        <a:pt x="132" y="222"/>
                      </a:lnTo>
                      <a:lnTo>
                        <a:pt x="132" y="222"/>
                      </a:lnTo>
                      <a:lnTo>
                        <a:pt x="132" y="222"/>
                      </a:lnTo>
                      <a:lnTo>
                        <a:pt x="132" y="222"/>
                      </a:lnTo>
                      <a:lnTo>
                        <a:pt x="132" y="222"/>
                      </a:lnTo>
                      <a:lnTo>
                        <a:pt x="132" y="222"/>
                      </a:lnTo>
                      <a:lnTo>
                        <a:pt x="132" y="222"/>
                      </a:lnTo>
                      <a:close/>
                      <a:moveTo>
                        <a:pt x="145" y="222"/>
                      </a:moveTo>
                      <a:lnTo>
                        <a:pt x="143" y="221"/>
                      </a:lnTo>
                      <a:lnTo>
                        <a:pt x="145" y="221"/>
                      </a:lnTo>
                      <a:lnTo>
                        <a:pt x="145" y="221"/>
                      </a:lnTo>
                      <a:lnTo>
                        <a:pt x="145" y="221"/>
                      </a:lnTo>
                      <a:lnTo>
                        <a:pt x="145" y="222"/>
                      </a:lnTo>
                      <a:lnTo>
                        <a:pt x="145" y="222"/>
                      </a:lnTo>
                      <a:close/>
                      <a:moveTo>
                        <a:pt x="133" y="222"/>
                      </a:moveTo>
                      <a:lnTo>
                        <a:pt x="132" y="221"/>
                      </a:lnTo>
                      <a:lnTo>
                        <a:pt x="132" y="221"/>
                      </a:lnTo>
                      <a:lnTo>
                        <a:pt x="133" y="222"/>
                      </a:lnTo>
                      <a:lnTo>
                        <a:pt x="133" y="222"/>
                      </a:lnTo>
                      <a:close/>
                      <a:moveTo>
                        <a:pt x="127" y="221"/>
                      </a:moveTo>
                      <a:lnTo>
                        <a:pt x="127" y="221"/>
                      </a:lnTo>
                      <a:lnTo>
                        <a:pt x="128" y="221"/>
                      </a:lnTo>
                      <a:lnTo>
                        <a:pt x="128" y="221"/>
                      </a:lnTo>
                      <a:lnTo>
                        <a:pt x="128" y="221"/>
                      </a:lnTo>
                      <a:lnTo>
                        <a:pt x="127" y="221"/>
                      </a:lnTo>
                      <a:lnTo>
                        <a:pt x="127" y="221"/>
                      </a:lnTo>
                      <a:close/>
                      <a:moveTo>
                        <a:pt x="217" y="221"/>
                      </a:moveTo>
                      <a:lnTo>
                        <a:pt x="216" y="221"/>
                      </a:lnTo>
                      <a:lnTo>
                        <a:pt x="215" y="221"/>
                      </a:lnTo>
                      <a:lnTo>
                        <a:pt x="215" y="220"/>
                      </a:lnTo>
                      <a:lnTo>
                        <a:pt x="215" y="220"/>
                      </a:lnTo>
                      <a:lnTo>
                        <a:pt x="214" y="219"/>
                      </a:lnTo>
                      <a:lnTo>
                        <a:pt x="215" y="219"/>
                      </a:lnTo>
                      <a:lnTo>
                        <a:pt x="215" y="219"/>
                      </a:lnTo>
                      <a:lnTo>
                        <a:pt x="216" y="220"/>
                      </a:lnTo>
                      <a:lnTo>
                        <a:pt x="216" y="221"/>
                      </a:lnTo>
                      <a:lnTo>
                        <a:pt x="217" y="221"/>
                      </a:lnTo>
                      <a:lnTo>
                        <a:pt x="217" y="221"/>
                      </a:lnTo>
                      <a:close/>
                      <a:moveTo>
                        <a:pt x="128" y="221"/>
                      </a:moveTo>
                      <a:lnTo>
                        <a:pt x="128" y="221"/>
                      </a:lnTo>
                      <a:lnTo>
                        <a:pt x="128" y="221"/>
                      </a:lnTo>
                      <a:lnTo>
                        <a:pt x="128" y="221"/>
                      </a:lnTo>
                      <a:lnTo>
                        <a:pt x="128" y="221"/>
                      </a:lnTo>
                      <a:close/>
                      <a:moveTo>
                        <a:pt x="139" y="221"/>
                      </a:moveTo>
                      <a:lnTo>
                        <a:pt x="137" y="221"/>
                      </a:lnTo>
                      <a:lnTo>
                        <a:pt x="137" y="221"/>
                      </a:lnTo>
                      <a:lnTo>
                        <a:pt x="139" y="221"/>
                      </a:lnTo>
                      <a:lnTo>
                        <a:pt x="139" y="221"/>
                      </a:lnTo>
                      <a:close/>
                      <a:moveTo>
                        <a:pt x="128" y="221"/>
                      </a:moveTo>
                      <a:lnTo>
                        <a:pt x="127" y="221"/>
                      </a:lnTo>
                      <a:lnTo>
                        <a:pt x="128" y="221"/>
                      </a:lnTo>
                      <a:lnTo>
                        <a:pt x="128" y="221"/>
                      </a:lnTo>
                      <a:lnTo>
                        <a:pt x="128" y="221"/>
                      </a:lnTo>
                      <a:close/>
                      <a:moveTo>
                        <a:pt x="137" y="221"/>
                      </a:moveTo>
                      <a:lnTo>
                        <a:pt x="137" y="221"/>
                      </a:lnTo>
                      <a:lnTo>
                        <a:pt x="137" y="221"/>
                      </a:lnTo>
                      <a:lnTo>
                        <a:pt x="137" y="221"/>
                      </a:lnTo>
                      <a:lnTo>
                        <a:pt x="137" y="221"/>
                      </a:lnTo>
                      <a:close/>
                      <a:moveTo>
                        <a:pt x="128" y="221"/>
                      </a:moveTo>
                      <a:lnTo>
                        <a:pt x="128" y="221"/>
                      </a:lnTo>
                      <a:lnTo>
                        <a:pt x="128" y="221"/>
                      </a:lnTo>
                      <a:lnTo>
                        <a:pt x="128" y="221"/>
                      </a:lnTo>
                      <a:lnTo>
                        <a:pt x="128" y="220"/>
                      </a:lnTo>
                      <a:lnTo>
                        <a:pt x="128" y="221"/>
                      </a:lnTo>
                      <a:lnTo>
                        <a:pt x="129" y="221"/>
                      </a:lnTo>
                      <a:lnTo>
                        <a:pt x="128" y="221"/>
                      </a:lnTo>
                      <a:lnTo>
                        <a:pt x="128" y="221"/>
                      </a:lnTo>
                      <a:lnTo>
                        <a:pt x="128" y="221"/>
                      </a:lnTo>
                      <a:lnTo>
                        <a:pt x="128" y="221"/>
                      </a:lnTo>
                      <a:lnTo>
                        <a:pt x="128" y="221"/>
                      </a:lnTo>
                      <a:lnTo>
                        <a:pt x="128" y="221"/>
                      </a:lnTo>
                      <a:close/>
                      <a:moveTo>
                        <a:pt x="128" y="221"/>
                      </a:moveTo>
                      <a:lnTo>
                        <a:pt x="127" y="221"/>
                      </a:lnTo>
                      <a:lnTo>
                        <a:pt x="127" y="221"/>
                      </a:lnTo>
                      <a:lnTo>
                        <a:pt x="128" y="221"/>
                      </a:lnTo>
                      <a:lnTo>
                        <a:pt x="128" y="221"/>
                      </a:lnTo>
                      <a:close/>
                      <a:moveTo>
                        <a:pt x="146" y="221"/>
                      </a:moveTo>
                      <a:lnTo>
                        <a:pt x="145" y="221"/>
                      </a:lnTo>
                      <a:lnTo>
                        <a:pt x="146" y="221"/>
                      </a:lnTo>
                      <a:lnTo>
                        <a:pt x="146" y="221"/>
                      </a:lnTo>
                      <a:lnTo>
                        <a:pt x="146" y="221"/>
                      </a:lnTo>
                      <a:close/>
                      <a:moveTo>
                        <a:pt x="74" y="219"/>
                      </a:moveTo>
                      <a:lnTo>
                        <a:pt x="73" y="219"/>
                      </a:lnTo>
                      <a:lnTo>
                        <a:pt x="73" y="218"/>
                      </a:lnTo>
                      <a:lnTo>
                        <a:pt x="73" y="218"/>
                      </a:lnTo>
                      <a:lnTo>
                        <a:pt x="74" y="219"/>
                      </a:lnTo>
                      <a:lnTo>
                        <a:pt x="74" y="219"/>
                      </a:lnTo>
                      <a:lnTo>
                        <a:pt x="74" y="219"/>
                      </a:lnTo>
                      <a:lnTo>
                        <a:pt x="74" y="219"/>
                      </a:lnTo>
                      <a:close/>
                      <a:moveTo>
                        <a:pt x="85" y="219"/>
                      </a:moveTo>
                      <a:lnTo>
                        <a:pt x="85" y="219"/>
                      </a:lnTo>
                      <a:lnTo>
                        <a:pt x="85" y="219"/>
                      </a:lnTo>
                      <a:lnTo>
                        <a:pt x="85" y="219"/>
                      </a:lnTo>
                      <a:lnTo>
                        <a:pt x="85" y="219"/>
                      </a:lnTo>
                      <a:close/>
                      <a:moveTo>
                        <a:pt x="209" y="214"/>
                      </a:moveTo>
                      <a:lnTo>
                        <a:pt x="208" y="214"/>
                      </a:lnTo>
                      <a:lnTo>
                        <a:pt x="209" y="214"/>
                      </a:lnTo>
                      <a:lnTo>
                        <a:pt x="209" y="214"/>
                      </a:lnTo>
                      <a:lnTo>
                        <a:pt x="209" y="214"/>
                      </a:lnTo>
                      <a:close/>
                      <a:moveTo>
                        <a:pt x="168" y="214"/>
                      </a:moveTo>
                      <a:lnTo>
                        <a:pt x="168" y="214"/>
                      </a:lnTo>
                      <a:lnTo>
                        <a:pt x="168" y="214"/>
                      </a:lnTo>
                      <a:lnTo>
                        <a:pt x="168" y="214"/>
                      </a:lnTo>
                      <a:lnTo>
                        <a:pt x="168" y="214"/>
                      </a:lnTo>
                      <a:close/>
                      <a:moveTo>
                        <a:pt x="169" y="214"/>
                      </a:moveTo>
                      <a:lnTo>
                        <a:pt x="168" y="214"/>
                      </a:lnTo>
                      <a:lnTo>
                        <a:pt x="168" y="214"/>
                      </a:lnTo>
                      <a:lnTo>
                        <a:pt x="169" y="214"/>
                      </a:lnTo>
                      <a:lnTo>
                        <a:pt x="169" y="214"/>
                      </a:lnTo>
                      <a:close/>
                      <a:moveTo>
                        <a:pt x="214" y="206"/>
                      </a:moveTo>
                      <a:lnTo>
                        <a:pt x="213" y="206"/>
                      </a:lnTo>
                      <a:lnTo>
                        <a:pt x="214" y="205"/>
                      </a:lnTo>
                      <a:lnTo>
                        <a:pt x="214" y="206"/>
                      </a:lnTo>
                      <a:lnTo>
                        <a:pt x="214" y="206"/>
                      </a:lnTo>
                      <a:close/>
                      <a:moveTo>
                        <a:pt x="214" y="205"/>
                      </a:moveTo>
                      <a:lnTo>
                        <a:pt x="214" y="205"/>
                      </a:lnTo>
                      <a:lnTo>
                        <a:pt x="214" y="205"/>
                      </a:lnTo>
                      <a:lnTo>
                        <a:pt x="214" y="205"/>
                      </a:lnTo>
                      <a:lnTo>
                        <a:pt x="214" y="205"/>
                      </a:lnTo>
                      <a:lnTo>
                        <a:pt x="214" y="205"/>
                      </a:lnTo>
                      <a:lnTo>
                        <a:pt x="214" y="205"/>
                      </a:lnTo>
                      <a:close/>
                      <a:moveTo>
                        <a:pt x="214" y="205"/>
                      </a:moveTo>
                      <a:lnTo>
                        <a:pt x="214" y="205"/>
                      </a:lnTo>
                      <a:lnTo>
                        <a:pt x="214" y="205"/>
                      </a:lnTo>
                      <a:lnTo>
                        <a:pt x="214" y="205"/>
                      </a:lnTo>
                      <a:lnTo>
                        <a:pt x="214" y="205"/>
                      </a:lnTo>
                      <a:close/>
                      <a:moveTo>
                        <a:pt x="214" y="205"/>
                      </a:moveTo>
                      <a:lnTo>
                        <a:pt x="214" y="205"/>
                      </a:lnTo>
                      <a:lnTo>
                        <a:pt x="214" y="205"/>
                      </a:lnTo>
                      <a:lnTo>
                        <a:pt x="214" y="205"/>
                      </a:lnTo>
                      <a:lnTo>
                        <a:pt x="214" y="205"/>
                      </a:lnTo>
                      <a:lnTo>
                        <a:pt x="214" y="205"/>
                      </a:lnTo>
                      <a:close/>
                      <a:moveTo>
                        <a:pt x="214" y="205"/>
                      </a:moveTo>
                      <a:lnTo>
                        <a:pt x="214" y="205"/>
                      </a:lnTo>
                      <a:lnTo>
                        <a:pt x="214" y="205"/>
                      </a:lnTo>
                      <a:lnTo>
                        <a:pt x="214" y="205"/>
                      </a:lnTo>
                      <a:lnTo>
                        <a:pt x="214" y="205"/>
                      </a:lnTo>
                      <a:close/>
                      <a:moveTo>
                        <a:pt x="214" y="205"/>
                      </a:moveTo>
                      <a:lnTo>
                        <a:pt x="214" y="205"/>
                      </a:lnTo>
                      <a:lnTo>
                        <a:pt x="214" y="205"/>
                      </a:lnTo>
                      <a:lnTo>
                        <a:pt x="214" y="205"/>
                      </a:lnTo>
                      <a:lnTo>
                        <a:pt x="214" y="205"/>
                      </a:lnTo>
                      <a:close/>
                      <a:moveTo>
                        <a:pt x="214" y="203"/>
                      </a:moveTo>
                      <a:lnTo>
                        <a:pt x="214" y="203"/>
                      </a:lnTo>
                      <a:lnTo>
                        <a:pt x="214" y="203"/>
                      </a:lnTo>
                      <a:lnTo>
                        <a:pt x="214" y="203"/>
                      </a:lnTo>
                      <a:lnTo>
                        <a:pt x="214" y="203"/>
                      </a:lnTo>
                      <a:lnTo>
                        <a:pt x="214" y="203"/>
                      </a:lnTo>
                      <a:close/>
                      <a:moveTo>
                        <a:pt x="220" y="203"/>
                      </a:moveTo>
                      <a:lnTo>
                        <a:pt x="219" y="203"/>
                      </a:lnTo>
                      <a:lnTo>
                        <a:pt x="220" y="203"/>
                      </a:lnTo>
                      <a:lnTo>
                        <a:pt x="220" y="203"/>
                      </a:lnTo>
                      <a:lnTo>
                        <a:pt x="220" y="203"/>
                      </a:lnTo>
                      <a:close/>
                      <a:moveTo>
                        <a:pt x="100" y="202"/>
                      </a:moveTo>
                      <a:lnTo>
                        <a:pt x="100" y="202"/>
                      </a:lnTo>
                      <a:lnTo>
                        <a:pt x="100" y="202"/>
                      </a:lnTo>
                      <a:lnTo>
                        <a:pt x="100" y="202"/>
                      </a:lnTo>
                      <a:lnTo>
                        <a:pt x="100" y="202"/>
                      </a:lnTo>
                      <a:close/>
                      <a:moveTo>
                        <a:pt x="214" y="202"/>
                      </a:moveTo>
                      <a:lnTo>
                        <a:pt x="214" y="202"/>
                      </a:lnTo>
                      <a:lnTo>
                        <a:pt x="214" y="202"/>
                      </a:lnTo>
                      <a:lnTo>
                        <a:pt x="214" y="202"/>
                      </a:lnTo>
                      <a:lnTo>
                        <a:pt x="214" y="202"/>
                      </a:lnTo>
                      <a:close/>
                      <a:moveTo>
                        <a:pt x="214" y="202"/>
                      </a:moveTo>
                      <a:lnTo>
                        <a:pt x="214" y="202"/>
                      </a:lnTo>
                      <a:lnTo>
                        <a:pt x="214" y="202"/>
                      </a:lnTo>
                      <a:lnTo>
                        <a:pt x="214" y="202"/>
                      </a:lnTo>
                      <a:lnTo>
                        <a:pt x="214" y="202"/>
                      </a:lnTo>
                      <a:close/>
                      <a:moveTo>
                        <a:pt x="214" y="202"/>
                      </a:moveTo>
                      <a:lnTo>
                        <a:pt x="214" y="202"/>
                      </a:lnTo>
                      <a:lnTo>
                        <a:pt x="214" y="202"/>
                      </a:lnTo>
                      <a:lnTo>
                        <a:pt x="214" y="202"/>
                      </a:lnTo>
                      <a:lnTo>
                        <a:pt x="214" y="202"/>
                      </a:lnTo>
                      <a:close/>
                      <a:moveTo>
                        <a:pt x="139" y="201"/>
                      </a:moveTo>
                      <a:lnTo>
                        <a:pt x="137" y="201"/>
                      </a:lnTo>
                      <a:lnTo>
                        <a:pt x="137" y="201"/>
                      </a:lnTo>
                      <a:lnTo>
                        <a:pt x="139" y="201"/>
                      </a:lnTo>
                      <a:lnTo>
                        <a:pt x="139" y="201"/>
                      </a:lnTo>
                      <a:close/>
                      <a:moveTo>
                        <a:pt x="94" y="194"/>
                      </a:moveTo>
                      <a:lnTo>
                        <a:pt x="94" y="194"/>
                      </a:lnTo>
                      <a:lnTo>
                        <a:pt x="94" y="194"/>
                      </a:lnTo>
                      <a:lnTo>
                        <a:pt x="94" y="194"/>
                      </a:lnTo>
                      <a:lnTo>
                        <a:pt x="93" y="194"/>
                      </a:lnTo>
                      <a:lnTo>
                        <a:pt x="94" y="194"/>
                      </a:lnTo>
                      <a:lnTo>
                        <a:pt x="94" y="194"/>
                      </a:lnTo>
                      <a:lnTo>
                        <a:pt x="94" y="194"/>
                      </a:lnTo>
                      <a:close/>
                      <a:moveTo>
                        <a:pt x="95" y="192"/>
                      </a:moveTo>
                      <a:lnTo>
                        <a:pt x="94" y="192"/>
                      </a:lnTo>
                      <a:lnTo>
                        <a:pt x="94" y="191"/>
                      </a:lnTo>
                      <a:lnTo>
                        <a:pt x="94" y="191"/>
                      </a:lnTo>
                      <a:lnTo>
                        <a:pt x="94" y="191"/>
                      </a:lnTo>
                      <a:lnTo>
                        <a:pt x="94" y="191"/>
                      </a:lnTo>
                      <a:lnTo>
                        <a:pt x="94" y="191"/>
                      </a:lnTo>
                      <a:lnTo>
                        <a:pt x="95" y="191"/>
                      </a:lnTo>
                      <a:lnTo>
                        <a:pt x="95" y="191"/>
                      </a:lnTo>
                      <a:lnTo>
                        <a:pt x="95" y="191"/>
                      </a:lnTo>
                      <a:lnTo>
                        <a:pt x="95" y="191"/>
                      </a:lnTo>
                      <a:lnTo>
                        <a:pt x="95" y="191"/>
                      </a:lnTo>
                      <a:lnTo>
                        <a:pt x="95" y="191"/>
                      </a:lnTo>
                      <a:lnTo>
                        <a:pt x="95" y="192"/>
                      </a:lnTo>
                      <a:lnTo>
                        <a:pt x="95" y="192"/>
                      </a:lnTo>
                      <a:lnTo>
                        <a:pt x="95" y="192"/>
                      </a:lnTo>
                      <a:lnTo>
                        <a:pt x="95" y="192"/>
                      </a:lnTo>
                      <a:lnTo>
                        <a:pt x="95" y="192"/>
                      </a:lnTo>
                      <a:lnTo>
                        <a:pt x="95" y="192"/>
                      </a:lnTo>
                      <a:lnTo>
                        <a:pt x="95" y="192"/>
                      </a:lnTo>
                      <a:close/>
                      <a:moveTo>
                        <a:pt x="95" y="192"/>
                      </a:moveTo>
                      <a:lnTo>
                        <a:pt x="95" y="192"/>
                      </a:lnTo>
                      <a:lnTo>
                        <a:pt x="95" y="192"/>
                      </a:lnTo>
                      <a:lnTo>
                        <a:pt x="95" y="192"/>
                      </a:lnTo>
                      <a:lnTo>
                        <a:pt x="95" y="192"/>
                      </a:lnTo>
                      <a:close/>
                      <a:moveTo>
                        <a:pt x="93" y="193"/>
                      </a:moveTo>
                      <a:lnTo>
                        <a:pt x="92" y="193"/>
                      </a:lnTo>
                      <a:lnTo>
                        <a:pt x="92" y="193"/>
                      </a:lnTo>
                      <a:lnTo>
                        <a:pt x="92" y="193"/>
                      </a:lnTo>
                      <a:lnTo>
                        <a:pt x="92" y="193"/>
                      </a:lnTo>
                      <a:lnTo>
                        <a:pt x="92" y="192"/>
                      </a:lnTo>
                      <a:lnTo>
                        <a:pt x="93" y="192"/>
                      </a:lnTo>
                      <a:lnTo>
                        <a:pt x="93" y="192"/>
                      </a:lnTo>
                      <a:lnTo>
                        <a:pt x="93" y="192"/>
                      </a:lnTo>
                      <a:lnTo>
                        <a:pt x="93" y="192"/>
                      </a:lnTo>
                      <a:lnTo>
                        <a:pt x="94" y="192"/>
                      </a:lnTo>
                      <a:lnTo>
                        <a:pt x="94" y="192"/>
                      </a:lnTo>
                      <a:lnTo>
                        <a:pt x="93" y="192"/>
                      </a:lnTo>
                      <a:lnTo>
                        <a:pt x="93" y="193"/>
                      </a:lnTo>
                      <a:lnTo>
                        <a:pt x="93" y="193"/>
                      </a:lnTo>
                      <a:lnTo>
                        <a:pt x="93" y="193"/>
                      </a:lnTo>
                      <a:lnTo>
                        <a:pt x="93" y="193"/>
                      </a:lnTo>
                      <a:lnTo>
                        <a:pt x="93" y="193"/>
                      </a:lnTo>
                      <a:lnTo>
                        <a:pt x="93" y="193"/>
                      </a:lnTo>
                      <a:lnTo>
                        <a:pt x="92" y="193"/>
                      </a:lnTo>
                      <a:lnTo>
                        <a:pt x="93" y="193"/>
                      </a:lnTo>
                      <a:lnTo>
                        <a:pt x="93" y="193"/>
                      </a:lnTo>
                      <a:lnTo>
                        <a:pt x="93" y="193"/>
                      </a:lnTo>
                      <a:close/>
                      <a:moveTo>
                        <a:pt x="96" y="189"/>
                      </a:moveTo>
                      <a:lnTo>
                        <a:pt x="96" y="189"/>
                      </a:lnTo>
                      <a:lnTo>
                        <a:pt x="96" y="189"/>
                      </a:lnTo>
                      <a:lnTo>
                        <a:pt x="96" y="189"/>
                      </a:lnTo>
                      <a:lnTo>
                        <a:pt x="95" y="188"/>
                      </a:lnTo>
                      <a:lnTo>
                        <a:pt x="95" y="188"/>
                      </a:lnTo>
                      <a:lnTo>
                        <a:pt x="95" y="188"/>
                      </a:lnTo>
                      <a:lnTo>
                        <a:pt x="94" y="188"/>
                      </a:lnTo>
                      <a:lnTo>
                        <a:pt x="94" y="187"/>
                      </a:lnTo>
                      <a:lnTo>
                        <a:pt x="94" y="187"/>
                      </a:lnTo>
                      <a:lnTo>
                        <a:pt x="94" y="187"/>
                      </a:lnTo>
                      <a:lnTo>
                        <a:pt x="94" y="187"/>
                      </a:lnTo>
                      <a:lnTo>
                        <a:pt x="94" y="187"/>
                      </a:lnTo>
                      <a:lnTo>
                        <a:pt x="95" y="186"/>
                      </a:lnTo>
                      <a:lnTo>
                        <a:pt x="95" y="186"/>
                      </a:lnTo>
                      <a:lnTo>
                        <a:pt x="95" y="186"/>
                      </a:lnTo>
                      <a:lnTo>
                        <a:pt x="95" y="186"/>
                      </a:lnTo>
                      <a:lnTo>
                        <a:pt x="96" y="186"/>
                      </a:lnTo>
                      <a:lnTo>
                        <a:pt x="96" y="186"/>
                      </a:lnTo>
                      <a:lnTo>
                        <a:pt x="96" y="187"/>
                      </a:lnTo>
                      <a:lnTo>
                        <a:pt x="97" y="187"/>
                      </a:lnTo>
                      <a:lnTo>
                        <a:pt x="97" y="187"/>
                      </a:lnTo>
                      <a:lnTo>
                        <a:pt x="97" y="187"/>
                      </a:lnTo>
                      <a:lnTo>
                        <a:pt x="97" y="188"/>
                      </a:lnTo>
                      <a:lnTo>
                        <a:pt x="97" y="188"/>
                      </a:lnTo>
                      <a:lnTo>
                        <a:pt x="97" y="189"/>
                      </a:lnTo>
                      <a:lnTo>
                        <a:pt x="97" y="188"/>
                      </a:lnTo>
                      <a:lnTo>
                        <a:pt x="97" y="188"/>
                      </a:lnTo>
                      <a:lnTo>
                        <a:pt x="97" y="188"/>
                      </a:lnTo>
                      <a:lnTo>
                        <a:pt x="97" y="189"/>
                      </a:lnTo>
                      <a:lnTo>
                        <a:pt x="97" y="189"/>
                      </a:lnTo>
                      <a:lnTo>
                        <a:pt x="97" y="189"/>
                      </a:lnTo>
                      <a:lnTo>
                        <a:pt x="97" y="189"/>
                      </a:lnTo>
                      <a:lnTo>
                        <a:pt x="97" y="189"/>
                      </a:lnTo>
                      <a:lnTo>
                        <a:pt x="96" y="189"/>
                      </a:lnTo>
                      <a:lnTo>
                        <a:pt x="96" y="189"/>
                      </a:lnTo>
                      <a:lnTo>
                        <a:pt x="96" y="189"/>
                      </a:lnTo>
                      <a:lnTo>
                        <a:pt x="96" y="189"/>
                      </a:lnTo>
                      <a:close/>
                      <a:moveTo>
                        <a:pt x="150" y="172"/>
                      </a:moveTo>
                      <a:lnTo>
                        <a:pt x="149" y="172"/>
                      </a:lnTo>
                      <a:lnTo>
                        <a:pt x="149" y="171"/>
                      </a:lnTo>
                      <a:lnTo>
                        <a:pt x="148" y="171"/>
                      </a:lnTo>
                      <a:lnTo>
                        <a:pt x="149" y="171"/>
                      </a:lnTo>
                      <a:lnTo>
                        <a:pt x="149" y="171"/>
                      </a:lnTo>
                      <a:lnTo>
                        <a:pt x="149" y="171"/>
                      </a:lnTo>
                      <a:lnTo>
                        <a:pt x="150" y="171"/>
                      </a:lnTo>
                      <a:lnTo>
                        <a:pt x="150" y="171"/>
                      </a:lnTo>
                      <a:lnTo>
                        <a:pt x="150" y="171"/>
                      </a:lnTo>
                      <a:lnTo>
                        <a:pt x="150" y="171"/>
                      </a:lnTo>
                      <a:lnTo>
                        <a:pt x="152" y="171"/>
                      </a:lnTo>
                      <a:lnTo>
                        <a:pt x="152" y="172"/>
                      </a:lnTo>
                      <a:lnTo>
                        <a:pt x="150" y="172"/>
                      </a:lnTo>
                      <a:lnTo>
                        <a:pt x="150" y="172"/>
                      </a:lnTo>
                      <a:lnTo>
                        <a:pt x="150" y="172"/>
                      </a:lnTo>
                      <a:lnTo>
                        <a:pt x="150" y="172"/>
                      </a:lnTo>
                      <a:lnTo>
                        <a:pt x="150" y="172"/>
                      </a:lnTo>
                      <a:close/>
                      <a:moveTo>
                        <a:pt x="42" y="161"/>
                      </a:moveTo>
                      <a:lnTo>
                        <a:pt x="42" y="161"/>
                      </a:lnTo>
                      <a:lnTo>
                        <a:pt x="42" y="161"/>
                      </a:lnTo>
                      <a:lnTo>
                        <a:pt x="41" y="161"/>
                      </a:lnTo>
                      <a:lnTo>
                        <a:pt x="41" y="161"/>
                      </a:lnTo>
                      <a:lnTo>
                        <a:pt x="41" y="160"/>
                      </a:lnTo>
                      <a:lnTo>
                        <a:pt x="41" y="160"/>
                      </a:lnTo>
                      <a:lnTo>
                        <a:pt x="41" y="160"/>
                      </a:lnTo>
                      <a:lnTo>
                        <a:pt x="42" y="160"/>
                      </a:lnTo>
                      <a:lnTo>
                        <a:pt x="42" y="160"/>
                      </a:lnTo>
                      <a:lnTo>
                        <a:pt x="42" y="160"/>
                      </a:lnTo>
                      <a:lnTo>
                        <a:pt x="43" y="161"/>
                      </a:lnTo>
                      <a:lnTo>
                        <a:pt x="43" y="161"/>
                      </a:lnTo>
                      <a:lnTo>
                        <a:pt x="42" y="161"/>
                      </a:lnTo>
                      <a:lnTo>
                        <a:pt x="42" y="161"/>
                      </a:lnTo>
                      <a:close/>
                      <a:moveTo>
                        <a:pt x="141" y="156"/>
                      </a:moveTo>
                      <a:lnTo>
                        <a:pt x="141" y="156"/>
                      </a:lnTo>
                      <a:lnTo>
                        <a:pt x="141" y="156"/>
                      </a:lnTo>
                      <a:lnTo>
                        <a:pt x="141" y="156"/>
                      </a:lnTo>
                      <a:lnTo>
                        <a:pt x="141" y="156"/>
                      </a:lnTo>
                      <a:close/>
                      <a:moveTo>
                        <a:pt x="165" y="156"/>
                      </a:moveTo>
                      <a:lnTo>
                        <a:pt x="163" y="156"/>
                      </a:lnTo>
                      <a:lnTo>
                        <a:pt x="163" y="156"/>
                      </a:lnTo>
                      <a:lnTo>
                        <a:pt x="165" y="156"/>
                      </a:lnTo>
                      <a:lnTo>
                        <a:pt x="165" y="155"/>
                      </a:lnTo>
                      <a:lnTo>
                        <a:pt x="165" y="155"/>
                      </a:lnTo>
                      <a:lnTo>
                        <a:pt x="163" y="154"/>
                      </a:lnTo>
                      <a:lnTo>
                        <a:pt x="165" y="154"/>
                      </a:lnTo>
                      <a:lnTo>
                        <a:pt x="163" y="153"/>
                      </a:lnTo>
                      <a:lnTo>
                        <a:pt x="163" y="153"/>
                      </a:lnTo>
                      <a:lnTo>
                        <a:pt x="162" y="154"/>
                      </a:lnTo>
                      <a:lnTo>
                        <a:pt x="162" y="153"/>
                      </a:lnTo>
                      <a:lnTo>
                        <a:pt x="162" y="153"/>
                      </a:lnTo>
                      <a:lnTo>
                        <a:pt x="161" y="152"/>
                      </a:lnTo>
                      <a:lnTo>
                        <a:pt x="161" y="151"/>
                      </a:lnTo>
                      <a:lnTo>
                        <a:pt x="161" y="151"/>
                      </a:lnTo>
                      <a:lnTo>
                        <a:pt x="161" y="151"/>
                      </a:lnTo>
                      <a:lnTo>
                        <a:pt x="161" y="149"/>
                      </a:lnTo>
                      <a:lnTo>
                        <a:pt x="162" y="148"/>
                      </a:lnTo>
                      <a:lnTo>
                        <a:pt x="162" y="148"/>
                      </a:lnTo>
                      <a:lnTo>
                        <a:pt x="162" y="148"/>
                      </a:lnTo>
                      <a:lnTo>
                        <a:pt x="162" y="147"/>
                      </a:lnTo>
                      <a:lnTo>
                        <a:pt x="162" y="147"/>
                      </a:lnTo>
                      <a:lnTo>
                        <a:pt x="162" y="146"/>
                      </a:lnTo>
                      <a:lnTo>
                        <a:pt x="163" y="146"/>
                      </a:lnTo>
                      <a:lnTo>
                        <a:pt x="163" y="147"/>
                      </a:lnTo>
                      <a:lnTo>
                        <a:pt x="165" y="149"/>
                      </a:lnTo>
                      <a:lnTo>
                        <a:pt x="165" y="149"/>
                      </a:lnTo>
                      <a:lnTo>
                        <a:pt x="165" y="151"/>
                      </a:lnTo>
                      <a:lnTo>
                        <a:pt x="165" y="152"/>
                      </a:lnTo>
                      <a:lnTo>
                        <a:pt x="165" y="152"/>
                      </a:lnTo>
                      <a:lnTo>
                        <a:pt x="165" y="152"/>
                      </a:lnTo>
                      <a:lnTo>
                        <a:pt x="165" y="152"/>
                      </a:lnTo>
                      <a:lnTo>
                        <a:pt x="165" y="152"/>
                      </a:lnTo>
                      <a:lnTo>
                        <a:pt x="166" y="152"/>
                      </a:lnTo>
                      <a:lnTo>
                        <a:pt x="166" y="152"/>
                      </a:lnTo>
                      <a:lnTo>
                        <a:pt x="166" y="152"/>
                      </a:lnTo>
                      <a:lnTo>
                        <a:pt x="167" y="152"/>
                      </a:lnTo>
                      <a:lnTo>
                        <a:pt x="167" y="152"/>
                      </a:lnTo>
                      <a:lnTo>
                        <a:pt x="167" y="153"/>
                      </a:lnTo>
                      <a:lnTo>
                        <a:pt x="167" y="154"/>
                      </a:lnTo>
                      <a:lnTo>
                        <a:pt x="167" y="155"/>
                      </a:lnTo>
                      <a:lnTo>
                        <a:pt x="167" y="155"/>
                      </a:lnTo>
                      <a:lnTo>
                        <a:pt x="166" y="156"/>
                      </a:lnTo>
                      <a:lnTo>
                        <a:pt x="166" y="156"/>
                      </a:lnTo>
                      <a:lnTo>
                        <a:pt x="165" y="156"/>
                      </a:lnTo>
                      <a:lnTo>
                        <a:pt x="165" y="156"/>
                      </a:lnTo>
                      <a:lnTo>
                        <a:pt x="165" y="156"/>
                      </a:lnTo>
                      <a:lnTo>
                        <a:pt x="165" y="156"/>
                      </a:lnTo>
                      <a:close/>
                      <a:moveTo>
                        <a:pt x="215" y="148"/>
                      </a:moveTo>
                      <a:lnTo>
                        <a:pt x="214" y="148"/>
                      </a:lnTo>
                      <a:lnTo>
                        <a:pt x="214" y="147"/>
                      </a:lnTo>
                      <a:lnTo>
                        <a:pt x="214" y="147"/>
                      </a:lnTo>
                      <a:lnTo>
                        <a:pt x="215" y="148"/>
                      </a:lnTo>
                      <a:lnTo>
                        <a:pt x="215" y="148"/>
                      </a:lnTo>
                      <a:lnTo>
                        <a:pt x="215" y="148"/>
                      </a:lnTo>
                      <a:close/>
                      <a:moveTo>
                        <a:pt x="213" y="147"/>
                      </a:moveTo>
                      <a:lnTo>
                        <a:pt x="213" y="147"/>
                      </a:lnTo>
                      <a:lnTo>
                        <a:pt x="213" y="147"/>
                      </a:lnTo>
                      <a:lnTo>
                        <a:pt x="213" y="147"/>
                      </a:lnTo>
                      <a:lnTo>
                        <a:pt x="213" y="147"/>
                      </a:lnTo>
                      <a:close/>
                      <a:moveTo>
                        <a:pt x="216" y="147"/>
                      </a:moveTo>
                      <a:lnTo>
                        <a:pt x="215" y="147"/>
                      </a:lnTo>
                      <a:lnTo>
                        <a:pt x="215" y="147"/>
                      </a:lnTo>
                      <a:lnTo>
                        <a:pt x="215" y="147"/>
                      </a:lnTo>
                      <a:lnTo>
                        <a:pt x="216" y="147"/>
                      </a:lnTo>
                      <a:lnTo>
                        <a:pt x="216" y="147"/>
                      </a:lnTo>
                      <a:lnTo>
                        <a:pt x="216" y="147"/>
                      </a:lnTo>
                      <a:close/>
                      <a:moveTo>
                        <a:pt x="208" y="146"/>
                      </a:moveTo>
                      <a:lnTo>
                        <a:pt x="208" y="146"/>
                      </a:lnTo>
                      <a:lnTo>
                        <a:pt x="208" y="146"/>
                      </a:lnTo>
                      <a:lnTo>
                        <a:pt x="208" y="146"/>
                      </a:lnTo>
                      <a:lnTo>
                        <a:pt x="208" y="146"/>
                      </a:lnTo>
                      <a:lnTo>
                        <a:pt x="208" y="146"/>
                      </a:lnTo>
                      <a:lnTo>
                        <a:pt x="208" y="146"/>
                      </a:lnTo>
                      <a:lnTo>
                        <a:pt x="208" y="146"/>
                      </a:lnTo>
                      <a:lnTo>
                        <a:pt x="208" y="146"/>
                      </a:lnTo>
                      <a:lnTo>
                        <a:pt x="208" y="146"/>
                      </a:lnTo>
                      <a:lnTo>
                        <a:pt x="208" y="146"/>
                      </a:lnTo>
                      <a:close/>
                      <a:moveTo>
                        <a:pt x="207" y="146"/>
                      </a:moveTo>
                      <a:lnTo>
                        <a:pt x="207" y="146"/>
                      </a:lnTo>
                      <a:lnTo>
                        <a:pt x="207" y="146"/>
                      </a:lnTo>
                      <a:lnTo>
                        <a:pt x="207" y="146"/>
                      </a:lnTo>
                      <a:lnTo>
                        <a:pt x="207" y="146"/>
                      </a:lnTo>
                      <a:close/>
                      <a:moveTo>
                        <a:pt x="207" y="146"/>
                      </a:moveTo>
                      <a:lnTo>
                        <a:pt x="207" y="146"/>
                      </a:lnTo>
                      <a:lnTo>
                        <a:pt x="207" y="146"/>
                      </a:lnTo>
                      <a:lnTo>
                        <a:pt x="207" y="146"/>
                      </a:lnTo>
                      <a:lnTo>
                        <a:pt x="207" y="146"/>
                      </a:lnTo>
                      <a:close/>
                      <a:moveTo>
                        <a:pt x="208" y="146"/>
                      </a:moveTo>
                      <a:lnTo>
                        <a:pt x="207" y="146"/>
                      </a:lnTo>
                      <a:lnTo>
                        <a:pt x="207" y="146"/>
                      </a:lnTo>
                      <a:lnTo>
                        <a:pt x="208" y="146"/>
                      </a:lnTo>
                      <a:lnTo>
                        <a:pt x="208" y="146"/>
                      </a:lnTo>
                      <a:close/>
                      <a:moveTo>
                        <a:pt x="213" y="143"/>
                      </a:moveTo>
                      <a:lnTo>
                        <a:pt x="213" y="143"/>
                      </a:lnTo>
                      <a:lnTo>
                        <a:pt x="213" y="143"/>
                      </a:lnTo>
                      <a:lnTo>
                        <a:pt x="213" y="143"/>
                      </a:lnTo>
                      <a:lnTo>
                        <a:pt x="213" y="143"/>
                      </a:lnTo>
                      <a:lnTo>
                        <a:pt x="213" y="143"/>
                      </a:lnTo>
                      <a:close/>
                      <a:moveTo>
                        <a:pt x="174" y="143"/>
                      </a:moveTo>
                      <a:lnTo>
                        <a:pt x="174" y="143"/>
                      </a:lnTo>
                      <a:lnTo>
                        <a:pt x="174" y="143"/>
                      </a:lnTo>
                      <a:lnTo>
                        <a:pt x="174" y="143"/>
                      </a:lnTo>
                      <a:lnTo>
                        <a:pt x="174" y="143"/>
                      </a:lnTo>
                      <a:lnTo>
                        <a:pt x="174" y="143"/>
                      </a:lnTo>
                      <a:lnTo>
                        <a:pt x="174" y="143"/>
                      </a:lnTo>
                      <a:close/>
                      <a:moveTo>
                        <a:pt x="210" y="135"/>
                      </a:moveTo>
                      <a:lnTo>
                        <a:pt x="209" y="135"/>
                      </a:lnTo>
                      <a:lnTo>
                        <a:pt x="209" y="135"/>
                      </a:lnTo>
                      <a:lnTo>
                        <a:pt x="209" y="135"/>
                      </a:lnTo>
                      <a:lnTo>
                        <a:pt x="210" y="135"/>
                      </a:lnTo>
                      <a:lnTo>
                        <a:pt x="210" y="135"/>
                      </a:lnTo>
                      <a:lnTo>
                        <a:pt x="210" y="135"/>
                      </a:lnTo>
                      <a:lnTo>
                        <a:pt x="210" y="135"/>
                      </a:lnTo>
                      <a:close/>
                      <a:moveTo>
                        <a:pt x="172" y="128"/>
                      </a:moveTo>
                      <a:lnTo>
                        <a:pt x="172" y="128"/>
                      </a:lnTo>
                      <a:lnTo>
                        <a:pt x="172" y="128"/>
                      </a:lnTo>
                      <a:lnTo>
                        <a:pt x="172" y="128"/>
                      </a:lnTo>
                      <a:lnTo>
                        <a:pt x="172" y="128"/>
                      </a:lnTo>
                      <a:lnTo>
                        <a:pt x="172" y="128"/>
                      </a:lnTo>
                      <a:close/>
                      <a:moveTo>
                        <a:pt x="141" y="91"/>
                      </a:moveTo>
                      <a:lnTo>
                        <a:pt x="141" y="91"/>
                      </a:lnTo>
                      <a:lnTo>
                        <a:pt x="141" y="91"/>
                      </a:lnTo>
                      <a:lnTo>
                        <a:pt x="141" y="91"/>
                      </a:lnTo>
                      <a:lnTo>
                        <a:pt x="141" y="91"/>
                      </a:lnTo>
                      <a:close/>
                      <a:moveTo>
                        <a:pt x="149" y="85"/>
                      </a:moveTo>
                      <a:lnTo>
                        <a:pt x="149" y="85"/>
                      </a:lnTo>
                      <a:lnTo>
                        <a:pt x="149" y="85"/>
                      </a:lnTo>
                      <a:lnTo>
                        <a:pt x="149" y="85"/>
                      </a:lnTo>
                      <a:lnTo>
                        <a:pt x="149" y="85"/>
                      </a:lnTo>
                      <a:close/>
                      <a:moveTo>
                        <a:pt x="140" y="81"/>
                      </a:moveTo>
                      <a:lnTo>
                        <a:pt x="140" y="81"/>
                      </a:lnTo>
                      <a:lnTo>
                        <a:pt x="140" y="80"/>
                      </a:lnTo>
                      <a:lnTo>
                        <a:pt x="141" y="81"/>
                      </a:lnTo>
                      <a:lnTo>
                        <a:pt x="140" y="81"/>
                      </a:lnTo>
                      <a:lnTo>
                        <a:pt x="140" y="81"/>
                      </a:lnTo>
                      <a:close/>
                      <a:moveTo>
                        <a:pt x="149" y="45"/>
                      </a:moveTo>
                      <a:lnTo>
                        <a:pt x="148" y="44"/>
                      </a:lnTo>
                      <a:lnTo>
                        <a:pt x="147" y="42"/>
                      </a:lnTo>
                      <a:lnTo>
                        <a:pt x="147" y="42"/>
                      </a:lnTo>
                      <a:lnTo>
                        <a:pt x="146" y="41"/>
                      </a:lnTo>
                      <a:lnTo>
                        <a:pt x="145" y="40"/>
                      </a:lnTo>
                      <a:lnTo>
                        <a:pt x="143" y="38"/>
                      </a:lnTo>
                      <a:lnTo>
                        <a:pt x="145" y="36"/>
                      </a:lnTo>
                      <a:lnTo>
                        <a:pt x="146" y="36"/>
                      </a:lnTo>
                      <a:lnTo>
                        <a:pt x="146" y="34"/>
                      </a:lnTo>
                      <a:lnTo>
                        <a:pt x="143" y="33"/>
                      </a:lnTo>
                      <a:lnTo>
                        <a:pt x="142" y="32"/>
                      </a:lnTo>
                      <a:lnTo>
                        <a:pt x="142" y="31"/>
                      </a:lnTo>
                      <a:lnTo>
                        <a:pt x="140" y="29"/>
                      </a:lnTo>
                      <a:lnTo>
                        <a:pt x="140" y="26"/>
                      </a:lnTo>
                      <a:lnTo>
                        <a:pt x="136" y="24"/>
                      </a:lnTo>
                      <a:lnTo>
                        <a:pt x="136" y="21"/>
                      </a:lnTo>
                      <a:lnTo>
                        <a:pt x="135" y="20"/>
                      </a:lnTo>
                      <a:lnTo>
                        <a:pt x="135" y="18"/>
                      </a:lnTo>
                      <a:lnTo>
                        <a:pt x="133" y="16"/>
                      </a:lnTo>
                      <a:lnTo>
                        <a:pt x="132" y="14"/>
                      </a:lnTo>
                      <a:lnTo>
                        <a:pt x="129" y="13"/>
                      </a:lnTo>
                      <a:lnTo>
                        <a:pt x="130" y="12"/>
                      </a:lnTo>
                      <a:lnTo>
                        <a:pt x="127" y="12"/>
                      </a:lnTo>
                      <a:lnTo>
                        <a:pt x="126" y="11"/>
                      </a:lnTo>
                      <a:lnTo>
                        <a:pt x="122" y="11"/>
                      </a:lnTo>
                      <a:lnTo>
                        <a:pt x="121" y="11"/>
                      </a:lnTo>
                      <a:lnTo>
                        <a:pt x="123" y="11"/>
                      </a:lnTo>
                      <a:lnTo>
                        <a:pt x="126" y="9"/>
                      </a:lnTo>
                      <a:lnTo>
                        <a:pt x="126" y="8"/>
                      </a:lnTo>
                      <a:lnTo>
                        <a:pt x="126" y="6"/>
                      </a:lnTo>
                      <a:lnTo>
                        <a:pt x="125" y="5"/>
                      </a:lnTo>
                      <a:lnTo>
                        <a:pt x="125" y="5"/>
                      </a:lnTo>
                      <a:lnTo>
                        <a:pt x="126" y="5"/>
                      </a:lnTo>
                      <a:lnTo>
                        <a:pt x="127" y="6"/>
                      </a:lnTo>
                      <a:lnTo>
                        <a:pt x="127" y="5"/>
                      </a:lnTo>
                      <a:lnTo>
                        <a:pt x="128" y="5"/>
                      </a:lnTo>
                      <a:lnTo>
                        <a:pt x="128" y="4"/>
                      </a:lnTo>
                      <a:lnTo>
                        <a:pt x="128" y="4"/>
                      </a:lnTo>
                      <a:lnTo>
                        <a:pt x="129" y="4"/>
                      </a:lnTo>
                      <a:lnTo>
                        <a:pt x="130" y="4"/>
                      </a:lnTo>
                      <a:lnTo>
                        <a:pt x="132" y="5"/>
                      </a:lnTo>
                      <a:lnTo>
                        <a:pt x="132" y="6"/>
                      </a:lnTo>
                      <a:lnTo>
                        <a:pt x="134" y="6"/>
                      </a:lnTo>
                      <a:lnTo>
                        <a:pt x="137" y="8"/>
                      </a:lnTo>
                      <a:lnTo>
                        <a:pt x="140" y="9"/>
                      </a:lnTo>
                      <a:lnTo>
                        <a:pt x="142" y="11"/>
                      </a:lnTo>
                      <a:lnTo>
                        <a:pt x="145" y="12"/>
                      </a:lnTo>
                      <a:lnTo>
                        <a:pt x="145" y="12"/>
                      </a:lnTo>
                      <a:lnTo>
                        <a:pt x="145" y="13"/>
                      </a:lnTo>
                      <a:lnTo>
                        <a:pt x="146" y="13"/>
                      </a:lnTo>
                      <a:lnTo>
                        <a:pt x="147" y="14"/>
                      </a:lnTo>
                      <a:lnTo>
                        <a:pt x="147" y="14"/>
                      </a:lnTo>
                      <a:lnTo>
                        <a:pt x="148" y="15"/>
                      </a:lnTo>
                      <a:lnTo>
                        <a:pt x="149" y="15"/>
                      </a:lnTo>
                      <a:lnTo>
                        <a:pt x="150" y="16"/>
                      </a:lnTo>
                      <a:lnTo>
                        <a:pt x="152" y="18"/>
                      </a:lnTo>
                      <a:lnTo>
                        <a:pt x="154" y="19"/>
                      </a:lnTo>
                      <a:lnTo>
                        <a:pt x="155" y="20"/>
                      </a:lnTo>
                      <a:lnTo>
                        <a:pt x="156" y="20"/>
                      </a:lnTo>
                      <a:lnTo>
                        <a:pt x="157" y="21"/>
                      </a:lnTo>
                      <a:lnTo>
                        <a:pt x="157" y="21"/>
                      </a:lnTo>
                      <a:lnTo>
                        <a:pt x="159" y="21"/>
                      </a:lnTo>
                      <a:lnTo>
                        <a:pt x="161" y="22"/>
                      </a:lnTo>
                      <a:lnTo>
                        <a:pt x="161" y="22"/>
                      </a:lnTo>
                      <a:lnTo>
                        <a:pt x="162" y="24"/>
                      </a:lnTo>
                      <a:lnTo>
                        <a:pt x="165" y="25"/>
                      </a:lnTo>
                      <a:lnTo>
                        <a:pt x="167" y="25"/>
                      </a:lnTo>
                      <a:lnTo>
                        <a:pt x="168" y="26"/>
                      </a:lnTo>
                      <a:lnTo>
                        <a:pt x="169" y="27"/>
                      </a:lnTo>
                      <a:lnTo>
                        <a:pt x="173" y="28"/>
                      </a:lnTo>
                      <a:lnTo>
                        <a:pt x="174" y="28"/>
                      </a:lnTo>
                      <a:lnTo>
                        <a:pt x="175" y="29"/>
                      </a:lnTo>
                      <a:lnTo>
                        <a:pt x="176" y="33"/>
                      </a:lnTo>
                      <a:lnTo>
                        <a:pt x="179" y="29"/>
                      </a:lnTo>
                      <a:lnTo>
                        <a:pt x="182" y="33"/>
                      </a:lnTo>
                      <a:lnTo>
                        <a:pt x="183" y="31"/>
                      </a:lnTo>
                      <a:lnTo>
                        <a:pt x="186" y="31"/>
                      </a:lnTo>
                      <a:lnTo>
                        <a:pt x="187" y="31"/>
                      </a:lnTo>
                      <a:lnTo>
                        <a:pt x="187" y="32"/>
                      </a:lnTo>
                      <a:lnTo>
                        <a:pt x="188" y="32"/>
                      </a:lnTo>
                      <a:lnTo>
                        <a:pt x="188" y="33"/>
                      </a:lnTo>
                      <a:lnTo>
                        <a:pt x="189" y="33"/>
                      </a:lnTo>
                      <a:lnTo>
                        <a:pt x="190" y="36"/>
                      </a:lnTo>
                      <a:lnTo>
                        <a:pt x="193" y="34"/>
                      </a:lnTo>
                      <a:lnTo>
                        <a:pt x="194" y="38"/>
                      </a:lnTo>
                      <a:lnTo>
                        <a:pt x="196" y="34"/>
                      </a:lnTo>
                      <a:lnTo>
                        <a:pt x="197" y="34"/>
                      </a:lnTo>
                      <a:lnTo>
                        <a:pt x="199" y="34"/>
                      </a:lnTo>
                      <a:lnTo>
                        <a:pt x="199" y="33"/>
                      </a:lnTo>
                      <a:lnTo>
                        <a:pt x="199" y="33"/>
                      </a:lnTo>
                      <a:lnTo>
                        <a:pt x="199" y="32"/>
                      </a:lnTo>
                      <a:lnTo>
                        <a:pt x="199" y="32"/>
                      </a:lnTo>
                      <a:lnTo>
                        <a:pt x="199" y="32"/>
                      </a:lnTo>
                      <a:lnTo>
                        <a:pt x="200" y="32"/>
                      </a:lnTo>
                      <a:lnTo>
                        <a:pt x="200" y="31"/>
                      </a:lnTo>
                      <a:lnTo>
                        <a:pt x="200" y="31"/>
                      </a:lnTo>
                      <a:lnTo>
                        <a:pt x="200" y="31"/>
                      </a:lnTo>
                      <a:lnTo>
                        <a:pt x="201" y="29"/>
                      </a:lnTo>
                      <a:lnTo>
                        <a:pt x="201" y="29"/>
                      </a:lnTo>
                      <a:lnTo>
                        <a:pt x="201" y="28"/>
                      </a:lnTo>
                      <a:lnTo>
                        <a:pt x="201" y="27"/>
                      </a:lnTo>
                      <a:lnTo>
                        <a:pt x="201" y="27"/>
                      </a:lnTo>
                      <a:lnTo>
                        <a:pt x="201" y="26"/>
                      </a:lnTo>
                      <a:lnTo>
                        <a:pt x="201" y="27"/>
                      </a:lnTo>
                      <a:lnTo>
                        <a:pt x="202" y="27"/>
                      </a:lnTo>
                      <a:lnTo>
                        <a:pt x="202" y="27"/>
                      </a:lnTo>
                      <a:lnTo>
                        <a:pt x="203" y="28"/>
                      </a:lnTo>
                      <a:lnTo>
                        <a:pt x="203" y="29"/>
                      </a:lnTo>
                      <a:lnTo>
                        <a:pt x="203" y="29"/>
                      </a:lnTo>
                      <a:lnTo>
                        <a:pt x="203" y="31"/>
                      </a:lnTo>
                      <a:lnTo>
                        <a:pt x="203" y="32"/>
                      </a:lnTo>
                      <a:lnTo>
                        <a:pt x="203" y="32"/>
                      </a:lnTo>
                      <a:lnTo>
                        <a:pt x="203" y="33"/>
                      </a:lnTo>
                      <a:lnTo>
                        <a:pt x="203" y="34"/>
                      </a:lnTo>
                      <a:lnTo>
                        <a:pt x="203" y="34"/>
                      </a:lnTo>
                      <a:lnTo>
                        <a:pt x="203" y="35"/>
                      </a:lnTo>
                      <a:lnTo>
                        <a:pt x="205" y="35"/>
                      </a:lnTo>
                      <a:lnTo>
                        <a:pt x="205" y="36"/>
                      </a:lnTo>
                      <a:lnTo>
                        <a:pt x="205" y="38"/>
                      </a:lnTo>
                      <a:lnTo>
                        <a:pt x="207" y="39"/>
                      </a:lnTo>
                      <a:lnTo>
                        <a:pt x="208" y="40"/>
                      </a:lnTo>
                      <a:lnTo>
                        <a:pt x="210" y="41"/>
                      </a:lnTo>
                      <a:lnTo>
                        <a:pt x="212" y="41"/>
                      </a:lnTo>
                      <a:lnTo>
                        <a:pt x="213" y="42"/>
                      </a:lnTo>
                      <a:lnTo>
                        <a:pt x="212" y="42"/>
                      </a:lnTo>
                      <a:lnTo>
                        <a:pt x="212" y="42"/>
                      </a:lnTo>
                      <a:lnTo>
                        <a:pt x="212" y="42"/>
                      </a:lnTo>
                      <a:lnTo>
                        <a:pt x="212" y="42"/>
                      </a:lnTo>
                      <a:lnTo>
                        <a:pt x="212" y="42"/>
                      </a:lnTo>
                      <a:lnTo>
                        <a:pt x="213" y="41"/>
                      </a:lnTo>
                      <a:lnTo>
                        <a:pt x="212" y="41"/>
                      </a:lnTo>
                      <a:lnTo>
                        <a:pt x="212" y="41"/>
                      </a:lnTo>
                      <a:lnTo>
                        <a:pt x="212" y="41"/>
                      </a:lnTo>
                      <a:lnTo>
                        <a:pt x="212" y="41"/>
                      </a:lnTo>
                      <a:lnTo>
                        <a:pt x="210" y="41"/>
                      </a:lnTo>
                      <a:lnTo>
                        <a:pt x="210" y="41"/>
                      </a:lnTo>
                      <a:lnTo>
                        <a:pt x="210" y="41"/>
                      </a:lnTo>
                      <a:lnTo>
                        <a:pt x="209" y="41"/>
                      </a:lnTo>
                      <a:lnTo>
                        <a:pt x="209" y="41"/>
                      </a:lnTo>
                      <a:lnTo>
                        <a:pt x="210" y="41"/>
                      </a:lnTo>
                      <a:lnTo>
                        <a:pt x="210" y="42"/>
                      </a:lnTo>
                      <a:lnTo>
                        <a:pt x="212" y="44"/>
                      </a:lnTo>
                      <a:lnTo>
                        <a:pt x="214" y="45"/>
                      </a:lnTo>
                      <a:lnTo>
                        <a:pt x="216" y="47"/>
                      </a:lnTo>
                      <a:lnTo>
                        <a:pt x="216" y="47"/>
                      </a:lnTo>
                      <a:lnTo>
                        <a:pt x="216" y="47"/>
                      </a:lnTo>
                      <a:lnTo>
                        <a:pt x="215" y="47"/>
                      </a:lnTo>
                      <a:lnTo>
                        <a:pt x="215" y="46"/>
                      </a:lnTo>
                      <a:lnTo>
                        <a:pt x="214" y="46"/>
                      </a:lnTo>
                      <a:lnTo>
                        <a:pt x="214" y="46"/>
                      </a:lnTo>
                      <a:lnTo>
                        <a:pt x="214" y="46"/>
                      </a:lnTo>
                      <a:lnTo>
                        <a:pt x="214" y="47"/>
                      </a:lnTo>
                      <a:lnTo>
                        <a:pt x="215" y="47"/>
                      </a:lnTo>
                      <a:lnTo>
                        <a:pt x="215" y="47"/>
                      </a:lnTo>
                      <a:lnTo>
                        <a:pt x="215" y="47"/>
                      </a:lnTo>
                      <a:lnTo>
                        <a:pt x="215" y="47"/>
                      </a:lnTo>
                      <a:lnTo>
                        <a:pt x="216" y="47"/>
                      </a:lnTo>
                      <a:lnTo>
                        <a:pt x="216" y="47"/>
                      </a:lnTo>
                      <a:lnTo>
                        <a:pt x="217" y="48"/>
                      </a:lnTo>
                      <a:lnTo>
                        <a:pt x="219" y="48"/>
                      </a:lnTo>
                      <a:lnTo>
                        <a:pt x="219" y="47"/>
                      </a:lnTo>
                      <a:lnTo>
                        <a:pt x="220" y="48"/>
                      </a:lnTo>
                      <a:lnTo>
                        <a:pt x="220" y="48"/>
                      </a:lnTo>
                      <a:lnTo>
                        <a:pt x="220" y="48"/>
                      </a:lnTo>
                      <a:lnTo>
                        <a:pt x="219" y="47"/>
                      </a:lnTo>
                      <a:lnTo>
                        <a:pt x="219" y="47"/>
                      </a:lnTo>
                      <a:lnTo>
                        <a:pt x="219" y="47"/>
                      </a:lnTo>
                      <a:lnTo>
                        <a:pt x="219" y="47"/>
                      </a:lnTo>
                      <a:lnTo>
                        <a:pt x="220" y="46"/>
                      </a:lnTo>
                      <a:lnTo>
                        <a:pt x="220" y="46"/>
                      </a:lnTo>
                      <a:lnTo>
                        <a:pt x="220" y="46"/>
                      </a:lnTo>
                      <a:lnTo>
                        <a:pt x="220" y="45"/>
                      </a:lnTo>
                      <a:lnTo>
                        <a:pt x="221" y="45"/>
                      </a:lnTo>
                      <a:lnTo>
                        <a:pt x="221" y="45"/>
                      </a:lnTo>
                      <a:lnTo>
                        <a:pt x="222" y="45"/>
                      </a:lnTo>
                      <a:lnTo>
                        <a:pt x="222" y="45"/>
                      </a:lnTo>
                      <a:lnTo>
                        <a:pt x="222" y="46"/>
                      </a:lnTo>
                      <a:lnTo>
                        <a:pt x="223" y="46"/>
                      </a:lnTo>
                      <a:lnTo>
                        <a:pt x="222" y="46"/>
                      </a:lnTo>
                      <a:lnTo>
                        <a:pt x="222" y="46"/>
                      </a:lnTo>
                      <a:lnTo>
                        <a:pt x="222" y="46"/>
                      </a:lnTo>
                      <a:lnTo>
                        <a:pt x="222" y="47"/>
                      </a:lnTo>
                      <a:lnTo>
                        <a:pt x="221" y="47"/>
                      </a:lnTo>
                      <a:lnTo>
                        <a:pt x="221" y="47"/>
                      </a:lnTo>
                      <a:lnTo>
                        <a:pt x="221" y="47"/>
                      </a:lnTo>
                      <a:lnTo>
                        <a:pt x="220" y="47"/>
                      </a:lnTo>
                      <a:lnTo>
                        <a:pt x="220" y="47"/>
                      </a:lnTo>
                      <a:lnTo>
                        <a:pt x="221" y="48"/>
                      </a:lnTo>
                      <a:lnTo>
                        <a:pt x="221" y="48"/>
                      </a:lnTo>
                      <a:lnTo>
                        <a:pt x="221" y="49"/>
                      </a:lnTo>
                      <a:lnTo>
                        <a:pt x="221" y="49"/>
                      </a:lnTo>
                      <a:lnTo>
                        <a:pt x="221" y="49"/>
                      </a:lnTo>
                      <a:lnTo>
                        <a:pt x="221" y="49"/>
                      </a:lnTo>
                      <a:lnTo>
                        <a:pt x="221" y="49"/>
                      </a:lnTo>
                      <a:lnTo>
                        <a:pt x="220" y="49"/>
                      </a:lnTo>
                      <a:lnTo>
                        <a:pt x="219" y="49"/>
                      </a:lnTo>
                      <a:lnTo>
                        <a:pt x="217" y="49"/>
                      </a:lnTo>
                      <a:lnTo>
                        <a:pt x="217" y="49"/>
                      </a:lnTo>
                      <a:lnTo>
                        <a:pt x="216" y="51"/>
                      </a:lnTo>
                      <a:lnTo>
                        <a:pt x="215" y="51"/>
                      </a:lnTo>
                      <a:lnTo>
                        <a:pt x="215" y="51"/>
                      </a:lnTo>
                      <a:lnTo>
                        <a:pt x="215" y="51"/>
                      </a:lnTo>
                      <a:lnTo>
                        <a:pt x="215" y="52"/>
                      </a:lnTo>
                      <a:lnTo>
                        <a:pt x="216" y="52"/>
                      </a:lnTo>
                      <a:lnTo>
                        <a:pt x="216" y="52"/>
                      </a:lnTo>
                      <a:lnTo>
                        <a:pt x="216" y="52"/>
                      </a:lnTo>
                      <a:lnTo>
                        <a:pt x="215" y="52"/>
                      </a:lnTo>
                      <a:lnTo>
                        <a:pt x="215" y="52"/>
                      </a:lnTo>
                      <a:lnTo>
                        <a:pt x="215" y="52"/>
                      </a:lnTo>
                      <a:lnTo>
                        <a:pt x="215" y="53"/>
                      </a:lnTo>
                      <a:lnTo>
                        <a:pt x="214" y="52"/>
                      </a:lnTo>
                      <a:lnTo>
                        <a:pt x="214" y="52"/>
                      </a:lnTo>
                      <a:lnTo>
                        <a:pt x="214" y="52"/>
                      </a:lnTo>
                      <a:lnTo>
                        <a:pt x="214" y="53"/>
                      </a:lnTo>
                      <a:lnTo>
                        <a:pt x="214" y="53"/>
                      </a:lnTo>
                      <a:lnTo>
                        <a:pt x="215" y="53"/>
                      </a:lnTo>
                      <a:lnTo>
                        <a:pt x="215" y="53"/>
                      </a:lnTo>
                      <a:lnTo>
                        <a:pt x="214" y="53"/>
                      </a:lnTo>
                      <a:lnTo>
                        <a:pt x="214" y="53"/>
                      </a:lnTo>
                      <a:lnTo>
                        <a:pt x="214" y="53"/>
                      </a:lnTo>
                      <a:lnTo>
                        <a:pt x="213" y="53"/>
                      </a:lnTo>
                      <a:lnTo>
                        <a:pt x="212" y="53"/>
                      </a:lnTo>
                      <a:lnTo>
                        <a:pt x="212" y="53"/>
                      </a:lnTo>
                      <a:lnTo>
                        <a:pt x="212" y="53"/>
                      </a:lnTo>
                      <a:lnTo>
                        <a:pt x="212" y="52"/>
                      </a:lnTo>
                      <a:lnTo>
                        <a:pt x="213" y="53"/>
                      </a:lnTo>
                      <a:lnTo>
                        <a:pt x="213" y="53"/>
                      </a:lnTo>
                      <a:lnTo>
                        <a:pt x="213" y="52"/>
                      </a:lnTo>
                      <a:lnTo>
                        <a:pt x="213" y="52"/>
                      </a:lnTo>
                      <a:lnTo>
                        <a:pt x="212" y="52"/>
                      </a:lnTo>
                      <a:lnTo>
                        <a:pt x="212" y="52"/>
                      </a:lnTo>
                      <a:lnTo>
                        <a:pt x="210" y="52"/>
                      </a:lnTo>
                      <a:lnTo>
                        <a:pt x="212" y="52"/>
                      </a:lnTo>
                      <a:lnTo>
                        <a:pt x="212" y="52"/>
                      </a:lnTo>
                      <a:lnTo>
                        <a:pt x="210" y="52"/>
                      </a:lnTo>
                      <a:lnTo>
                        <a:pt x="210" y="52"/>
                      </a:lnTo>
                      <a:lnTo>
                        <a:pt x="210" y="53"/>
                      </a:lnTo>
                      <a:lnTo>
                        <a:pt x="212" y="54"/>
                      </a:lnTo>
                      <a:lnTo>
                        <a:pt x="212" y="54"/>
                      </a:lnTo>
                      <a:lnTo>
                        <a:pt x="209" y="54"/>
                      </a:lnTo>
                      <a:lnTo>
                        <a:pt x="208" y="54"/>
                      </a:lnTo>
                      <a:lnTo>
                        <a:pt x="207" y="54"/>
                      </a:lnTo>
                      <a:lnTo>
                        <a:pt x="207" y="54"/>
                      </a:lnTo>
                      <a:lnTo>
                        <a:pt x="206" y="54"/>
                      </a:lnTo>
                      <a:lnTo>
                        <a:pt x="206" y="54"/>
                      </a:lnTo>
                      <a:lnTo>
                        <a:pt x="205" y="54"/>
                      </a:lnTo>
                      <a:lnTo>
                        <a:pt x="205" y="53"/>
                      </a:lnTo>
                      <a:lnTo>
                        <a:pt x="203" y="53"/>
                      </a:lnTo>
                      <a:lnTo>
                        <a:pt x="201" y="53"/>
                      </a:lnTo>
                      <a:lnTo>
                        <a:pt x="200" y="54"/>
                      </a:lnTo>
                      <a:lnTo>
                        <a:pt x="199" y="55"/>
                      </a:lnTo>
                      <a:lnTo>
                        <a:pt x="197" y="56"/>
                      </a:lnTo>
                      <a:lnTo>
                        <a:pt x="196" y="59"/>
                      </a:lnTo>
                      <a:lnTo>
                        <a:pt x="196" y="59"/>
                      </a:lnTo>
                      <a:lnTo>
                        <a:pt x="196" y="59"/>
                      </a:lnTo>
                      <a:lnTo>
                        <a:pt x="196" y="60"/>
                      </a:lnTo>
                      <a:lnTo>
                        <a:pt x="196" y="62"/>
                      </a:lnTo>
                      <a:lnTo>
                        <a:pt x="196" y="67"/>
                      </a:lnTo>
                      <a:lnTo>
                        <a:pt x="196" y="68"/>
                      </a:lnTo>
                      <a:lnTo>
                        <a:pt x="197" y="68"/>
                      </a:lnTo>
                      <a:lnTo>
                        <a:pt x="197" y="69"/>
                      </a:lnTo>
                      <a:lnTo>
                        <a:pt x="199" y="71"/>
                      </a:lnTo>
                      <a:lnTo>
                        <a:pt x="199" y="72"/>
                      </a:lnTo>
                      <a:lnTo>
                        <a:pt x="199" y="73"/>
                      </a:lnTo>
                      <a:lnTo>
                        <a:pt x="199" y="73"/>
                      </a:lnTo>
                      <a:lnTo>
                        <a:pt x="200" y="74"/>
                      </a:lnTo>
                      <a:lnTo>
                        <a:pt x="199" y="74"/>
                      </a:lnTo>
                      <a:lnTo>
                        <a:pt x="197" y="73"/>
                      </a:lnTo>
                      <a:lnTo>
                        <a:pt x="196" y="72"/>
                      </a:lnTo>
                      <a:lnTo>
                        <a:pt x="194" y="71"/>
                      </a:lnTo>
                      <a:lnTo>
                        <a:pt x="193" y="71"/>
                      </a:lnTo>
                      <a:lnTo>
                        <a:pt x="192" y="71"/>
                      </a:lnTo>
                      <a:lnTo>
                        <a:pt x="192" y="71"/>
                      </a:lnTo>
                      <a:lnTo>
                        <a:pt x="189" y="71"/>
                      </a:lnTo>
                      <a:lnTo>
                        <a:pt x="188" y="71"/>
                      </a:lnTo>
                      <a:lnTo>
                        <a:pt x="188" y="69"/>
                      </a:lnTo>
                      <a:lnTo>
                        <a:pt x="186" y="68"/>
                      </a:lnTo>
                      <a:lnTo>
                        <a:pt x="185" y="68"/>
                      </a:lnTo>
                      <a:lnTo>
                        <a:pt x="185" y="67"/>
                      </a:lnTo>
                      <a:lnTo>
                        <a:pt x="181" y="67"/>
                      </a:lnTo>
                      <a:lnTo>
                        <a:pt x="180" y="66"/>
                      </a:lnTo>
                      <a:lnTo>
                        <a:pt x="179" y="66"/>
                      </a:lnTo>
                      <a:lnTo>
                        <a:pt x="176" y="66"/>
                      </a:lnTo>
                      <a:lnTo>
                        <a:pt x="174" y="65"/>
                      </a:lnTo>
                      <a:lnTo>
                        <a:pt x="174" y="64"/>
                      </a:lnTo>
                      <a:lnTo>
                        <a:pt x="172" y="64"/>
                      </a:lnTo>
                      <a:lnTo>
                        <a:pt x="170" y="62"/>
                      </a:lnTo>
                      <a:lnTo>
                        <a:pt x="169" y="62"/>
                      </a:lnTo>
                      <a:lnTo>
                        <a:pt x="169" y="61"/>
                      </a:lnTo>
                      <a:lnTo>
                        <a:pt x="169" y="61"/>
                      </a:lnTo>
                      <a:lnTo>
                        <a:pt x="168" y="61"/>
                      </a:lnTo>
                      <a:lnTo>
                        <a:pt x="166" y="60"/>
                      </a:lnTo>
                      <a:lnTo>
                        <a:pt x="165" y="60"/>
                      </a:lnTo>
                      <a:lnTo>
                        <a:pt x="163" y="60"/>
                      </a:lnTo>
                      <a:lnTo>
                        <a:pt x="163" y="60"/>
                      </a:lnTo>
                      <a:lnTo>
                        <a:pt x="162" y="61"/>
                      </a:lnTo>
                      <a:lnTo>
                        <a:pt x="161" y="61"/>
                      </a:lnTo>
                      <a:lnTo>
                        <a:pt x="160" y="62"/>
                      </a:lnTo>
                      <a:lnTo>
                        <a:pt x="160" y="62"/>
                      </a:lnTo>
                      <a:lnTo>
                        <a:pt x="160" y="64"/>
                      </a:lnTo>
                      <a:lnTo>
                        <a:pt x="159" y="64"/>
                      </a:lnTo>
                      <a:lnTo>
                        <a:pt x="157" y="65"/>
                      </a:lnTo>
                      <a:lnTo>
                        <a:pt x="157" y="66"/>
                      </a:lnTo>
                      <a:lnTo>
                        <a:pt x="157" y="66"/>
                      </a:lnTo>
                      <a:lnTo>
                        <a:pt x="157" y="66"/>
                      </a:lnTo>
                      <a:lnTo>
                        <a:pt x="157" y="67"/>
                      </a:lnTo>
                      <a:lnTo>
                        <a:pt x="156" y="67"/>
                      </a:lnTo>
                      <a:lnTo>
                        <a:pt x="156" y="67"/>
                      </a:lnTo>
                      <a:lnTo>
                        <a:pt x="155" y="66"/>
                      </a:lnTo>
                      <a:lnTo>
                        <a:pt x="156" y="66"/>
                      </a:lnTo>
                      <a:lnTo>
                        <a:pt x="156" y="66"/>
                      </a:lnTo>
                      <a:lnTo>
                        <a:pt x="156" y="66"/>
                      </a:lnTo>
                      <a:lnTo>
                        <a:pt x="156" y="66"/>
                      </a:lnTo>
                      <a:lnTo>
                        <a:pt x="155" y="66"/>
                      </a:lnTo>
                      <a:lnTo>
                        <a:pt x="155" y="66"/>
                      </a:lnTo>
                      <a:lnTo>
                        <a:pt x="154" y="65"/>
                      </a:lnTo>
                      <a:lnTo>
                        <a:pt x="153" y="64"/>
                      </a:lnTo>
                      <a:lnTo>
                        <a:pt x="153" y="64"/>
                      </a:lnTo>
                      <a:lnTo>
                        <a:pt x="152" y="64"/>
                      </a:lnTo>
                      <a:lnTo>
                        <a:pt x="152" y="64"/>
                      </a:lnTo>
                      <a:lnTo>
                        <a:pt x="150" y="62"/>
                      </a:lnTo>
                      <a:lnTo>
                        <a:pt x="150" y="62"/>
                      </a:lnTo>
                      <a:lnTo>
                        <a:pt x="149" y="61"/>
                      </a:lnTo>
                      <a:lnTo>
                        <a:pt x="149" y="61"/>
                      </a:lnTo>
                      <a:lnTo>
                        <a:pt x="148" y="61"/>
                      </a:lnTo>
                      <a:lnTo>
                        <a:pt x="147" y="61"/>
                      </a:lnTo>
                      <a:lnTo>
                        <a:pt x="147" y="61"/>
                      </a:lnTo>
                      <a:lnTo>
                        <a:pt x="146" y="61"/>
                      </a:lnTo>
                      <a:lnTo>
                        <a:pt x="145" y="61"/>
                      </a:lnTo>
                      <a:lnTo>
                        <a:pt x="145" y="61"/>
                      </a:lnTo>
                      <a:lnTo>
                        <a:pt x="145" y="65"/>
                      </a:lnTo>
                      <a:lnTo>
                        <a:pt x="146" y="67"/>
                      </a:lnTo>
                      <a:lnTo>
                        <a:pt x="147" y="68"/>
                      </a:lnTo>
                      <a:lnTo>
                        <a:pt x="148" y="68"/>
                      </a:lnTo>
                      <a:lnTo>
                        <a:pt x="149" y="69"/>
                      </a:lnTo>
                      <a:lnTo>
                        <a:pt x="149" y="69"/>
                      </a:lnTo>
                      <a:lnTo>
                        <a:pt x="150" y="69"/>
                      </a:lnTo>
                      <a:lnTo>
                        <a:pt x="152" y="71"/>
                      </a:lnTo>
                      <a:lnTo>
                        <a:pt x="153" y="71"/>
                      </a:lnTo>
                      <a:lnTo>
                        <a:pt x="154" y="71"/>
                      </a:lnTo>
                      <a:lnTo>
                        <a:pt x="154" y="71"/>
                      </a:lnTo>
                      <a:lnTo>
                        <a:pt x="155" y="71"/>
                      </a:lnTo>
                      <a:lnTo>
                        <a:pt x="156" y="71"/>
                      </a:lnTo>
                      <a:lnTo>
                        <a:pt x="157" y="72"/>
                      </a:lnTo>
                      <a:lnTo>
                        <a:pt x="157" y="73"/>
                      </a:lnTo>
                      <a:lnTo>
                        <a:pt x="159" y="73"/>
                      </a:lnTo>
                      <a:lnTo>
                        <a:pt x="160" y="74"/>
                      </a:lnTo>
                      <a:lnTo>
                        <a:pt x="161" y="74"/>
                      </a:lnTo>
                      <a:lnTo>
                        <a:pt x="162" y="74"/>
                      </a:lnTo>
                      <a:lnTo>
                        <a:pt x="163" y="75"/>
                      </a:lnTo>
                      <a:lnTo>
                        <a:pt x="163" y="75"/>
                      </a:lnTo>
                      <a:lnTo>
                        <a:pt x="165" y="75"/>
                      </a:lnTo>
                      <a:lnTo>
                        <a:pt x="166" y="75"/>
                      </a:lnTo>
                      <a:lnTo>
                        <a:pt x="166" y="76"/>
                      </a:lnTo>
                      <a:lnTo>
                        <a:pt x="167" y="76"/>
                      </a:lnTo>
                      <a:lnTo>
                        <a:pt x="167" y="78"/>
                      </a:lnTo>
                      <a:lnTo>
                        <a:pt x="166" y="78"/>
                      </a:lnTo>
                      <a:lnTo>
                        <a:pt x="166" y="78"/>
                      </a:lnTo>
                      <a:lnTo>
                        <a:pt x="165" y="78"/>
                      </a:lnTo>
                      <a:lnTo>
                        <a:pt x="163" y="78"/>
                      </a:lnTo>
                      <a:lnTo>
                        <a:pt x="162" y="78"/>
                      </a:lnTo>
                      <a:lnTo>
                        <a:pt x="162" y="79"/>
                      </a:lnTo>
                      <a:lnTo>
                        <a:pt x="161" y="78"/>
                      </a:lnTo>
                      <a:lnTo>
                        <a:pt x="159" y="78"/>
                      </a:lnTo>
                      <a:lnTo>
                        <a:pt x="157" y="79"/>
                      </a:lnTo>
                      <a:lnTo>
                        <a:pt x="156" y="79"/>
                      </a:lnTo>
                      <a:lnTo>
                        <a:pt x="156" y="80"/>
                      </a:lnTo>
                      <a:lnTo>
                        <a:pt x="157" y="81"/>
                      </a:lnTo>
                      <a:lnTo>
                        <a:pt x="157" y="82"/>
                      </a:lnTo>
                      <a:lnTo>
                        <a:pt x="156" y="82"/>
                      </a:lnTo>
                      <a:lnTo>
                        <a:pt x="156" y="82"/>
                      </a:lnTo>
                      <a:lnTo>
                        <a:pt x="155" y="84"/>
                      </a:lnTo>
                      <a:lnTo>
                        <a:pt x="155" y="85"/>
                      </a:lnTo>
                      <a:lnTo>
                        <a:pt x="155" y="85"/>
                      </a:lnTo>
                      <a:lnTo>
                        <a:pt x="154" y="85"/>
                      </a:lnTo>
                      <a:lnTo>
                        <a:pt x="154" y="85"/>
                      </a:lnTo>
                      <a:lnTo>
                        <a:pt x="153" y="85"/>
                      </a:lnTo>
                      <a:lnTo>
                        <a:pt x="152" y="84"/>
                      </a:lnTo>
                      <a:lnTo>
                        <a:pt x="150" y="82"/>
                      </a:lnTo>
                      <a:lnTo>
                        <a:pt x="149" y="80"/>
                      </a:lnTo>
                      <a:lnTo>
                        <a:pt x="149" y="80"/>
                      </a:lnTo>
                      <a:lnTo>
                        <a:pt x="149" y="79"/>
                      </a:lnTo>
                      <a:lnTo>
                        <a:pt x="149" y="79"/>
                      </a:lnTo>
                      <a:lnTo>
                        <a:pt x="149" y="78"/>
                      </a:lnTo>
                      <a:lnTo>
                        <a:pt x="148" y="76"/>
                      </a:lnTo>
                      <a:lnTo>
                        <a:pt x="149" y="76"/>
                      </a:lnTo>
                      <a:lnTo>
                        <a:pt x="149" y="75"/>
                      </a:lnTo>
                      <a:lnTo>
                        <a:pt x="148" y="75"/>
                      </a:lnTo>
                      <a:lnTo>
                        <a:pt x="148" y="74"/>
                      </a:lnTo>
                      <a:lnTo>
                        <a:pt x="147" y="73"/>
                      </a:lnTo>
                      <a:lnTo>
                        <a:pt x="146" y="73"/>
                      </a:lnTo>
                      <a:lnTo>
                        <a:pt x="146" y="72"/>
                      </a:lnTo>
                      <a:lnTo>
                        <a:pt x="143" y="71"/>
                      </a:lnTo>
                      <a:lnTo>
                        <a:pt x="142" y="71"/>
                      </a:lnTo>
                      <a:lnTo>
                        <a:pt x="141" y="71"/>
                      </a:lnTo>
                      <a:lnTo>
                        <a:pt x="140" y="69"/>
                      </a:lnTo>
                      <a:lnTo>
                        <a:pt x="140" y="68"/>
                      </a:lnTo>
                      <a:lnTo>
                        <a:pt x="139" y="68"/>
                      </a:lnTo>
                      <a:lnTo>
                        <a:pt x="137" y="67"/>
                      </a:lnTo>
                      <a:lnTo>
                        <a:pt x="136" y="67"/>
                      </a:lnTo>
                      <a:lnTo>
                        <a:pt x="136" y="66"/>
                      </a:lnTo>
                      <a:lnTo>
                        <a:pt x="136" y="66"/>
                      </a:lnTo>
                      <a:lnTo>
                        <a:pt x="136" y="65"/>
                      </a:lnTo>
                      <a:lnTo>
                        <a:pt x="136" y="64"/>
                      </a:lnTo>
                      <a:lnTo>
                        <a:pt x="135" y="64"/>
                      </a:lnTo>
                      <a:lnTo>
                        <a:pt x="135" y="62"/>
                      </a:lnTo>
                      <a:lnTo>
                        <a:pt x="134" y="61"/>
                      </a:lnTo>
                      <a:lnTo>
                        <a:pt x="134" y="60"/>
                      </a:lnTo>
                      <a:lnTo>
                        <a:pt x="134" y="60"/>
                      </a:lnTo>
                      <a:lnTo>
                        <a:pt x="134" y="60"/>
                      </a:lnTo>
                      <a:lnTo>
                        <a:pt x="134" y="59"/>
                      </a:lnTo>
                      <a:lnTo>
                        <a:pt x="135" y="59"/>
                      </a:lnTo>
                      <a:lnTo>
                        <a:pt x="135" y="59"/>
                      </a:lnTo>
                      <a:lnTo>
                        <a:pt x="136" y="59"/>
                      </a:lnTo>
                      <a:lnTo>
                        <a:pt x="136" y="58"/>
                      </a:lnTo>
                      <a:lnTo>
                        <a:pt x="136" y="58"/>
                      </a:lnTo>
                      <a:lnTo>
                        <a:pt x="137" y="58"/>
                      </a:lnTo>
                      <a:lnTo>
                        <a:pt x="136" y="56"/>
                      </a:lnTo>
                      <a:lnTo>
                        <a:pt x="137" y="56"/>
                      </a:lnTo>
                      <a:lnTo>
                        <a:pt x="139" y="58"/>
                      </a:lnTo>
                      <a:lnTo>
                        <a:pt x="140" y="58"/>
                      </a:lnTo>
                      <a:lnTo>
                        <a:pt x="139" y="56"/>
                      </a:lnTo>
                      <a:lnTo>
                        <a:pt x="139" y="55"/>
                      </a:lnTo>
                      <a:lnTo>
                        <a:pt x="139" y="54"/>
                      </a:lnTo>
                      <a:lnTo>
                        <a:pt x="139" y="54"/>
                      </a:lnTo>
                      <a:lnTo>
                        <a:pt x="140" y="54"/>
                      </a:lnTo>
                      <a:lnTo>
                        <a:pt x="140" y="53"/>
                      </a:lnTo>
                      <a:lnTo>
                        <a:pt x="140" y="53"/>
                      </a:lnTo>
                      <a:lnTo>
                        <a:pt x="139" y="52"/>
                      </a:lnTo>
                      <a:lnTo>
                        <a:pt x="137" y="51"/>
                      </a:lnTo>
                      <a:lnTo>
                        <a:pt x="136" y="51"/>
                      </a:lnTo>
                      <a:lnTo>
                        <a:pt x="135" y="49"/>
                      </a:lnTo>
                      <a:lnTo>
                        <a:pt x="134" y="48"/>
                      </a:lnTo>
                      <a:lnTo>
                        <a:pt x="134" y="48"/>
                      </a:lnTo>
                      <a:lnTo>
                        <a:pt x="133" y="47"/>
                      </a:lnTo>
                      <a:lnTo>
                        <a:pt x="133" y="47"/>
                      </a:lnTo>
                      <a:lnTo>
                        <a:pt x="133" y="46"/>
                      </a:lnTo>
                      <a:lnTo>
                        <a:pt x="134" y="46"/>
                      </a:lnTo>
                      <a:lnTo>
                        <a:pt x="134" y="46"/>
                      </a:lnTo>
                      <a:lnTo>
                        <a:pt x="134" y="46"/>
                      </a:lnTo>
                      <a:lnTo>
                        <a:pt x="134" y="46"/>
                      </a:lnTo>
                      <a:lnTo>
                        <a:pt x="135" y="46"/>
                      </a:lnTo>
                      <a:lnTo>
                        <a:pt x="135" y="46"/>
                      </a:lnTo>
                      <a:lnTo>
                        <a:pt x="136" y="46"/>
                      </a:lnTo>
                      <a:lnTo>
                        <a:pt x="137" y="47"/>
                      </a:lnTo>
                      <a:lnTo>
                        <a:pt x="137" y="47"/>
                      </a:lnTo>
                      <a:lnTo>
                        <a:pt x="139" y="47"/>
                      </a:lnTo>
                      <a:lnTo>
                        <a:pt x="139" y="47"/>
                      </a:lnTo>
                      <a:lnTo>
                        <a:pt x="140" y="48"/>
                      </a:lnTo>
                      <a:lnTo>
                        <a:pt x="140" y="48"/>
                      </a:lnTo>
                      <a:lnTo>
                        <a:pt x="141" y="48"/>
                      </a:lnTo>
                      <a:lnTo>
                        <a:pt x="142" y="48"/>
                      </a:lnTo>
                      <a:lnTo>
                        <a:pt x="142" y="49"/>
                      </a:lnTo>
                      <a:lnTo>
                        <a:pt x="143" y="49"/>
                      </a:lnTo>
                      <a:lnTo>
                        <a:pt x="143" y="48"/>
                      </a:lnTo>
                      <a:lnTo>
                        <a:pt x="143" y="48"/>
                      </a:lnTo>
                      <a:lnTo>
                        <a:pt x="143" y="48"/>
                      </a:lnTo>
                      <a:lnTo>
                        <a:pt x="145" y="48"/>
                      </a:lnTo>
                      <a:lnTo>
                        <a:pt x="145" y="48"/>
                      </a:lnTo>
                      <a:lnTo>
                        <a:pt x="146" y="48"/>
                      </a:lnTo>
                      <a:lnTo>
                        <a:pt x="146" y="48"/>
                      </a:lnTo>
                      <a:lnTo>
                        <a:pt x="146" y="49"/>
                      </a:lnTo>
                      <a:lnTo>
                        <a:pt x="147" y="49"/>
                      </a:lnTo>
                      <a:lnTo>
                        <a:pt x="149" y="51"/>
                      </a:lnTo>
                      <a:lnTo>
                        <a:pt x="149" y="49"/>
                      </a:lnTo>
                      <a:lnTo>
                        <a:pt x="150" y="48"/>
                      </a:lnTo>
                      <a:lnTo>
                        <a:pt x="150" y="47"/>
                      </a:lnTo>
                      <a:lnTo>
                        <a:pt x="150" y="46"/>
                      </a:lnTo>
                      <a:lnTo>
                        <a:pt x="150" y="46"/>
                      </a:lnTo>
                      <a:lnTo>
                        <a:pt x="149" y="45"/>
                      </a:lnTo>
                      <a:lnTo>
                        <a:pt x="149" y="45"/>
                      </a:lnTo>
                      <a:close/>
                      <a:moveTo>
                        <a:pt x="114" y="0"/>
                      </a:moveTo>
                      <a:lnTo>
                        <a:pt x="113" y="0"/>
                      </a:lnTo>
                      <a:lnTo>
                        <a:pt x="114" y="0"/>
                      </a:lnTo>
                      <a:lnTo>
                        <a:pt x="114" y="0"/>
                      </a:lnTo>
                      <a:lnTo>
                        <a:pt x="114" y="0"/>
                      </a:lnTo>
                      <a:close/>
                      <a:moveTo>
                        <a:pt x="117" y="4"/>
                      </a:moveTo>
                      <a:lnTo>
                        <a:pt x="117" y="4"/>
                      </a:lnTo>
                      <a:lnTo>
                        <a:pt x="117" y="4"/>
                      </a:lnTo>
                      <a:lnTo>
                        <a:pt x="116" y="2"/>
                      </a:lnTo>
                      <a:lnTo>
                        <a:pt x="115" y="1"/>
                      </a:lnTo>
                      <a:lnTo>
                        <a:pt x="115" y="1"/>
                      </a:lnTo>
                      <a:lnTo>
                        <a:pt x="114" y="1"/>
                      </a:lnTo>
                      <a:lnTo>
                        <a:pt x="114" y="0"/>
                      </a:lnTo>
                      <a:lnTo>
                        <a:pt x="114" y="0"/>
                      </a:lnTo>
                      <a:lnTo>
                        <a:pt x="115" y="1"/>
                      </a:lnTo>
                      <a:lnTo>
                        <a:pt x="115" y="1"/>
                      </a:lnTo>
                      <a:lnTo>
                        <a:pt x="115" y="0"/>
                      </a:lnTo>
                      <a:lnTo>
                        <a:pt x="116" y="1"/>
                      </a:lnTo>
                      <a:lnTo>
                        <a:pt x="117" y="2"/>
                      </a:lnTo>
                      <a:lnTo>
                        <a:pt x="117" y="4"/>
                      </a:lnTo>
                      <a:lnTo>
                        <a:pt x="117" y="4"/>
                      </a:lnTo>
                      <a:lnTo>
                        <a:pt x="117" y="4"/>
                      </a:lnTo>
                      <a:close/>
                      <a:moveTo>
                        <a:pt x="123" y="8"/>
                      </a:moveTo>
                      <a:lnTo>
                        <a:pt x="122" y="7"/>
                      </a:lnTo>
                      <a:lnTo>
                        <a:pt x="121" y="7"/>
                      </a:lnTo>
                      <a:lnTo>
                        <a:pt x="121" y="6"/>
                      </a:lnTo>
                      <a:lnTo>
                        <a:pt x="120" y="6"/>
                      </a:lnTo>
                      <a:lnTo>
                        <a:pt x="120" y="5"/>
                      </a:lnTo>
                      <a:lnTo>
                        <a:pt x="120" y="5"/>
                      </a:lnTo>
                      <a:lnTo>
                        <a:pt x="120" y="5"/>
                      </a:lnTo>
                      <a:lnTo>
                        <a:pt x="121" y="5"/>
                      </a:lnTo>
                      <a:lnTo>
                        <a:pt x="121" y="5"/>
                      </a:lnTo>
                      <a:lnTo>
                        <a:pt x="122" y="5"/>
                      </a:lnTo>
                      <a:lnTo>
                        <a:pt x="123" y="5"/>
                      </a:lnTo>
                      <a:lnTo>
                        <a:pt x="125" y="7"/>
                      </a:lnTo>
                      <a:lnTo>
                        <a:pt x="123" y="7"/>
                      </a:lnTo>
                      <a:lnTo>
                        <a:pt x="123" y="7"/>
                      </a:lnTo>
                      <a:lnTo>
                        <a:pt x="123" y="8"/>
                      </a:lnTo>
                      <a:lnTo>
                        <a:pt x="123" y="8"/>
                      </a:lnTo>
                      <a:close/>
                      <a:moveTo>
                        <a:pt x="135" y="21"/>
                      </a:moveTo>
                      <a:lnTo>
                        <a:pt x="135" y="21"/>
                      </a:lnTo>
                      <a:lnTo>
                        <a:pt x="135" y="21"/>
                      </a:lnTo>
                      <a:lnTo>
                        <a:pt x="135" y="21"/>
                      </a:lnTo>
                      <a:lnTo>
                        <a:pt x="135" y="21"/>
                      </a:lnTo>
                      <a:close/>
                      <a:moveTo>
                        <a:pt x="134" y="21"/>
                      </a:moveTo>
                      <a:lnTo>
                        <a:pt x="134" y="21"/>
                      </a:lnTo>
                      <a:lnTo>
                        <a:pt x="134" y="21"/>
                      </a:lnTo>
                      <a:lnTo>
                        <a:pt x="134" y="21"/>
                      </a:lnTo>
                      <a:lnTo>
                        <a:pt x="134" y="21"/>
                      </a:lnTo>
                      <a:close/>
                      <a:moveTo>
                        <a:pt x="210" y="39"/>
                      </a:moveTo>
                      <a:lnTo>
                        <a:pt x="210" y="39"/>
                      </a:lnTo>
                      <a:lnTo>
                        <a:pt x="210" y="39"/>
                      </a:lnTo>
                      <a:lnTo>
                        <a:pt x="210" y="39"/>
                      </a:lnTo>
                      <a:lnTo>
                        <a:pt x="210" y="39"/>
                      </a:lnTo>
                      <a:close/>
                      <a:moveTo>
                        <a:pt x="219" y="45"/>
                      </a:moveTo>
                      <a:lnTo>
                        <a:pt x="217" y="45"/>
                      </a:lnTo>
                      <a:lnTo>
                        <a:pt x="217" y="45"/>
                      </a:lnTo>
                      <a:lnTo>
                        <a:pt x="217" y="45"/>
                      </a:lnTo>
                      <a:lnTo>
                        <a:pt x="219" y="45"/>
                      </a:lnTo>
                      <a:lnTo>
                        <a:pt x="219" y="45"/>
                      </a:lnTo>
                      <a:lnTo>
                        <a:pt x="219" y="45"/>
                      </a:lnTo>
                      <a:lnTo>
                        <a:pt x="219" y="45"/>
                      </a:lnTo>
                      <a:close/>
                      <a:moveTo>
                        <a:pt x="221" y="46"/>
                      </a:moveTo>
                      <a:lnTo>
                        <a:pt x="221" y="46"/>
                      </a:lnTo>
                      <a:lnTo>
                        <a:pt x="221" y="46"/>
                      </a:lnTo>
                      <a:lnTo>
                        <a:pt x="221" y="46"/>
                      </a:lnTo>
                      <a:lnTo>
                        <a:pt x="221" y="46"/>
                      </a:lnTo>
                      <a:close/>
                      <a:moveTo>
                        <a:pt x="221" y="46"/>
                      </a:moveTo>
                      <a:lnTo>
                        <a:pt x="221" y="46"/>
                      </a:lnTo>
                      <a:lnTo>
                        <a:pt x="222" y="46"/>
                      </a:lnTo>
                      <a:lnTo>
                        <a:pt x="221" y="46"/>
                      </a:lnTo>
                      <a:lnTo>
                        <a:pt x="221" y="46"/>
                      </a:lnTo>
                      <a:close/>
                      <a:moveTo>
                        <a:pt x="216" y="49"/>
                      </a:moveTo>
                      <a:lnTo>
                        <a:pt x="215" y="49"/>
                      </a:lnTo>
                      <a:lnTo>
                        <a:pt x="216" y="49"/>
                      </a:lnTo>
                      <a:lnTo>
                        <a:pt x="216" y="49"/>
                      </a:lnTo>
                      <a:lnTo>
                        <a:pt x="216" y="49"/>
                      </a:lnTo>
                      <a:close/>
                      <a:moveTo>
                        <a:pt x="213" y="52"/>
                      </a:moveTo>
                      <a:lnTo>
                        <a:pt x="213" y="52"/>
                      </a:lnTo>
                      <a:lnTo>
                        <a:pt x="213" y="52"/>
                      </a:lnTo>
                      <a:lnTo>
                        <a:pt x="213" y="52"/>
                      </a:lnTo>
                      <a:lnTo>
                        <a:pt x="213" y="52"/>
                      </a:lnTo>
                      <a:close/>
                      <a:moveTo>
                        <a:pt x="135" y="69"/>
                      </a:moveTo>
                      <a:lnTo>
                        <a:pt x="134" y="69"/>
                      </a:lnTo>
                      <a:lnTo>
                        <a:pt x="133" y="68"/>
                      </a:lnTo>
                      <a:lnTo>
                        <a:pt x="133" y="67"/>
                      </a:lnTo>
                      <a:lnTo>
                        <a:pt x="133" y="67"/>
                      </a:lnTo>
                      <a:lnTo>
                        <a:pt x="133" y="67"/>
                      </a:lnTo>
                      <a:lnTo>
                        <a:pt x="134" y="66"/>
                      </a:lnTo>
                      <a:lnTo>
                        <a:pt x="134" y="66"/>
                      </a:lnTo>
                      <a:lnTo>
                        <a:pt x="134" y="67"/>
                      </a:lnTo>
                      <a:lnTo>
                        <a:pt x="134" y="67"/>
                      </a:lnTo>
                      <a:lnTo>
                        <a:pt x="135" y="68"/>
                      </a:lnTo>
                      <a:lnTo>
                        <a:pt x="135" y="69"/>
                      </a:lnTo>
                      <a:lnTo>
                        <a:pt x="135" y="69"/>
                      </a:lnTo>
                      <a:lnTo>
                        <a:pt x="135" y="69"/>
                      </a:lnTo>
                      <a:lnTo>
                        <a:pt x="135" y="69"/>
                      </a:lnTo>
                      <a:close/>
                      <a:moveTo>
                        <a:pt x="6" y="402"/>
                      </a:moveTo>
                      <a:lnTo>
                        <a:pt x="6" y="402"/>
                      </a:lnTo>
                      <a:lnTo>
                        <a:pt x="6" y="402"/>
                      </a:lnTo>
                      <a:lnTo>
                        <a:pt x="6" y="402"/>
                      </a:lnTo>
                      <a:lnTo>
                        <a:pt x="6" y="402"/>
                      </a:lnTo>
                      <a:close/>
                      <a:moveTo>
                        <a:pt x="3" y="406"/>
                      </a:moveTo>
                      <a:lnTo>
                        <a:pt x="3" y="406"/>
                      </a:lnTo>
                      <a:lnTo>
                        <a:pt x="5" y="406"/>
                      </a:lnTo>
                      <a:lnTo>
                        <a:pt x="3" y="406"/>
                      </a:lnTo>
                      <a:lnTo>
                        <a:pt x="3" y="406"/>
                      </a:lnTo>
                      <a:close/>
                      <a:moveTo>
                        <a:pt x="15" y="433"/>
                      </a:moveTo>
                      <a:lnTo>
                        <a:pt x="15" y="433"/>
                      </a:lnTo>
                      <a:lnTo>
                        <a:pt x="15" y="433"/>
                      </a:lnTo>
                      <a:lnTo>
                        <a:pt x="15" y="433"/>
                      </a:lnTo>
                      <a:lnTo>
                        <a:pt x="15" y="433"/>
                      </a:lnTo>
                      <a:close/>
                      <a:moveTo>
                        <a:pt x="1" y="432"/>
                      </a:moveTo>
                      <a:lnTo>
                        <a:pt x="1" y="432"/>
                      </a:lnTo>
                      <a:lnTo>
                        <a:pt x="0" y="432"/>
                      </a:lnTo>
                      <a:lnTo>
                        <a:pt x="0" y="432"/>
                      </a:lnTo>
                      <a:lnTo>
                        <a:pt x="1" y="430"/>
                      </a:lnTo>
                      <a:lnTo>
                        <a:pt x="1" y="430"/>
                      </a:lnTo>
                      <a:lnTo>
                        <a:pt x="2" y="432"/>
                      </a:lnTo>
                      <a:lnTo>
                        <a:pt x="2" y="433"/>
                      </a:lnTo>
                      <a:lnTo>
                        <a:pt x="1" y="432"/>
                      </a:lnTo>
                      <a:lnTo>
                        <a:pt x="1" y="432"/>
                      </a:lnTo>
                      <a:lnTo>
                        <a:pt x="1" y="432"/>
                      </a:lnTo>
                      <a:lnTo>
                        <a:pt x="1" y="432"/>
                      </a:lnTo>
                      <a:close/>
                      <a:moveTo>
                        <a:pt x="14" y="435"/>
                      </a:moveTo>
                      <a:lnTo>
                        <a:pt x="14" y="435"/>
                      </a:lnTo>
                      <a:lnTo>
                        <a:pt x="14" y="435"/>
                      </a:lnTo>
                      <a:lnTo>
                        <a:pt x="14" y="435"/>
                      </a:lnTo>
                      <a:lnTo>
                        <a:pt x="14" y="435"/>
                      </a:lnTo>
                      <a:close/>
                      <a:moveTo>
                        <a:pt x="15" y="435"/>
                      </a:moveTo>
                      <a:lnTo>
                        <a:pt x="14" y="435"/>
                      </a:lnTo>
                      <a:lnTo>
                        <a:pt x="15" y="435"/>
                      </a:lnTo>
                      <a:lnTo>
                        <a:pt x="15" y="435"/>
                      </a:lnTo>
                      <a:lnTo>
                        <a:pt x="15" y="435"/>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558" name="Greece">
                  <a:extLst>
                    <a:ext uri="{FF2B5EF4-FFF2-40B4-BE49-F238E27FC236}">
                      <a16:creationId xmlns:a16="http://schemas.microsoft.com/office/drawing/2014/main" id="{E8D9B0A5-5F0F-5945-A483-E4C49ED9F156}"/>
                    </a:ext>
                  </a:extLst>
                </p:cNvPr>
                <p:cNvSpPr>
                  <a:spLocks noEditPoints="1"/>
                </p:cNvSpPr>
                <p:nvPr/>
              </p:nvSpPr>
              <p:spPr bwMode="auto">
                <a:xfrm>
                  <a:off x="6840537" y="2737069"/>
                  <a:ext cx="225982" cy="204114"/>
                </a:xfrm>
                <a:custGeom>
                  <a:avLst/>
                  <a:gdLst>
                    <a:gd name="T0" fmla="*/ 106 w 155"/>
                    <a:gd name="T1" fmla="*/ 138 h 140"/>
                    <a:gd name="T2" fmla="*/ 79 w 155"/>
                    <a:gd name="T3" fmla="*/ 132 h 140"/>
                    <a:gd name="T4" fmla="*/ 77 w 155"/>
                    <a:gd name="T5" fmla="*/ 125 h 140"/>
                    <a:gd name="T6" fmla="*/ 93 w 155"/>
                    <a:gd name="T7" fmla="*/ 130 h 140"/>
                    <a:gd name="T8" fmla="*/ 112 w 155"/>
                    <a:gd name="T9" fmla="*/ 135 h 140"/>
                    <a:gd name="T10" fmla="*/ 97 w 155"/>
                    <a:gd name="T11" fmla="*/ 37 h 140"/>
                    <a:gd name="T12" fmla="*/ 93 w 155"/>
                    <a:gd name="T13" fmla="*/ 38 h 140"/>
                    <a:gd name="T14" fmla="*/ 90 w 155"/>
                    <a:gd name="T15" fmla="*/ 36 h 140"/>
                    <a:gd name="T16" fmla="*/ 99 w 155"/>
                    <a:gd name="T17" fmla="*/ 28 h 140"/>
                    <a:gd name="T18" fmla="*/ 37 w 155"/>
                    <a:gd name="T19" fmla="*/ 73 h 140"/>
                    <a:gd name="T20" fmla="*/ 31 w 155"/>
                    <a:gd name="T21" fmla="*/ 79 h 140"/>
                    <a:gd name="T22" fmla="*/ 39 w 155"/>
                    <a:gd name="T23" fmla="*/ 97 h 140"/>
                    <a:gd name="T24" fmla="*/ 49 w 155"/>
                    <a:gd name="T25" fmla="*/ 98 h 140"/>
                    <a:gd name="T26" fmla="*/ 55 w 155"/>
                    <a:gd name="T27" fmla="*/ 109 h 140"/>
                    <a:gd name="T28" fmla="*/ 63 w 155"/>
                    <a:gd name="T29" fmla="*/ 107 h 140"/>
                    <a:gd name="T30" fmla="*/ 63 w 155"/>
                    <a:gd name="T31" fmla="*/ 96 h 140"/>
                    <a:gd name="T32" fmla="*/ 60 w 155"/>
                    <a:gd name="T33" fmla="*/ 85 h 140"/>
                    <a:gd name="T34" fmla="*/ 66 w 155"/>
                    <a:gd name="T35" fmla="*/ 92 h 140"/>
                    <a:gd name="T36" fmla="*/ 69 w 155"/>
                    <a:gd name="T37" fmla="*/ 85 h 140"/>
                    <a:gd name="T38" fmla="*/ 59 w 155"/>
                    <a:gd name="T39" fmla="*/ 78 h 140"/>
                    <a:gd name="T40" fmla="*/ 71 w 155"/>
                    <a:gd name="T41" fmla="*/ 77 h 140"/>
                    <a:gd name="T42" fmla="*/ 78 w 155"/>
                    <a:gd name="T43" fmla="*/ 77 h 140"/>
                    <a:gd name="T44" fmla="*/ 66 w 155"/>
                    <a:gd name="T45" fmla="*/ 66 h 140"/>
                    <a:gd name="T46" fmla="*/ 59 w 155"/>
                    <a:gd name="T47" fmla="*/ 60 h 140"/>
                    <a:gd name="T48" fmla="*/ 59 w 155"/>
                    <a:gd name="T49" fmla="*/ 57 h 140"/>
                    <a:gd name="T50" fmla="*/ 59 w 155"/>
                    <a:gd name="T51" fmla="*/ 50 h 140"/>
                    <a:gd name="T52" fmla="*/ 65 w 155"/>
                    <a:gd name="T53" fmla="*/ 51 h 140"/>
                    <a:gd name="T54" fmla="*/ 50 w 155"/>
                    <a:gd name="T55" fmla="*/ 25 h 140"/>
                    <a:gd name="T56" fmla="*/ 52 w 155"/>
                    <a:gd name="T57" fmla="*/ 26 h 140"/>
                    <a:gd name="T58" fmla="*/ 68 w 155"/>
                    <a:gd name="T59" fmla="*/ 36 h 140"/>
                    <a:gd name="T60" fmla="*/ 72 w 155"/>
                    <a:gd name="T61" fmla="*/ 36 h 140"/>
                    <a:gd name="T62" fmla="*/ 79 w 155"/>
                    <a:gd name="T63" fmla="*/ 33 h 140"/>
                    <a:gd name="T64" fmla="*/ 68 w 155"/>
                    <a:gd name="T65" fmla="*/ 22 h 140"/>
                    <a:gd name="T66" fmla="*/ 83 w 155"/>
                    <a:gd name="T67" fmla="*/ 18 h 140"/>
                    <a:gd name="T68" fmla="*/ 106 w 155"/>
                    <a:gd name="T69" fmla="*/ 19 h 140"/>
                    <a:gd name="T70" fmla="*/ 109 w 155"/>
                    <a:gd name="T71" fmla="*/ 12 h 140"/>
                    <a:gd name="T72" fmla="*/ 106 w 155"/>
                    <a:gd name="T73" fmla="*/ 5 h 140"/>
                    <a:gd name="T74" fmla="*/ 83 w 155"/>
                    <a:gd name="T75" fmla="*/ 8 h 140"/>
                    <a:gd name="T76" fmla="*/ 69 w 155"/>
                    <a:gd name="T77" fmla="*/ 6 h 140"/>
                    <a:gd name="T78" fmla="*/ 48 w 155"/>
                    <a:gd name="T79" fmla="*/ 12 h 140"/>
                    <a:gd name="T80" fmla="*/ 20 w 155"/>
                    <a:gd name="T81" fmla="*/ 18 h 140"/>
                    <a:gd name="T82" fmla="*/ 15 w 155"/>
                    <a:gd name="T83" fmla="*/ 35 h 140"/>
                    <a:gd name="T84" fmla="*/ 10 w 155"/>
                    <a:gd name="T85" fmla="*/ 44 h 140"/>
                    <a:gd name="T86" fmla="*/ 17 w 155"/>
                    <a:gd name="T87" fmla="*/ 52 h 140"/>
                    <a:gd name="T88" fmla="*/ 23 w 155"/>
                    <a:gd name="T89" fmla="*/ 55 h 140"/>
                    <a:gd name="T90" fmla="*/ 24 w 155"/>
                    <a:gd name="T91" fmla="*/ 58 h 140"/>
                    <a:gd name="T92" fmla="*/ 24 w 155"/>
                    <a:gd name="T93" fmla="*/ 63 h 140"/>
                    <a:gd name="T94" fmla="*/ 29 w 155"/>
                    <a:gd name="T95" fmla="*/ 70 h 140"/>
                    <a:gd name="T96" fmla="*/ 37 w 155"/>
                    <a:gd name="T97" fmla="*/ 69 h 140"/>
                    <a:gd name="T98" fmla="*/ 50 w 155"/>
                    <a:gd name="T99" fmla="*/ 70 h 140"/>
                    <a:gd name="T100" fmla="*/ 59 w 155"/>
                    <a:gd name="T101" fmla="*/ 73 h 140"/>
                    <a:gd name="T102" fmla="*/ 56 w 155"/>
                    <a:gd name="T103" fmla="*/ 76 h 140"/>
                    <a:gd name="T104" fmla="*/ 144 w 155"/>
                    <a:gd name="T105" fmla="*/ 113 h 140"/>
                    <a:gd name="T106" fmla="*/ 86 w 155"/>
                    <a:gd name="T107" fmla="*/ 77 h 140"/>
                    <a:gd name="T108" fmla="*/ 65 w 155"/>
                    <a:gd name="T109" fmla="*/ 60 h 140"/>
                    <a:gd name="T110" fmla="*/ 71 w 155"/>
                    <a:gd name="T111" fmla="*/ 62 h 140"/>
                    <a:gd name="T112" fmla="*/ 85 w 155"/>
                    <a:gd name="T113" fmla="*/ 24 h 140"/>
                    <a:gd name="T114" fmla="*/ 92 w 155"/>
                    <a:gd name="T115" fmla="*/ 84 h 140"/>
                    <a:gd name="T116" fmla="*/ 107 w 155"/>
                    <a:gd name="T117" fmla="*/ 69 h 140"/>
                    <a:gd name="T118" fmla="*/ 105 w 155"/>
                    <a:gd name="T119" fmla="*/ 53 h 140"/>
                    <a:gd name="T120" fmla="*/ 8 w 155"/>
                    <a:gd name="T121" fmla="*/ 47 h 140"/>
                    <a:gd name="T122" fmla="*/ 8 w 155"/>
                    <a:gd name="T123" fmla="*/ 47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5" h="140">
                      <a:moveTo>
                        <a:pt x="120" y="132"/>
                      </a:moveTo>
                      <a:lnTo>
                        <a:pt x="120" y="132"/>
                      </a:lnTo>
                      <a:lnTo>
                        <a:pt x="120" y="133"/>
                      </a:lnTo>
                      <a:lnTo>
                        <a:pt x="122" y="133"/>
                      </a:lnTo>
                      <a:lnTo>
                        <a:pt x="122" y="133"/>
                      </a:lnTo>
                      <a:lnTo>
                        <a:pt x="120" y="135"/>
                      </a:lnTo>
                      <a:lnTo>
                        <a:pt x="122" y="136"/>
                      </a:lnTo>
                      <a:lnTo>
                        <a:pt x="122" y="137"/>
                      </a:lnTo>
                      <a:lnTo>
                        <a:pt x="120" y="137"/>
                      </a:lnTo>
                      <a:lnTo>
                        <a:pt x="120" y="138"/>
                      </a:lnTo>
                      <a:lnTo>
                        <a:pt x="119" y="138"/>
                      </a:lnTo>
                      <a:lnTo>
                        <a:pt x="119" y="137"/>
                      </a:lnTo>
                      <a:lnTo>
                        <a:pt x="116" y="137"/>
                      </a:lnTo>
                      <a:lnTo>
                        <a:pt x="116" y="137"/>
                      </a:lnTo>
                      <a:lnTo>
                        <a:pt x="112" y="138"/>
                      </a:lnTo>
                      <a:lnTo>
                        <a:pt x="111" y="137"/>
                      </a:lnTo>
                      <a:lnTo>
                        <a:pt x="110" y="137"/>
                      </a:lnTo>
                      <a:lnTo>
                        <a:pt x="109" y="138"/>
                      </a:lnTo>
                      <a:lnTo>
                        <a:pt x="109" y="139"/>
                      </a:lnTo>
                      <a:lnTo>
                        <a:pt x="109" y="139"/>
                      </a:lnTo>
                      <a:lnTo>
                        <a:pt x="106" y="138"/>
                      </a:lnTo>
                      <a:lnTo>
                        <a:pt x="105" y="139"/>
                      </a:lnTo>
                      <a:lnTo>
                        <a:pt x="103" y="139"/>
                      </a:lnTo>
                      <a:lnTo>
                        <a:pt x="100" y="139"/>
                      </a:lnTo>
                      <a:lnTo>
                        <a:pt x="99" y="140"/>
                      </a:lnTo>
                      <a:lnTo>
                        <a:pt x="97" y="140"/>
                      </a:lnTo>
                      <a:lnTo>
                        <a:pt x="96" y="140"/>
                      </a:lnTo>
                      <a:lnTo>
                        <a:pt x="95" y="140"/>
                      </a:lnTo>
                      <a:lnTo>
                        <a:pt x="95" y="139"/>
                      </a:lnTo>
                      <a:lnTo>
                        <a:pt x="96" y="139"/>
                      </a:lnTo>
                      <a:lnTo>
                        <a:pt x="96" y="137"/>
                      </a:lnTo>
                      <a:lnTo>
                        <a:pt x="95" y="136"/>
                      </a:lnTo>
                      <a:lnTo>
                        <a:pt x="92" y="136"/>
                      </a:lnTo>
                      <a:lnTo>
                        <a:pt x="91" y="135"/>
                      </a:lnTo>
                      <a:lnTo>
                        <a:pt x="90" y="135"/>
                      </a:lnTo>
                      <a:lnTo>
                        <a:pt x="89" y="133"/>
                      </a:lnTo>
                      <a:lnTo>
                        <a:pt x="89" y="135"/>
                      </a:lnTo>
                      <a:lnTo>
                        <a:pt x="85" y="133"/>
                      </a:lnTo>
                      <a:lnTo>
                        <a:pt x="84" y="133"/>
                      </a:lnTo>
                      <a:lnTo>
                        <a:pt x="83" y="133"/>
                      </a:lnTo>
                      <a:lnTo>
                        <a:pt x="80" y="133"/>
                      </a:lnTo>
                      <a:lnTo>
                        <a:pt x="79" y="132"/>
                      </a:lnTo>
                      <a:lnTo>
                        <a:pt x="78" y="133"/>
                      </a:lnTo>
                      <a:lnTo>
                        <a:pt x="76" y="133"/>
                      </a:lnTo>
                      <a:lnTo>
                        <a:pt x="75" y="132"/>
                      </a:lnTo>
                      <a:lnTo>
                        <a:pt x="73" y="131"/>
                      </a:lnTo>
                      <a:lnTo>
                        <a:pt x="73" y="131"/>
                      </a:lnTo>
                      <a:lnTo>
                        <a:pt x="73" y="130"/>
                      </a:lnTo>
                      <a:lnTo>
                        <a:pt x="75" y="129"/>
                      </a:lnTo>
                      <a:lnTo>
                        <a:pt x="75" y="129"/>
                      </a:lnTo>
                      <a:lnTo>
                        <a:pt x="73" y="127"/>
                      </a:lnTo>
                      <a:lnTo>
                        <a:pt x="75" y="127"/>
                      </a:lnTo>
                      <a:lnTo>
                        <a:pt x="75" y="125"/>
                      </a:lnTo>
                      <a:lnTo>
                        <a:pt x="75" y="125"/>
                      </a:lnTo>
                      <a:lnTo>
                        <a:pt x="76" y="127"/>
                      </a:lnTo>
                      <a:lnTo>
                        <a:pt x="76" y="127"/>
                      </a:lnTo>
                      <a:lnTo>
                        <a:pt x="77" y="127"/>
                      </a:lnTo>
                      <a:lnTo>
                        <a:pt x="77" y="127"/>
                      </a:lnTo>
                      <a:lnTo>
                        <a:pt x="77" y="125"/>
                      </a:lnTo>
                      <a:lnTo>
                        <a:pt x="77" y="125"/>
                      </a:lnTo>
                      <a:lnTo>
                        <a:pt x="76" y="125"/>
                      </a:lnTo>
                      <a:lnTo>
                        <a:pt x="77" y="124"/>
                      </a:lnTo>
                      <a:lnTo>
                        <a:pt x="77" y="125"/>
                      </a:lnTo>
                      <a:lnTo>
                        <a:pt x="77" y="127"/>
                      </a:lnTo>
                      <a:lnTo>
                        <a:pt x="78" y="127"/>
                      </a:lnTo>
                      <a:lnTo>
                        <a:pt x="82" y="127"/>
                      </a:lnTo>
                      <a:lnTo>
                        <a:pt x="83" y="127"/>
                      </a:lnTo>
                      <a:lnTo>
                        <a:pt x="83" y="126"/>
                      </a:lnTo>
                      <a:lnTo>
                        <a:pt x="84" y="126"/>
                      </a:lnTo>
                      <a:lnTo>
                        <a:pt x="84" y="125"/>
                      </a:lnTo>
                      <a:lnTo>
                        <a:pt x="85" y="126"/>
                      </a:lnTo>
                      <a:lnTo>
                        <a:pt x="85" y="127"/>
                      </a:lnTo>
                      <a:lnTo>
                        <a:pt x="85" y="127"/>
                      </a:lnTo>
                      <a:lnTo>
                        <a:pt x="85" y="127"/>
                      </a:lnTo>
                      <a:lnTo>
                        <a:pt x="84" y="127"/>
                      </a:lnTo>
                      <a:lnTo>
                        <a:pt x="84" y="129"/>
                      </a:lnTo>
                      <a:lnTo>
                        <a:pt x="85" y="129"/>
                      </a:lnTo>
                      <a:lnTo>
                        <a:pt x="86" y="127"/>
                      </a:lnTo>
                      <a:lnTo>
                        <a:pt x="88" y="129"/>
                      </a:lnTo>
                      <a:lnTo>
                        <a:pt x="88" y="131"/>
                      </a:lnTo>
                      <a:lnTo>
                        <a:pt x="88" y="131"/>
                      </a:lnTo>
                      <a:lnTo>
                        <a:pt x="90" y="131"/>
                      </a:lnTo>
                      <a:lnTo>
                        <a:pt x="92" y="130"/>
                      </a:lnTo>
                      <a:lnTo>
                        <a:pt x="93" y="130"/>
                      </a:lnTo>
                      <a:lnTo>
                        <a:pt x="95" y="129"/>
                      </a:lnTo>
                      <a:lnTo>
                        <a:pt x="95" y="129"/>
                      </a:lnTo>
                      <a:lnTo>
                        <a:pt x="96" y="130"/>
                      </a:lnTo>
                      <a:lnTo>
                        <a:pt x="97" y="130"/>
                      </a:lnTo>
                      <a:lnTo>
                        <a:pt x="98" y="130"/>
                      </a:lnTo>
                      <a:lnTo>
                        <a:pt x="99" y="130"/>
                      </a:lnTo>
                      <a:lnTo>
                        <a:pt x="99" y="130"/>
                      </a:lnTo>
                      <a:lnTo>
                        <a:pt x="100" y="131"/>
                      </a:lnTo>
                      <a:lnTo>
                        <a:pt x="103" y="131"/>
                      </a:lnTo>
                      <a:lnTo>
                        <a:pt x="104" y="131"/>
                      </a:lnTo>
                      <a:lnTo>
                        <a:pt x="105" y="131"/>
                      </a:lnTo>
                      <a:lnTo>
                        <a:pt x="107" y="131"/>
                      </a:lnTo>
                      <a:lnTo>
                        <a:pt x="110" y="131"/>
                      </a:lnTo>
                      <a:lnTo>
                        <a:pt x="111" y="131"/>
                      </a:lnTo>
                      <a:lnTo>
                        <a:pt x="112" y="131"/>
                      </a:lnTo>
                      <a:lnTo>
                        <a:pt x="111" y="131"/>
                      </a:lnTo>
                      <a:lnTo>
                        <a:pt x="112" y="132"/>
                      </a:lnTo>
                      <a:lnTo>
                        <a:pt x="112" y="131"/>
                      </a:lnTo>
                      <a:lnTo>
                        <a:pt x="112" y="132"/>
                      </a:lnTo>
                      <a:lnTo>
                        <a:pt x="111" y="133"/>
                      </a:lnTo>
                      <a:lnTo>
                        <a:pt x="112" y="135"/>
                      </a:lnTo>
                      <a:lnTo>
                        <a:pt x="112" y="136"/>
                      </a:lnTo>
                      <a:lnTo>
                        <a:pt x="113" y="136"/>
                      </a:lnTo>
                      <a:lnTo>
                        <a:pt x="113" y="135"/>
                      </a:lnTo>
                      <a:lnTo>
                        <a:pt x="115" y="135"/>
                      </a:lnTo>
                      <a:lnTo>
                        <a:pt x="115" y="133"/>
                      </a:lnTo>
                      <a:lnTo>
                        <a:pt x="116" y="133"/>
                      </a:lnTo>
                      <a:lnTo>
                        <a:pt x="117" y="133"/>
                      </a:lnTo>
                      <a:lnTo>
                        <a:pt x="119" y="133"/>
                      </a:lnTo>
                      <a:lnTo>
                        <a:pt x="120" y="133"/>
                      </a:lnTo>
                      <a:lnTo>
                        <a:pt x="119" y="132"/>
                      </a:lnTo>
                      <a:lnTo>
                        <a:pt x="120" y="131"/>
                      </a:lnTo>
                      <a:lnTo>
                        <a:pt x="122" y="131"/>
                      </a:lnTo>
                      <a:lnTo>
                        <a:pt x="122" y="132"/>
                      </a:lnTo>
                      <a:lnTo>
                        <a:pt x="120" y="132"/>
                      </a:lnTo>
                      <a:lnTo>
                        <a:pt x="120" y="132"/>
                      </a:lnTo>
                      <a:close/>
                      <a:moveTo>
                        <a:pt x="98" y="35"/>
                      </a:moveTo>
                      <a:lnTo>
                        <a:pt x="98" y="36"/>
                      </a:lnTo>
                      <a:lnTo>
                        <a:pt x="98" y="36"/>
                      </a:lnTo>
                      <a:lnTo>
                        <a:pt x="97" y="37"/>
                      </a:lnTo>
                      <a:lnTo>
                        <a:pt x="97" y="37"/>
                      </a:lnTo>
                      <a:lnTo>
                        <a:pt x="97" y="37"/>
                      </a:lnTo>
                      <a:lnTo>
                        <a:pt x="97" y="38"/>
                      </a:lnTo>
                      <a:lnTo>
                        <a:pt x="97" y="38"/>
                      </a:lnTo>
                      <a:lnTo>
                        <a:pt x="97" y="38"/>
                      </a:lnTo>
                      <a:lnTo>
                        <a:pt x="96" y="38"/>
                      </a:lnTo>
                      <a:lnTo>
                        <a:pt x="96" y="39"/>
                      </a:lnTo>
                      <a:lnTo>
                        <a:pt x="97" y="39"/>
                      </a:lnTo>
                      <a:lnTo>
                        <a:pt x="97" y="39"/>
                      </a:lnTo>
                      <a:lnTo>
                        <a:pt x="97" y="40"/>
                      </a:lnTo>
                      <a:lnTo>
                        <a:pt x="97" y="40"/>
                      </a:lnTo>
                      <a:lnTo>
                        <a:pt x="96" y="40"/>
                      </a:lnTo>
                      <a:lnTo>
                        <a:pt x="96" y="40"/>
                      </a:lnTo>
                      <a:lnTo>
                        <a:pt x="96" y="40"/>
                      </a:lnTo>
                      <a:lnTo>
                        <a:pt x="95" y="40"/>
                      </a:lnTo>
                      <a:lnTo>
                        <a:pt x="95" y="39"/>
                      </a:lnTo>
                      <a:lnTo>
                        <a:pt x="95" y="39"/>
                      </a:lnTo>
                      <a:lnTo>
                        <a:pt x="95" y="38"/>
                      </a:lnTo>
                      <a:lnTo>
                        <a:pt x="95" y="38"/>
                      </a:lnTo>
                      <a:lnTo>
                        <a:pt x="95" y="38"/>
                      </a:lnTo>
                      <a:lnTo>
                        <a:pt x="93" y="38"/>
                      </a:lnTo>
                      <a:lnTo>
                        <a:pt x="93" y="38"/>
                      </a:lnTo>
                      <a:lnTo>
                        <a:pt x="93" y="38"/>
                      </a:lnTo>
                      <a:lnTo>
                        <a:pt x="93" y="38"/>
                      </a:lnTo>
                      <a:lnTo>
                        <a:pt x="93" y="40"/>
                      </a:lnTo>
                      <a:lnTo>
                        <a:pt x="93" y="40"/>
                      </a:lnTo>
                      <a:lnTo>
                        <a:pt x="93" y="40"/>
                      </a:lnTo>
                      <a:lnTo>
                        <a:pt x="92" y="40"/>
                      </a:lnTo>
                      <a:lnTo>
                        <a:pt x="93" y="39"/>
                      </a:lnTo>
                      <a:lnTo>
                        <a:pt x="93" y="39"/>
                      </a:lnTo>
                      <a:lnTo>
                        <a:pt x="92" y="39"/>
                      </a:lnTo>
                      <a:lnTo>
                        <a:pt x="92" y="39"/>
                      </a:lnTo>
                      <a:lnTo>
                        <a:pt x="93" y="38"/>
                      </a:lnTo>
                      <a:lnTo>
                        <a:pt x="92" y="39"/>
                      </a:lnTo>
                      <a:lnTo>
                        <a:pt x="91" y="39"/>
                      </a:lnTo>
                      <a:lnTo>
                        <a:pt x="91" y="39"/>
                      </a:lnTo>
                      <a:lnTo>
                        <a:pt x="92" y="39"/>
                      </a:lnTo>
                      <a:lnTo>
                        <a:pt x="91" y="38"/>
                      </a:lnTo>
                      <a:lnTo>
                        <a:pt x="91" y="38"/>
                      </a:lnTo>
                      <a:lnTo>
                        <a:pt x="92" y="38"/>
                      </a:lnTo>
                      <a:lnTo>
                        <a:pt x="92" y="37"/>
                      </a:lnTo>
                      <a:lnTo>
                        <a:pt x="91" y="37"/>
                      </a:lnTo>
                      <a:lnTo>
                        <a:pt x="91" y="37"/>
                      </a:lnTo>
                      <a:lnTo>
                        <a:pt x="90" y="36"/>
                      </a:lnTo>
                      <a:lnTo>
                        <a:pt x="90" y="36"/>
                      </a:lnTo>
                      <a:lnTo>
                        <a:pt x="91" y="36"/>
                      </a:lnTo>
                      <a:lnTo>
                        <a:pt x="92" y="35"/>
                      </a:lnTo>
                      <a:lnTo>
                        <a:pt x="92" y="35"/>
                      </a:lnTo>
                      <a:lnTo>
                        <a:pt x="95" y="36"/>
                      </a:lnTo>
                      <a:lnTo>
                        <a:pt x="95" y="37"/>
                      </a:lnTo>
                      <a:lnTo>
                        <a:pt x="95" y="37"/>
                      </a:lnTo>
                      <a:lnTo>
                        <a:pt x="95" y="37"/>
                      </a:lnTo>
                      <a:lnTo>
                        <a:pt x="96" y="36"/>
                      </a:lnTo>
                      <a:lnTo>
                        <a:pt x="96" y="36"/>
                      </a:lnTo>
                      <a:lnTo>
                        <a:pt x="96" y="36"/>
                      </a:lnTo>
                      <a:lnTo>
                        <a:pt x="97" y="35"/>
                      </a:lnTo>
                      <a:lnTo>
                        <a:pt x="97" y="35"/>
                      </a:lnTo>
                      <a:lnTo>
                        <a:pt x="97" y="36"/>
                      </a:lnTo>
                      <a:lnTo>
                        <a:pt x="98" y="35"/>
                      </a:lnTo>
                      <a:lnTo>
                        <a:pt x="98" y="35"/>
                      </a:lnTo>
                      <a:lnTo>
                        <a:pt x="98" y="35"/>
                      </a:lnTo>
                      <a:close/>
                      <a:moveTo>
                        <a:pt x="99" y="25"/>
                      </a:moveTo>
                      <a:lnTo>
                        <a:pt x="100" y="26"/>
                      </a:lnTo>
                      <a:lnTo>
                        <a:pt x="100" y="28"/>
                      </a:lnTo>
                      <a:lnTo>
                        <a:pt x="99" y="28"/>
                      </a:lnTo>
                      <a:lnTo>
                        <a:pt x="98" y="28"/>
                      </a:lnTo>
                      <a:lnTo>
                        <a:pt x="97" y="26"/>
                      </a:lnTo>
                      <a:lnTo>
                        <a:pt x="98" y="25"/>
                      </a:lnTo>
                      <a:lnTo>
                        <a:pt x="99" y="25"/>
                      </a:lnTo>
                      <a:lnTo>
                        <a:pt x="99" y="25"/>
                      </a:lnTo>
                      <a:close/>
                      <a:moveTo>
                        <a:pt x="45" y="72"/>
                      </a:moveTo>
                      <a:lnTo>
                        <a:pt x="44" y="72"/>
                      </a:lnTo>
                      <a:lnTo>
                        <a:pt x="43" y="72"/>
                      </a:lnTo>
                      <a:lnTo>
                        <a:pt x="44" y="71"/>
                      </a:lnTo>
                      <a:lnTo>
                        <a:pt x="43" y="70"/>
                      </a:lnTo>
                      <a:lnTo>
                        <a:pt x="43" y="71"/>
                      </a:lnTo>
                      <a:lnTo>
                        <a:pt x="42" y="70"/>
                      </a:lnTo>
                      <a:lnTo>
                        <a:pt x="40" y="70"/>
                      </a:lnTo>
                      <a:lnTo>
                        <a:pt x="39" y="70"/>
                      </a:lnTo>
                      <a:lnTo>
                        <a:pt x="39" y="70"/>
                      </a:lnTo>
                      <a:lnTo>
                        <a:pt x="39" y="70"/>
                      </a:lnTo>
                      <a:lnTo>
                        <a:pt x="39" y="71"/>
                      </a:lnTo>
                      <a:lnTo>
                        <a:pt x="39" y="72"/>
                      </a:lnTo>
                      <a:lnTo>
                        <a:pt x="38" y="72"/>
                      </a:lnTo>
                      <a:lnTo>
                        <a:pt x="37" y="73"/>
                      </a:lnTo>
                      <a:lnTo>
                        <a:pt x="37" y="73"/>
                      </a:lnTo>
                      <a:lnTo>
                        <a:pt x="36" y="75"/>
                      </a:lnTo>
                      <a:lnTo>
                        <a:pt x="35" y="73"/>
                      </a:lnTo>
                      <a:lnTo>
                        <a:pt x="35" y="73"/>
                      </a:lnTo>
                      <a:lnTo>
                        <a:pt x="35" y="73"/>
                      </a:lnTo>
                      <a:lnTo>
                        <a:pt x="33" y="72"/>
                      </a:lnTo>
                      <a:lnTo>
                        <a:pt x="33" y="72"/>
                      </a:lnTo>
                      <a:lnTo>
                        <a:pt x="33" y="72"/>
                      </a:lnTo>
                      <a:lnTo>
                        <a:pt x="32" y="72"/>
                      </a:lnTo>
                      <a:lnTo>
                        <a:pt x="33" y="75"/>
                      </a:lnTo>
                      <a:lnTo>
                        <a:pt x="32" y="76"/>
                      </a:lnTo>
                      <a:lnTo>
                        <a:pt x="32" y="77"/>
                      </a:lnTo>
                      <a:lnTo>
                        <a:pt x="32" y="77"/>
                      </a:lnTo>
                      <a:lnTo>
                        <a:pt x="30" y="77"/>
                      </a:lnTo>
                      <a:lnTo>
                        <a:pt x="30" y="77"/>
                      </a:lnTo>
                      <a:lnTo>
                        <a:pt x="29" y="77"/>
                      </a:lnTo>
                      <a:lnTo>
                        <a:pt x="29" y="77"/>
                      </a:lnTo>
                      <a:lnTo>
                        <a:pt x="29" y="77"/>
                      </a:lnTo>
                      <a:lnTo>
                        <a:pt x="29" y="78"/>
                      </a:lnTo>
                      <a:lnTo>
                        <a:pt x="28" y="79"/>
                      </a:lnTo>
                      <a:lnTo>
                        <a:pt x="29" y="79"/>
                      </a:lnTo>
                      <a:lnTo>
                        <a:pt x="31" y="79"/>
                      </a:lnTo>
                      <a:lnTo>
                        <a:pt x="32" y="80"/>
                      </a:lnTo>
                      <a:lnTo>
                        <a:pt x="32" y="82"/>
                      </a:lnTo>
                      <a:lnTo>
                        <a:pt x="33" y="83"/>
                      </a:lnTo>
                      <a:lnTo>
                        <a:pt x="33" y="84"/>
                      </a:lnTo>
                      <a:lnTo>
                        <a:pt x="33" y="83"/>
                      </a:lnTo>
                      <a:lnTo>
                        <a:pt x="35" y="84"/>
                      </a:lnTo>
                      <a:lnTo>
                        <a:pt x="36" y="84"/>
                      </a:lnTo>
                      <a:lnTo>
                        <a:pt x="36" y="85"/>
                      </a:lnTo>
                      <a:lnTo>
                        <a:pt x="38" y="89"/>
                      </a:lnTo>
                      <a:lnTo>
                        <a:pt x="39" y="91"/>
                      </a:lnTo>
                      <a:lnTo>
                        <a:pt x="39" y="91"/>
                      </a:lnTo>
                      <a:lnTo>
                        <a:pt x="40" y="91"/>
                      </a:lnTo>
                      <a:lnTo>
                        <a:pt x="39" y="92"/>
                      </a:lnTo>
                      <a:lnTo>
                        <a:pt x="39" y="91"/>
                      </a:lnTo>
                      <a:lnTo>
                        <a:pt x="38" y="92"/>
                      </a:lnTo>
                      <a:lnTo>
                        <a:pt x="38" y="93"/>
                      </a:lnTo>
                      <a:lnTo>
                        <a:pt x="37" y="93"/>
                      </a:lnTo>
                      <a:lnTo>
                        <a:pt x="37" y="95"/>
                      </a:lnTo>
                      <a:lnTo>
                        <a:pt x="37" y="95"/>
                      </a:lnTo>
                      <a:lnTo>
                        <a:pt x="38" y="96"/>
                      </a:lnTo>
                      <a:lnTo>
                        <a:pt x="39" y="97"/>
                      </a:lnTo>
                      <a:lnTo>
                        <a:pt x="39" y="98"/>
                      </a:lnTo>
                      <a:lnTo>
                        <a:pt x="39" y="97"/>
                      </a:lnTo>
                      <a:lnTo>
                        <a:pt x="39" y="98"/>
                      </a:lnTo>
                      <a:lnTo>
                        <a:pt x="40" y="98"/>
                      </a:lnTo>
                      <a:lnTo>
                        <a:pt x="39" y="99"/>
                      </a:lnTo>
                      <a:lnTo>
                        <a:pt x="40" y="99"/>
                      </a:lnTo>
                      <a:lnTo>
                        <a:pt x="40" y="100"/>
                      </a:lnTo>
                      <a:lnTo>
                        <a:pt x="42" y="102"/>
                      </a:lnTo>
                      <a:lnTo>
                        <a:pt x="43" y="100"/>
                      </a:lnTo>
                      <a:lnTo>
                        <a:pt x="43" y="102"/>
                      </a:lnTo>
                      <a:lnTo>
                        <a:pt x="44" y="103"/>
                      </a:lnTo>
                      <a:lnTo>
                        <a:pt x="44" y="102"/>
                      </a:lnTo>
                      <a:lnTo>
                        <a:pt x="45" y="100"/>
                      </a:lnTo>
                      <a:lnTo>
                        <a:pt x="45" y="100"/>
                      </a:lnTo>
                      <a:lnTo>
                        <a:pt x="44" y="99"/>
                      </a:lnTo>
                      <a:lnTo>
                        <a:pt x="44" y="98"/>
                      </a:lnTo>
                      <a:lnTo>
                        <a:pt x="44" y="97"/>
                      </a:lnTo>
                      <a:lnTo>
                        <a:pt x="45" y="96"/>
                      </a:lnTo>
                      <a:lnTo>
                        <a:pt x="48" y="97"/>
                      </a:lnTo>
                      <a:lnTo>
                        <a:pt x="48" y="97"/>
                      </a:lnTo>
                      <a:lnTo>
                        <a:pt x="49" y="98"/>
                      </a:lnTo>
                      <a:lnTo>
                        <a:pt x="48" y="99"/>
                      </a:lnTo>
                      <a:lnTo>
                        <a:pt x="49" y="99"/>
                      </a:lnTo>
                      <a:lnTo>
                        <a:pt x="49" y="99"/>
                      </a:lnTo>
                      <a:lnTo>
                        <a:pt x="50" y="99"/>
                      </a:lnTo>
                      <a:lnTo>
                        <a:pt x="51" y="100"/>
                      </a:lnTo>
                      <a:lnTo>
                        <a:pt x="51" y="103"/>
                      </a:lnTo>
                      <a:lnTo>
                        <a:pt x="51" y="103"/>
                      </a:lnTo>
                      <a:lnTo>
                        <a:pt x="52" y="103"/>
                      </a:lnTo>
                      <a:lnTo>
                        <a:pt x="52" y="104"/>
                      </a:lnTo>
                      <a:lnTo>
                        <a:pt x="52" y="105"/>
                      </a:lnTo>
                      <a:lnTo>
                        <a:pt x="52" y="105"/>
                      </a:lnTo>
                      <a:lnTo>
                        <a:pt x="52" y="106"/>
                      </a:lnTo>
                      <a:lnTo>
                        <a:pt x="53" y="107"/>
                      </a:lnTo>
                      <a:lnTo>
                        <a:pt x="52" y="106"/>
                      </a:lnTo>
                      <a:lnTo>
                        <a:pt x="52" y="107"/>
                      </a:lnTo>
                      <a:lnTo>
                        <a:pt x="52" y="107"/>
                      </a:lnTo>
                      <a:lnTo>
                        <a:pt x="53" y="109"/>
                      </a:lnTo>
                      <a:lnTo>
                        <a:pt x="53" y="109"/>
                      </a:lnTo>
                      <a:lnTo>
                        <a:pt x="55" y="110"/>
                      </a:lnTo>
                      <a:lnTo>
                        <a:pt x="55" y="110"/>
                      </a:lnTo>
                      <a:lnTo>
                        <a:pt x="55" y="109"/>
                      </a:lnTo>
                      <a:lnTo>
                        <a:pt x="55" y="109"/>
                      </a:lnTo>
                      <a:lnTo>
                        <a:pt x="55" y="107"/>
                      </a:lnTo>
                      <a:lnTo>
                        <a:pt x="53" y="107"/>
                      </a:lnTo>
                      <a:lnTo>
                        <a:pt x="53" y="106"/>
                      </a:lnTo>
                      <a:lnTo>
                        <a:pt x="55" y="105"/>
                      </a:lnTo>
                      <a:lnTo>
                        <a:pt x="55" y="106"/>
                      </a:lnTo>
                      <a:lnTo>
                        <a:pt x="55" y="105"/>
                      </a:lnTo>
                      <a:lnTo>
                        <a:pt x="55" y="104"/>
                      </a:lnTo>
                      <a:lnTo>
                        <a:pt x="55" y="103"/>
                      </a:lnTo>
                      <a:lnTo>
                        <a:pt x="55" y="102"/>
                      </a:lnTo>
                      <a:lnTo>
                        <a:pt x="55" y="102"/>
                      </a:lnTo>
                      <a:lnTo>
                        <a:pt x="56" y="102"/>
                      </a:lnTo>
                      <a:lnTo>
                        <a:pt x="56" y="100"/>
                      </a:lnTo>
                      <a:lnTo>
                        <a:pt x="58" y="100"/>
                      </a:lnTo>
                      <a:lnTo>
                        <a:pt x="58" y="100"/>
                      </a:lnTo>
                      <a:lnTo>
                        <a:pt x="59" y="103"/>
                      </a:lnTo>
                      <a:lnTo>
                        <a:pt x="59" y="104"/>
                      </a:lnTo>
                      <a:lnTo>
                        <a:pt x="60" y="104"/>
                      </a:lnTo>
                      <a:lnTo>
                        <a:pt x="60" y="105"/>
                      </a:lnTo>
                      <a:lnTo>
                        <a:pt x="62" y="106"/>
                      </a:lnTo>
                      <a:lnTo>
                        <a:pt x="63" y="107"/>
                      </a:lnTo>
                      <a:lnTo>
                        <a:pt x="64" y="107"/>
                      </a:lnTo>
                      <a:lnTo>
                        <a:pt x="64" y="109"/>
                      </a:lnTo>
                      <a:lnTo>
                        <a:pt x="68" y="109"/>
                      </a:lnTo>
                      <a:lnTo>
                        <a:pt x="66" y="107"/>
                      </a:lnTo>
                      <a:lnTo>
                        <a:pt x="65" y="107"/>
                      </a:lnTo>
                      <a:lnTo>
                        <a:pt x="65" y="106"/>
                      </a:lnTo>
                      <a:lnTo>
                        <a:pt x="64" y="106"/>
                      </a:lnTo>
                      <a:lnTo>
                        <a:pt x="63" y="106"/>
                      </a:lnTo>
                      <a:lnTo>
                        <a:pt x="63" y="105"/>
                      </a:lnTo>
                      <a:lnTo>
                        <a:pt x="64" y="103"/>
                      </a:lnTo>
                      <a:lnTo>
                        <a:pt x="63" y="103"/>
                      </a:lnTo>
                      <a:lnTo>
                        <a:pt x="63" y="102"/>
                      </a:lnTo>
                      <a:lnTo>
                        <a:pt x="64" y="102"/>
                      </a:lnTo>
                      <a:lnTo>
                        <a:pt x="63" y="102"/>
                      </a:lnTo>
                      <a:lnTo>
                        <a:pt x="63" y="100"/>
                      </a:lnTo>
                      <a:lnTo>
                        <a:pt x="63" y="99"/>
                      </a:lnTo>
                      <a:lnTo>
                        <a:pt x="63" y="99"/>
                      </a:lnTo>
                      <a:lnTo>
                        <a:pt x="63" y="99"/>
                      </a:lnTo>
                      <a:lnTo>
                        <a:pt x="63" y="98"/>
                      </a:lnTo>
                      <a:lnTo>
                        <a:pt x="63" y="97"/>
                      </a:lnTo>
                      <a:lnTo>
                        <a:pt x="63" y="96"/>
                      </a:lnTo>
                      <a:lnTo>
                        <a:pt x="62" y="95"/>
                      </a:lnTo>
                      <a:lnTo>
                        <a:pt x="62" y="95"/>
                      </a:lnTo>
                      <a:lnTo>
                        <a:pt x="60" y="93"/>
                      </a:lnTo>
                      <a:lnTo>
                        <a:pt x="59" y="93"/>
                      </a:lnTo>
                      <a:lnTo>
                        <a:pt x="59" y="92"/>
                      </a:lnTo>
                      <a:lnTo>
                        <a:pt x="58" y="90"/>
                      </a:lnTo>
                      <a:lnTo>
                        <a:pt x="57" y="90"/>
                      </a:lnTo>
                      <a:lnTo>
                        <a:pt x="57" y="89"/>
                      </a:lnTo>
                      <a:lnTo>
                        <a:pt x="57" y="86"/>
                      </a:lnTo>
                      <a:lnTo>
                        <a:pt x="57" y="86"/>
                      </a:lnTo>
                      <a:lnTo>
                        <a:pt x="56" y="85"/>
                      </a:lnTo>
                      <a:lnTo>
                        <a:pt x="57" y="85"/>
                      </a:lnTo>
                      <a:lnTo>
                        <a:pt x="57" y="85"/>
                      </a:lnTo>
                      <a:lnTo>
                        <a:pt x="58" y="85"/>
                      </a:lnTo>
                      <a:lnTo>
                        <a:pt x="58" y="86"/>
                      </a:lnTo>
                      <a:lnTo>
                        <a:pt x="58" y="86"/>
                      </a:lnTo>
                      <a:lnTo>
                        <a:pt x="59" y="86"/>
                      </a:lnTo>
                      <a:lnTo>
                        <a:pt x="59" y="85"/>
                      </a:lnTo>
                      <a:lnTo>
                        <a:pt x="59" y="85"/>
                      </a:lnTo>
                      <a:lnTo>
                        <a:pt x="60" y="85"/>
                      </a:lnTo>
                      <a:lnTo>
                        <a:pt x="60" y="85"/>
                      </a:lnTo>
                      <a:lnTo>
                        <a:pt x="60" y="86"/>
                      </a:lnTo>
                      <a:lnTo>
                        <a:pt x="60" y="86"/>
                      </a:lnTo>
                      <a:lnTo>
                        <a:pt x="62" y="87"/>
                      </a:lnTo>
                      <a:lnTo>
                        <a:pt x="62" y="89"/>
                      </a:lnTo>
                      <a:lnTo>
                        <a:pt x="63" y="89"/>
                      </a:lnTo>
                      <a:lnTo>
                        <a:pt x="63" y="89"/>
                      </a:lnTo>
                      <a:lnTo>
                        <a:pt x="63" y="89"/>
                      </a:lnTo>
                      <a:lnTo>
                        <a:pt x="64" y="89"/>
                      </a:lnTo>
                      <a:lnTo>
                        <a:pt x="63" y="90"/>
                      </a:lnTo>
                      <a:lnTo>
                        <a:pt x="63" y="90"/>
                      </a:lnTo>
                      <a:lnTo>
                        <a:pt x="62" y="89"/>
                      </a:lnTo>
                      <a:lnTo>
                        <a:pt x="62" y="90"/>
                      </a:lnTo>
                      <a:lnTo>
                        <a:pt x="62" y="90"/>
                      </a:lnTo>
                      <a:lnTo>
                        <a:pt x="62" y="90"/>
                      </a:lnTo>
                      <a:lnTo>
                        <a:pt x="63" y="90"/>
                      </a:lnTo>
                      <a:lnTo>
                        <a:pt x="64" y="91"/>
                      </a:lnTo>
                      <a:lnTo>
                        <a:pt x="63" y="90"/>
                      </a:lnTo>
                      <a:lnTo>
                        <a:pt x="64" y="91"/>
                      </a:lnTo>
                      <a:lnTo>
                        <a:pt x="64" y="92"/>
                      </a:lnTo>
                      <a:lnTo>
                        <a:pt x="65" y="91"/>
                      </a:lnTo>
                      <a:lnTo>
                        <a:pt x="66" y="92"/>
                      </a:lnTo>
                      <a:lnTo>
                        <a:pt x="66" y="91"/>
                      </a:lnTo>
                      <a:lnTo>
                        <a:pt x="66" y="91"/>
                      </a:lnTo>
                      <a:lnTo>
                        <a:pt x="65" y="90"/>
                      </a:lnTo>
                      <a:lnTo>
                        <a:pt x="65" y="90"/>
                      </a:lnTo>
                      <a:lnTo>
                        <a:pt x="66" y="90"/>
                      </a:lnTo>
                      <a:lnTo>
                        <a:pt x="66" y="90"/>
                      </a:lnTo>
                      <a:lnTo>
                        <a:pt x="66" y="90"/>
                      </a:lnTo>
                      <a:lnTo>
                        <a:pt x="66" y="90"/>
                      </a:lnTo>
                      <a:lnTo>
                        <a:pt x="66" y="89"/>
                      </a:lnTo>
                      <a:lnTo>
                        <a:pt x="68" y="90"/>
                      </a:lnTo>
                      <a:lnTo>
                        <a:pt x="69" y="90"/>
                      </a:lnTo>
                      <a:lnTo>
                        <a:pt x="69" y="89"/>
                      </a:lnTo>
                      <a:lnTo>
                        <a:pt x="70" y="89"/>
                      </a:lnTo>
                      <a:lnTo>
                        <a:pt x="70" y="89"/>
                      </a:lnTo>
                      <a:lnTo>
                        <a:pt x="70" y="87"/>
                      </a:lnTo>
                      <a:lnTo>
                        <a:pt x="70" y="87"/>
                      </a:lnTo>
                      <a:lnTo>
                        <a:pt x="70" y="86"/>
                      </a:lnTo>
                      <a:lnTo>
                        <a:pt x="69" y="86"/>
                      </a:lnTo>
                      <a:lnTo>
                        <a:pt x="68" y="86"/>
                      </a:lnTo>
                      <a:lnTo>
                        <a:pt x="69" y="85"/>
                      </a:lnTo>
                      <a:lnTo>
                        <a:pt x="69" y="85"/>
                      </a:lnTo>
                      <a:lnTo>
                        <a:pt x="69" y="84"/>
                      </a:lnTo>
                      <a:lnTo>
                        <a:pt x="68" y="84"/>
                      </a:lnTo>
                      <a:lnTo>
                        <a:pt x="68" y="84"/>
                      </a:lnTo>
                      <a:lnTo>
                        <a:pt x="66" y="84"/>
                      </a:lnTo>
                      <a:lnTo>
                        <a:pt x="68" y="85"/>
                      </a:lnTo>
                      <a:lnTo>
                        <a:pt x="68" y="86"/>
                      </a:lnTo>
                      <a:lnTo>
                        <a:pt x="68" y="85"/>
                      </a:lnTo>
                      <a:lnTo>
                        <a:pt x="64" y="85"/>
                      </a:lnTo>
                      <a:lnTo>
                        <a:pt x="64" y="84"/>
                      </a:lnTo>
                      <a:lnTo>
                        <a:pt x="64" y="84"/>
                      </a:lnTo>
                      <a:lnTo>
                        <a:pt x="63" y="83"/>
                      </a:lnTo>
                      <a:lnTo>
                        <a:pt x="63" y="82"/>
                      </a:lnTo>
                      <a:lnTo>
                        <a:pt x="63" y="82"/>
                      </a:lnTo>
                      <a:lnTo>
                        <a:pt x="63" y="80"/>
                      </a:lnTo>
                      <a:lnTo>
                        <a:pt x="64" y="82"/>
                      </a:lnTo>
                      <a:lnTo>
                        <a:pt x="64" y="80"/>
                      </a:lnTo>
                      <a:lnTo>
                        <a:pt x="64" y="79"/>
                      </a:lnTo>
                      <a:lnTo>
                        <a:pt x="62" y="79"/>
                      </a:lnTo>
                      <a:lnTo>
                        <a:pt x="60" y="79"/>
                      </a:lnTo>
                      <a:lnTo>
                        <a:pt x="60" y="79"/>
                      </a:lnTo>
                      <a:lnTo>
                        <a:pt x="59" y="78"/>
                      </a:lnTo>
                      <a:lnTo>
                        <a:pt x="60" y="78"/>
                      </a:lnTo>
                      <a:lnTo>
                        <a:pt x="60" y="78"/>
                      </a:lnTo>
                      <a:lnTo>
                        <a:pt x="60" y="78"/>
                      </a:lnTo>
                      <a:lnTo>
                        <a:pt x="62" y="77"/>
                      </a:lnTo>
                      <a:lnTo>
                        <a:pt x="62" y="78"/>
                      </a:lnTo>
                      <a:lnTo>
                        <a:pt x="63" y="78"/>
                      </a:lnTo>
                      <a:lnTo>
                        <a:pt x="65" y="77"/>
                      </a:lnTo>
                      <a:lnTo>
                        <a:pt x="65" y="77"/>
                      </a:lnTo>
                      <a:lnTo>
                        <a:pt x="68" y="77"/>
                      </a:lnTo>
                      <a:lnTo>
                        <a:pt x="68" y="77"/>
                      </a:lnTo>
                      <a:lnTo>
                        <a:pt x="68" y="77"/>
                      </a:lnTo>
                      <a:lnTo>
                        <a:pt x="69" y="76"/>
                      </a:lnTo>
                      <a:lnTo>
                        <a:pt x="70" y="76"/>
                      </a:lnTo>
                      <a:lnTo>
                        <a:pt x="70" y="76"/>
                      </a:lnTo>
                      <a:lnTo>
                        <a:pt x="71" y="76"/>
                      </a:lnTo>
                      <a:lnTo>
                        <a:pt x="70" y="77"/>
                      </a:lnTo>
                      <a:lnTo>
                        <a:pt x="69" y="77"/>
                      </a:lnTo>
                      <a:lnTo>
                        <a:pt x="70" y="77"/>
                      </a:lnTo>
                      <a:lnTo>
                        <a:pt x="70" y="77"/>
                      </a:lnTo>
                      <a:lnTo>
                        <a:pt x="71" y="78"/>
                      </a:lnTo>
                      <a:lnTo>
                        <a:pt x="71" y="77"/>
                      </a:lnTo>
                      <a:lnTo>
                        <a:pt x="72" y="78"/>
                      </a:lnTo>
                      <a:lnTo>
                        <a:pt x="71" y="77"/>
                      </a:lnTo>
                      <a:lnTo>
                        <a:pt x="72" y="78"/>
                      </a:lnTo>
                      <a:lnTo>
                        <a:pt x="73" y="79"/>
                      </a:lnTo>
                      <a:lnTo>
                        <a:pt x="73" y="79"/>
                      </a:lnTo>
                      <a:lnTo>
                        <a:pt x="73" y="79"/>
                      </a:lnTo>
                      <a:lnTo>
                        <a:pt x="75" y="80"/>
                      </a:lnTo>
                      <a:lnTo>
                        <a:pt x="75" y="79"/>
                      </a:lnTo>
                      <a:lnTo>
                        <a:pt x="76" y="80"/>
                      </a:lnTo>
                      <a:lnTo>
                        <a:pt x="76" y="82"/>
                      </a:lnTo>
                      <a:lnTo>
                        <a:pt x="77" y="82"/>
                      </a:lnTo>
                      <a:lnTo>
                        <a:pt x="77" y="83"/>
                      </a:lnTo>
                      <a:lnTo>
                        <a:pt x="78" y="84"/>
                      </a:lnTo>
                      <a:lnTo>
                        <a:pt x="79" y="83"/>
                      </a:lnTo>
                      <a:lnTo>
                        <a:pt x="79" y="82"/>
                      </a:lnTo>
                      <a:lnTo>
                        <a:pt x="79" y="80"/>
                      </a:lnTo>
                      <a:lnTo>
                        <a:pt x="79" y="79"/>
                      </a:lnTo>
                      <a:lnTo>
                        <a:pt x="79" y="79"/>
                      </a:lnTo>
                      <a:lnTo>
                        <a:pt x="78" y="79"/>
                      </a:lnTo>
                      <a:lnTo>
                        <a:pt x="79" y="78"/>
                      </a:lnTo>
                      <a:lnTo>
                        <a:pt x="78" y="77"/>
                      </a:lnTo>
                      <a:lnTo>
                        <a:pt x="78" y="77"/>
                      </a:lnTo>
                      <a:lnTo>
                        <a:pt x="77" y="75"/>
                      </a:lnTo>
                      <a:lnTo>
                        <a:pt x="77" y="75"/>
                      </a:lnTo>
                      <a:lnTo>
                        <a:pt x="78" y="75"/>
                      </a:lnTo>
                      <a:lnTo>
                        <a:pt x="78" y="75"/>
                      </a:lnTo>
                      <a:lnTo>
                        <a:pt x="78" y="73"/>
                      </a:lnTo>
                      <a:lnTo>
                        <a:pt x="76" y="71"/>
                      </a:lnTo>
                      <a:lnTo>
                        <a:pt x="75" y="70"/>
                      </a:lnTo>
                      <a:lnTo>
                        <a:pt x="73" y="70"/>
                      </a:lnTo>
                      <a:lnTo>
                        <a:pt x="72" y="70"/>
                      </a:lnTo>
                      <a:lnTo>
                        <a:pt x="71" y="70"/>
                      </a:lnTo>
                      <a:lnTo>
                        <a:pt x="71" y="69"/>
                      </a:lnTo>
                      <a:lnTo>
                        <a:pt x="70" y="69"/>
                      </a:lnTo>
                      <a:lnTo>
                        <a:pt x="70" y="67"/>
                      </a:lnTo>
                      <a:lnTo>
                        <a:pt x="70" y="67"/>
                      </a:lnTo>
                      <a:lnTo>
                        <a:pt x="70" y="66"/>
                      </a:lnTo>
                      <a:lnTo>
                        <a:pt x="69" y="66"/>
                      </a:lnTo>
                      <a:lnTo>
                        <a:pt x="69" y="66"/>
                      </a:lnTo>
                      <a:lnTo>
                        <a:pt x="68" y="66"/>
                      </a:lnTo>
                      <a:lnTo>
                        <a:pt x="68" y="66"/>
                      </a:lnTo>
                      <a:lnTo>
                        <a:pt x="66" y="66"/>
                      </a:lnTo>
                      <a:lnTo>
                        <a:pt x="66" y="66"/>
                      </a:lnTo>
                      <a:lnTo>
                        <a:pt x="65" y="66"/>
                      </a:lnTo>
                      <a:lnTo>
                        <a:pt x="65" y="66"/>
                      </a:lnTo>
                      <a:lnTo>
                        <a:pt x="65" y="65"/>
                      </a:lnTo>
                      <a:lnTo>
                        <a:pt x="66" y="65"/>
                      </a:lnTo>
                      <a:lnTo>
                        <a:pt x="66" y="65"/>
                      </a:lnTo>
                      <a:lnTo>
                        <a:pt x="64" y="65"/>
                      </a:lnTo>
                      <a:lnTo>
                        <a:pt x="64" y="65"/>
                      </a:lnTo>
                      <a:lnTo>
                        <a:pt x="65" y="64"/>
                      </a:lnTo>
                      <a:lnTo>
                        <a:pt x="65" y="64"/>
                      </a:lnTo>
                      <a:lnTo>
                        <a:pt x="65" y="63"/>
                      </a:lnTo>
                      <a:lnTo>
                        <a:pt x="64" y="63"/>
                      </a:lnTo>
                      <a:lnTo>
                        <a:pt x="64" y="63"/>
                      </a:lnTo>
                      <a:lnTo>
                        <a:pt x="63" y="63"/>
                      </a:lnTo>
                      <a:lnTo>
                        <a:pt x="63" y="63"/>
                      </a:lnTo>
                      <a:lnTo>
                        <a:pt x="60" y="64"/>
                      </a:lnTo>
                      <a:lnTo>
                        <a:pt x="60" y="64"/>
                      </a:lnTo>
                      <a:lnTo>
                        <a:pt x="59" y="64"/>
                      </a:lnTo>
                      <a:lnTo>
                        <a:pt x="59" y="63"/>
                      </a:lnTo>
                      <a:lnTo>
                        <a:pt x="59" y="62"/>
                      </a:lnTo>
                      <a:lnTo>
                        <a:pt x="59" y="60"/>
                      </a:lnTo>
                      <a:lnTo>
                        <a:pt x="58" y="60"/>
                      </a:lnTo>
                      <a:lnTo>
                        <a:pt x="57" y="60"/>
                      </a:lnTo>
                      <a:lnTo>
                        <a:pt x="57" y="60"/>
                      </a:lnTo>
                      <a:lnTo>
                        <a:pt x="56" y="60"/>
                      </a:lnTo>
                      <a:lnTo>
                        <a:pt x="55" y="60"/>
                      </a:lnTo>
                      <a:lnTo>
                        <a:pt x="55" y="59"/>
                      </a:lnTo>
                      <a:lnTo>
                        <a:pt x="52" y="60"/>
                      </a:lnTo>
                      <a:lnTo>
                        <a:pt x="51" y="59"/>
                      </a:lnTo>
                      <a:lnTo>
                        <a:pt x="50" y="59"/>
                      </a:lnTo>
                      <a:lnTo>
                        <a:pt x="51" y="58"/>
                      </a:lnTo>
                      <a:lnTo>
                        <a:pt x="52" y="59"/>
                      </a:lnTo>
                      <a:lnTo>
                        <a:pt x="53" y="58"/>
                      </a:lnTo>
                      <a:lnTo>
                        <a:pt x="55" y="58"/>
                      </a:lnTo>
                      <a:lnTo>
                        <a:pt x="55" y="59"/>
                      </a:lnTo>
                      <a:lnTo>
                        <a:pt x="56" y="58"/>
                      </a:lnTo>
                      <a:lnTo>
                        <a:pt x="56" y="58"/>
                      </a:lnTo>
                      <a:lnTo>
                        <a:pt x="57" y="58"/>
                      </a:lnTo>
                      <a:lnTo>
                        <a:pt x="58" y="58"/>
                      </a:lnTo>
                      <a:lnTo>
                        <a:pt x="58" y="57"/>
                      </a:lnTo>
                      <a:lnTo>
                        <a:pt x="59" y="57"/>
                      </a:lnTo>
                      <a:lnTo>
                        <a:pt x="59" y="57"/>
                      </a:lnTo>
                      <a:lnTo>
                        <a:pt x="59" y="56"/>
                      </a:lnTo>
                      <a:lnTo>
                        <a:pt x="58" y="57"/>
                      </a:lnTo>
                      <a:lnTo>
                        <a:pt x="58" y="56"/>
                      </a:lnTo>
                      <a:lnTo>
                        <a:pt x="59" y="56"/>
                      </a:lnTo>
                      <a:lnTo>
                        <a:pt x="58" y="55"/>
                      </a:lnTo>
                      <a:lnTo>
                        <a:pt x="56" y="53"/>
                      </a:lnTo>
                      <a:lnTo>
                        <a:pt x="56" y="53"/>
                      </a:lnTo>
                      <a:lnTo>
                        <a:pt x="56" y="52"/>
                      </a:lnTo>
                      <a:lnTo>
                        <a:pt x="55" y="53"/>
                      </a:lnTo>
                      <a:lnTo>
                        <a:pt x="55" y="52"/>
                      </a:lnTo>
                      <a:lnTo>
                        <a:pt x="55" y="51"/>
                      </a:lnTo>
                      <a:lnTo>
                        <a:pt x="55" y="50"/>
                      </a:lnTo>
                      <a:lnTo>
                        <a:pt x="55" y="50"/>
                      </a:lnTo>
                      <a:lnTo>
                        <a:pt x="56" y="49"/>
                      </a:lnTo>
                      <a:lnTo>
                        <a:pt x="57" y="50"/>
                      </a:lnTo>
                      <a:lnTo>
                        <a:pt x="58" y="49"/>
                      </a:lnTo>
                      <a:lnTo>
                        <a:pt x="57" y="49"/>
                      </a:lnTo>
                      <a:lnTo>
                        <a:pt x="58" y="47"/>
                      </a:lnTo>
                      <a:lnTo>
                        <a:pt x="58" y="49"/>
                      </a:lnTo>
                      <a:lnTo>
                        <a:pt x="58" y="50"/>
                      </a:lnTo>
                      <a:lnTo>
                        <a:pt x="59" y="50"/>
                      </a:lnTo>
                      <a:lnTo>
                        <a:pt x="62" y="51"/>
                      </a:lnTo>
                      <a:lnTo>
                        <a:pt x="62" y="51"/>
                      </a:lnTo>
                      <a:lnTo>
                        <a:pt x="63" y="52"/>
                      </a:lnTo>
                      <a:lnTo>
                        <a:pt x="62" y="53"/>
                      </a:lnTo>
                      <a:lnTo>
                        <a:pt x="60" y="52"/>
                      </a:lnTo>
                      <a:lnTo>
                        <a:pt x="62" y="53"/>
                      </a:lnTo>
                      <a:lnTo>
                        <a:pt x="59" y="55"/>
                      </a:lnTo>
                      <a:lnTo>
                        <a:pt x="59" y="55"/>
                      </a:lnTo>
                      <a:lnTo>
                        <a:pt x="58" y="55"/>
                      </a:lnTo>
                      <a:lnTo>
                        <a:pt x="59" y="55"/>
                      </a:lnTo>
                      <a:lnTo>
                        <a:pt x="60" y="55"/>
                      </a:lnTo>
                      <a:lnTo>
                        <a:pt x="60" y="55"/>
                      </a:lnTo>
                      <a:lnTo>
                        <a:pt x="62" y="55"/>
                      </a:lnTo>
                      <a:lnTo>
                        <a:pt x="63" y="55"/>
                      </a:lnTo>
                      <a:lnTo>
                        <a:pt x="64" y="55"/>
                      </a:lnTo>
                      <a:lnTo>
                        <a:pt x="63" y="53"/>
                      </a:lnTo>
                      <a:lnTo>
                        <a:pt x="63" y="53"/>
                      </a:lnTo>
                      <a:lnTo>
                        <a:pt x="63" y="53"/>
                      </a:lnTo>
                      <a:lnTo>
                        <a:pt x="64" y="53"/>
                      </a:lnTo>
                      <a:lnTo>
                        <a:pt x="65" y="52"/>
                      </a:lnTo>
                      <a:lnTo>
                        <a:pt x="65" y="51"/>
                      </a:lnTo>
                      <a:lnTo>
                        <a:pt x="63" y="49"/>
                      </a:lnTo>
                      <a:lnTo>
                        <a:pt x="63" y="47"/>
                      </a:lnTo>
                      <a:lnTo>
                        <a:pt x="60" y="46"/>
                      </a:lnTo>
                      <a:lnTo>
                        <a:pt x="59" y="46"/>
                      </a:lnTo>
                      <a:lnTo>
                        <a:pt x="58" y="45"/>
                      </a:lnTo>
                      <a:lnTo>
                        <a:pt x="58" y="45"/>
                      </a:lnTo>
                      <a:lnTo>
                        <a:pt x="57" y="44"/>
                      </a:lnTo>
                      <a:lnTo>
                        <a:pt x="53" y="40"/>
                      </a:lnTo>
                      <a:lnTo>
                        <a:pt x="52" y="39"/>
                      </a:lnTo>
                      <a:lnTo>
                        <a:pt x="52" y="37"/>
                      </a:lnTo>
                      <a:lnTo>
                        <a:pt x="50" y="35"/>
                      </a:lnTo>
                      <a:lnTo>
                        <a:pt x="49" y="35"/>
                      </a:lnTo>
                      <a:lnTo>
                        <a:pt x="49" y="33"/>
                      </a:lnTo>
                      <a:lnTo>
                        <a:pt x="49" y="32"/>
                      </a:lnTo>
                      <a:lnTo>
                        <a:pt x="49" y="31"/>
                      </a:lnTo>
                      <a:lnTo>
                        <a:pt x="50" y="30"/>
                      </a:lnTo>
                      <a:lnTo>
                        <a:pt x="50" y="28"/>
                      </a:lnTo>
                      <a:lnTo>
                        <a:pt x="49" y="28"/>
                      </a:lnTo>
                      <a:lnTo>
                        <a:pt x="49" y="26"/>
                      </a:lnTo>
                      <a:lnTo>
                        <a:pt x="50" y="25"/>
                      </a:lnTo>
                      <a:lnTo>
                        <a:pt x="50" y="25"/>
                      </a:lnTo>
                      <a:lnTo>
                        <a:pt x="51" y="25"/>
                      </a:lnTo>
                      <a:lnTo>
                        <a:pt x="51" y="25"/>
                      </a:lnTo>
                      <a:lnTo>
                        <a:pt x="52" y="25"/>
                      </a:lnTo>
                      <a:lnTo>
                        <a:pt x="51" y="24"/>
                      </a:lnTo>
                      <a:lnTo>
                        <a:pt x="52" y="24"/>
                      </a:lnTo>
                      <a:lnTo>
                        <a:pt x="52" y="24"/>
                      </a:lnTo>
                      <a:lnTo>
                        <a:pt x="52" y="23"/>
                      </a:lnTo>
                      <a:lnTo>
                        <a:pt x="52" y="23"/>
                      </a:lnTo>
                      <a:lnTo>
                        <a:pt x="52" y="23"/>
                      </a:lnTo>
                      <a:lnTo>
                        <a:pt x="53" y="23"/>
                      </a:lnTo>
                      <a:lnTo>
                        <a:pt x="55" y="23"/>
                      </a:lnTo>
                      <a:lnTo>
                        <a:pt x="55" y="23"/>
                      </a:lnTo>
                      <a:lnTo>
                        <a:pt x="55" y="24"/>
                      </a:lnTo>
                      <a:lnTo>
                        <a:pt x="55" y="24"/>
                      </a:lnTo>
                      <a:lnTo>
                        <a:pt x="56" y="24"/>
                      </a:lnTo>
                      <a:lnTo>
                        <a:pt x="55" y="25"/>
                      </a:lnTo>
                      <a:lnTo>
                        <a:pt x="55" y="25"/>
                      </a:lnTo>
                      <a:lnTo>
                        <a:pt x="53" y="25"/>
                      </a:lnTo>
                      <a:lnTo>
                        <a:pt x="53" y="25"/>
                      </a:lnTo>
                      <a:lnTo>
                        <a:pt x="52" y="25"/>
                      </a:lnTo>
                      <a:lnTo>
                        <a:pt x="52" y="26"/>
                      </a:lnTo>
                      <a:lnTo>
                        <a:pt x="53" y="26"/>
                      </a:lnTo>
                      <a:lnTo>
                        <a:pt x="53" y="28"/>
                      </a:lnTo>
                      <a:lnTo>
                        <a:pt x="53" y="28"/>
                      </a:lnTo>
                      <a:lnTo>
                        <a:pt x="56" y="28"/>
                      </a:lnTo>
                      <a:lnTo>
                        <a:pt x="56" y="29"/>
                      </a:lnTo>
                      <a:lnTo>
                        <a:pt x="57" y="29"/>
                      </a:lnTo>
                      <a:lnTo>
                        <a:pt x="60" y="31"/>
                      </a:lnTo>
                      <a:lnTo>
                        <a:pt x="62" y="32"/>
                      </a:lnTo>
                      <a:lnTo>
                        <a:pt x="62" y="33"/>
                      </a:lnTo>
                      <a:lnTo>
                        <a:pt x="62" y="35"/>
                      </a:lnTo>
                      <a:lnTo>
                        <a:pt x="64" y="35"/>
                      </a:lnTo>
                      <a:lnTo>
                        <a:pt x="64" y="36"/>
                      </a:lnTo>
                      <a:lnTo>
                        <a:pt x="64" y="36"/>
                      </a:lnTo>
                      <a:lnTo>
                        <a:pt x="66" y="37"/>
                      </a:lnTo>
                      <a:lnTo>
                        <a:pt x="68" y="38"/>
                      </a:lnTo>
                      <a:lnTo>
                        <a:pt x="69" y="38"/>
                      </a:lnTo>
                      <a:lnTo>
                        <a:pt x="69" y="38"/>
                      </a:lnTo>
                      <a:lnTo>
                        <a:pt x="70" y="37"/>
                      </a:lnTo>
                      <a:lnTo>
                        <a:pt x="69" y="37"/>
                      </a:lnTo>
                      <a:lnTo>
                        <a:pt x="69" y="36"/>
                      </a:lnTo>
                      <a:lnTo>
                        <a:pt x="68" y="36"/>
                      </a:lnTo>
                      <a:lnTo>
                        <a:pt x="68" y="36"/>
                      </a:lnTo>
                      <a:lnTo>
                        <a:pt x="64" y="35"/>
                      </a:lnTo>
                      <a:lnTo>
                        <a:pt x="63" y="32"/>
                      </a:lnTo>
                      <a:lnTo>
                        <a:pt x="63" y="32"/>
                      </a:lnTo>
                      <a:lnTo>
                        <a:pt x="62" y="31"/>
                      </a:lnTo>
                      <a:lnTo>
                        <a:pt x="62" y="31"/>
                      </a:lnTo>
                      <a:lnTo>
                        <a:pt x="63" y="30"/>
                      </a:lnTo>
                      <a:lnTo>
                        <a:pt x="65" y="30"/>
                      </a:lnTo>
                      <a:lnTo>
                        <a:pt x="68" y="31"/>
                      </a:lnTo>
                      <a:lnTo>
                        <a:pt x="68" y="32"/>
                      </a:lnTo>
                      <a:lnTo>
                        <a:pt x="69" y="33"/>
                      </a:lnTo>
                      <a:lnTo>
                        <a:pt x="70" y="33"/>
                      </a:lnTo>
                      <a:lnTo>
                        <a:pt x="70" y="35"/>
                      </a:lnTo>
                      <a:lnTo>
                        <a:pt x="71" y="36"/>
                      </a:lnTo>
                      <a:lnTo>
                        <a:pt x="71" y="37"/>
                      </a:lnTo>
                      <a:lnTo>
                        <a:pt x="72" y="37"/>
                      </a:lnTo>
                      <a:lnTo>
                        <a:pt x="73" y="37"/>
                      </a:lnTo>
                      <a:lnTo>
                        <a:pt x="73" y="36"/>
                      </a:lnTo>
                      <a:lnTo>
                        <a:pt x="73" y="37"/>
                      </a:lnTo>
                      <a:lnTo>
                        <a:pt x="73" y="36"/>
                      </a:lnTo>
                      <a:lnTo>
                        <a:pt x="72" y="36"/>
                      </a:lnTo>
                      <a:lnTo>
                        <a:pt x="73" y="36"/>
                      </a:lnTo>
                      <a:lnTo>
                        <a:pt x="73" y="35"/>
                      </a:lnTo>
                      <a:lnTo>
                        <a:pt x="73" y="35"/>
                      </a:lnTo>
                      <a:lnTo>
                        <a:pt x="73" y="35"/>
                      </a:lnTo>
                      <a:lnTo>
                        <a:pt x="73" y="35"/>
                      </a:lnTo>
                      <a:lnTo>
                        <a:pt x="72" y="33"/>
                      </a:lnTo>
                      <a:lnTo>
                        <a:pt x="72" y="33"/>
                      </a:lnTo>
                      <a:lnTo>
                        <a:pt x="71" y="32"/>
                      </a:lnTo>
                      <a:lnTo>
                        <a:pt x="69" y="31"/>
                      </a:lnTo>
                      <a:lnTo>
                        <a:pt x="68" y="30"/>
                      </a:lnTo>
                      <a:lnTo>
                        <a:pt x="68" y="29"/>
                      </a:lnTo>
                      <a:lnTo>
                        <a:pt x="69" y="29"/>
                      </a:lnTo>
                      <a:lnTo>
                        <a:pt x="69" y="29"/>
                      </a:lnTo>
                      <a:lnTo>
                        <a:pt x="70" y="28"/>
                      </a:lnTo>
                      <a:lnTo>
                        <a:pt x="70" y="28"/>
                      </a:lnTo>
                      <a:lnTo>
                        <a:pt x="75" y="29"/>
                      </a:lnTo>
                      <a:lnTo>
                        <a:pt x="76" y="30"/>
                      </a:lnTo>
                      <a:lnTo>
                        <a:pt x="77" y="31"/>
                      </a:lnTo>
                      <a:lnTo>
                        <a:pt x="78" y="32"/>
                      </a:lnTo>
                      <a:lnTo>
                        <a:pt x="79" y="32"/>
                      </a:lnTo>
                      <a:lnTo>
                        <a:pt x="79" y="33"/>
                      </a:lnTo>
                      <a:lnTo>
                        <a:pt x="79" y="32"/>
                      </a:lnTo>
                      <a:lnTo>
                        <a:pt x="79" y="32"/>
                      </a:lnTo>
                      <a:lnTo>
                        <a:pt x="79" y="30"/>
                      </a:lnTo>
                      <a:lnTo>
                        <a:pt x="79" y="30"/>
                      </a:lnTo>
                      <a:lnTo>
                        <a:pt x="78" y="29"/>
                      </a:lnTo>
                      <a:lnTo>
                        <a:pt x="76" y="29"/>
                      </a:lnTo>
                      <a:lnTo>
                        <a:pt x="76" y="29"/>
                      </a:lnTo>
                      <a:lnTo>
                        <a:pt x="75" y="28"/>
                      </a:lnTo>
                      <a:lnTo>
                        <a:pt x="73" y="26"/>
                      </a:lnTo>
                      <a:lnTo>
                        <a:pt x="73" y="28"/>
                      </a:lnTo>
                      <a:lnTo>
                        <a:pt x="72" y="28"/>
                      </a:lnTo>
                      <a:lnTo>
                        <a:pt x="70" y="28"/>
                      </a:lnTo>
                      <a:lnTo>
                        <a:pt x="70" y="26"/>
                      </a:lnTo>
                      <a:lnTo>
                        <a:pt x="69" y="25"/>
                      </a:lnTo>
                      <a:lnTo>
                        <a:pt x="70" y="25"/>
                      </a:lnTo>
                      <a:lnTo>
                        <a:pt x="70" y="24"/>
                      </a:lnTo>
                      <a:lnTo>
                        <a:pt x="69" y="24"/>
                      </a:lnTo>
                      <a:lnTo>
                        <a:pt x="68" y="23"/>
                      </a:lnTo>
                      <a:lnTo>
                        <a:pt x="66" y="23"/>
                      </a:lnTo>
                      <a:lnTo>
                        <a:pt x="66" y="22"/>
                      </a:lnTo>
                      <a:lnTo>
                        <a:pt x="68" y="22"/>
                      </a:lnTo>
                      <a:lnTo>
                        <a:pt x="68" y="20"/>
                      </a:lnTo>
                      <a:lnTo>
                        <a:pt x="69" y="20"/>
                      </a:lnTo>
                      <a:lnTo>
                        <a:pt x="69" y="19"/>
                      </a:lnTo>
                      <a:lnTo>
                        <a:pt x="69" y="19"/>
                      </a:lnTo>
                      <a:lnTo>
                        <a:pt x="71" y="22"/>
                      </a:lnTo>
                      <a:lnTo>
                        <a:pt x="72" y="22"/>
                      </a:lnTo>
                      <a:lnTo>
                        <a:pt x="73" y="22"/>
                      </a:lnTo>
                      <a:lnTo>
                        <a:pt x="73" y="20"/>
                      </a:lnTo>
                      <a:lnTo>
                        <a:pt x="76" y="20"/>
                      </a:lnTo>
                      <a:lnTo>
                        <a:pt x="77" y="20"/>
                      </a:lnTo>
                      <a:lnTo>
                        <a:pt x="77" y="19"/>
                      </a:lnTo>
                      <a:lnTo>
                        <a:pt x="78" y="19"/>
                      </a:lnTo>
                      <a:lnTo>
                        <a:pt x="77" y="18"/>
                      </a:lnTo>
                      <a:lnTo>
                        <a:pt x="77" y="17"/>
                      </a:lnTo>
                      <a:lnTo>
                        <a:pt x="78" y="17"/>
                      </a:lnTo>
                      <a:lnTo>
                        <a:pt x="79" y="17"/>
                      </a:lnTo>
                      <a:lnTo>
                        <a:pt x="80" y="16"/>
                      </a:lnTo>
                      <a:lnTo>
                        <a:pt x="80" y="16"/>
                      </a:lnTo>
                      <a:lnTo>
                        <a:pt x="82" y="17"/>
                      </a:lnTo>
                      <a:lnTo>
                        <a:pt x="82" y="18"/>
                      </a:lnTo>
                      <a:lnTo>
                        <a:pt x="83" y="18"/>
                      </a:lnTo>
                      <a:lnTo>
                        <a:pt x="84" y="18"/>
                      </a:lnTo>
                      <a:lnTo>
                        <a:pt x="84" y="18"/>
                      </a:lnTo>
                      <a:lnTo>
                        <a:pt x="86" y="17"/>
                      </a:lnTo>
                      <a:lnTo>
                        <a:pt x="88" y="17"/>
                      </a:lnTo>
                      <a:lnTo>
                        <a:pt x="89" y="16"/>
                      </a:lnTo>
                      <a:lnTo>
                        <a:pt x="89" y="15"/>
                      </a:lnTo>
                      <a:lnTo>
                        <a:pt x="90" y="15"/>
                      </a:lnTo>
                      <a:lnTo>
                        <a:pt x="91" y="16"/>
                      </a:lnTo>
                      <a:lnTo>
                        <a:pt x="90" y="16"/>
                      </a:lnTo>
                      <a:lnTo>
                        <a:pt x="90" y="16"/>
                      </a:lnTo>
                      <a:lnTo>
                        <a:pt x="91" y="17"/>
                      </a:lnTo>
                      <a:lnTo>
                        <a:pt x="92" y="17"/>
                      </a:lnTo>
                      <a:lnTo>
                        <a:pt x="93" y="17"/>
                      </a:lnTo>
                      <a:lnTo>
                        <a:pt x="95" y="17"/>
                      </a:lnTo>
                      <a:lnTo>
                        <a:pt x="97" y="18"/>
                      </a:lnTo>
                      <a:lnTo>
                        <a:pt x="99" y="18"/>
                      </a:lnTo>
                      <a:lnTo>
                        <a:pt x="100" y="18"/>
                      </a:lnTo>
                      <a:lnTo>
                        <a:pt x="103" y="18"/>
                      </a:lnTo>
                      <a:lnTo>
                        <a:pt x="104" y="19"/>
                      </a:lnTo>
                      <a:lnTo>
                        <a:pt x="105" y="18"/>
                      </a:lnTo>
                      <a:lnTo>
                        <a:pt x="106" y="19"/>
                      </a:lnTo>
                      <a:lnTo>
                        <a:pt x="106" y="19"/>
                      </a:lnTo>
                      <a:lnTo>
                        <a:pt x="106" y="19"/>
                      </a:lnTo>
                      <a:lnTo>
                        <a:pt x="107" y="18"/>
                      </a:lnTo>
                      <a:lnTo>
                        <a:pt x="107" y="18"/>
                      </a:lnTo>
                      <a:lnTo>
                        <a:pt x="107" y="18"/>
                      </a:lnTo>
                      <a:lnTo>
                        <a:pt x="109" y="19"/>
                      </a:lnTo>
                      <a:lnTo>
                        <a:pt x="109" y="18"/>
                      </a:lnTo>
                      <a:lnTo>
                        <a:pt x="109" y="17"/>
                      </a:lnTo>
                      <a:lnTo>
                        <a:pt x="109" y="17"/>
                      </a:lnTo>
                      <a:lnTo>
                        <a:pt x="109" y="17"/>
                      </a:lnTo>
                      <a:lnTo>
                        <a:pt x="110" y="17"/>
                      </a:lnTo>
                      <a:lnTo>
                        <a:pt x="110" y="17"/>
                      </a:lnTo>
                      <a:lnTo>
                        <a:pt x="111" y="16"/>
                      </a:lnTo>
                      <a:lnTo>
                        <a:pt x="110" y="16"/>
                      </a:lnTo>
                      <a:lnTo>
                        <a:pt x="111" y="15"/>
                      </a:lnTo>
                      <a:lnTo>
                        <a:pt x="111" y="15"/>
                      </a:lnTo>
                      <a:lnTo>
                        <a:pt x="110" y="13"/>
                      </a:lnTo>
                      <a:lnTo>
                        <a:pt x="110" y="13"/>
                      </a:lnTo>
                      <a:lnTo>
                        <a:pt x="109" y="13"/>
                      </a:lnTo>
                      <a:lnTo>
                        <a:pt x="109" y="12"/>
                      </a:lnTo>
                      <a:lnTo>
                        <a:pt x="109" y="12"/>
                      </a:lnTo>
                      <a:lnTo>
                        <a:pt x="109" y="11"/>
                      </a:lnTo>
                      <a:lnTo>
                        <a:pt x="109" y="11"/>
                      </a:lnTo>
                      <a:lnTo>
                        <a:pt x="109" y="11"/>
                      </a:lnTo>
                      <a:lnTo>
                        <a:pt x="109" y="10"/>
                      </a:lnTo>
                      <a:lnTo>
                        <a:pt x="112" y="9"/>
                      </a:lnTo>
                      <a:lnTo>
                        <a:pt x="113" y="9"/>
                      </a:lnTo>
                      <a:lnTo>
                        <a:pt x="113" y="9"/>
                      </a:lnTo>
                      <a:lnTo>
                        <a:pt x="113" y="6"/>
                      </a:lnTo>
                      <a:lnTo>
                        <a:pt x="113" y="4"/>
                      </a:lnTo>
                      <a:lnTo>
                        <a:pt x="113" y="3"/>
                      </a:lnTo>
                      <a:lnTo>
                        <a:pt x="111" y="2"/>
                      </a:lnTo>
                      <a:lnTo>
                        <a:pt x="109" y="0"/>
                      </a:lnTo>
                      <a:lnTo>
                        <a:pt x="107" y="0"/>
                      </a:lnTo>
                      <a:lnTo>
                        <a:pt x="107" y="0"/>
                      </a:lnTo>
                      <a:lnTo>
                        <a:pt x="106" y="0"/>
                      </a:lnTo>
                      <a:lnTo>
                        <a:pt x="105" y="0"/>
                      </a:lnTo>
                      <a:lnTo>
                        <a:pt x="105" y="2"/>
                      </a:lnTo>
                      <a:lnTo>
                        <a:pt x="105" y="2"/>
                      </a:lnTo>
                      <a:lnTo>
                        <a:pt x="105" y="2"/>
                      </a:lnTo>
                      <a:lnTo>
                        <a:pt x="105" y="4"/>
                      </a:lnTo>
                      <a:lnTo>
                        <a:pt x="106" y="5"/>
                      </a:lnTo>
                      <a:lnTo>
                        <a:pt x="107" y="6"/>
                      </a:lnTo>
                      <a:lnTo>
                        <a:pt x="107" y="6"/>
                      </a:lnTo>
                      <a:lnTo>
                        <a:pt x="106" y="9"/>
                      </a:lnTo>
                      <a:lnTo>
                        <a:pt x="105" y="9"/>
                      </a:lnTo>
                      <a:lnTo>
                        <a:pt x="103" y="9"/>
                      </a:lnTo>
                      <a:lnTo>
                        <a:pt x="102" y="10"/>
                      </a:lnTo>
                      <a:lnTo>
                        <a:pt x="102" y="9"/>
                      </a:lnTo>
                      <a:lnTo>
                        <a:pt x="99" y="10"/>
                      </a:lnTo>
                      <a:lnTo>
                        <a:pt x="98" y="9"/>
                      </a:lnTo>
                      <a:lnTo>
                        <a:pt x="96" y="10"/>
                      </a:lnTo>
                      <a:lnTo>
                        <a:pt x="95" y="10"/>
                      </a:lnTo>
                      <a:lnTo>
                        <a:pt x="92" y="10"/>
                      </a:lnTo>
                      <a:lnTo>
                        <a:pt x="91" y="10"/>
                      </a:lnTo>
                      <a:lnTo>
                        <a:pt x="90" y="9"/>
                      </a:lnTo>
                      <a:lnTo>
                        <a:pt x="89" y="9"/>
                      </a:lnTo>
                      <a:lnTo>
                        <a:pt x="89" y="8"/>
                      </a:lnTo>
                      <a:lnTo>
                        <a:pt x="86" y="8"/>
                      </a:lnTo>
                      <a:lnTo>
                        <a:pt x="85" y="6"/>
                      </a:lnTo>
                      <a:lnTo>
                        <a:pt x="84" y="8"/>
                      </a:lnTo>
                      <a:lnTo>
                        <a:pt x="84" y="8"/>
                      </a:lnTo>
                      <a:lnTo>
                        <a:pt x="83" y="8"/>
                      </a:lnTo>
                      <a:lnTo>
                        <a:pt x="82" y="8"/>
                      </a:lnTo>
                      <a:lnTo>
                        <a:pt x="80" y="6"/>
                      </a:lnTo>
                      <a:lnTo>
                        <a:pt x="80" y="6"/>
                      </a:lnTo>
                      <a:lnTo>
                        <a:pt x="79" y="5"/>
                      </a:lnTo>
                      <a:lnTo>
                        <a:pt x="79" y="5"/>
                      </a:lnTo>
                      <a:lnTo>
                        <a:pt x="78" y="4"/>
                      </a:lnTo>
                      <a:lnTo>
                        <a:pt x="78" y="5"/>
                      </a:lnTo>
                      <a:lnTo>
                        <a:pt x="77" y="5"/>
                      </a:lnTo>
                      <a:lnTo>
                        <a:pt x="76" y="5"/>
                      </a:lnTo>
                      <a:lnTo>
                        <a:pt x="76" y="4"/>
                      </a:lnTo>
                      <a:lnTo>
                        <a:pt x="75" y="4"/>
                      </a:lnTo>
                      <a:lnTo>
                        <a:pt x="73" y="5"/>
                      </a:lnTo>
                      <a:lnTo>
                        <a:pt x="73" y="5"/>
                      </a:lnTo>
                      <a:lnTo>
                        <a:pt x="72" y="5"/>
                      </a:lnTo>
                      <a:lnTo>
                        <a:pt x="71" y="5"/>
                      </a:lnTo>
                      <a:lnTo>
                        <a:pt x="71" y="5"/>
                      </a:lnTo>
                      <a:lnTo>
                        <a:pt x="72" y="6"/>
                      </a:lnTo>
                      <a:lnTo>
                        <a:pt x="71" y="6"/>
                      </a:lnTo>
                      <a:lnTo>
                        <a:pt x="70" y="6"/>
                      </a:lnTo>
                      <a:lnTo>
                        <a:pt x="70" y="6"/>
                      </a:lnTo>
                      <a:lnTo>
                        <a:pt x="69" y="6"/>
                      </a:lnTo>
                      <a:lnTo>
                        <a:pt x="68" y="6"/>
                      </a:lnTo>
                      <a:lnTo>
                        <a:pt x="66" y="8"/>
                      </a:lnTo>
                      <a:lnTo>
                        <a:pt x="65" y="6"/>
                      </a:lnTo>
                      <a:lnTo>
                        <a:pt x="64" y="8"/>
                      </a:lnTo>
                      <a:lnTo>
                        <a:pt x="63" y="8"/>
                      </a:lnTo>
                      <a:lnTo>
                        <a:pt x="62" y="6"/>
                      </a:lnTo>
                      <a:lnTo>
                        <a:pt x="60" y="8"/>
                      </a:lnTo>
                      <a:lnTo>
                        <a:pt x="60" y="8"/>
                      </a:lnTo>
                      <a:lnTo>
                        <a:pt x="59" y="8"/>
                      </a:lnTo>
                      <a:lnTo>
                        <a:pt x="58" y="8"/>
                      </a:lnTo>
                      <a:lnTo>
                        <a:pt x="58" y="9"/>
                      </a:lnTo>
                      <a:lnTo>
                        <a:pt x="57" y="10"/>
                      </a:lnTo>
                      <a:lnTo>
                        <a:pt x="55" y="10"/>
                      </a:lnTo>
                      <a:lnTo>
                        <a:pt x="53" y="9"/>
                      </a:lnTo>
                      <a:lnTo>
                        <a:pt x="51" y="9"/>
                      </a:lnTo>
                      <a:lnTo>
                        <a:pt x="50" y="10"/>
                      </a:lnTo>
                      <a:lnTo>
                        <a:pt x="50" y="12"/>
                      </a:lnTo>
                      <a:lnTo>
                        <a:pt x="50" y="12"/>
                      </a:lnTo>
                      <a:lnTo>
                        <a:pt x="49" y="11"/>
                      </a:lnTo>
                      <a:lnTo>
                        <a:pt x="48" y="12"/>
                      </a:lnTo>
                      <a:lnTo>
                        <a:pt x="48" y="12"/>
                      </a:lnTo>
                      <a:lnTo>
                        <a:pt x="48" y="13"/>
                      </a:lnTo>
                      <a:lnTo>
                        <a:pt x="46" y="12"/>
                      </a:lnTo>
                      <a:lnTo>
                        <a:pt x="44" y="13"/>
                      </a:lnTo>
                      <a:lnTo>
                        <a:pt x="44" y="12"/>
                      </a:lnTo>
                      <a:lnTo>
                        <a:pt x="44" y="12"/>
                      </a:lnTo>
                      <a:lnTo>
                        <a:pt x="43" y="12"/>
                      </a:lnTo>
                      <a:lnTo>
                        <a:pt x="40" y="12"/>
                      </a:lnTo>
                      <a:lnTo>
                        <a:pt x="39" y="13"/>
                      </a:lnTo>
                      <a:lnTo>
                        <a:pt x="38" y="12"/>
                      </a:lnTo>
                      <a:lnTo>
                        <a:pt x="37" y="13"/>
                      </a:lnTo>
                      <a:lnTo>
                        <a:pt x="36" y="13"/>
                      </a:lnTo>
                      <a:lnTo>
                        <a:pt x="35" y="16"/>
                      </a:lnTo>
                      <a:lnTo>
                        <a:pt x="35" y="16"/>
                      </a:lnTo>
                      <a:lnTo>
                        <a:pt x="33" y="17"/>
                      </a:lnTo>
                      <a:lnTo>
                        <a:pt x="32" y="17"/>
                      </a:lnTo>
                      <a:lnTo>
                        <a:pt x="31" y="18"/>
                      </a:lnTo>
                      <a:lnTo>
                        <a:pt x="30" y="18"/>
                      </a:lnTo>
                      <a:lnTo>
                        <a:pt x="30" y="17"/>
                      </a:lnTo>
                      <a:lnTo>
                        <a:pt x="29" y="17"/>
                      </a:lnTo>
                      <a:lnTo>
                        <a:pt x="28" y="18"/>
                      </a:lnTo>
                      <a:lnTo>
                        <a:pt x="20" y="18"/>
                      </a:lnTo>
                      <a:lnTo>
                        <a:pt x="20" y="19"/>
                      </a:lnTo>
                      <a:lnTo>
                        <a:pt x="20" y="19"/>
                      </a:lnTo>
                      <a:lnTo>
                        <a:pt x="22" y="23"/>
                      </a:lnTo>
                      <a:lnTo>
                        <a:pt x="23" y="24"/>
                      </a:lnTo>
                      <a:lnTo>
                        <a:pt x="22" y="25"/>
                      </a:lnTo>
                      <a:lnTo>
                        <a:pt x="22" y="26"/>
                      </a:lnTo>
                      <a:lnTo>
                        <a:pt x="20" y="26"/>
                      </a:lnTo>
                      <a:lnTo>
                        <a:pt x="20" y="26"/>
                      </a:lnTo>
                      <a:lnTo>
                        <a:pt x="19" y="26"/>
                      </a:lnTo>
                      <a:lnTo>
                        <a:pt x="18" y="26"/>
                      </a:lnTo>
                      <a:lnTo>
                        <a:pt x="18" y="28"/>
                      </a:lnTo>
                      <a:lnTo>
                        <a:pt x="18" y="29"/>
                      </a:lnTo>
                      <a:lnTo>
                        <a:pt x="17" y="30"/>
                      </a:lnTo>
                      <a:lnTo>
                        <a:pt x="17" y="31"/>
                      </a:lnTo>
                      <a:lnTo>
                        <a:pt x="17" y="31"/>
                      </a:lnTo>
                      <a:lnTo>
                        <a:pt x="17" y="32"/>
                      </a:lnTo>
                      <a:lnTo>
                        <a:pt x="17" y="33"/>
                      </a:lnTo>
                      <a:lnTo>
                        <a:pt x="17" y="33"/>
                      </a:lnTo>
                      <a:lnTo>
                        <a:pt x="16" y="35"/>
                      </a:lnTo>
                      <a:lnTo>
                        <a:pt x="15" y="33"/>
                      </a:lnTo>
                      <a:lnTo>
                        <a:pt x="15" y="35"/>
                      </a:lnTo>
                      <a:lnTo>
                        <a:pt x="13" y="35"/>
                      </a:lnTo>
                      <a:lnTo>
                        <a:pt x="13" y="35"/>
                      </a:lnTo>
                      <a:lnTo>
                        <a:pt x="12" y="35"/>
                      </a:lnTo>
                      <a:lnTo>
                        <a:pt x="12" y="37"/>
                      </a:lnTo>
                      <a:lnTo>
                        <a:pt x="12" y="37"/>
                      </a:lnTo>
                      <a:lnTo>
                        <a:pt x="13" y="38"/>
                      </a:lnTo>
                      <a:lnTo>
                        <a:pt x="13" y="40"/>
                      </a:lnTo>
                      <a:lnTo>
                        <a:pt x="13" y="40"/>
                      </a:lnTo>
                      <a:lnTo>
                        <a:pt x="13" y="40"/>
                      </a:lnTo>
                      <a:lnTo>
                        <a:pt x="13" y="40"/>
                      </a:lnTo>
                      <a:lnTo>
                        <a:pt x="12" y="40"/>
                      </a:lnTo>
                      <a:lnTo>
                        <a:pt x="11" y="42"/>
                      </a:lnTo>
                      <a:lnTo>
                        <a:pt x="11" y="43"/>
                      </a:lnTo>
                      <a:lnTo>
                        <a:pt x="10" y="43"/>
                      </a:lnTo>
                      <a:lnTo>
                        <a:pt x="9" y="43"/>
                      </a:lnTo>
                      <a:lnTo>
                        <a:pt x="8" y="43"/>
                      </a:lnTo>
                      <a:lnTo>
                        <a:pt x="9" y="43"/>
                      </a:lnTo>
                      <a:lnTo>
                        <a:pt x="10" y="44"/>
                      </a:lnTo>
                      <a:lnTo>
                        <a:pt x="10" y="44"/>
                      </a:lnTo>
                      <a:lnTo>
                        <a:pt x="10" y="44"/>
                      </a:lnTo>
                      <a:lnTo>
                        <a:pt x="10" y="44"/>
                      </a:lnTo>
                      <a:lnTo>
                        <a:pt x="9" y="44"/>
                      </a:lnTo>
                      <a:lnTo>
                        <a:pt x="10" y="45"/>
                      </a:lnTo>
                      <a:lnTo>
                        <a:pt x="10" y="45"/>
                      </a:lnTo>
                      <a:lnTo>
                        <a:pt x="10" y="45"/>
                      </a:lnTo>
                      <a:lnTo>
                        <a:pt x="11" y="45"/>
                      </a:lnTo>
                      <a:lnTo>
                        <a:pt x="11" y="46"/>
                      </a:lnTo>
                      <a:lnTo>
                        <a:pt x="10" y="46"/>
                      </a:lnTo>
                      <a:lnTo>
                        <a:pt x="11" y="46"/>
                      </a:lnTo>
                      <a:lnTo>
                        <a:pt x="10" y="47"/>
                      </a:lnTo>
                      <a:lnTo>
                        <a:pt x="11" y="47"/>
                      </a:lnTo>
                      <a:lnTo>
                        <a:pt x="11" y="47"/>
                      </a:lnTo>
                      <a:lnTo>
                        <a:pt x="12" y="49"/>
                      </a:lnTo>
                      <a:lnTo>
                        <a:pt x="13" y="49"/>
                      </a:lnTo>
                      <a:lnTo>
                        <a:pt x="13" y="49"/>
                      </a:lnTo>
                      <a:lnTo>
                        <a:pt x="15" y="50"/>
                      </a:lnTo>
                      <a:lnTo>
                        <a:pt x="15" y="50"/>
                      </a:lnTo>
                      <a:lnTo>
                        <a:pt x="16" y="50"/>
                      </a:lnTo>
                      <a:lnTo>
                        <a:pt x="17" y="50"/>
                      </a:lnTo>
                      <a:lnTo>
                        <a:pt x="17" y="51"/>
                      </a:lnTo>
                      <a:lnTo>
                        <a:pt x="17" y="51"/>
                      </a:lnTo>
                      <a:lnTo>
                        <a:pt x="17" y="52"/>
                      </a:lnTo>
                      <a:lnTo>
                        <a:pt x="18" y="53"/>
                      </a:lnTo>
                      <a:lnTo>
                        <a:pt x="19" y="55"/>
                      </a:lnTo>
                      <a:lnTo>
                        <a:pt x="19" y="56"/>
                      </a:lnTo>
                      <a:lnTo>
                        <a:pt x="19" y="57"/>
                      </a:lnTo>
                      <a:lnTo>
                        <a:pt x="19" y="57"/>
                      </a:lnTo>
                      <a:lnTo>
                        <a:pt x="19" y="58"/>
                      </a:lnTo>
                      <a:lnTo>
                        <a:pt x="20" y="58"/>
                      </a:lnTo>
                      <a:lnTo>
                        <a:pt x="20" y="58"/>
                      </a:lnTo>
                      <a:lnTo>
                        <a:pt x="22" y="57"/>
                      </a:lnTo>
                      <a:lnTo>
                        <a:pt x="22" y="57"/>
                      </a:lnTo>
                      <a:lnTo>
                        <a:pt x="20" y="56"/>
                      </a:lnTo>
                      <a:lnTo>
                        <a:pt x="22" y="55"/>
                      </a:lnTo>
                      <a:lnTo>
                        <a:pt x="20" y="55"/>
                      </a:lnTo>
                      <a:lnTo>
                        <a:pt x="20" y="55"/>
                      </a:lnTo>
                      <a:lnTo>
                        <a:pt x="22" y="53"/>
                      </a:lnTo>
                      <a:lnTo>
                        <a:pt x="23" y="55"/>
                      </a:lnTo>
                      <a:lnTo>
                        <a:pt x="23" y="55"/>
                      </a:lnTo>
                      <a:lnTo>
                        <a:pt x="22" y="55"/>
                      </a:lnTo>
                      <a:lnTo>
                        <a:pt x="22" y="56"/>
                      </a:lnTo>
                      <a:lnTo>
                        <a:pt x="23" y="55"/>
                      </a:lnTo>
                      <a:lnTo>
                        <a:pt x="23" y="55"/>
                      </a:lnTo>
                      <a:lnTo>
                        <a:pt x="24" y="55"/>
                      </a:lnTo>
                      <a:lnTo>
                        <a:pt x="24" y="56"/>
                      </a:lnTo>
                      <a:lnTo>
                        <a:pt x="24" y="56"/>
                      </a:lnTo>
                      <a:lnTo>
                        <a:pt x="24" y="56"/>
                      </a:lnTo>
                      <a:lnTo>
                        <a:pt x="25" y="56"/>
                      </a:lnTo>
                      <a:lnTo>
                        <a:pt x="25" y="56"/>
                      </a:lnTo>
                      <a:lnTo>
                        <a:pt x="25" y="56"/>
                      </a:lnTo>
                      <a:lnTo>
                        <a:pt x="26" y="56"/>
                      </a:lnTo>
                      <a:lnTo>
                        <a:pt x="28" y="56"/>
                      </a:lnTo>
                      <a:lnTo>
                        <a:pt x="28" y="57"/>
                      </a:lnTo>
                      <a:lnTo>
                        <a:pt x="26" y="57"/>
                      </a:lnTo>
                      <a:lnTo>
                        <a:pt x="26" y="57"/>
                      </a:lnTo>
                      <a:lnTo>
                        <a:pt x="26" y="58"/>
                      </a:lnTo>
                      <a:lnTo>
                        <a:pt x="26" y="58"/>
                      </a:lnTo>
                      <a:lnTo>
                        <a:pt x="26" y="58"/>
                      </a:lnTo>
                      <a:lnTo>
                        <a:pt x="25" y="59"/>
                      </a:lnTo>
                      <a:lnTo>
                        <a:pt x="25" y="59"/>
                      </a:lnTo>
                      <a:lnTo>
                        <a:pt x="25" y="58"/>
                      </a:lnTo>
                      <a:lnTo>
                        <a:pt x="25" y="58"/>
                      </a:lnTo>
                      <a:lnTo>
                        <a:pt x="24" y="57"/>
                      </a:lnTo>
                      <a:lnTo>
                        <a:pt x="24" y="58"/>
                      </a:lnTo>
                      <a:lnTo>
                        <a:pt x="23" y="57"/>
                      </a:lnTo>
                      <a:lnTo>
                        <a:pt x="23" y="57"/>
                      </a:lnTo>
                      <a:lnTo>
                        <a:pt x="23" y="58"/>
                      </a:lnTo>
                      <a:lnTo>
                        <a:pt x="22" y="58"/>
                      </a:lnTo>
                      <a:lnTo>
                        <a:pt x="20" y="58"/>
                      </a:lnTo>
                      <a:lnTo>
                        <a:pt x="20" y="58"/>
                      </a:lnTo>
                      <a:lnTo>
                        <a:pt x="22" y="59"/>
                      </a:lnTo>
                      <a:lnTo>
                        <a:pt x="22" y="58"/>
                      </a:lnTo>
                      <a:lnTo>
                        <a:pt x="22" y="59"/>
                      </a:lnTo>
                      <a:lnTo>
                        <a:pt x="22" y="59"/>
                      </a:lnTo>
                      <a:lnTo>
                        <a:pt x="20" y="59"/>
                      </a:lnTo>
                      <a:lnTo>
                        <a:pt x="20" y="59"/>
                      </a:lnTo>
                      <a:lnTo>
                        <a:pt x="22" y="60"/>
                      </a:lnTo>
                      <a:lnTo>
                        <a:pt x="22" y="60"/>
                      </a:lnTo>
                      <a:lnTo>
                        <a:pt x="22" y="60"/>
                      </a:lnTo>
                      <a:lnTo>
                        <a:pt x="22" y="60"/>
                      </a:lnTo>
                      <a:lnTo>
                        <a:pt x="23" y="60"/>
                      </a:lnTo>
                      <a:lnTo>
                        <a:pt x="24" y="60"/>
                      </a:lnTo>
                      <a:lnTo>
                        <a:pt x="24" y="62"/>
                      </a:lnTo>
                      <a:lnTo>
                        <a:pt x="23" y="62"/>
                      </a:lnTo>
                      <a:lnTo>
                        <a:pt x="24" y="63"/>
                      </a:lnTo>
                      <a:lnTo>
                        <a:pt x="25" y="63"/>
                      </a:lnTo>
                      <a:lnTo>
                        <a:pt x="25" y="64"/>
                      </a:lnTo>
                      <a:lnTo>
                        <a:pt x="26" y="65"/>
                      </a:lnTo>
                      <a:lnTo>
                        <a:pt x="26" y="66"/>
                      </a:lnTo>
                      <a:lnTo>
                        <a:pt x="28" y="65"/>
                      </a:lnTo>
                      <a:lnTo>
                        <a:pt x="28" y="66"/>
                      </a:lnTo>
                      <a:lnTo>
                        <a:pt x="28" y="66"/>
                      </a:lnTo>
                      <a:lnTo>
                        <a:pt x="28" y="66"/>
                      </a:lnTo>
                      <a:lnTo>
                        <a:pt x="28" y="66"/>
                      </a:lnTo>
                      <a:lnTo>
                        <a:pt x="28" y="67"/>
                      </a:lnTo>
                      <a:lnTo>
                        <a:pt x="28" y="69"/>
                      </a:lnTo>
                      <a:lnTo>
                        <a:pt x="28" y="69"/>
                      </a:lnTo>
                      <a:lnTo>
                        <a:pt x="28" y="69"/>
                      </a:lnTo>
                      <a:lnTo>
                        <a:pt x="28" y="69"/>
                      </a:lnTo>
                      <a:lnTo>
                        <a:pt x="28" y="70"/>
                      </a:lnTo>
                      <a:lnTo>
                        <a:pt x="28" y="70"/>
                      </a:lnTo>
                      <a:lnTo>
                        <a:pt x="28" y="70"/>
                      </a:lnTo>
                      <a:lnTo>
                        <a:pt x="28" y="70"/>
                      </a:lnTo>
                      <a:lnTo>
                        <a:pt x="28" y="70"/>
                      </a:lnTo>
                      <a:lnTo>
                        <a:pt x="29" y="70"/>
                      </a:lnTo>
                      <a:lnTo>
                        <a:pt x="29" y="70"/>
                      </a:lnTo>
                      <a:lnTo>
                        <a:pt x="29" y="70"/>
                      </a:lnTo>
                      <a:lnTo>
                        <a:pt x="30" y="70"/>
                      </a:lnTo>
                      <a:lnTo>
                        <a:pt x="30" y="70"/>
                      </a:lnTo>
                      <a:lnTo>
                        <a:pt x="30" y="70"/>
                      </a:lnTo>
                      <a:lnTo>
                        <a:pt x="30" y="70"/>
                      </a:lnTo>
                      <a:lnTo>
                        <a:pt x="30" y="69"/>
                      </a:lnTo>
                      <a:lnTo>
                        <a:pt x="30" y="69"/>
                      </a:lnTo>
                      <a:lnTo>
                        <a:pt x="31" y="69"/>
                      </a:lnTo>
                      <a:lnTo>
                        <a:pt x="32" y="69"/>
                      </a:lnTo>
                      <a:lnTo>
                        <a:pt x="32" y="69"/>
                      </a:lnTo>
                      <a:lnTo>
                        <a:pt x="33" y="69"/>
                      </a:lnTo>
                      <a:lnTo>
                        <a:pt x="33" y="69"/>
                      </a:lnTo>
                      <a:lnTo>
                        <a:pt x="35" y="69"/>
                      </a:lnTo>
                      <a:lnTo>
                        <a:pt x="35" y="69"/>
                      </a:lnTo>
                      <a:lnTo>
                        <a:pt x="35" y="70"/>
                      </a:lnTo>
                      <a:lnTo>
                        <a:pt x="33" y="70"/>
                      </a:lnTo>
                      <a:lnTo>
                        <a:pt x="35" y="70"/>
                      </a:lnTo>
                      <a:lnTo>
                        <a:pt x="35" y="70"/>
                      </a:lnTo>
                      <a:lnTo>
                        <a:pt x="35" y="70"/>
                      </a:lnTo>
                      <a:lnTo>
                        <a:pt x="35" y="70"/>
                      </a:lnTo>
                      <a:lnTo>
                        <a:pt x="37" y="69"/>
                      </a:lnTo>
                      <a:lnTo>
                        <a:pt x="38" y="69"/>
                      </a:lnTo>
                      <a:lnTo>
                        <a:pt x="39" y="70"/>
                      </a:lnTo>
                      <a:lnTo>
                        <a:pt x="39" y="70"/>
                      </a:lnTo>
                      <a:lnTo>
                        <a:pt x="38" y="69"/>
                      </a:lnTo>
                      <a:lnTo>
                        <a:pt x="38" y="69"/>
                      </a:lnTo>
                      <a:lnTo>
                        <a:pt x="39" y="69"/>
                      </a:lnTo>
                      <a:lnTo>
                        <a:pt x="42" y="69"/>
                      </a:lnTo>
                      <a:lnTo>
                        <a:pt x="42" y="69"/>
                      </a:lnTo>
                      <a:lnTo>
                        <a:pt x="43" y="69"/>
                      </a:lnTo>
                      <a:lnTo>
                        <a:pt x="45" y="69"/>
                      </a:lnTo>
                      <a:lnTo>
                        <a:pt x="45" y="70"/>
                      </a:lnTo>
                      <a:lnTo>
                        <a:pt x="45" y="70"/>
                      </a:lnTo>
                      <a:lnTo>
                        <a:pt x="46" y="70"/>
                      </a:lnTo>
                      <a:lnTo>
                        <a:pt x="48" y="70"/>
                      </a:lnTo>
                      <a:lnTo>
                        <a:pt x="48" y="69"/>
                      </a:lnTo>
                      <a:lnTo>
                        <a:pt x="48" y="69"/>
                      </a:lnTo>
                      <a:lnTo>
                        <a:pt x="48" y="69"/>
                      </a:lnTo>
                      <a:lnTo>
                        <a:pt x="49" y="70"/>
                      </a:lnTo>
                      <a:lnTo>
                        <a:pt x="49" y="70"/>
                      </a:lnTo>
                      <a:lnTo>
                        <a:pt x="49" y="69"/>
                      </a:lnTo>
                      <a:lnTo>
                        <a:pt x="50" y="70"/>
                      </a:lnTo>
                      <a:lnTo>
                        <a:pt x="50" y="69"/>
                      </a:lnTo>
                      <a:lnTo>
                        <a:pt x="50" y="69"/>
                      </a:lnTo>
                      <a:lnTo>
                        <a:pt x="49" y="67"/>
                      </a:lnTo>
                      <a:lnTo>
                        <a:pt x="50" y="69"/>
                      </a:lnTo>
                      <a:lnTo>
                        <a:pt x="52" y="69"/>
                      </a:lnTo>
                      <a:lnTo>
                        <a:pt x="52" y="70"/>
                      </a:lnTo>
                      <a:lnTo>
                        <a:pt x="52" y="71"/>
                      </a:lnTo>
                      <a:lnTo>
                        <a:pt x="53" y="72"/>
                      </a:lnTo>
                      <a:lnTo>
                        <a:pt x="53" y="70"/>
                      </a:lnTo>
                      <a:lnTo>
                        <a:pt x="53" y="70"/>
                      </a:lnTo>
                      <a:lnTo>
                        <a:pt x="53" y="69"/>
                      </a:lnTo>
                      <a:lnTo>
                        <a:pt x="53" y="69"/>
                      </a:lnTo>
                      <a:lnTo>
                        <a:pt x="53" y="69"/>
                      </a:lnTo>
                      <a:lnTo>
                        <a:pt x="55" y="70"/>
                      </a:lnTo>
                      <a:lnTo>
                        <a:pt x="57" y="71"/>
                      </a:lnTo>
                      <a:lnTo>
                        <a:pt x="56" y="71"/>
                      </a:lnTo>
                      <a:lnTo>
                        <a:pt x="56" y="72"/>
                      </a:lnTo>
                      <a:lnTo>
                        <a:pt x="57" y="72"/>
                      </a:lnTo>
                      <a:lnTo>
                        <a:pt x="57" y="73"/>
                      </a:lnTo>
                      <a:lnTo>
                        <a:pt x="59" y="73"/>
                      </a:lnTo>
                      <a:lnTo>
                        <a:pt x="59" y="73"/>
                      </a:lnTo>
                      <a:lnTo>
                        <a:pt x="58" y="73"/>
                      </a:lnTo>
                      <a:lnTo>
                        <a:pt x="59" y="72"/>
                      </a:lnTo>
                      <a:lnTo>
                        <a:pt x="60" y="72"/>
                      </a:lnTo>
                      <a:lnTo>
                        <a:pt x="60" y="73"/>
                      </a:lnTo>
                      <a:lnTo>
                        <a:pt x="60" y="73"/>
                      </a:lnTo>
                      <a:lnTo>
                        <a:pt x="60" y="73"/>
                      </a:lnTo>
                      <a:lnTo>
                        <a:pt x="62" y="72"/>
                      </a:lnTo>
                      <a:lnTo>
                        <a:pt x="62" y="73"/>
                      </a:lnTo>
                      <a:lnTo>
                        <a:pt x="62" y="73"/>
                      </a:lnTo>
                      <a:lnTo>
                        <a:pt x="64" y="73"/>
                      </a:lnTo>
                      <a:lnTo>
                        <a:pt x="64" y="75"/>
                      </a:lnTo>
                      <a:lnTo>
                        <a:pt x="64" y="76"/>
                      </a:lnTo>
                      <a:lnTo>
                        <a:pt x="60" y="76"/>
                      </a:lnTo>
                      <a:lnTo>
                        <a:pt x="59" y="76"/>
                      </a:lnTo>
                      <a:lnTo>
                        <a:pt x="57" y="76"/>
                      </a:lnTo>
                      <a:lnTo>
                        <a:pt x="58" y="76"/>
                      </a:lnTo>
                      <a:lnTo>
                        <a:pt x="59" y="77"/>
                      </a:lnTo>
                      <a:lnTo>
                        <a:pt x="59" y="77"/>
                      </a:lnTo>
                      <a:lnTo>
                        <a:pt x="58" y="78"/>
                      </a:lnTo>
                      <a:lnTo>
                        <a:pt x="57" y="77"/>
                      </a:lnTo>
                      <a:lnTo>
                        <a:pt x="56" y="76"/>
                      </a:lnTo>
                      <a:lnTo>
                        <a:pt x="53" y="76"/>
                      </a:lnTo>
                      <a:lnTo>
                        <a:pt x="52" y="75"/>
                      </a:lnTo>
                      <a:lnTo>
                        <a:pt x="50" y="75"/>
                      </a:lnTo>
                      <a:lnTo>
                        <a:pt x="49" y="73"/>
                      </a:lnTo>
                      <a:lnTo>
                        <a:pt x="48" y="73"/>
                      </a:lnTo>
                      <a:lnTo>
                        <a:pt x="45" y="72"/>
                      </a:lnTo>
                      <a:lnTo>
                        <a:pt x="45" y="72"/>
                      </a:lnTo>
                      <a:lnTo>
                        <a:pt x="45" y="72"/>
                      </a:lnTo>
                      <a:close/>
                      <a:moveTo>
                        <a:pt x="152" y="116"/>
                      </a:moveTo>
                      <a:lnTo>
                        <a:pt x="151" y="116"/>
                      </a:lnTo>
                      <a:lnTo>
                        <a:pt x="149" y="116"/>
                      </a:lnTo>
                      <a:lnTo>
                        <a:pt x="147" y="117"/>
                      </a:lnTo>
                      <a:lnTo>
                        <a:pt x="146" y="117"/>
                      </a:lnTo>
                      <a:lnTo>
                        <a:pt x="146" y="118"/>
                      </a:lnTo>
                      <a:lnTo>
                        <a:pt x="145" y="118"/>
                      </a:lnTo>
                      <a:lnTo>
                        <a:pt x="144" y="118"/>
                      </a:lnTo>
                      <a:lnTo>
                        <a:pt x="144" y="117"/>
                      </a:lnTo>
                      <a:lnTo>
                        <a:pt x="144" y="116"/>
                      </a:lnTo>
                      <a:lnTo>
                        <a:pt x="144" y="115"/>
                      </a:lnTo>
                      <a:lnTo>
                        <a:pt x="143" y="113"/>
                      </a:lnTo>
                      <a:lnTo>
                        <a:pt x="144" y="113"/>
                      </a:lnTo>
                      <a:lnTo>
                        <a:pt x="144" y="113"/>
                      </a:lnTo>
                      <a:lnTo>
                        <a:pt x="145" y="112"/>
                      </a:lnTo>
                      <a:lnTo>
                        <a:pt x="146" y="112"/>
                      </a:lnTo>
                      <a:lnTo>
                        <a:pt x="149" y="111"/>
                      </a:lnTo>
                      <a:lnTo>
                        <a:pt x="151" y="111"/>
                      </a:lnTo>
                      <a:lnTo>
                        <a:pt x="152" y="110"/>
                      </a:lnTo>
                      <a:lnTo>
                        <a:pt x="153" y="110"/>
                      </a:lnTo>
                      <a:lnTo>
                        <a:pt x="153" y="109"/>
                      </a:lnTo>
                      <a:lnTo>
                        <a:pt x="155" y="110"/>
                      </a:lnTo>
                      <a:lnTo>
                        <a:pt x="153" y="110"/>
                      </a:lnTo>
                      <a:lnTo>
                        <a:pt x="153" y="111"/>
                      </a:lnTo>
                      <a:lnTo>
                        <a:pt x="153" y="112"/>
                      </a:lnTo>
                      <a:lnTo>
                        <a:pt x="153" y="113"/>
                      </a:lnTo>
                      <a:lnTo>
                        <a:pt x="152" y="115"/>
                      </a:lnTo>
                      <a:lnTo>
                        <a:pt x="152" y="116"/>
                      </a:lnTo>
                      <a:lnTo>
                        <a:pt x="152" y="116"/>
                      </a:lnTo>
                      <a:close/>
                      <a:moveTo>
                        <a:pt x="88" y="73"/>
                      </a:moveTo>
                      <a:lnTo>
                        <a:pt x="86" y="75"/>
                      </a:lnTo>
                      <a:lnTo>
                        <a:pt x="86" y="76"/>
                      </a:lnTo>
                      <a:lnTo>
                        <a:pt x="86" y="76"/>
                      </a:lnTo>
                      <a:lnTo>
                        <a:pt x="86" y="77"/>
                      </a:lnTo>
                      <a:lnTo>
                        <a:pt x="85" y="77"/>
                      </a:lnTo>
                      <a:lnTo>
                        <a:pt x="85" y="77"/>
                      </a:lnTo>
                      <a:lnTo>
                        <a:pt x="83" y="76"/>
                      </a:lnTo>
                      <a:lnTo>
                        <a:pt x="83" y="75"/>
                      </a:lnTo>
                      <a:lnTo>
                        <a:pt x="80" y="73"/>
                      </a:lnTo>
                      <a:lnTo>
                        <a:pt x="80" y="71"/>
                      </a:lnTo>
                      <a:lnTo>
                        <a:pt x="78" y="71"/>
                      </a:lnTo>
                      <a:lnTo>
                        <a:pt x="77" y="70"/>
                      </a:lnTo>
                      <a:lnTo>
                        <a:pt x="76" y="69"/>
                      </a:lnTo>
                      <a:lnTo>
                        <a:pt x="76" y="69"/>
                      </a:lnTo>
                      <a:lnTo>
                        <a:pt x="75" y="67"/>
                      </a:lnTo>
                      <a:lnTo>
                        <a:pt x="73" y="66"/>
                      </a:lnTo>
                      <a:lnTo>
                        <a:pt x="72" y="66"/>
                      </a:lnTo>
                      <a:lnTo>
                        <a:pt x="71" y="66"/>
                      </a:lnTo>
                      <a:lnTo>
                        <a:pt x="69" y="66"/>
                      </a:lnTo>
                      <a:lnTo>
                        <a:pt x="68" y="65"/>
                      </a:lnTo>
                      <a:lnTo>
                        <a:pt x="66" y="64"/>
                      </a:lnTo>
                      <a:lnTo>
                        <a:pt x="66" y="64"/>
                      </a:lnTo>
                      <a:lnTo>
                        <a:pt x="66" y="63"/>
                      </a:lnTo>
                      <a:lnTo>
                        <a:pt x="66" y="62"/>
                      </a:lnTo>
                      <a:lnTo>
                        <a:pt x="65" y="60"/>
                      </a:lnTo>
                      <a:lnTo>
                        <a:pt x="64" y="60"/>
                      </a:lnTo>
                      <a:lnTo>
                        <a:pt x="62" y="60"/>
                      </a:lnTo>
                      <a:lnTo>
                        <a:pt x="58" y="59"/>
                      </a:lnTo>
                      <a:lnTo>
                        <a:pt x="57" y="60"/>
                      </a:lnTo>
                      <a:lnTo>
                        <a:pt x="57" y="59"/>
                      </a:lnTo>
                      <a:lnTo>
                        <a:pt x="57" y="59"/>
                      </a:lnTo>
                      <a:lnTo>
                        <a:pt x="58" y="59"/>
                      </a:lnTo>
                      <a:lnTo>
                        <a:pt x="58" y="58"/>
                      </a:lnTo>
                      <a:lnTo>
                        <a:pt x="58" y="58"/>
                      </a:lnTo>
                      <a:lnTo>
                        <a:pt x="60" y="58"/>
                      </a:lnTo>
                      <a:lnTo>
                        <a:pt x="60" y="57"/>
                      </a:lnTo>
                      <a:lnTo>
                        <a:pt x="60" y="57"/>
                      </a:lnTo>
                      <a:lnTo>
                        <a:pt x="60" y="56"/>
                      </a:lnTo>
                      <a:lnTo>
                        <a:pt x="62" y="56"/>
                      </a:lnTo>
                      <a:lnTo>
                        <a:pt x="64" y="56"/>
                      </a:lnTo>
                      <a:lnTo>
                        <a:pt x="64" y="56"/>
                      </a:lnTo>
                      <a:lnTo>
                        <a:pt x="65" y="58"/>
                      </a:lnTo>
                      <a:lnTo>
                        <a:pt x="68" y="59"/>
                      </a:lnTo>
                      <a:lnTo>
                        <a:pt x="69" y="60"/>
                      </a:lnTo>
                      <a:lnTo>
                        <a:pt x="69" y="62"/>
                      </a:lnTo>
                      <a:lnTo>
                        <a:pt x="71" y="62"/>
                      </a:lnTo>
                      <a:lnTo>
                        <a:pt x="72" y="63"/>
                      </a:lnTo>
                      <a:lnTo>
                        <a:pt x="75" y="63"/>
                      </a:lnTo>
                      <a:lnTo>
                        <a:pt x="76" y="64"/>
                      </a:lnTo>
                      <a:lnTo>
                        <a:pt x="78" y="64"/>
                      </a:lnTo>
                      <a:lnTo>
                        <a:pt x="79" y="64"/>
                      </a:lnTo>
                      <a:lnTo>
                        <a:pt x="79" y="64"/>
                      </a:lnTo>
                      <a:lnTo>
                        <a:pt x="79" y="65"/>
                      </a:lnTo>
                      <a:lnTo>
                        <a:pt x="80" y="67"/>
                      </a:lnTo>
                      <a:lnTo>
                        <a:pt x="79" y="67"/>
                      </a:lnTo>
                      <a:lnTo>
                        <a:pt x="80" y="70"/>
                      </a:lnTo>
                      <a:lnTo>
                        <a:pt x="80" y="70"/>
                      </a:lnTo>
                      <a:lnTo>
                        <a:pt x="82" y="71"/>
                      </a:lnTo>
                      <a:lnTo>
                        <a:pt x="83" y="72"/>
                      </a:lnTo>
                      <a:lnTo>
                        <a:pt x="84" y="72"/>
                      </a:lnTo>
                      <a:lnTo>
                        <a:pt x="85" y="72"/>
                      </a:lnTo>
                      <a:lnTo>
                        <a:pt x="86" y="72"/>
                      </a:lnTo>
                      <a:lnTo>
                        <a:pt x="88" y="73"/>
                      </a:lnTo>
                      <a:lnTo>
                        <a:pt x="88" y="73"/>
                      </a:lnTo>
                      <a:close/>
                      <a:moveTo>
                        <a:pt x="85" y="23"/>
                      </a:moveTo>
                      <a:lnTo>
                        <a:pt x="85" y="23"/>
                      </a:lnTo>
                      <a:lnTo>
                        <a:pt x="85" y="24"/>
                      </a:lnTo>
                      <a:lnTo>
                        <a:pt x="83" y="25"/>
                      </a:lnTo>
                      <a:lnTo>
                        <a:pt x="82" y="24"/>
                      </a:lnTo>
                      <a:lnTo>
                        <a:pt x="80" y="25"/>
                      </a:lnTo>
                      <a:lnTo>
                        <a:pt x="79" y="24"/>
                      </a:lnTo>
                      <a:lnTo>
                        <a:pt x="80" y="23"/>
                      </a:lnTo>
                      <a:lnTo>
                        <a:pt x="79" y="23"/>
                      </a:lnTo>
                      <a:lnTo>
                        <a:pt x="79" y="22"/>
                      </a:lnTo>
                      <a:lnTo>
                        <a:pt x="80" y="20"/>
                      </a:lnTo>
                      <a:lnTo>
                        <a:pt x="80" y="19"/>
                      </a:lnTo>
                      <a:lnTo>
                        <a:pt x="80" y="19"/>
                      </a:lnTo>
                      <a:lnTo>
                        <a:pt x="82" y="19"/>
                      </a:lnTo>
                      <a:lnTo>
                        <a:pt x="82" y="19"/>
                      </a:lnTo>
                      <a:lnTo>
                        <a:pt x="84" y="19"/>
                      </a:lnTo>
                      <a:lnTo>
                        <a:pt x="84" y="19"/>
                      </a:lnTo>
                      <a:lnTo>
                        <a:pt x="84" y="19"/>
                      </a:lnTo>
                      <a:lnTo>
                        <a:pt x="85" y="22"/>
                      </a:lnTo>
                      <a:lnTo>
                        <a:pt x="85" y="22"/>
                      </a:lnTo>
                      <a:lnTo>
                        <a:pt x="85" y="23"/>
                      </a:lnTo>
                      <a:lnTo>
                        <a:pt x="85" y="23"/>
                      </a:lnTo>
                      <a:lnTo>
                        <a:pt x="85" y="23"/>
                      </a:lnTo>
                      <a:close/>
                      <a:moveTo>
                        <a:pt x="92" y="84"/>
                      </a:moveTo>
                      <a:lnTo>
                        <a:pt x="92" y="84"/>
                      </a:lnTo>
                      <a:lnTo>
                        <a:pt x="91" y="82"/>
                      </a:lnTo>
                      <a:lnTo>
                        <a:pt x="91" y="80"/>
                      </a:lnTo>
                      <a:lnTo>
                        <a:pt x="90" y="79"/>
                      </a:lnTo>
                      <a:lnTo>
                        <a:pt x="89" y="79"/>
                      </a:lnTo>
                      <a:lnTo>
                        <a:pt x="89" y="78"/>
                      </a:lnTo>
                      <a:lnTo>
                        <a:pt x="89" y="77"/>
                      </a:lnTo>
                      <a:lnTo>
                        <a:pt x="90" y="77"/>
                      </a:lnTo>
                      <a:lnTo>
                        <a:pt x="91" y="77"/>
                      </a:lnTo>
                      <a:lnTo>
                        <a:pt x="91" y="78"/>
                      </a:lnTo>
                      <a:lnTo>
                        <a:pt x="92" y="80"/>
                      </a:lnTo>
                      <a:lnTo>
                        <a:pt x="92" y="82"/>
                      </a:lnTo>
                      <a:lnTo>
                        <a:pt x="92" y="84"/>
                      </a:lnTo>
                      <a:lnTo>
                        <a:pt x="92" y="84"/>
                      </a:lnTo>
                      <a:close/>
                      <a:moveTo>
                        <a:pt x="111" y="64"/>
                      </a:moveTo>
                      <a:lnTo>
                        <a:pt x="110" y="64"/>
                      </a:lnTo>
                      <a:lnTo>
                        <a:pt x="107" y="65"/>
                      </a:lnTo>
                      <a:lnTo>
                        <a:pt x="105" y="64"/>
                      </a:lnTo>
                      <a:lnTo>
                        <a:pt x="105" y="66"/>
                      </a:lnTo>
                      <a:lnTo>
                        <a:pt x="109" y="66"/>
                      </a:lnTo>
                      <a:lnTo>
                        <a:pt x="107" y="69"/>
                      </a:lnTo>
                      <a:lnTo>
                        <a:pt x="109" y="71"/>
                      </a:lnTo>
                      <a:lnTo>
                        <a:pt x="111" y="72"/>
                      </a:lnTo>
                      <a:lnTo>
                        <a:pt x="111" y="71"/>
                      </a:lnTo>
                      <a:lnTo>
                        <a:pt x="111" y="69"/>
                      </a:lnTo>
                      <a:lnTo>
                        <a:pt x="111" y="66"/>
                      </a:lnTo>
                      <a:lnTo>
                        <a:pt x="111" y="64"/>
                      </a:lnTo>
                      <a:lnTo>
                        <a:pt x="111" y="64"/>
                      </a:lnTo>
                      <a:close/>
                      <a:moveTo>
                        <a:pt x="119" y="56"/>
                      </a:moveTo>
                      <a:lnTo>
                        <a:pt x="117" y="56"/>
                      </a:lnTo>
                      <a:lnTo>
                        <a:pt x="116" y="56"/>
                      </a:lnTo>
                      <a:lnTo>
                        <a:pt x="115" y="55"/>
                      </a:lnTo>
                      <a:lnTo>
                        <a:pt x="113" y="55"/>
                      </a:lnTo>
                      <a:lnTo>
                        <a:pt x="113" y="56"/>
                      </a:lnTo>
                      <a:lnTo>
                        <a:pt x="112" y="56"/>
                      </a:lnTo>
                      <a:lnTo>
                        <a:pt x="112" y="55"/>
                      </a:lnTo>
                      <a:lnTo>
                        <a:pt x="112" y="52"/>
                      </a:lnTo>
                      <a:lnTo>
                        <a:pt x="111" y="52"/>
                      </a:lnTo>
                      <a:lnTo>
                        <a:pt x="110" y="53"/>
                      </a:lnTo>
                      <a:lnTo>
                        <a:pt x="109" y="53"/>
                      </a:lnTo>
                      <a:lnTo>
                        <a:pt x="109" y="53"/>
                      </a:lnTo>
                      <a:lnTo>
                        <a:pt x="105" y="53"/>
                      </a:lnTo>
                      <a:lnTo>
                        <a:pt x="104" y="53"/>
                      </a:lnTo>
                      <a:lnTo>
                        <a:pt x="104" y="52"/>
                      </a:lnTo>
                      <a:lnTo>
                        <a:pt x="104" y="51"/>
                      </a:lnTo>
                      <a:lnTo>
                        <a:pt x="105" y="50"/>
                      </a:lnTo>
                      <a:lnTo>
                        <a:pt x="105" y="51"/>
                      </a:lnTo>
                      <a:lnTo>
                        <a:pt x="107" y="51"/>
                      </a:lnTo>
                      <a:lnTo>
                        <a:pt x="110" y="50"/>
                      </a:lnTo>
                      <a:lnTo>
                        <a:pt x="111" y="49"/>
                      </a:lnTo>
                      <a:lnTo>
                        <a:pt x="112" y="49"/>
                      </a:lnTo>
                      <a:lnTo>
                        <a:pt x="112" y="47"/>
                      </a:lnTo>
                      <a:lnTo>
                        <a:pt x="113" y="46"/>
                      </a:lnTo>
                      <a:lnTo>
                        <a:pt x="113" y="47"/>
                      </a:lnTo>
                      <a:lnTo>
                        <a:pt x="115" y="47"/>
                      </a:lnTo>
                      <a:lnTo>
                        <a:pt x="115" y="49"/>
                      </a:lnTo>
                      <a:lnTo>
                        <a:pt x="116" y="52"/>
                      </a:lnTo>
                      <a:lnTo>
                        <a:pt x="116" y="52"/>
                      </a:lnTo>
                      <a:lnTo>
                        <a:pt x="116" y="55"/>
                      </a:lnTo>
                      <a:lnTo>
                        <a:pt x="117" y="55"/>
                      </a:lnTo>
                      <a:lnTo>
                        <a:pt x="119" y="56"/>
                      </a:lnTo>
                      <a:lnTo>
                        <a:pt x="119" y="56"/>
                      </a:lnTo>
                      <a:close/>
                      <a:moveTo>
                        <a:pt x="8" y="47"/>
                      </a:moveTo>
                      <a:lnTo>
                        <a:pt x="8" y="45"/>
                      </a:lnTo>
                      <a:lnTo>
                        <a:pt x="8" y="44"/>
                      </a:lnTo>
                      <a:lnTo>
                        <a:pt x="6" y="45"/>
                      </a:lnTo>
                      <a:lnTo>
                        <a:pt x="6" y="45"/>
                      </a:lnTo>
                      <a:lnTo>
                        <a:pt x="6" y="44"/>
                      </a:lnTo>
                      <a:lnTo>
                        <a:pt x="8" y="44"/>
                      </a:lnTo>
                      <a:lnTo>
                        <a:pt x="8" y="44"/>
                      </a:lnTo>
                      <a:lnTo>
                        <a:pt x="6" y="44"/>
                      </a:lnTo>
                      <a:lnTo>
                        <a:pt x="4" y="43"/>
                      </a:lnTo>
                      <a:lnTo>
                        <a:pt x="4" y="43"/>
                      </a:lnTo>
                      <a:lnTo>
                        <a:pt x="2" y="39"/>
                      </a:lnTo>
                      <a:lnTo>
                        <a:pt x="0" y="39"/>
                      </a:lnTo>
                      <a:lnTo>
                        <a:pt x="0" y="42"/>
                      </a:lnTo>
                      <a:lnTo>
                        <a:pt x="2" y="44"/>
                      </a:lnTo>
                      <a:lnTo>
                        <a:pt x="3" y="46"/>
                      </a:lnTo>
                      <a:lnTo>
                        <a:pt x="4" y="46"/>
                      </a:lnTo>
                      <a:lnTo>
                        <a:pt x="5" y="47"/>
                      </a:lnTo>
                      <a:lnTo>
                        <a:pt x="5" y="47"/>
                      </a:lnTo>
                      <a:lnTo>
                        <a:pt x="6" y="47"/>
                      </a:lnTo>
                      <a:lnTo>
                        <a:pt x="8" y="47"/>
                      </a:lnTo>
                      <a:lnTo>
                        <a:pt x="8" y="47"/>
                      </a:lnTo>
                      <a:close/>
                      <a:moveTo>
                        <a:pt x="19" y="71"/>
                      </a:moveTo>
                      <a:lnTo>
                        <a:pt x="19" y="71"/>
                      </a:lnTo>
                      <a:lnTo>
                        <a:pt x="18" y="70"/>
                      </a:lnTo>
                      <a:lnTo>
                        <a:pt x="17" y="70"/>
                      </a:lnTo>
                      <a:lnTo>
                        <a:pt x="17" y="70"/>
                      </a:lnTo>
                      <a:lnTo>
                        <a:pt x="17" y="71"/>
                      </a:lnTo>
                      <a:lnTo>
                        <a:pt x="17" y="72"/>
                      </a:lnTo>
                      <a:lnTo>
                        <a:pt x="17" y="72"/>
                      </a:lnTo>
                      <a:lnTo>
                        <a:pt x="19" y="75"/>
                      </a:lnTo>
                      <a:lnTo>
                        <a:pt x="20" y="76"/>
                      </a:lnTo>
                      <a:lnTo>
                        <a:pt x="20" y="75"/>
                      </a:lnTo>
                      <a:lnTo>
                        <a:pt x="20" y="73"/>
                      </a:lnTo>
                      <a:lnTo>
                        <a:pt x="20" y="72"/>
                      </a:lnTo>
                      <a:lnTo>
                        <a:pt x="19" y="71"/>
                      </a:lnTo>
                      <a:lnTo>
                        <a:pt x="19" y="71"/>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559" name="Egypt">
                  <a:extLst>
                    <a:ext uri="{FF2B5EF4-FFF2-40B4-BE49-F238E27FC236}">
                      <a16:creationId xmlns:a16="http://schemas.microsoft.com/office/drawing/2014/main" id="{8FC54D5D-E96E-FB42-B488-685EBD1B0A46}"/>
                    </a:ext>
                  </a:extLst>
                </p:cNvPr>
                <p:cNvSpPr>
                  <a:spLocks/>
                </p:cNvSpPr>
                <p:nvPr/>
              </p:nvSpPr>
              <p:spPr bwMode="auto">
                <a:xfrm>
                  <a:off x="6990707" y="3038866"/>
                  <a:ext cx="295964" cy="297421"/>
                </a:xfrm>
                <a:custGeom>
                  <a:avLst/>
                  <a:gdLst>
                    <a:gd name="T0" fmla="*/ 150 w 203"/>
                    <a:gd name="T1" fmla="*/ 11 h 204"/>
                    <a:gd name="T2" fmla="*/ 148 w 203"/>
                    <a:gd name="T3" fmla="*/ 12 h 204"/>
                    <a:gd name="T4" fmla="*/ 144 w 203"/>
                    <a:gd name="T5" fmla="*/ 12 h 204"/>
                    <a:gd name="T6" fmla="*/ 142 w 203"/>
                    <a:gd name="T7" fmla="*/ 11 h 204"/>
                    <a:gd name="T8" fmla="*/ 142 w 203"/>
                    <a:gd name="T9" fmla="*/ 12 h 204"/>
                    <a:gd name="T10" fmla="*/ 141 w 203"/>
                    <a:gd name="T11" fmla="*/ 12 h 204"/>
                    <a:gd name="T12" fmla="*/ 141 w 203"/>
                    <a:gd name="T13" fmla="*/ 11 h 204"/>
                    <a:gd name="T14" fmla="*/ 130 w 203"/>
                    <a:gd name="T15" fmla="*/ 9 h 204"/>
                    <a:gd name="T16" fmla="*/ 130 w 203"/>
                    <a:gd name="T17" fmla="*/ 10 h 204"/>
                    <a:gd name="T18" fmla="*/ 128 w 203"/>
                    <a:gd name="T19" fmla="*/ 12 h 204"/>
                    <a:gd name="T20" fmla="*/ 126 w 203"/>
                    <a:gd name="T21" fmla="*/ 11 h 204"/>
                    <a:gd name="T22" fmla="*/ 122 w 203"/>
                    <a:gd name="T23" fmla="*/ 9 h 204"/>
                    <a:gd name="T24" fmla="*/ 122 w 203"/>
                    <a:gd name="T25" fmla="*/ 6 h 204"/>
                    <a:gd name="T26" fmla="*/ 122 w 203"/>
                    <a:gd name="T27" fmla="*/ 3 h 204"/>
                    <a:gd name="T28" fmla="*/ 128 w 203"/>
                    <a:gd name="T29" fmla="*/ 7 h 204"/>
                    <a:gd name="T30" fmla="*/ 120 w 203"/>
                    <a:gd name="T31" fmla="*/ 2 h 204"/>
                    <a:gd name="T32" fmla="*/ 108 w 203"/>
                    <a:gd name="T33" fmla="*/ 2 h 204"/>
                    <a:gd name="T34" fmla="*/ 104 w 203"/>
                    <a:gd name="T35" fmla="*/ 4 h 204"/>
                    <a:gd name="T36" fmla="*/ 101 w 203"/>
                    <a:gd name="T37" fmla="*/ 4 h 204"/>
                    <a:gd name="T38" fmla="*/ 106 w 203"/>
                    <a:gd name="T39" fmla="*/ 2 h 204"/>
                    <a:gd name="T40" fmla="*/ 96 w 203"/>
                    <a:gd name="T41" fmla="*/ 4 h 204"/>
                    <a:gd name="T42" fmla="*/ 94 w 203"/>
                    <a:gd name="T43" fmla="*/ 7 h 204"/>
                    <a:gd name="T44" fmla="*/ 93 w 203"/>
                    <a:gd name="T45" fmla="*/ 9 h 204"/>
                    <a:gd name="T46" fmla="*/ 88 w 203"/>
                    <a:gd name="T47" fmla="*/ 10 h 204"/>
                    <a:gd name="T48" fmla="*/ 81 w 203"/>
                    <a:gd name="T49" fmla="*/ 11 h 204"/>
                    <a:gd name="T50" fmla="*/ 63 w 203"/>
                    <a:gd name="T51" fmla="*/ 12 h 204"/>
                    <a:gd name="T52" fmla="*/ 53 w 203"/>
                    <a:gd name="T53" fmla="*/ 9 h 204"/>
                    <a:gd name="T54" fmla="*/ 48 w 203"/>
                    <a:gd name="T55" fmla="*/ 10 h 204"/>
                    <a:gd name="T56" fmla="*/ 39 w 203"/>
                    <a:gd name="T57" fmla="*/ 5 h 204"/>
                    <a:gd name="T58" fmla="*/ 24 w 203"/>
                    <a:gd name="T59" fmla="*/ 0 h 204"/>
                    <a:gd name="T60" fmla="*/ 6 w 203"/>
                    <a:gd name="T61" fmla="*/ 3 h 204"/>
                    <a:gd name="T62" fmla="*/ 2 w 203"/>
                    <a:gd name="T63" fmla="*/ 25 h 204"/>
                    <a:gd name="T64" fmla="*/ 128 w 203"/>
                    <a:gd name="T65" fmla="*/ 193 h 204"/>
                    <a:gd name="T66" fmla="*/ 195 w 203"/>
                    <a:gd name="T67" fmla="*/ 183 h 204"/>
                    <a:gd name="T68" fmla="*/ 199 w 203"/>
                    <a:gd name="T69" fmla="*/ 163 h 204"/>
                    <a:gd name="T70" fmla="*/ 200 w 203"/>
                    <a:gd name="T71" fmla="*/ 159 h 204"/>
                    <a:gd name="T72" fmla="*/ 203 w 203"/>
                    <a:gd name="T73" fmla="*/ 158 h 204"/>
                    <a:gd name="T74" fmla="*/ 197 w 203"/>
                    <a:gd name="T75" fmla="*/ 154 h 204"/>
                    <a:gd name="T76" fmla="*/ 188 w 203"/>
                    <a:gd name="T77" fmla="*/ 140 h 204"/>
                    <a:gd name="T78" fmla="*/ 176 w 203"/>
                    <a:gd name="T79" fmla="*/ 118 h 204"/>
                    <a:gd name="T80" fmla="*/ 168 w 203"/>
                    <a:gd name="T81" fmla="*/ 103 h 204"/>
                    <a:gd name="T82" fmla="*/ 167 w 203"/>
                    <a:gd name="T83" fmla="*/ 99 h 204"/>
                    <a:gd name="T84" fmla="*/ 163 w 203"/>
                    <a:gd name="T85" fmla="*/ 92 h 204"/>
                    <a:gd name="T86" fmla="*/ 159 w 203"/>
                    <a:gd name="T87" fmla="*/ 82 h 204"/>
                    <a:gd name="T88" fmla="*/ 157 w 203"/>
                    <a:gd name="T89" fmla="*/ 80 h 204"/>
                    <a:gd name="T90" fmla="*/ 157 w 203"/>
                    <a:gd name="T91" fmla="*/ 77 h 204"/>
                    <a:gd name="T92" fmla="*/ 152 w 203"/>
                    <a:gd name="T93" fmla="*/ 72 h 204"/>
                    <a:gd name="T94" fmla="*/ 143 w 203"/>
                    <a:gd name="T95" fmla="*/ 59 h 204"/>
                    <a:gd name="T96" fmla="*/ 135 w 203"/>
                    <a:gd name="T97" fmla="*/ 44 h 204"/>
                    <a:gd name="T98" fmla="*/ 136 w 203"/>
                    <a:gd name="T99" fmla="*/ 35 h 204"/>
                    <a:gd name="T100" fmla="*/ 137 w 203"/>
                    <a:gd name="T101" fmla="*/ 36 h 204"/>
                    <a:gd name="T102" fmla="*/ 141 w 203"/>
                    <a:gd name="T103" fmla="*/ 45 h 204"/>
                    <a:gd name="T104" fmla="*/ 149 w 203"/>
                    <a:gd name="T105" fmla="*/ 58 h 204"/>
                    <a:gd name="T106" fmla="*/ 153 w 203"/>
                    <a:gd name="T107" fmla="*/ 65 h 204"/>
                    <a:gd name="T108" fmla="*/ 162 w 203"/>
                    <a:gd name="T109" fmla="*/ 75 h 204"/>
                    <a:gd name="T110" fmla="*/ 170 w 203"/>
                    <a:gd name="T111" fmla="*/ 79 h 204"/>
                    <a:gd name="T112" fmla="*/ 173 w 203"/>
                    <a:gd name="T113" fmla="*/ 67 h 204"/>
                    <a:gd name="T114" fmla="*/ 176 w 203"/>
                    <a:gd name="T115" fmla="*/ 51 h 204"/>
                    <a:gd name="T116" fmla="*/ 175 w 203"/>
                    <a:gd name="T117" fmla="*/ 35 h 2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3" h="204">
                      <a:moveTo>
                        <a:pt x="163" y="6"/>
                      </a:moveTo>
                      <a:lnTo>
                        <a:pt x="161" y="9"/>
                      </a:lnTo>
                      <a:lnTo>
                        <a:pt x="160" y="10"/>
                      </a:lnTo>
                      <a:lnTo>
                        <a:pt x="155" y="11"/>
                      </a:lnTo>
                      <a:lnTo>
                        <a:pt x="153" y="11"/>
                      </a:lnTo>
                      <a:lnTo>
                        <a:pt x="153" y="11"/>
                      </a:lnTo>
                      <a:lnTo>
                        <a:pt x="152" y="11"/>
                      </a:lnTo>
                      <a:lnTo>
                        <a:pt x="152" y="11"/>
                      </a:lnTo>
                      <a:lnTo>
                        <a:pt x="150" y="11"/>
                      </a:lnTo>
                      <a:lnTo>
                        <a:pt x="150" y="11"/>
                      </a:lnTo>
                      <a:lnTo>
                        <a:pt x="150" y="11"/>
                      </a:lnTo>
                      <a:lnTo>
                        <a:pt x="150" y="11"/>
                      </a:lnTo>
                      <a:lnTo>
                        <a:pt x="150" y="11"/>
                      </a:lnTo>
                      <a:lnTo>
                        <a:pt x="149" y="11"/>
                      </a:lnTo>
                      <a:lnTo>
                        <a:pt x="149" y="11"/>
                      </a:lnTo>
                      <a:lnTo>
                        <a:pt x="149" y="11"/>
                      </a:lnTo>
                      <a:lnTo>
                        <a:pt x="148" y="11"/>
                      </a:lnTo>
                      <a:lnTo>
                        <a:pt x="148" y="12"/>
                      </a:lnTo>
                      <a:lnTo>
                        <a:pt x="148" y="12"/>
                      </a:lnTo>
                      <a:lnTo>
                        <a:pt x="148" y="12"/>
                      </a:lnTo>
                      <a:lnTo>
                        <a:pt x="148" y="12"/>
                      </a:lnTo>
                      <a:lnTo>
                        <a:pt x="148" y="12"/>
                      </a:lnTo>
                      <a:lnTo>
                        <a:pt x="148" y="12"/>
                      </a:lnTo>
                      <a:lnTo>
                        <a:pt x="148" y="12"/>
                      </a:lnTo>
                      <a:lnTo>
                        <a:pt x="148" y="12"/>
                      </a:lnTo>
                      <a:lnTo>
                        <a:pt x="147" y="12"/>
                      </a:lnTo>
                      <a:lnTo>
                        <a:pt x="147" y="12"/>
                      </a:lnTo>
                      <a:lnTo>
                        <a:pt x="147" y="12"/>
                      </a:lnTo>
                      <a:lnTo>
                        <a:pt x="147" y="12"/>
                      </a:lnTo>
                      <a:lnTo>
                        <a:pt x="146" y="12"/>
                      </a:lnTo>
                      <a:lnTo>
                        <a:pt x="147" y="12"/>
                      </a:lnTo>
                      <a:lnTo>
                        <a:pt x="146" y="12"/>
                      </a:lnTo>
                      <a:lnTo>
                        <a:pt x="146" y="12"/>
                      </a:lnTo>
                      <a:lnTo>
                        <a:pt x="146" y="12"/>
                      </a:lnTo>
                      <a:lnTo>
                        <a:pt x="146" y="12"/>
                      </a:lnTo>
                      <a:lnTo>
                        <a:pt x="144" y="12"/>
                      </a:lnTo>
                      <a:lnTo>
                        <a:pt x="144" y="12"/>
                      </a:lnTo>
                      <a:lnTo>
                        <a:pt x="144" y="11"/>
                      </a:lnTo>
                      <a:lnTo>
                        <a:pt x="146" y="11"/>
                      </a:lnTo>
                      <a:lnTo>
                        <a:pt x="146" y="11"/>
                      </a:lnTo>
                      <a:lnTo>
                        <a:pt x="144" y="10"/>
                      </a:lnTo>
                      <a:lnTo>
                        <a:pt x="146" y="10"/>
                      </a:lnTo>
                      <a:lnTo>
                        <a:pt x="144" y="10"/>
                      </a:lnTo>
                      <a:lnTo>
                        <a:pt x="144" y="10"/>
                      </a:lnTo>
                      <a:lnTo>
                        <a:pt x="144" y="10"/>
                      </a:lnTo>
                      <a:lnTo>
                        <a:pt x="143" y="11"/>
                      </a:lnTo>
                      <a:lnTo>
                        <a:pt x="143" y="11"/>
                      </a:lnTo>
                      <a:lnTo>
                        <a:pt x="142" y="11"/>
                      </a:lnTo>
                      <a:lnTo>
                        <a:pt x="142" y="11"/>
                      </a:lnTo>
                      <a:lnTo>
                        <a:pt x="142" y="11"/>
                      </a:lnTo>
                      <a:lnTo>
                        <a:pt x="142" y="11"/>
                      </a:lnTo>
                      <a:lnTo>
                        <a:pt x="143" y="12"/>
                      </a:lnTo>
                      <a:lnTo>
                        <a:pt x="143" y="11"/>
                      </a:lnTo>
                      <a:lnTo>
                        <a:pt x="143" y="11"/>
                      </a:lnTo>
                      <a:lnTo>
                        <a:pt x="143" y="11"/>
                      </a:lnTo>
                      <a:lnTo>
                        <a:pt x="143" y="12"/>
                      </a:lnTo>
                      <a:lnTo>
                        <a:pt x="143" y="12"/>
                      </a:lnTo>
                      <a:lnTo>
                        <a:pt x="143" y="12"/>
                      </a:lnTo>
                      <a:lnTo>
                        <a:pt x="143" y="12"/>
                      </a:lnTo>
                      <a:lnTo>
                        <a:pt x="142" y="12"/>
                      </a:lnTo>
                      <a:lnTo>
                        <a:pt x="142" y="12"/>
                      </a:lnTo>
                      <a:lnTo>
                        <a:pt x="142" y="12"/>
                      </a:lnTo>
                      <a:lnTo>
                        <a:pt x="142" y="12"/>
                      </a:lnTo>
                      <a:lnTo>
                        <a:pt x="142" y="12"/>
                      </a:lnTo>
                      <a:lnTo>
                        <a:pt x="142" y="12"/>
                      </a:lnTo>
                      <a:lnTo>
                        <a:pt x="142" y="11"/>
                      </a:lnTo>
                      <a:lnTo>
                        <a:pt x="142" y="11"/>
                      </a:lnTo>
                      <a:lnTo>
                        <a:pt x="141" y="11"/>
                      </a:lnTo>
                      <a:lnTo>
                        <a:pt x="141" y="12"/>
                      </a:lnTo>
                      <a:lnTo>
                        <a:pt x="142" y="12"/>
                      </a:lnTo>
                      <a:lnTo>
                        <a:pt x="141" y="12"/>
                      </a:lnTo>
                      <a:lnTo>
                        <a:pt x="141" y="12"/>
                      </a:lnTo>
                      <a:lnTo>
                        <a:pt x="141" y="12"/>
                      </a:lnTo>
                      <a:lnTo>
                        <a:pt x="141" y="12"/>
                      </a:lnTo>
                      <a:lnTo>
                        <a:pt x="141" y="12"/>
                      </a:lnTo>
                      <a:lnTo>
                        <a:pt x="140" y="12"/>
                      </a:lnTo>
                      <a:lnTo>
                        <a:pt x="139" y="12"/>
                      </a:lnTo>
                      <a:lnTo>
                        <a:pt x="137" y="13"/>
                      </a:lnTo>
                      <a:lnTo>
                        <a:pt x="137" y="13"/>
                      </a:lnTo>
                      <a:lnTo>
                        <a:pt x="137" y="12"/>
                      </a:lnTo>
                      <a:lnTo>
                        <a:pt x="139" y="12"/>
                      </a:lnTo>
                      <a:lnTo>
                        <a:pt x="139" y="12"/>
                      </a:lnTo>
                      <a:lnTo>
                        <a:pt x="141" y="11"/>
                      </a:lnTo>
                      <a:lnTo>
                        <a:pt x="141" y="11"/>
                      </a:lnTo>
                      <a:lnTo>
                        <a:pt x="141" y="11"/>
                      </a:lnTo>
                      <a:lnTo>
                        <a:pt x="141" y="11"/>
                      </a:lnTo>
                      <a:lnTo>
                        <a:pt x="141" y="11"/>
                      </a:lnTo>
                      <a:lnTo>
                        <a:pt x="141" y="11"/>
                      </a:lnTo>
                      <a:lnTo>
                        <a:pt x="139" y="12"/>
                      </a:lnTo>
                      <a:lnTo>
                        <a:pt x="136" y="12"/>
                      </a:lnTo>
                      <a:lnTo>
                        <a:pt x="135" y="12"/>
                      </a:lnTo>
                      <a:lnTo>
                        <a:pt x="134" y="11"/>
                      </a:lnTo>
                      <a:lnTo>
                        <a:pt x="132" y="9"/>
                      </a:lnTo>
                      <a:lnTo>
                        <a:pt x="130" y="9"/>
                      </a:lnTo>
                      <a:lnTo>
                        <a:pt x="130" y="9"/>
                      </a:lnTo>
                      <a:lnTo>
                        <a:pt x="130" y="9"/>
                      </a:lnTo>
                      <a:lnTo>
                        <a:pt x="130" y="9"/>
                      </a:lnTo>
                      <a:lnTo>
                        <a:pt x="130" y="9"/>
                      </a:lnTo>
                      <a:lnTo>
                        <a:pt x="130" y="9"/>
                      </a:lnTo>
                      <a:lnTo>
                        <a:pt x="130" y="9"/>
                      </a:lnTo>
                      <a:lnTo>
                        <a:pt x="130" y="9"/>
                      </a:lnTo>
                      <a:lnTo>
                        <a:pt x="130" y="7"/>
                      </a:lnTo>
                      <a:lnTo>
                        <a:pt x="129" y="7"/>
                      </a:lnTo>
                      <a:lnTo>
                        <a:pt x="129" y="7"/>
                      </a:lnTo>
                      <a:lnTo>
                        <a:pt x="129" y="9"/>
                      </a:lnTo>
                      <a:lnTo>
                        <a:pt x="129" y="9"/>
                      </a:lnTo>
                      <a:lnTo>
                        <a:pt x="129" y="10"/>
                      </a:lnTo>
                      <a:lnTo>
                        <a:pt x="130" y="10"/>
                      </a:lnTo>
                      <a:lnTo>
                        <a:pt x="130" y="11"/>
                      </a:lnTo>
                      <a:lnTo>
                        <a:pt x="130" y="11"/>
                      </a:lnTo>
                      <a:lnTo>
                        <a:pt x="130" y="11"/>
                      </a:lnTo>
                      <a:lnTo>
                        <a:pt x="129" y="12"/>
                      </a:lnTo>
                      <a:lnTo>
                        <a:pt x="129" y="12"/>
                      </a:lnTo>
                      <a:lnTo>
                        <a:pt x="129" y="11"/>
                      </a:lnTo>
                      <a:lnTo>
                        <a:pt x="129" y="11"/>
                      </a:lnTo>
                      <a:lnTo>
                        <a:pt x="129" y="11"/>
                      </a:lnTo>
                      <a:lnTo>
                        <a:pt x="128" y="11"/>
                      </a:lnTo>
                      <a:lnTo>
                        <a:pt x="128" y="12"/>
                      </a:lnTo>
                      <a:lnTo>
                        <a:pt x="128" y="12"/>
                      </a:lnTo>
                      <a:lnTo>
                        <a:pt x="128" y="12"/>
                      </a:lnTo>
                      <a:lnTo>
                        <a:pt x="127" y="12"/>
                      </a:lnTo>
                      <a:lnTo>
                        <a:pt x="127" y="12"/>
                      </a:lnTo>
                      <a:lnTo>
                        <a:pt x="127" y="12"/>
                      </a:lnTo>
                      <a:lnTo>
                        <a:pt x="127" y="12"/>
                      </a:lnTo>
                      <a:lnTo>
                        <a:pt x="127" y="12"/>
                      </a:lnTo>
                      <a:lnTo>
                        <a:pt x="127" y="12"/>
                      </a:lnTo>
                      <a:lnTo>
                        <a:pt x="127" y="12"/>
                      </a:lnTo>
                      <a:lnTo>
                        <a:pt x="127" y="12"/>
                      </a:lnTo>
                      <a:lnTo>
                        <a:pt x="127" y="12"/>
                      </a:lnTo>
                      <a:lnTo>
                        <a:pt x="127" y="11"/>
                      </a:lnTo>
                      <a:lnTo>
                        <a:pt x="126" y="11"/>
                      </a:lnTo>
                      <a:lnTo>
                        <a:pt x="126" y="11"/>
                      </a:lnTo>
                      <a:lnTo>
                        <a:pt x="126" y="11"/>
                      </a:lnTo>
                      <a:lnTo>
                        <a:pt x="126" y="9"/>
                      </a:lnTo>
                      <a:lnTo>
                        <a:pt x="126" y="9"/>
                      </a:lnTo>
                      <a:lnTo>
                        <a:pt x="126" y="9"/>
                      </a:lnTo>
                      <a:lnTo>
                        <a:pt x="124" y="9"/>
                      </a:lnTo>
                      <a:lnTo>
                        <a:pt x="124" y="10"/>
                      </a:lnTo>
                      <a:lnTo>
                        <a:pt x="124" y="10"/>
                      </a:lnTo>
                      <a:lnTo>
                        <a:pt x="123" y="9"/>
                      </a:lnTo>
                      <a:lnTo>
                        <a:pt x="123" y="9"/>
                      </a:lnTo>
                      <a:lnTo>
                        <a:pt x="123" y="9"/>
                      </a:lnTo>
                      <a:lnTo>
                        <a:pt x="123" y="9"/>
                      </a:lnTo>
                      <a:lnTo>
                        <a:pt x="122" y="9"/>
                      </a:lnTo>
                      <a:lnTo>
                        <a:pt x="122" y="9"/>
                      </a:lnTo>
                      <a:lnTo>
                        <a:pt x="121" y="7"/>
                      </a:lnTo>
                      <a:lnTo>
                        <a:pt x="121" y="9"/>
                      </a:lnTo>
                      <a:lnTo>
                        <a:pt x="121" y="7"/>
                      </a:lnTo>
                      <a:lnTo>
                        <a:pt x="121" y="7"/>
                      </a:lnTo>
                      <a:lnTo>
                        <a:pt x="121" y="7"/>
                      </a:lnTo>
                      <a:lnTo>
                        <a:pt x="121" y="6"/>
                      </a:lnTo>
                      <a:lnTo>
                        <a:pt x="121" y="6"/>
                      </a:lnTo>
                      <a:lnTo>
                        <a:pt x="121" y="6"/>
                      </a:lnTo>
                      <a:lnTo>
                        <a:pt x="121" y="6"/>
                      </a:lnTo>
                      <a:lnTo>
                        <a:pt x="122" y="6"/>
                      </a:lnTo>
                      <a:lnTo>
                        <a:pt x="122" y="6"/>
                      </a:lnTo>
                      <a:lnTo>
                        <a:pt x="122" y="5"/>
                      </a:lnTo>
                      <a:lnTo>
                        <a:pt x="121" y="5"/>
                      </a:lnTo>
                      <a:lnTo>
                        <a:pt x="122" y="5"/>
                      </a:lnTo>
                      <a:lnTo>
                        <a:pt x="122" y="5"/>
                      </a:lnTo>
                      <a:lnTo>
                        <a:pt x="122" y="5"/>
                      </a:lnTo>
                      <a:lnTo>
                        <a:pt x="122" y="4"/>
                      </a:lnTo>
                      <a:lnTo>
                        <a:pt x="121" y="4"/>
                      </a:lnTo>
                      <a:lnTo>
                        <a:pt x="121" y="4"/>
                      </a:lnTo>
                      <a:lnTo>
                        <a:pt x="122" y="4"/>
                      </a:lnTo>
                      <a:lnTo>
                        <a:pt x="122" y="5"/>
                      </a:lnTo>
                      <a:lnTo>
                        <a:pt x="122" y="4"/>
                      </a:lnTo>
                      <a:lnTo>
                        <a:pt x="122" y="3"/>
                      </a:lnTo>
                      <a:lnTo>
                        <a:pt x="122" y="3"/>
                      </a:lnTo>
                      <a:lnTo>
                        <a:pt x="122" y="3"/>
                      </a:lnTo>
                      <a:lnTo>
                        <a:pt x="122" y="3"/>
                      </a:lnTo>
                      <a:lnTo>
                        <a:pt x="123" y="3"/>
                      </a:lnTo>
                      <a:lnTo>
                        <a:pt x="123" y="4"/>
                      </a:lnTo>
                      <a:lnTo>
                        <a:pt x="124" y="4"/>
                      </a:lnTo>
                      <a:lnTo>
                        <a:pt x="124" y="5"/>
                      </a:lnTo>
                      <a:lnTo>
                        <a:pt x="124" y="6"/>
                      </a:lnTo>
                      <a:lnTo>
                        <a:pt x="126" y="6"/>
                      </a:lnTo>
                      <a:lnTo>
                        <a:pt x="126" y="6"/>
                      </a:lnTo>
                      <a:lnTo>
                        <a:pt x="128" y="7"/>
                      </a:lnTo>
                      <a:lnTo>
                        <a:pt x="128" y="7"/>
                      </a:lnTo>
                      <a:lnTo>
                        <a:pt x="128" y="7"/>
                      </a:lnTo>
                      <a:lnTo>
                        <a:pt x="129" y="7"/>
                      </a:lnTo>
                      <a:lnTo>
                        <a:pt x="128" y="7"/>
                      </a:lnTo>
                      <a:lnTo>
                        <a:pt x="128" y="7"/>
                      </a:lnTo>
                      <a:lnTo>
                        <a:pt x="126" y="5"/>
                      </a:lnTo>
                      <a:lnTo>
                        <a:pt x="124" y="4"/>
                      </a:lnTo>
                      <a:lnTo>
                        <a:pt x="123" y="3"/>
                      </a:lnTo>
                      <a:lnTo>
                        <a:pt x="122" y="3"/>
                      </a:lnTo>
                      <a:lnTo>
                        <a:pt x="122" y="3"/>
                      </a:lnTo>
                      <a:lnTo>
                        <a:pt x="121" y="3"/>
                      </a:lnTo>
                      <a:lnTo>
                        <a:pt x="121" y="3"/>
                      </a:lnTo>
                      <a:lnTo>
                        <a:pt x="120" y="2"/>
                      </a:lnTo>
                      <a:lnTo>
                        <a:pt x="120" y="2"/>
                      </a:lnTo>
                      <a:lnTo>
                        <a:pt x="119" y="2"/>
                      </a:lnTo>
                      <a:lnTo>
                        <a:pt x="119" y="2"/>
                      </a:lnTo>
                      <a:lnTo>
                        <a:pt x="117" y="3"/>
                      </a:lnTo>
                      <a:lnTo>
                        <a:pt x="116" y="3"/>
                      </a:lnTo>
                      <a:lnTo>
                        <a:pt x="115" y="3"/>
                      </a:lnTo>
                      <a:lnTo>
                        <a:pt x="114" y="3"/>
                      </a:lnTo>
                      <a:lnTo>
                        <a:pt x="110" y="2"/>
                      </a:lnTo>
                      <a:lnTo>
                        <a:pt x="109" y="2"/>
                      </a:lnTo>
                      <a:lnTo>
                        <a:pt x="107" y="2"/>
                      </a:lnTo>
                      <a:lnTo>
                        <a:pt x="107" y="2"/>
                      </a:lnTo>
                      <a:lnTo>
                        <a:pt x="108" y="2"/>
                      </a:lnTo>
                      <a:lnTo>
                        <a:pt x="109" y="3"/>
                      </a:lnTo>
                      <a:lnTo>
                        <a:pt x="109" y="3"/>
                      </a:lnTo>
                      <a:lnTo>
                        <a:pt x="109" y="3"/>
                      </a:lnTo>
                      <a:lnTo>
                        <a:pt x="109" y="3"/>
                      </a:lnTo>
                      <a:lnTo>
                        <a:pt x="109" y="4"/>
                      </a:lnTo>
                      <a:lnTo>
                        <a:pt x="108" y="3"/>
                      </a:lnTo>
                      <a:lnTo>
                        <a:pt x="108" y="3"/>
                      </a:lnTo>
                      <a:lnTo>
                        <a:pt x="107" y="4"/>
                      </a:lnTo>
                      <a:lnTo>
                        <a:pt x="107" y="4"/>
                      </a:lnTo>
                      <a:lnTo>
                        <a:pt x="106" y="4"/>
                      </a:lnTo>
                      <a:lnTo>
                        <a:pt x="106" y="5"/>
                      </a:lnTo>
                      <a:lnTo>
                        <a:pt x="104" y="4"/>
                      </a:lnTo>
                      <a:lnTo>
                        <a:pt x="104" y="4"/>
                      </a:lnTo>
                      <a:lnTo>
                        <a:pt x="103" y="4"/>
                      </a:lnTo>
                      <a:lnTo>
                        <a:pt x="103" y="4"/>
                      </a:lnTo>
                      <a:lnTo>
                        <a:pt x="103" y="5"/>
                      </a:lnTo>
                      <a:lnTo>
                        <a:pt x="102" y="5"/>
                      </a:lnTo>
                      <a:lnTo>
                        <a:pt x="101" y="5"/>
                      </a:lnTo>
                      <a:lnTo>
                        <a:pt x="100" y="5"/>
                      </a:lnTo>
                      <a:lnTo>
                        <a:pt x="100" y="5"/>
                      </a:lnTo>
                      <a:lnTo>
                        <a:pt x="100" y="5"/>
                      </a:lnTo>
                      <a:lnTo>
                        <a:pt x="101" y="5"/>
                      </a:lnTo>
                      <a:lnTo>
                        <a:pt x="101" y="4"/>
                      </a:lnTo>
                      <a:lnTo>
                        <a:pt x="101" y="4"/>
                      </a:lnTo>
                      <a:lnTo>
                        <a:pt x="101" y="4"/>
                      </a:lnTo>
                      <a:lnTo>
                        <a:pt x="102" y="3"/>
                      </a:lnTo>
                      <a:lnTo>
                        <a:pt x="103" y="3"/>
                      </a:lnTo>
                      <a:lnTo>
                        <a:pt x="103" y="3"/>
                      </a:lnTo>
                      <a:lnTo>
                        <a:pt x="104" y="3"/>
                      </a:lnTo>
                      <a:lnTo>
                        <a:pt x="104" y="3"/>
                      </a:lnTo>
                      <a:lnTo>
                        <a:pt x="104" y="3"/>
                      </a:lnTo>
                      <a:lnTo>
                        <a:pt x="104" y="3"/>
                      </a:lnTo>
                      <a:lnTo>
                        <a:pt x="104" y="3"/>
                      </a:lnTo>
                      <a:lnTo>
                        <a:pt x="104" y="2"/>
                      </a:lnTo>
                      <a:lnTo>
                        <a:pt x="106" y="2"/>
                      </a:lnTo>
                      <a:lnTo>
                        <a:pt x="106" y="2"/>
                      </a:lnTo>
                      <a:lnTo>
                        <a:pt x="106" y="0"/>
                      </a:lnTo>
                      <a:lnTo>
                        <a:pt x="104" y="0"/>
                      </a:lnTo>
                      <a:lnTo>
                        <a:pt x="103" y="0"/>
                      </a:lnTo>
                      <a:lnTo>
                        <a:pt x="102" y="2"/>
                      </a:lnTo>
                      <a:lnTo>
                        <a:pt x="101" y="2"/>
                      </a:lnTo>
                      <a:lnTo>
                        <a:pt x="100" y="2"/>
                      </a:lnTo>
                      <a:lnTo>
                        <a:pt x="99" y="3"/>
                      </a:lnTo>
                      <a:lnTo>
                        <a:pt x="99" y="4"/>
                      </a:lnTo>
                      <a:lnTo>
                        <a:pt x="97" y="4"/>
                      </a:lnTo>
                      <a:lnTo>
                        <a:pt x="97" y="4"/>
                      </a:lnTo>
                      <a:lnTo>
                        <a:pt x="96" y="4"/>
                      </a:lnTo>
                      <a:lnTo>
                        <a:pt x="96" y="4"/>
                      </a:lnTo>
                      <a:lnTo>
                        <a:pt x="96" y="4"/>
                      </a:lnTo>
                      <a:lnTo>
                        <a:pt x="97" y="3"/>
                      </a:lnTo>
                      <a:lnTo>
                        <a:pt x="96" y="3"/>
                      </a:lnTo>
                      <a:lnTo>
                        <a:pt x="95" y="3"/>
                      </a:lnTo>
                      <a:lnTo>
                        <a:pt x="95" y="3"/>
                      </a:lnTo>
                      <a:lnTo>
                        <a:pt x="94" y="3"/>
                      </a:lnTo>
                      <a:lnTo>
                        <a:pt x="94" y="4"/>
                      </a:lnTo>
                      <a:lnTo>
                        <a:pt x="94" y="4"/>
                      </a:lnTo>
                      <a:lnTo>
                        <a:pt x="94" y="5"/>
                      </a:lnTo>
                      <a:lnTo>
                        <a:pt x="95" y="7"/>
                      </a:lnTo>
                      <a:lnTo>
                        <a:pt x="94" y="7"/>
                      </a:lnTo>
                      <a:lnTo>
                        <a:pt x="94" y="7"/>
                      </a:lnTo>
                      <a:lnTo>
                        <a:pt x="94" y="9"/>
                      </a:lnTo>
                      <a:lnTo>
                        <a:pt x="95" y="7"/>
                      </a:lnTo>
                      <a:lnTo>
                        <a:pt x="95" y="7"/>
                      </a:lnTo>
                      <a:lnTo>
                        <a:pt x="95" y="9"/>
                      </a:lnTo>
                      <a:lnTo>
                        <a:pt x="95" y="9"/>
                      </a:lnTo>
                      <a:lnTo>
                        <a:pt x="95" y="9"/>
                      </a:lnTo>
                      <a:lnTo>
                        <a:pt x="95" y="9"/>
                      </a:lnTo>
                      <a:lnTo>
                        <a:pt x="94" y="9"/>
                      </a:lnTo>
                      <a:lnTo>
                        <a:pt x="94" y="9"/>
                      </a:lnTo>
                      <a:lnTo>
                        <a:pt x="93" y="9"/>
                      </a:lnTo>
                      <a:lnTo>
                        <a:pt x="93" y="9"/>
                      </a:lnTo>
                      <a:lnTo>
                        <a:pt x="93" y="9"/>
                      </a:lnTo>
                      <a:lnTo>
                        <a:pt x="93" y="9"/>
                      </a:lnTo>
                      <a:lnTo>
                        <a:pt x="92" y="7"/>
                      </a:lnTo>
                      <a:lnTo>
                        <a:pt x="93" y="6"/>
                      </a:lnTo>
                      <a:lnTo>
                        <a:pt x="92" y="5"/>
                      </a:lnTo>
                      <a:lnTo>
                        <a:pt x="92" y="5"/>
                      </a:lnTo>
                      <a:lnTo>
                        <a:pt x="90" y="5"/>
                      </a:lnTo>
                      <a:lnTo>
                        <a:pt x="89" y="5"/>
                      </a:lnTo>
                      <a:lnTo>
                        <a:pt x="88" y="7"/>
                      </a:lnTo>
                      <a:lnTo>
                        <a:pt x="88" y="7"/>
                      </a:lnTo>
                      <a:lnTo>
                        <a:pt x="88" y="10"/>
                      </a:lnTo>
                      <a:lnTo>
                        <a:pt x="88" y="9"/>
                      </a:lnTo>
                      <a:lnTo>
                        <a:pt x="88" y="10"/>
                      </a:lnTo>
                      <a:lnTo>
                        <a:pt x="88" y="10"/>
                      </a:lnTo>
                      <a:lnTo>
                        <a:pt x="88" y="10"/>
                      </a:lnTo>
                      <a:lnTo>
                        <a:pt x="88" y="11"/>
                      </a:lnTo>
                      <a:lnTo>
                        <a:pt x="87" y="11"/>
                      </a:lnTo>
                      <a:lnTo>
                        <a:pt x="87" y="11"/>
                      </a:lnTo>
                      <a:lnTo>
                        <a:pt x="86" y="9"/>
                      </a:lnTo>
                      <a:lnTo>
                        <a:pt x="84" y="9"/>
                      </a:lnTo>
                      <a:lnTo>
                        <a:pt x="83" y="9"/>
                      </a:lnTo>
                      <a:lnTo>
                        <a:pt x="83" y="11"/>
                      </a:lnTo>
                      <a:lnTo>
                        <a:pt x="83" y="10"/>
                      </a:lnTo>
                      <a:lnTo>
                        <a:pt x="82" y="11"/>
                      </a:lnTo>
                      <a:lnTo>
                        <a:pt x="81" y="11"/>
                      </a:lnTo>
                      <a:lnTo>
                        <a:pt x="80" y="12"/>
                      </a:lnTo>
                      <a:lnTo>
                        <a:pt x="79" y="13"/>
                      </a:lnTo>
                      <a:lnTo>
                        <a:pt x="76" y="15"/>
                      </a:lnTo>
                      <a:lnTo>
                        <a:pt x="75" y="17"/>
                      </a:lnTo>
                      <a:lnTo>
                        <a:pt x="73" y="17"/>
                      </a:lnTo>
                      <a:lnTo>
                        <a:pt x="70" y="16"/>
                      </a:lnTo>
                      <a:lnTo>
                        <a:pt x="70" y="15"/>
                      </a:lnTo>
                      <a:lnTo>
                        <a:pt x="68" y="13"/>
                      </a:lnTo>
                      <a:lnTo>
                        <a:pt x="66" y="13"/>
                      </a:lnTo>
                      <a:lnTo>
                        <a:pt x="64" y="12"/>
                      </a:lnTo>
                      <a:lnTo>
                        <a:pt x="63" y="12"/>
                      </a:lnTo>
                      <a:lnTo>
                        <a:pt x="63" y="12"/>
                      </a:lnTo>
                      <a:lnTo>
                        <a:pt x="62" y="12"/>
                      </a:lnTo>
                      <a:lnTo>
                        <a:pt x="62" y="12"/>
                      </a:lnTo>
                      <a:lnTo>
                        <a:pt x="61" y="12"/>
                      </a:lnTo>
                      <a:lnTo>
                        <a:pt x="60" y="12"/>
                      </a:lnTo>
                      <a:lnTo>
                        <a:pt x="59" y="12"/>
                      </a:lnTo>
                      <a:lnTo>
                        <a:pt x="55" y="12"/>
                      </a:lnTo>
                      <a:lnTo>
                        <a:pt x="54" y="12"/>
                      </a:lnTo>
                      <a:lnTo>
                        <a:pt x="54" y="11"/>
                      </a:lnTo>
                      <a:lnTo>
                        <a:pt x="54" y="10"/>
                      </a:lnTo>
                      <a:lnTo>
                        <a:pt x="53" y="9"/>
                      </a:lnTo>
                      <a:lnTo>
                        <a:pt x="53" y="9"/>
                      </a:lnTo>
                      <a:lnTo>
                        <a:pt x="53" y="9"/>
                      </a:lnTo>
                      <a:lnTo>
                        <a:pt x="53" y="9"/>
                      </a:lnTo>
                      <a:lnTo>
                        <a:pt x="53" y="10"/>
                      </a:lnTo>
                      <a:lnTo>
                        <a:pt x="53" y="9"/>
                      </a:lnTo>
                      <a:lnTo>
                        <a:pt x="52" y="9"/>
                      </a:lnTo>
                      <a:lnTo>
                        <a:pt x="52" y="10"/>
                      </a:lnTo>
                      <a:lnTo>
                        <a:pt x="52" y="10"/>
                      </a:lnTo>
                      <a:lnTo>
                        <a:pt x="50" y="10"/>
                      </a:lnTo>
                      <a:lnTo>
                        <a:pt x="49" y="10"/>
                      </a:lnTo>
                      <a:lnTo>
                        <a:pt x="49" y="10"/>
                      </a:lnTo>
                      <a:lnTo>
                        <a:pt x="49" y="10"/>
                      </a:lnTo>
                      <a:lnTo>
                        <a:pt x="48" y="10"/>
                      </a:lnTo>
                      <a:lnTo>
                        <a:pt x="48" y="10"/>
                      </a:lnTo>
                      <a:lnTo>
                        <a:pt x="48" y="9"/>
                      </a:lnTo>
                      <a:lnTo>
                        <a:pt x="47" y="9"/>
                      </a:lnTo>
                      <a:lnTo>
                        <a:pt x="46" y="9"/>
                      </a:lnTo>
                      <a:lnTo>
                        <a:pt x="44" y="9"/>
                      </a:lnTo>
                      <a:lnTo>
                        <a:pt x="44" y="6"/>
                      </a:lnTo>
                      <a:lnTo>
                        <a:pt x="44" y="6"/>
                      </a:lnTo>
                      <a:lnTo>
                        <a:pt x="44" y="6"/>
                      </a:lnTo>
                      <a:lnTo>
                        <a:pt x="43" y="6"/>
                      </a:lnTo>
                      <a:lnTo>
                        <a:pt x="42" y="6"/>
                      </a:lnTo>
                      <a:lnTo>
                        <a:pt x="40" y="5"/>
                      </a:lnTo>
                      <a:lnTo>
                        <a:pt x="39" y="5"/>
                      </a:lnTo>
                      <a:lnTo>
                        <a:pt x="39" y="5"/>
                      </a:lnTo>
                      <a:lnTo>
                        <a:pt x="37" y="5"/>
                      </a:lnTo>
                      <a:lnTo>
                        <a:pt x="37" y="4"/>
                      </a:lnTo>
                      <a:lnTo>
                        <a:pt x="36" y="4"/>
                      </a:lnTo>
                      <a:lnTo>
                        <a:pt x="36" y="4"/>
                      </a:lnTo>
                      <a:lnTo>
                        <a:pt x="34" y="4"/>
                      </a:lnTo>
                      <a:lnTo>
                        <a:pt x="33" y="4"/>
                      </a:lnTo>
                      <a:lnTo>
                        <a:pt x="32" y="3"/>
                      </a:lnTo>
                      <a:lnTo>
                        <a:pt x="30" y="2"/>
                      </a:lnTo>
                      <a:lnTo>
                        <a:pt x="29" y="3"/>
                      </a:lnTo>
                      <a:lnTo>
                        <a:pt x="27" y="2"/>
                      </a:lnTo>
                      <a:lnTo>
                        <a:pt x="26" y="2"/>
                      </a:lnTo>
                      <a:lnTo>
                        <a:pt x="24" y="0"/>
                      </a:lnTo>
                      <a:lnTo>
                        <a:pt x="23" y="0"/>
                      </a:lnTo>
                      <a:lnTo>
                        <a:pt x="22" y="2"/>
                      </a:lnTo>
                      <a:lnTo>
                        <a:pt x="21" y="0"/>
                      </a:lnTo>
                      <a:lnTo>
                        <a:pt x="19" y="0"/>
                      </a:lnTo>
                      <a:lnTo>
                        <a:pt x="17" y="0"/>
                      </a:lnTo>
                      <a:lnTo>
                        <a:pt x="15" y="0"/>
                      </a:lnTo>
                      <a:lnTo>
                        <a:pt x="13" y="2"/>
                      </a:lnTo>
                      <a:lnTo>
                        <a:pt x="10" y="3"/>
                      </a:lnTo>
                      <a:lnTo>
                        <a:pt x="9" y="3"/>
                      </a:lnTo>
                      <a:lnTo>
                        <a:pt x="7" y="3"/>
                      </a:lnTo>
                      <a:lnTo>
                        <a:pt x="7" y="3"/>
                      </a:lnTo>
                      <a:lnTo>
                        <a:pt x="6" y="3"/>
                      </a:lnTo>
                      <a:lnTo>
                        <a:pt x="6" y="2"/>
                      </a:lnTo>
                      <a:lnTo>
                        <a:pt x="6" y="2"/>
                      </a:lnTo>
                      <a:lnTo>
                        <a:pt x="6" y="0"/>
                      </a:lnTo>
                      <a:lnTo>
                        <a:pt x="4" y="2"/>
                      </a:lnTo>
                      <a:lnTo>
                        <a:pt x="3" y="3"/>
                      </a:lnTo>
                      <a:lnTo>
                        <a:pt x="1" y="5"/>
                      </a:lnTo>
                      <a:lnTo>
                        <a:pt x="1" y="9"/>
                      </a:lnTo>
                      <a:lnTo>
                        <a:pt x="1" y="11"/>
                      </a:lnTo>
                      <a:lnTo>
                        <a:pt x="2" y="13"/>
                      </a:lnTo>
                      <a:lnTo>
                        <a:pt x="4" y="18"/>
                      </a:lnTo>
                      <a:lnTo>
                        <a:pt x="3" y="24"/>
                      </a:lnTo>
                      <a:lnTo>
                        <a:pt x="2" y="25"/>
                      </a:lnTo>
                      <a:lnTo>
                        <a:pt x="1" y="27"/>
                      </a:lnTo>
                      <a:lnTo>
                        <a:pt x="0" y="30"/>
                      </a:lnTo>
                      <a:lnTo>
                        <a:pt x="0" y="31"/>
                      </a:lnTo>
                      <a:lnTo>
                        <a:pt x="2" y="36"/>
                      </a:lnTo>
                      <a:lnTo>
                        <a:pt x="2" y="38"/>
                      </a:lnTo>
                      <a:lnTo>
                        <a:pt x="3" y="42"/>
                      </a:lnTo>
                      <a:lnTo>
                        <a:pt x="3" y="44"/>
                      </a:lnTo>
                      <a:lnTo>
                        <a:pt x="6" y="50"/>
                      </a:lnTo>
                      <a:lnTo>
                        <a:pt x="14" y="198"/>
                      </a:lnTo>
                      <a:lnTo>
                        <a:pt x="126" y="198"/>
                      </a:lnTo>
                      <a:lnTo>
                        <a:pt x="127" y="194"/>
                      </a:lnTo>
                      <a:lnTo>
                        <a:pt x="128" y="193"/>
                      </a:lnTo>
                      <a:lnTo>
                        <a:pt x="129" y="194"/>
                      </a:lnTo>
                      <a:lnTo>
                        <a:pt x="129" y="196"/>
                      </a:lnTo>
                      <a:lnTo>
                        <a:pt x="128" y="198"/>
                      </a:lnTo>
                      <a:lnTo>
                        <a:pt x="156" y="198"/>
                      </a:lnTo>
                      <a:lnTo>
                        <a:pt x="159" y="198"/>
                      </a:lnTo>
                      <a:lnTo>
                        <a:pt x="167" y="204"/>
                      </a:lnTo>
                      <a:lnTo>
                        <a:pt x="173" y="204"/>
                      </a:lnTo>
                      <a:lnTo>
                        <a:pt x="174" y="203"/>
                      </a:lnTo>
                      <a:lnTo>
                        <a:pt x="176" y="194"/>
                      </a:lnTo>
                      <a:lnTo>
                        <a:pt x="186" y="193"/>
                      </a:lnTo>
                      <a:lnTo>
                        <a:pt x="189" y="182"/>
                      </a:lnTo>
                      <a:lnTo>
                        <a:pt x="195" y="183"/>
                      </a:lnTo>
                      <a:lnTo>
                        <a:pt x="196" y="182"/>
                      </a:lnTo>
                      <a:lnTo>
                        <a:pt x="201" y="176"/>
                      </a:lnTo>
                      <a:lnTo>
                        <a:pt x="200" y="173"/>
                      </a:lnTo>
                      <a:lnTo>
                        <a:pt x="200" y="170"/>
                      </a:lnTo>
                      <a:lnTo>
                        <a:pt x="199" y="169"/>
                      </a:lnTo>
                      <a:lnTo>
                        <a:pt x="199" y="169"/>
                      </a:lnTo>
                      <a:lnTo>
                        <a:pt x="197" y="167"/>
                      </a:lnTo>
                      <a:lnTo>
                        <a:pt x="199" y="167"/>
                      </a:lnTo>
                      <a:lnTo>
                        <a:pt x="199" y="166"/>
                      </a:lnTo>
                      <a:lnTo>
                        <a:pt x="199" y="165"/>
                      </a:lnTo>
                      <a:lnTo>
                        <a:pt x="199" y="163"/>
                      </a:lnTo>
                      <a:lnTo>
                        <a:pt x="199" y="163"/>
                      </a:lnTo>
                      <a:lnTo>
                        <a:pt x="199" y="162"/>
                      </a:lnTo>
                      <a:lnTo>
                        <a:pt x="199" y="162"/>
                      </a:lnTo>
                      <a:lnTo>
                        <a:pt x="197" y="162"/>
                      </a:lnTo>
                      <a:lnTo>
                        <a:pt x="199" y="162"/>
                      </a:lnTo>
                      <a:lnTo>
                        <a:pt x="197" y="162"/>
                      </a:lnTo>
                      <a:lnTo>
                        <a:pt x="197" y="160"/>
                      </a:lnTo>
                      <a:lnTo>
                        <a:pt x="197" y="159"/>
                      </a:lnTo>
                      <a:lnTo>
                        <a:pt x="197" y="159"/>
                      </a:lnTo>
                      <a:lnTo>
                        <a:pt x="199" y="158"/>
                      </a:lnTo>
                      <a:lnTo>
                        <a:pt x="200" y="158"/>
                      </a:lnTo>
                      <a:lnTo>
                        <a:pt x="199" y="158"/>
                      </a:lnTo>
                      <a:lnTo>
                        <a:pt x="200" y="159"/>
                      </a:lnTo>
                      <a:lnTo>
                        <a:pt x="200" y="159"/>
                      </a:lnTo>
                      <a:lnTo>
                        <a:pt x="200" y="159"/>
                      </a:lnTo>
                      <a:lnTo>
                        <a:pt x="201" y="159"/>
                      </a:lnTo>
                      <a:lnTo>
                        <a:pt x="202" y="159"/>
                      </a:lnTo>
                      <a:lnTo>
                        <a:pt x="202" y="159"/>
                      </a:lnTo>
                      <a:lnTo>
                        <a:pt x="202" y="159"/>
                      </a:lnTo>
                      <a:lnTo>
                        <a:pt x="203" y="159"/>
                      </a:lnTo>
                      <a:lnTo>
                        <a:pt x="203" y="159"/>
                      </a:lnTo>
                      <a:lnTo>
                        <a:pt x="203" y="159"/>
                      </a:lnTo>
                      <a:lnTo>
                        <a:pt x="203" y="159"/>
                      </a:lnTo>
                      <a:lnTo>
                        <a:pt x="203" y="159"/>
                      </a:lnTo>
                      <a:lnTo>
                        <a:pt x="203" y="158"/>
                      </a:lnTo>
                      <a:lnTo>
                        <a:pt x="202" y="158"/>
                      </a:lnTo>
                      <a:lnTo>
                        <a:pt x="202" y="158"/>
                      </a:lnTo>
                      <a:lnTo>
                        <a:pt x="200" y="157"/>
                      </a:lnTo>
                      <a:lnTo>
                        <a:pt x="200" y="157"/>
                      </a:lnTo>
                      <a:lnTo>
                        <a:pt x="200" y="157"/>
                      </a:lnTo>
                      <a:lnTo>
                        <a:pt x="199" y="154"/>
                      </a:lnTo>
                      <a:lnTo>
                        <a:pt x="199" y="154"/>
                      </a:lnTo>
                      <a:lnTo>
                        <a:pt x="199" y="154"/>
                      </a:lnTo>
                      <a:lnTo>
                        <a:pt x="197" y="154"/>
                      </a:lnTo>
                      <a:lnTo>
                        <a:pt x="199" y="154"/>
                      </a:lnTo>
                      <a:lnTo>
                        <a:pt x="197" y="156"/>
                      </a:lnTo>
                      <a:lnTo>
                        <a:pt x="197" y="154"/>
                      </a:lnTo>
                      <a:lnTo>
                        <a:pt x="197" y="154"/>
                      </a:lnTo>
                      <a:lnTo>
                        <a:pt x="197" y="154"/>
                      </a:lnTo>
                      <a:lnTo>
                        <a:pt x="196" y="152"/>
                      </a:lnTo>
                      <a:lnTo>
                        <a:pt x="195" y="151"/>
                      </a:lnTo>
                      <a:lnTo>
                        <a:pt x="195" y="151"/>
                      </a:lnTo>
                      <a:lnTo>
                        <a:pt x="193" y="150"/>
                      </a:lnTo>
                      <a:lnTo>
                        <a:pt x="192" y="147"/>
                      </a:lnTo>
                      <a:lnTo>
                        <a:pt x="192" y="146"/>
                      </a:lnTo>
                      <a:lnTo>
                        <a:pt x="192" y="145"/>
                      </a:lnTo>
                      <a:lnTo>
                        <a:pt x="190" y="144"/>
                      </a:lnTo>
                      <a:lnTo>
                        <a:pt x="189" y="142"/>
                      </a:lnTo>
                      <a:lnTo>
                        <a:pt x="188" y="140"/>
                      </a:lnTo>
                      <a:lnTo>
                        <a:pt x="188" y="138"/>
                      </a:lnTo>
                      <a:lnTo>
                        <a:pt x="187" y="138"/>
                      </a:lnTo>
                      <a:lnTo>
                        <a:pt x="187" y="137"/>
                      </a:lnTo>
                      <a:lnTo>
                        <a:pt x="184" y="133"/>
                      </a:lnTo>
                      <a:lnTo>
                        <a:pt x="182" y="130"/>
                      </a:lnTo>
                      <a:lnTo>
                        <a:pt x="182" y="129"/>
                      </a:lnTo>
                      <a:lnTo>
                        <a:pt x="181" y="127"/>
                      </a:lnTo>
                      <a:lnTo>
                        <a:pt x="180" y="125"/>
                      </a:lnTo>
                      <a:lnTo>
                        <a:pt x="179" y="123"/>
                      </a:lnTo>
                      <a:lnTo>
                        <a:pt x="177" y="120"/>
                      </a:lnTo>
                      <a:lnTo>
                        <a:pt x="176" y="119"/>
                      </a:lnTo>
                      <a:lnTo>
                        <a:pt x="176" y="118"/>
                      </a:lnTo>
                      <a:lnTo>
                        <a:pt x="175" y="118"/>
                      </a:lnTo>
                      <a:lnTo>
                        <a:pt x="174" y="116"/>
                      </a:lnTo>
                      <a:lnTo>
                        <a:pt x="174" y="116"/>
                      </a:lnTo>
                      <a:lnTo>
                        <a:pt x="173" y="112"/>
                      </a:lnTo>
                      <a:lnTo>
                        <a:pt x="172" y="110"/>
                      </a:lnTo>
                      <a:lnTo>
                        <a:pt x="170" y="107"/>
                      </a:lnTo>
                      <a:lnTo>
                        <a:pt x="169" y="106"/>
                      </a:lnTo>
                      <a:lnTo>
                        <a:pt x="169" y="105"/>
                      </a:lnTo>
                      <a:lnTo>
                        <a:pt x="169" y="104"/>
                      </a:lnTo>
                      <a:lnTo>
                        <a:pt x="169" y="104"/>
                      </a:lnTo>
                      <a:lnTo>
                        <a:pt x="168" y="103"/>
                      </a:lnTo>
                      <a:lnTo>
                        <a:pt x="168" y="103"/>
                      </a:lnTo>
                      <a:lnTo>
                        <a:pt x="168" y="103"/>
                      </a:lnTo>
                      <a:lnTo>
                        <a:pt x="167" y="103"/>
                      </a:lnTo>
                      <a:lnTo>
                        <a:pt x="167" y="103"/>
                      </a:lnTo>
                      <a:lnTo>
                        <a:pt x="167" y="102"/>
                      </a:lnTo>
                      <a:lnTo>
                        <a:pt x="167" y="100"/>
                      </a:lnTo>
                      <a:lnTo>
                        <a:pt x="167" y="100"/>
                      </a:lnTo>
                      <a:lnTo>
                        <a:pt x="167" y="99"/>
                      </a:lnTo>
                      <a:lnTo>
                        <a:pt x="167" y="99"/>
                      </a:lnTo>
                      <a:lnTo>
                        <a:pt x="167" y="99"/>
                      </a:lnTo>
                      <a:lnTo>
                        <a:pt x="167" y="99"/>
                      </a:lnTo>
                      <a:lnTo>
                        <a:pt x="167" y="99"/>
                      </a:lnTo>
                      <a:lnTo>
                        <a:pt x="167" y="99"/>
                      </a:lnTo>
                      <a:lnTo>
                        <a:pt x="168" y="99"/>
                      </a:lnTo>
                      <a:lnTo>
                        <a:pt x="168" y="98"/>
                      </a:lnTo>
                      <a:lnTo>
                        <a:pt x="168" y="98"/>
                      </a:lnTo>
                      <a:lnTo>
                        <a:pt x="167" y="98"/>
                      </a:lnTo>
                      <a:lnTo>
                        <a:pt x="167" y="97"/>
                      </a:lnTo>
                      <a:lnTo>
                        <a:pt x="166" y="97"/>
                      </a:lnTo>
                      <a:lnTo>
                        <a:pt x="166" y="96"/>
                      </a:lnTo>
                      <a:lnTo>
                        <a:pt x="166" y="96"/>
                      </a:lnTo>
                      <a:lnTo>
                        <a:pt x="166" y="95"/>
                      </a:lnTo>
                      <a:lnTo>
                        <a:pt x="164" y="95"/>
                      </a:lnTo>
                      <a:lnTo>
                        <a:pt x="164" y="93"/>
                      </a:lnTo>
                      <a:lnTo>
                        <a:pt x="163" y="92"/>
                      </a:lnTo>
                      <a:lnTo>
                        <a:pt x="164" y="91"/>
                      </a:lnTo>
                      <a:lnTo>
                        <a:pt x="163" y="91"/>
                      </a:lnTo>
                      <a:lnTo>
                        <a:pt x="162" y="90"/>
                      </a:lnTo>
                      <a:lnTo>
                        <a:pt x="161" y="90"/>
                      </a:lnTo>
                      <a:lnTo>
                        <a:pt x="161" y="87"/>
                      </a:lnTo>
                      <a:lnTo>
                        <a:pt x="160" y="86"/>
                      </a:lnTo>
                      <a:lnTo>
                        <a:pt x="160" y="86"/>
                      </a:lnTo>
                      <a:lnTo>
                        <a:pt x="159" y="85"/>
                      </a:lnTo>
                      <a:lnTo>
                        <a:pt x="159" y="84"/>
                      </a:lnTo>
                      <a:lnTo>
                        <a:pt x="157" y="82"/>
                      </a:lnTo>
                      <a:lnTo>
                        <a:pt x="157" y="82"/>
                      </a:lnTo>
                      <a:lnTo>
                        <a:pt x="159" y="82"/>
                      </a:lnTo>
                      <a:lnTo>
                        <a:pt x="159" y="82"/>
                      </a:lnTo>
                      <a:lnTo>
                        <a:pt x="159" y="82"/>
                      </a:lnTo>
                      <a:lnTo>
                        <a:pt x="159" y="82"/>
                      </a:lnTo>
                      <a:lnTo>
                        <a:pt x="159" y="82"/>
                      </a:lnTo>
                      <a:lnTo>
                        <a:pt x="157" y="82"/>
                      </a:lnTo>
                      <a:lnTo>
                        <a:pt x="159" y="80"/>
                      </a:lnTo>
                      <a:lnTo>
                        <a:pt x="159" y="80"/>
                      </a:lnTo>
                      <a:lnTo>
                        <a:pt x="159" y="80"/>
                      </a:lnTo>
                      <a:lnTo>
                        <a:pt x="159" y="80"/>
                      </a:lnTo>
                      <a:lnTo>
                        <a:pt x="157" y="80"/>
                      </a:lnTo>
                      <a:lnTo>
                        <a:pt x="157" y="80"/>
                      </a:lnTo>
                      <a:lnTo>
                        <a:pt x="157" y="80"/>
                      </a:lnTo>
                      <a:lnTo>
                        <a:pt x="157" y="79"/>
                      </a:lnTo>
                      <a:lnTo>
                        <a:pt x="156" y="79"/>
                      </a:lnTo>
                      <a:lnTo>
                        <a:pt x="156" y="79"/>
                      </a:lnTo>
                      <a:lnTo>
                        <a:pt x="156" y="78"/>
                      </a:lnTo>
                      <a:lnTo>
                        <a:pt x="157" y="78"/>
                      </a:lnTo>
                      <a:lnTo>
                        <a:pt x="157" y="79"/>
                      </a:lnTo>
                      <a:lnTo>
                        <a:pt x="159" y="79"/>
                      </a:lnTo>
                      <a:lnTo>
                        <a:pt x="159" y="79"/>
                      </a:lnTo>
                      <a:lnTo>
                        <a:pt x="159" y="79"/>
                      </a:lnTo>
                      <a:lnTo>
                        <a:pt x="159" y="78"/>
                      </a:lnTo>
                      <a:lnTo>
                        <a:pt x="157" y="78"/>
                      </a:lnTo>
                      <a:lnTo>
                        <a:pt x="157" y="77"/>
                      </a:lnTo>
                      <a:lnTo>
                        <a:pt x="156" y="76"/>
                      </a:lnTo>
                      <a:lnTo>
                        <a:pt x="155" y="75"/>
                      </a:lnTo>
                      <a:lnTo>
                        <a:pt x="155" y="75"/>
                      </a:lnTo>
                      <a:lnTo>
                        <a:pt x="154" y="75"/>
                      </a:lnTo>
                      <a:lnTo>
                        <a:pt x="154" y="75"/>
                      </a:lnTo>
                      <a:lnTo>
                        <a:pt x="154" y="75"/>
                      </a:lnTo>
                      <a:lnTo>
                        <a:pt x="154" y="75"/>
                      </a:lnTo>
                      <a:lnTo>
                        <a:pt x="154" y="73"/>
                      </a:lnTo>
                      <a:lnTo>
                        <a:pt x="154" y="73"/>
                      </a:lnTo>
                      <a:lnTo>
                        <a:pt x="153" y="73"/>
                      </a:lnTo>
                      <a:lnTo>
                        <a:pt x="153" y="72"/>
                      </a:lnTo>
                      <a:lnTo>
                        <a:pt x="152" y="72"/>
                      </a:lnTo>
                      <a:lnTo>
                        <a:pt x="152" y="72"/>
                      </a:lnTo>
                      <a:lnTo>
                        <a:pt x="150" y="70"/>
                      </a:lnTo>
                      <a:lnTo>
                        <a:pt x="149" y="70"/>
                      </a:lnTo>
                      <a:lnTo>
                        <a:pt x="149" y="69"/>
                      </a:lnTo>
                      <a:lnTo>
                        <a:pt x="148" y="67"/>
                      </a:lnTo>
                      <a:lnTo>
                        <a:pt x="147" y="65"/>
                      </a:lnTo>
                      <a:lnTo>
                        <a:pt x="147" y="65"/>
                      </a:lnTo>
                      <a:lnTo>
                        <a:pt x="147" y="64"/>
                      </a:lnTo>
                      <a:lnTo>
                        <a:pt x="144" y="64"/>
                      </a:lnTo>
                      <a:lnTo>
                        <a:pt x="144" y="60"/>
                      </a:lnTo>
                      <a:lnTo>
                        <a:pt x="143" y="59"/>
                      </a:lnTo>
                      <a:lnTo>
                        <a:pt x="143" y="59"/>
                      </a:lnTo>
                      <a:lnTo>
                        <a:pt x="142" y="59"/>
                      </a:lnTo>
                      <a:lnTo>
                        <a:pt x="141" y="57"/>
                      </a:lnTo>
                      <a:lnTo>
                        <a:pt x="141" y="56"/>
                      </a:lnTo>
                      <a:lnTo>
                        <a:pt x="140" y="55"/>
                      </a:lnTo>
                      <a:lnTo>
                        <a:pt x="140" y="53"/>
                      </a:lnTo>
                      <a:lnTo>
                        <a:pt x="140" y="53"/>
                      </a:lnTo>
                      <a:lnTo>
                        <a:pt x="140" y="53"/>
                      </a:lnTo>
                      <a:lnTo>
                        <a:pt x="140" y="52"/>
                      </a:lnTo>
                      <a:lnTo>
                        <a:pt x="139" y="47"/>
                      </a:lnTo>
                      <a:lnTo>
                        <a:pt x="139" y="47"/>
                      </a:lnTo>
                      <a:lnTo>
                        <a:pt x="136" y="45"/>
                      </a:lnTo>
                      <a:lnTo>
                        <a:pt x="135" y="44"/>
                      </a:lnTo>
                      <a:lnTo>
                        <a:pt x="134" y="43"/>
                      </a:lnTo>
                      <a:lnTo>
                        <a:pt x="134" y="42"/>
                      </a:lnTo>
                      <a:lnTo>
                        <a:pt x="134" y="40"/>
                      </a:lnTo>
                      <a:lnTo>
                        <a:pt x="135" y="39"/>
                      </a:lnTo>
                      <a:lnTo>
                        <a:pt x="136" y="38"/>
                      </a:lnTo>
                      <a:lnTo>
                        <a:pt x="136" y="37"/>
                      </a:lnTo>
                      <a:lnTo>
                        <a:pt x="136" y="37"/>
                      </a:lnTo>
                      <a:lnTo>
                        <a:pt x="136" y="37"/>
                      </a:lnTo>
                      <a:lnTo>
                        <a:pt x="136" y="37"/>
                      </a:lnTo>
                      <a:lnTo>
                        <a:pt x="135" y="36"/>
                      </a:lnTo>
                      <a:lnTo>
                        <a:pt x="135" y="36"/>
                      </a:lnTo>
                      <a:lnTo>
                        <a:pt x="136" y="35"/>
                      </a:lnTo>
                      <a:lnTo>
                        <a:pt x="136" y="35"/>
                      </a:lnTo>
                      <a:lnTo>
                        <a:pt x="137" y="36"/>
                      </a:lnTo>
                      <a:lnTo>
                        <a:pt x="137" y="35"/>
                      </a:lnTo>
                      <a:lnTo>
                        <a:pt x="137" y="35"/>
                      </a:lnTo>
                      <a:lnTo>
                        <a:pt x="137" y="35"/>
                      </a:lnTo>
                      <a:lnTo>
                        <a:pt x="137" y="35"/>
                      </a:lnTo>
                      <a:lnTo>
                        <a:pt x="137" y="35"/>
                      </a:lnTo>
                      <a:lnTo>
                        <a:pt x="137" y="35"/>
                      </a:lnTo>
                      <a:lnTo>
                        <a:pt x="137" y="35"/>
                      </a:lnTo>
                      <a:lnTo>
                        <a:pt x="137" y="36"/>
                      </a:lnTo>
                      <a:lnTo>
                        <a:pt x="137" y="36"/>
                      </a:lnTo>
                      <a:lnTo>
                        <a:pt x="137" y="36"/>
                      </a:lnTo>
                      <a:lnTo>
                        <a:pt x="137" y="36"/>
                      </a:lnTo>
                      <a:lnTo>
                        <a:pt x="139" y="37"/>
                      </a:lnTo>
                      <a:lnTo>
                        <a:pt x="139" y="37"/>
                      </a:lnTo>
                      <a:lnTo>
                        <a:pt x="139" y="38"/>
                      </a:lnTo>
                      <a:lnTo>
                        <a:pt x="139" y="38"/>
                      </a:lnTo>
                      <a:lnTo>
                        <a:pt x="139" y="39"/>
                      </a:lnTo>
                      <a:lnTo>
                        <a:pt x="139" y="39"/>
                      </a:lnTo>
                      <a:lnTo>
                        <a:pt x="140" y="39"/>
                      </a:lnTo>
                      <a:lnTo>
                        <a:pt x="140" y="43"/>
                      </a:lnTo>
                      <a:lnTo>
                        <a:pt x="141" y="43"/>
                      </a:lnTo>
                      <a:lnTo>
                        <a:pt x="141" y="44"/>
                      </a:lnTo>
                      <a:lnTo>
                        <a:pt x="141" y="45"/>
                      </a:lnTo>
                      <a:lnTo>
                        <a:pt x="141" y="45"/>
                      </a:lnTo>
                      <a:lnTo>
                        <a:pt x="142" y="46"/>
                      </a:lnTo>
                      <a:lnTo>
                        <a:pt x="142" y="47"/>
                      </a:lnTo>
                      <a:lnTo>
                        <a:pt x="143" y="49"/>
                      </a:lnTo>
                      <a:lnTo>
                        <a:pt x="144" y="50"/>
                      </a:lnTo>
                      <a:lnTo>
                        <a:pt x="146" y="51"/>
                      </a:lnTo>
                      <a:lnTo>
                        <a:pt x="147" y="53"/>
                      </a:lnTo>
                      <a:lnTo>
                        <a:pt x="148" y="53"/>
                      </a:lnTo>
                      <a:lnTo>
                        <a:pt x="149" y="55"/>
                      </a:lnTo>
                      <a:lnTo>
                        <a:pt x="149" y="56"/>
                      </a:lnTo>
                      <a:lnTo>
                        <a:pt x="149" y="56"/>
                      </a:lnTo>
                      <a:lnTo>
                        <a:pt x="149" y="58"/>
                      </a:lnTo>
                      <a:lnTo>
                        <a:pt x="149" y="58"/>
                      </a:lnTo>
                      <a:lnTo>
                        <a:pt x="150" y="59"/>
                      </a:lnTo>
                      <a:lnTo>
                        <a:pt x="150" y="62"/>
                      </a:lnTo>
                      <a:lnTo>
                        <a:pt x="152" y="64"/>
                      </a:lnTo>
                      <a:lnTo>
                        <a:pt x="152" y="65"/>
                      </a:lnTo>
                      <a:lnTo>
                        <a:pt x="152" y="64"/>
                      </a:lnTo>
                      <a:lnTo>
                        <a:pt x="152" y="64"/>
                      </a:lnTo>
                      <a:lnTo>
                        <a:pt x="152" y="63"/>
                      </a:lnTo>
                      <a:lnTo>
                        <a:pt x="152" y="64"/>
                      </a:lnTo>
                      <a:lnTo>
                        <a:pt x="152" y="64"/>
                      </a:lnTo>
                      <a:lnTo>
                        <a:pt x="152" y="65"/>
                      </a:lnTo>
                      <a:lnTo>
                        <a:pt x="153" y="65"/>
                      </a:lnTo>
                      <a:lnTo>
                        <a:pt x="154" y="65"/>
                      </a:lnTo>
                      <a:lnTo>
                        <a:pt x="154" y="66"/>
                      </a:lnTo>
                      <a:lnTo>
                        <a:pt x="155" y="67"/>
                      </a:lnTo>
                      <a:lnTo>
                        <a:pt x="157" y="69"/>
                      </a:lnTo>
                      <a:lnTo>
                        <a:pt x="159" y="70"/>
                      </a:lnTo>
                      <a:lnTo>
                        <a:pt x="159" y="72"/>
                      </a:lnTo>
                      <a:lnTo>
                        <a:pt x="160" y="72"/>
                      </a:lnTo>
                      <a:lnTo>
                        <a:pt x="160" y="72"/>
                      </a:lnTo>
                      <a:lnTo>
                        <a:pt x="160" y="73"/>
                      </a:lnTo>
                      <a:lnTo>
                        <a:pt x="161" y="75"/>
                      </a:lnTo>
                      <a:lnTo>
                        <a:pt x="161" y="75"/>
                      </a:lnTo>
                      <a:lnTo>
                        <a:pt x="162" y="75"/>
                      </a:lnTo>
                      <a:lnTo>
                        <a:pt x="162" y="75"/>
                      </a:lnTo>
                      <a:lnTo>
                        <a:pt x="163" y="77"/>
                      </a:lnTo>
                      <a:lnTo>
                        <a:pt x="163" y="77"/>
                      </a:lnTo>
                      <a:lnTo>
                        <a:pt x="164" y="77"/>
                      </a:lnTo>
                      <a:lnTo>
                        <a:pt x="166" y="78"/>
                      </a:lnTo>
                      <a:lnTo>
                        <a:pt x="167" y="79"/>
                      </a:lnTo>
                      <a:lnTo>
                        <a:pt x="168" y="79"/>
                      </a:lnTo>
                      <a:lnTo>
                        <a:pt x="169" y="79"/>
                      </a:lnTo>
                      <a:lnTo>
                        <a:pt x="170" y="80"/>
                      </a:lnTo>
                      <a:lnTo>
                        <a:pt x="170" y="79"/>
                      </a:lnTo>
                      <a:lnTo>
                        <a:pt x="170" y="79"/>
                      </a:lnTo>
                      <a:lnTo>
                        <a:pt x="170" y="79"/>
                      </a:lnTo>
                      <a:lnTo>
                        <a:pt x="172" y="78"/>
                      </a:lnTo>
                      <a:lnTo>
                        <a:pt x="172" y="78"/>
                      </a:lnTo>
                      <a:lnTo>
                        <a:pt x="172" y="77"/>
                      </a:lnTo>
                      <a:lnTo>
                        <a:pt x="173" y="77"/>
                      </a:lnTo>
                      <a:lnTo>
                        <a:pt x="173" y="77"/>
                      </a:lnTo>
                      <a:lnTo>
                        <a:pt x="173" y="76"/>
                      </a:lnTo>
                      <a:lnTo>
                        <a:pt x="174" y="76"/>
                      </a:lnTo>
                      <a:lnTo>
                        <a:pt x="173" y="73"/>
                      </a:lnTo>
                      <a:lnTo>
                        <a:pt x="173" y="72"/>
                      </a:lnTo>
                      <a:lnTo>
                        <a:pt x="173" y="70"/>
                      </a:lnTo>
                      <a:lnTo>
                        <a:pt x="172" y="69"/>
                      </a:lnTo>
                      <a:lnTo>
                        <a:pt x="173" y="67"/>
                      </a:lnTo>
                      <a:lnTo>
                        <a:pt x="173" y="66"/>
                      </a:lnTo>
                      <a:lnTo>
                        <a:pt x="173" y="65"/>
                      </a:lnTo>
                      <a:lnTo>
                        <a:pt x="174" y="65"/>
                      </a:lnTo>
                      <a:lnTo>
                        <a:pt x="174" y="64"/>
                      </a:lnTo>
                      <a:lnTo>
                        <a:pt x="176" y="60"/>
                      </a:lnTo>
                      <a:lnTo>
                        <a:pt x="175" y="58"/>
                      </a:lnTo>
                      <a:lnTo>
                        <a:pt x="175" y="57"/>
                      </a:lnTo>
                      <a:lnTo>
                        <a:pt x="175" y="56"/>
                      </a:lnTo>
                      <a:lnTo>
                        <a:pt x="176" y="55"/>
                      </a:lnTo>
                      <a:lnTo>
                        <a:pt x="175" y="53"/>
                      </a:lnTo>
                      <a:lnTo>
                        <a:pt x="176" y="51"/>
                      </a:lnTo>
                      <a:lnTo>
                        <a:pt x="176" y="51"/>
                      </a:lnTo>
                      <a:lnTo>
                        <a:pt x="176" y="51"/>
                      </a:lnTo>
                      <a:lnTo>
                        <a:pt x="176" y="49"/>
                      </a:lnTo>
                      <a:lnTo>
                        <a:pt x="177" y="47"/>
                      </a:lnTo>
                      <a:lnTo>
                        <a:pt x="177" y="45"/>
                      </a:lnTo>
                      <a:lnTo>
                        <a:pt x="180" y="43"/>
                      </a:lnTo>
                      <a:lnTo>
                        <a:pt x="177" y="43"/>
                      </a:lnTo>
                      <a:lnTo>
                        <a:pt x="179" y="42"/>
                      </a:lnTo>
                      <a:lnTo>
                        <a:pt x="177" y="40"/>
                      </a:lnTo>
                      <a:lnTo>
                        <a:pt x="177" y="38"/>
                      </a:lnTo>
                      <a:lnTo>
                        <a:pt x="176" y="37"/>
                      </a:lnTo>
                      <a:lnTo>
                        <a:pt x="175" y="35"/>
                      </a:lnTo>
                      <a:lnTo>
                        <a:pt x="175" y="35"/>
                      </a:lnTo>
                      <a:lnTo>
                        <a:pt x="173" y="26"/>
                      </a:lnTo>
                      <a:lnTo>
                        <a:pt x="172" y="25"/>
                      </a:lnTo>
                      <a:lnTo>
                        <a:pt x="172" y="25"/>
                      </a:lnTo>
                      <a:lnTo>
                        <a:pt x="170" y="23"/>
                      </a:lnTo>
                      <a:lnTo>
                        <a:pt x="170" y="22"/>
                      </a:lnTo>
                      <a:lnTo>
                        <a:pt x="169" y="19"/>
                      </a:lnTo>
                      <a:lnTo>
                        <a:pt x="167" y="13"/>
                      </a:lnTo>
                      <a:lnTo>
                        <a:pt x="164" y="10"/>
                      </a:lnTo>
                      <a:lnTo>
                        <a:pt x="163" y="9"/>
                      </a:lnTo>
                      <a:lnTo>
                        <a:pt x="163" y="6"/>
                      </a:lnTo>
                      <a:lnTo>
                        <a:pt x="163" y="6"/>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560" name="Colombia">
                  <a:extLst>
                    <a:ext uri="{FF2B5EF4-FFF2-40B4-BE49-F238E27FC236}">
                      <a16:creationId xmlns:a16="http://schemas.microsoft.com/office/drawing/2014/main" id="{A1851E10-E964-EC43-AA41-D605027FD2B8}"/>
                    </a:ext>
                  </a:extLst>
                </p:cNvPr>
                <p:cNvSpPr>
                  <a:spLocks/>
                </p:cNvSpPr>
                <p:nvPr/>
              </p:nvSpPr>
              <p:spPr bwMode="auto">
                <a:xfrm>
                  <a:off x="4273090" y="3613297"/>
                  <a:ext cx="322207" cy="500076"/>
                </a:xfrm>
                <a:custGeom>
                  <a:avLst/>
                  <a:gdLst>
                    <a:gd name="T0" fmla="*/ 31 w 221"/>
                    <a:gd name="T1" fmla="*/ 100 h 343"/>
                    <a:gd name="T2" fmla="*/ 35 w 221"/>
                    <a:gd name="T3" fmla="*/ 86 h 343"/>
                    <a:gd name="T4" fmla="*/ 36 w 221"/>
                    <a:gd name="T5" fmla="*/ 79 h 343"/>
                    <a:gd name="T6" fmla="*/ 40 w 221"/>
                    <a:gd name="T7" fmla="*/ 85 h 343"/>
                    <a:gd name="T8" fmla="*/ 43 w 221"/>
                    <a:gd name="T9" fmla="*/ 89 h 343"/>
                    <a:gd name="T10" fmla="*/ 43 w 221"/>
                    <a:gd name="T11" fmla="*/ 91 h 343"/>
                    <a:gd name="T12" fmla="*/ 45 w 221"/>
                    <a:gd name="T13" fmla="*/ 83 h 343"/>
                    <a:gd name="T14" fmla="*/ 56 w 221"/>
                    <a:gd name="T15" fmla="*/ 71 h 343"/>
                    <a:gd name="T16" fmla="*/ 67 w 221"/>
                    <a:gd name="T17" fmla="*/ 63 h 343"/>
                    <a:gd name="T18" fmla="*/ 68 w 221"/>
                    <a:gd name="T19" fmla="*/ 46 h 343"/>
                    <a:gd name="T20" fmla="*/ 70 w 221"/>
                    <a:gd name="T21" fmla="*/ 39 h 343"/>
                    <a:gd name="T22" fmla="*/ 81 w 221"/>
                    <a:gd name="T23" fmla="*/ 32 h 343"/>
                    <a:gd name="T24" fmla="*/ 91 w 221"/>
                    <a:gd name="T25" fmla="*/ 30 h 343"/>
                    <a:gd name="T26" fmla="*/ 90 w 221"/>
                    <a:gd name="T27" fmla="*/ 36 h 343"/>
                    <a:gd name="T28" fmla="*/ 103 w 221"/>
                    <a:gd name="T29" fmla="*/ 25 h 343"/>
                    <a:gd name="T30" fmla="*/ 120 w 221"/>
                    <a:gd name="T31" fmla="*/ 19 h 343"/>
                    <a:gd name="T32" fmla="*/ 134 w 221"/>
                    <a:gd name="T33" fmla="*/ 9 h 343"/>
                    <a:gd name="T34" fmla="*/ 138 w 221"/>
                    <a:gd name="T35" fmla="*/ 3 h 343"/>
                    <a:gd name="T36" fmla="*/ 143 w 221"/>
                    <a:gd name="T37" fmla="*/ 0 h 343"/>
                    <a:gd name="T38" fmla="*/ 140 w 221"/>
                    <a:gd name="T39" fmla="*/ 17 h 343"/>
                    <a:gd name="T40" fmla="*/ 124 w 221"/>
                    <a:gd name="T41" fmla="*/ 87 h 343"/>
                    <a:gd name="T42" fmla="*/ 151 w 221"/>
                    <a:gd name="T43" fmla="*/ 111 h 343"/>
                    <a:gd name="T44" fmla="*/ 209 w 221"/>
                    <a:gd name="T45" fmla="*/ 140 h 343"/>
                    <a:gd name="T46" fmla="*/ 214 w 221"/>
                    <a:gd name="T47" fmla="*/ 185 h 343"/>
                    <a:gd name="T48" fmla="*/ 212 w 221"/>
                    <a:gd name="T49" fmla="*/ 213 h 343"/>
                    <a:gd name="T50" fmla="*/ 174 w 221"/>
                    <a:gd name="T51" fmla="*/ 234 h 343"/>
                    <a:gd name="T52" fmla="*/ 163 w 221"/>
                    <a:gd name="T53" fmla="*/ 245 h 343"/>
                    <a:gd name="T54" fmla="*/ 162 w 221"/>
                    <a:gd name="T55" fmla="*/ 338 h 343"/>
                    <a:gd name="T56" fmla="*/ 163 w 221"/>
                    <a:gd name="T57" fmla="*/ 312 h 343"/>
                    <a:gd name="T58" fmla="*/ 158 w 221"/>
                    <a:gd name="T59" fmla="*/ 307 h 343"/>
                    <a:gd name="T60" fmla="*/ 151 w 221"/>
                    <a:gd name="T61" fmla="*/ 305 h 343"/>
                    <a:gd name="T62" fmla="*/ 143 w 221"/>
                    <a:gd name="T63" fmla="*/ 304 h 343"/>
                    <a:gd name="T64" fmla="*/ 137 w 221"/>
                    <a:gd name="T65" fmla="*/ 304 h 343"/>
                    <a:gd name="T66" fmla="*/ 129 w 221"/>
                    <a:gd name="T67" fmla="*/ 305 h 343"/>
                    <a:gd name="T68" fmla="*/ 116 w 221"/>
                    <a:gd name="T69" fmla="*/ 305 h 343"/>
                    <a:gd name="T70" fmla="*/ 108 w 221"/>
                    <a:gd name="T71" fmla="*/ 305 h 343"/>
                    <a:gd name="T72" fmla="*/ 105 w 221"/>
                    <a:gd name="T73" fmla="*/ 293 h 343"/>
                    <a:gd name="T74" fmla="*/ 101 w 221"/>
                    <a:gd name="T75" fmla="*/ 287 h 343"/>
                    <a:gd name="T76" fmla="*/ 94 w 221"/>
                    <a:gd name="T77" fmla="*/ 281 h 343"/>
                    <a:gd name="T78" fmla="*/ 90 w 221"/>
                    <a:gd name="T79" fmla="*/ 278 h 343"/>
                    <a:gd name="T80" fmla="*/ 84 w 221"/>
                    <a:gd name="T81" fmla="*/ 272 h 343"/>
                    <a:gd name="T82" fmla="*/ 78 w 221"/>
                    <a:gd name="T83" fmla="*/ 264 h 343"/>
                    <a:gd name="T84" fmla="*/ 71 w 221"/>
                    <a:gd name="T85" fmla="*/ 258 h 343"/>
                    <a:gd name="T86" fmla="*/ 49 w 221"/>
                    <a:gd name="T87" fmla="*/ 249 h 343"/>
                    <a:gd name="T88" fmla="*/ 29 w 221"/>
                    <a:gd name="T89" fmla="*/ 244 h 343"/>
                    <a:gd name="T90" fmla="*/ 8 w 221"/>
                    <a:gd name="T91" fmla="*/ 231 h 343"/>
                    <a:gd name="T92" fmla="*/ 9 w 221"/>
                    <a:gd name="T93" fmla="*/ 217 h 343"/>
                    <a:gd name="T94" fmla="*/ 9 w 221"/>
                    <a:gd name="T95" fmla="*/ 207 h 343"/>
                    <a:gd name="T96" fmla="*/ 20 w 221"/>
                    <a:gd name="T97" fmla="*/ 203 h 343"/>
                    <a:gd name="T98" fmla="*/ 25 w 221"/>
                    <a:gd name="T99" fmla="*/ 199 h 343"/>
                    <a:gd name="T100" fmla="*/ 25 w 221"/>
                    <a:gd name="T101" fmla="*/ 194 h 343"/>
                    <a:gd name="T102" fmla="*/ 31 w 221"/>
                    <a:gd name="T103" fmla="*/ 186 h 343"/>
                    <a:gd name="T104" fmla="*/ 35 w 221"/>
                    <a:gd name="T105" fmla="*/ 181 h 343"/>
                    <a:gd name="T106" fmla="*/ 36 w 221"/>
                    <a:gd name="T107" fmla="*/ 177 h 343"/>
                    <a:gd name="T108" fmla="*/ 33 w 221"/>
                    <a:gd name="T109" fmla="*/ 174 h 343"/>
                    <a:gd name="T110" fmla="*/ 33 w 221"/>
                    <a:gd name="T111" fmla="*/ 165 h 343"/>
                    <a:gd name="T112" fmla="*/ 31 w 221"/>
                    <a:gd name="T113" fmla="*/ 145 h 343"/>
                    <a:gd name="T114" fmla="*/ 33 w 221"/>
                    <a:gd name="T115" fmla="*/ 133 h 343"/>
                    <a:gd name="T116" fmla="*/ 30 w 221"/>
                    <a:gd name="T117" fmla="*/ 118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21" h="343">
                      <a:moveTo>
                        <a:pt x="24" y="109"/>
                      </a:moveTo>
                      <a:lnTo>
                        <a:pt x="25" y="103"/>
                      </a:lnTo>
                      <a:lnTo>
                        <a:pt x="27" y="103"/>
                      </a:lnTo>
                      <a:lnTo>
                        <a:pt x="28" y="103"/>
                      </a:lnTo>
                      <a:lnTo>
                        <a:pt x="27" y="100"/>
                      </a:lnTo>
                      <a:lnTo>
                        <a:pt x="27" y="98"/>
                      </a:lnTo>
                      <a:lnTo>
                        <a:pt x="29" y="99"/>
                      </a:lnTo>
                      <a:lnTo>
                        <a:pt x="30" y="100"/>
                      </a:lnTo>
                      <a:lnTo>
                        <a:pt x="30" y="102"/>
                      </a:lnTo>
                      <a:lnTo>
                        <a:pt x="30" y="102"/>
                      </a:lnTo>
                      <a:lnTo>
                        <a:pt x="31" y="100"/>
                      </a:lnTo>
                      <a:lnTo>
                        <a:pt x="35" y="99"/>
                      </a:lnTo>
                      <a:lnTo>
                        <a:pt x="34" y="97"/>
                      </a:lnTo>
                      <a:lnTo>
                        <a:pt x="35" y="96"/>
                      </a:lnTo>
                      <a:lnTo>
                        <a:pt x="36" y="94"/>
                      </a:lnTo>
                      <a:lnTo>
                        <a:pt x="37" y="93"/>
                      </a:lnTo>
                      <a:lnTo>
                        <a:pt x="38" y="93"/>
                      </a:lnTo>
                      <a:lnTo>
                        <a:pt x="37" y="91"/>
                      </a:lnTo>
                      <a:lnTo>
                        <a:pt x="36" y="89"/>
                      </a:lnTo>
                      <a:lnTo>
                        <a:pt x="36" y="87"/>
                      </a:lnTo>
                      <a:lnTo>
                        <a:pt x="36" y="86"/>
                      </a:lnTo>
                      <a:lnTo>
                        <a:pt x="35" y="86"/>
                      </a:lnTo>
                      <a:lnTo>
                        <a:pt x="35" y="84"/>
                      </a:lnTo>
                      <a:lnTo>
                        <a:pt x="34" y="83"/>
                      </a:lnTo>
                      <a:lnTo>
                        <a:pt x="33" y="83"/>
                      </a:lnTo>
                      <a:lnTo>
                        <a:pt x="33" y="82"/>
                      </a:lnTo>
                      <a:lnTo>
                        <a:pt x="33" y="82"/>
                      </a:lnTo>
                      <a:lnTo>
                        <a:pt x="34" y="80"/>
                      </a:lnTo>
                      <a:lnTo>
                        <a:pt x="34" y="79"/>
                      </a:lnTo>
                      <a:lnTo>
                        <a:pt x="35" y="79"/>
                      </a:lnTo>
                      <a:lnTo>
                        <a:pt x="36" y="78"/>
                      </a:lnTo>
                      <a:lnTo>
                        <a:pt x="36" y="79"/>
                      </a:lnTo>
                      <a:lnTo>
                        <a:pt x="36" y="79"/>
                      </a:lnTo>
                      <a:lnTo>
                        <a:pt x="36" y="80"/>
                      </a:lnTo>
                      <a:lnTo>
                        <a:pt x="36" y="80"/>
                      </a:lnTo>
                      <a:lnTo>
                        <a:pt x="36" y="82"/>
                      </a:lnTo>
                      <a:lnTo>
                        <a:pt x="37" y="82"/>
                      </a:lnTo>
                      <a:lnTo>
                        <a:pt x="37" y="83"/>
                      </a:lnTo>
                      <a:lnTo>
                        <a:pt x="37" y="83"/>
                      </a:lnTo>
                      <a:lnTo>
                        <a:pt x="37" y="83"/>
                      </a:lnTo>
                      <a:lnTo>
                        <a:pt x="38" y="83"/>
                      </a:lnTo>
                      <a:lnTo>
                        <a:pt x="38" y="84"/>
                      </a:lnTo>
                      <a:lnTo>
                        <a:pt x="40" y="84"/>
                      </a:lnTo>
                      <a:lnTo>
                        <a:pt x="40" y="85"/>
                      </a:lnTo>
                      <a:lnTo>
                        <a:pt x="40" y="85"/>
                      </a:lnTo>
                      <a:lnTo>
                        <a:pt x="41" y="86"/>
                      </a:lnTo>
                      <a:lnTo>
                        <a:pt x="41" y="86"/>
                      </a:lnTo>
                      <a:lnTo>
                        <a:pt x="42" y="87"/>
                      </a:lnTo>
                      <a:lnTo>
                        <a:pt x="42" y="87"/>
                      </a:lnTo>
                      <a:lnTo>
                        <a:pt x="42" y="87"/>
                      </a:lnTo>
                      <a:lnTo>
                        <a:pt x="42" y="89"/>
                      </a:lnTo>
                      <a:lnTo>
                        <a:pt x="42" y="89"/>
                      </a:lnTo>
                      <a:lnTo>
                        <a:pt x="42" y="87"/>
                      </a:lnTo>
                      <a:lnTo>
                        <a:pt x="43" y="89"/>
                      </a:lnTo>
                      <a:lnTo>
                        <a:pt x="43" y="89"/>
                      </a:lnTo>
                      <a:lnTo>
                        <a:pt x="42" y="89"/>
                      </a:lnTo>
                      <a:lnTo>
                        <a:pt x="42" y="89"/>
                      </a:lnTo>
                      <a:lnTo>
                        <a:pt x="42" y="90"/>
                      </a:lnTo>
                      <a:lnTo>
                        <a:pt x="42" y="91"/>
                      </a:lnTo>
                      <a:lnTo>
                        <a:pt x="43" y="91"/>
                      </a:lnTo>
                      <a:lnTo>
                        <a:pt x="43" y="90"/>
                      </a:lnTo>
                      <a:lnTo>
                        <a:pt x="43" y="90"/>
                      </a:lnTo>
                      <a:lnTo>
                        <a:pt x="43" y="90"/>
                      </a:lnTo>
                      <a:lnTo>
                        <a:pt x="44" y="91"/>
                      </a:lnTo>
                      <a:lnTo>
                        <a:pt x="44" y="91"/>
                      </a:lnTo>
                      <a:lnTo>
                        <a:pt x="43" y="91"/>
                      </a:lnTo>
                      <a:lnTo>
                        <a:pt x="42" y="91"/>
                      </a:lnTo>
                      <a:lnTo>
                        <a:pt x="42" y="92"/>
                      </a:lnTo>
                      <a:lnTo>
                        <a:pt x="42" y="93"/>
                      </a:lnTo>
                      <a:lnTo>
                        <a:pt x="42" y="93"/>
                      </a:lnTo>
                      <a:lnTo>
                        <a:pt x="43" y="94"/>
                      </a:lnTo>
                      <a:lnTo>
                        <a:pt x="44" y="94"/>
                      </a:lnTo>
                      <a:lnTo>
                        <a:pt x="45" y="93"/>
                      </a:lnTo>
                      <a:lnTo>
                        <a:pt x="45" y="91"/>
                      </a:lnTo>
                      <a:lnTo>
                        <a:pt x="45" y="89"/>
                      </a:lnTo>
                      <a:lnTo>
                        <a:pt x="45" y="85"/>
                      </a:lnTo>
                      <a:lnTo>
                        <a:pt x="45" y="83"/>
                      </a:lnTo>
                      <a:lnTo>
                        <a:pt x="43" y="82"/>
                      </a:lnTo>
                      <a:lnTo>
                        <a:pt x="43" y="82"/>
                      </a:lnTo>
                      <a:lnTo>
                        <a:pt x="43" y="80"/>
                      </a:lnTo>
                      <a:lnTo>
                        <a:pt x="43" y="79"/>
                      </a:lnTo>
                      <a:lnTo>
                        <a:pt x="45" y="78"/>
                      </a:lnTo>
                      <a:lnTo>
                        <a:pt x="45" y="78"/>
                      </a:lnTo>
                      <a:lnTo>
                        <a:pt x="48" y="77"/>
                      </a:lnTo>
                      <a:lnTo>
                        <a:pt x="51" y="76"/>
                      </a:lnTo>
                      <a:lnTo>
                        <a:pt x="53" y="73"/>
                      </a:lnTo>
                      <a:lnTo>
                        <a:pt x="56" y="72"/>
                      </a:lnTo>
                      <a:lnTo>
                        <a:pt x="56" y="71"/>
                      </a:lnTo>
                      <a:lnTo>
                        <a:pt x="57" y="66"/>
                      </a:lnTo>
                      <a:lnTo>
                        <a:pt x="58" y="65"/>
                      </a:lnTo>
                      <a:lnTo>
                        <a:pt x="60" y="64"/>
                      </a:lnTo>
                      <a:lnTo>
                        <a:pt x="62" y="63"/>
                      </a:lnTo>
                      <a:lnTo>
                        <a:pt x="63" y="63"/>
                      </a:lnTo>
                      <a:lnTo>
                        <a:pt x="63" y="63"/>
                      </a:lnTo>
                      <a:lnTo>
                        <a:pt x="64" y="63"/>
                      </a:lnTo>
                      <a:lnTo>
                        <a:pt x="63" y="64"/>
                      </a:lnTo>
                      <a:lnTo>
                        <a:pt x="64" y="64"/>
                      </a:lnTo>
                      <a:lnTo>
                        <a:pt x="65" y="64"/>
                      </a:lnTo>
                      <a:lnTo>
                        <a:pt x="67" y="63"/>
                      </a:lnTo>
                      <a:lnTo>
                        <a:pt x="69" y="59"/>
                      </a:lnTo>
                      <a:lnTo>
                        <a:pt x="68" y="57"/>
                      </a:lnTo>
                      <a:lnTo>
                        <a:pt x="67" y="56"/>
                      </a:lnTo>
                      <a:lnTo>
                        <a:pt x="68" y="53"/>
                      </a:lnTo>
                      <a:lnTo>
                        <a:pt x="69" y="51"/>
                      </a:lnTo>
                      <a:lnTo>
                        <a:pt x="69" y="49"/>
                      </a:lnTo>
                      <a:lnTo>
                        <a:pt x="70" y="46"/>
                      </a:lnTo>
                      <a:lnTo>
                        <a:pt x="68" y="47"/>
                      </a:lnTo>
                      <a:lnTo>
                        <a:pt x="67" y="47"/>
                      </a:lnTo>
                      <a:lnTo>
                        <a:pt x="67" y="46"/>
                      </a:lnTo>
                      <a:lnTo>
                        <a:pt x="68" y="46"/>
                      </a:lnTo>
                      <a:lnTo>
                        <a:pt x="69" y="45"/>
                      </a:lnTo>
                      <a:lnTo>
                        <a:pt x="70" y="45"/>
                      </a:lnTo>
                      <a:lnTo>
                        <a:pt x="70" y="45"/>
                      </a:lnTo>
                      <a:lnTo>
                        <a:pt x="70" y="44"/>
                      </a:lnTo>
                      <a:lnTo>
                        <a:pt x="70" y="43"/>
                      </a:lnTo>
                      <a:lnTo>
                        <a:pt x="69" y="43"/>
                      </a:lnTo>
                      <a:lnTo>
                        <a:pt x="70" y="42"/>
                      </a:lnTo>
                      <a:lnTo>
                        <a:pt x="70" y="43"/>
                      </a:lnTo>
                      <a:lnTo>
                        <a:pt x="71" y="43"/>
                      </a:lnTo>
                      <a:lnTo>
                        <a:pt x="70" y="42"/>
                      </a:lnTo>
                      <a:lnTo>
                        <a:pt x="70" y="39"/>
                      </a:lnTo>
                      <a:lnTo>
                        <a:pt x="72" y="38"/>
                      </a:lnTo>
                      <a:lnTo>
                        <a:pt x="72" y="37"/>
                      </a:lnTo>
                      <a:lnTo>
                        <a:pt x="75" y="36"/>
                      </a:lnTo>
                      <a:lnTo>
                        <a:pt x="75" y="37"/>
                      </a:lnTo>
                      <a:lnTo>
                        <a:pt x="76" y="37"/>
                      </a:lnTo>
                      <a:lnTo>
                        <a:pt x="76" y="36"/>
                      </a:lnTo>
                      <a:lnTo>
                        <a:pt x="75" y="36"/>
                      </a:lnTo>
                      <a:lnTo>
                        <a:pt x="76" y="34"/>
                      </a:lnTo>
                      <a:lnTo>
                        <a:pt x="78" y="33"/>
                      </a:lnTo>
                      <a:lnTo>
                        <a:pt x="80" y="32"/>
                      </a:lnTo>
                      <a:lnTo>
                        <a:pt x="81" y="32"/>
                      </a:lnTo>
                      <a:lnTo>
                        <a:pt x="82" y="31"/>
                      </a:lnTo>
                      <a:lnTo>
                        <a:pt x="82" y="29"/>
                      </a:lnTo>
                      <a:lnTo>
                        <a:pt x="82" y="29"/>
                      </a:lnTo>
                      <a:lnTo>
                        <a:pt x="83" y="27"/>
                      </a:lnTo>
                      <a:lnTo>
                        <a:pt x="84" y="27"/>
                      </a:lnTo>
                      <a:lnTo>
                        <a:pt x="85" y="29"/>
                      </a:lnTo>
                      <a:lnTo>
                        <a:pt x="87" y="30"/>
                      </a:lnTo>
                      <a:lnTo>
                        <a:pt x="90" y="30"/>
                      </a:lnTo>
                      <a:lnTo>
                        <a:pt x="91" y="30"/>
                      </a:lnTo>
                      <a:lnTo>
                        <a:pt x="92" y="30"/>
                      </a:lnTo>
                      <a:lnTo>
                        <a:pt x="91" y="30"/>
                      </a:lnTo>
                      <a:lnTo>
                        <a:pt x="90" y="31"/>
                      </a:lnTo>
                      <a:lnTo>
                        <a:pt x="90" y="33"/>
                      </a:lnTo>
                      <a:lnTo>
                        <a:pt x="89" y="33"/>
                      </a:lnTo>
                      <a:lnTo>
                        <a:pt x="88" y="33"/>
                      </a:lnTo>
                      <a:lnTo>
                        <a:pt x="88" y="33"/>
                      </a:lnTo>
                      <a:lnTo>
                        <a:pt x="88" y="34"/>
                      </a:lnTo>
                      <a:lnTo>
                        <a:pt x="89" y="34"/>
                      </a:lnTo>
                      <a:lnTo>
                        <a:pt x="89" y="36"/>
                      </a:lnTo>
                      <a:lnTo>
                        <a:pt x="89" y="36"/>
                      </a:lnTo>
                      <a:lnTo>
                        <a:pt x="89" y="33"/>
                      </a:lnTo>
                      <a:lnTo>
                        <a:pt x="90" y="36"/>
                      </a:lnTo>
                      <a:lnTo>
                        <a:pt x="92" y="33"/>
                      </a:lnTo>
                      <a:lnTo>
                        <a:pt x="94" y="32"/>
                      </a:lnTo>
                      <a:lnTo>
                        <a:pt x="95" y="29"/>
                      </a:lnTo>
                      <a:lnTo>
                        <a:pt x="95" y="26"/>
                      </a:lnTo>
                      <a:lnTo>
                        <a:pt x="96" y="24"/>
                      </a:lnTo>
                      <a:lnTo>
                        <a:pt x="96" y="23"/>
                      </a:lnTo>
                      <a:lnTo>
                        <a:pt x="97" y="23"/>
                      </a:lnTo>
                      <a:lnTo>
                        <a:pt x="97" y="23"/>
                      </a:lnTo>
                      <a:lnTo>
                        <a:pt x="98" y="23"/>
                      </a:lnTo>
                      <a:lnTo>
                        <a:pt x="101" y="24"/>
                      </a:lnTo>
                      <a:lnTo>
                        <a:pt x="103" y="25"/>
                      </a:lnTo>
                      <a:lnTo>
                        <a:pt x="105" y="25"/>
                      </a:lnTo>
                      <a:lnTo>
                        <a:pt x="107" y="25"/>
                      </a:lnTo>
                      <a:lnTo>
                        <a:pt x="110" y="25"/>
                      </a:lnTo>
                      <a:lnTo>
                        <a:pt x="111" y="24"/>
                      </a:lnTo>
                      <a:lnTo>
                        <a:pt x="112" y="23"/>
                      </a:lnTo>
                      <a:lnTo>
                        <a:pt x="114" y="23"/>
                      </a:lnTo>
                      <a:lnTo>
                        <a:pt x="115" y="22"/>
                      </a:lnTo>
                      <a:lnTo>
                        <a:pt x="115" y="20"/>
                      </a:lnTo>
                      <a:lnTo>
                        <a:pt x="117" y="20"/>
                      </a:lnTo>
                      <a:lnTo>
                        <a:pt x="118" y="20"/>
                      </a:lnTo>
                      <a:lnTo>
                        <a:pt x="120" y="19"/>
                      </a:lnTo>
                      <a:lnTo>
                        <a:pt x="121" y="18"/>
                      </a:lnTo>
                      <a:lnTo>
                        <a:pt x="122" y="16"/>
                      </a:lnTo>
                      <a:lnTo>
                        <a:pt x="124" y="16"/>
                      </a:lnTo>
                      <a:lnTo>
                        <a:pt x="125" y="16"/>
                      </a:lnTo>
                      <a:lnTo>
                        <a:pt x="128" y="15"/>
                      </a:lnTo>
                      <a:lnTo>
                        <a:pt x="128" y="16"/>
                      </a:lnTo>
                      <a:lnTo>
                        <a:pt x="129" y="13"/>
                      </a:lnTo>
                      <a:lnTo>
                        <a:pt x="131" y="13"/>
                      </a:lnTo>
                      <a:lnTo>
                        <a:pt x="131" y="12"/>
                      </a:lnTo>
                      <a:lnTo>
                        <a:pt x="132" y="10"/>
                      </a:lnTo>
                      <a:lnTo>
                        <a:pt x="134" y="9"/>
                      </a:lnTo>
                      <a:lnTo>
                        <a:pt x="134" y="6"/>
                      </a:lnTo>
                      <a:lnTo>
                        <a:pt x="134" y="5"/>
                      </a:lnTo>
                      <a:lnTo>
                        <a:pt x="135" y="5"/>
                      </a:lnTo>
                      <a:lnTo>
                        <a:pt x="136" y="6"/>
                      </a:lnTo>
                      <a:lnTo>
                        <a:pt x="136" y="7"/>
                      </a:lnTo>
                      <a:lnTo>
                        <a:pt x="137" y="6"/>
                      </a:lnTo>
                      <a:lnTo>
                        <a:pt x="138" y="6"/>
                      </a:lnTo>
                      <a:lnTo>
                        <a:pt x="138" y="5"/>
                      </a:lnTo>
                      <a:lnTo>
                        <a:pt x="137" y="4"/>
                      </a:lnTo>
                      <a:lnTo>
                        <a:pt x="137" y="4"/>
                      </a:lnTo>
                      <a:lnTo>
                        <a:pt x="138" y="3"/>
                      </a:lnTo>
                      <a:lnTo>
                        <a:pt x="140" y="3"/>
                      </a:lnTo>
                      <a:lnTo>
                        <a:pt x="140" y="4"/>
                      </a:lnTo>
                      <a:lnTo>
                        <a:pt x="141" y="3"/>
                      </a:lnTo>
                      <a:lnTo>
                        <a:pt x="141" y="3"/>
                      </a:lnTo>
                      <a:lnTo>
                        <a:pt x="142" y="2"/>
                      </a:lnTo>
                      <a:lnTo>
                        <a:pt x="142" y="3"/>
                      </a:lnTo>
                      <a:lnTo>
                        <a:pt x="142" y="2"/>
                      </a:lnTo>
                      <a:lnTo>
                        <a:pt x="142" y="2"/>
                      </a:lnTo>
                      <a:lnTo>
                        <a:pt x="142" y="2"/>
                      </a:lnTo>
                      <a:lnTo>
                        <a:pt x="142" y="2"/>
                      </a:lnTo>
                      <a:lnTo>
                        <a:pt x="143" y="0"/>
                      </a:lnTo>
                      <a:lnTo>
                        <a:pt x="144" y="0"/>
                      </a:lnTo>
                      <a:lnTo>
                        <a:pt x="147" y="3"/>
                      </a:lnTo>
                      <a:lnTo>
                        <a:pt x="150" y="3"/>
                      </a:lnTo>
                      <a:lnTo>
                        <a:pt x="150" y="5"/>
                      </a:lnTo>
                      <a:lnTo>
                        <a:pt x="151" y="7"/>
                      </a:lnTo>
                      <a:lnTo>
                        <a:pt x="151" y="10"/>
                      </a:lnTo>
                      <a:lnTo>
                        <a:pt x="151" y="11"/>
                      </a:lnTo>
                      <a:lnTo>
                        <a:pt x="149" y="12"/>
                      </a:lnTo>
                      <a:lnTo>
                        <a:pt x="145" y="12"/>
                      </a:lnTo>
                      <a:lnTo>
                        <a:pt x="143" y="13"/>
                      </a:lnTo>
                      <a:lnTo>
                        <a:pt x="140" y="17"/>
                      </a:lnTo>
                      <a:lnTo>
                        <a:pt x="130" y="27"/>
                      </a:lnTo>
                      <a:lnTo>
                        <a:pt x="124" y="31"/>
                      </a:lnTo>
                      <a:lnTo>
                        <a:pt x="117" y="42"/>
                      </a:lnTo>
                      <a:lnTo>
                        <a:pt x="116" y="51"/>
                      </a:lnTo>
                      <a:lnTo>
                        <a:pt x="108" y="67"/>
                      </a:lnTo>
                      <a:lnTo>
                        <a:pt x="115" y="65"/>
                      </a:lnTo>
                      <a:lnTo>
                        <a:pt x="115" y="69"/>
                      </a:lnTo>
                      <a:lnTo>
                        <a:pt x="118" y="69"/>
                      </a:lnTo>
                      <a:lnTo>
                        <a:pt x="118" y="70"/>
                      </a:lnTo>
                      <a:lnTo>
                        <a:pt x="124" y="85"/>
                      </a:lnTo>
                      <a:lnTo>
                        <a:pt x="124" y="87"/>
                      </a:lnTo>
                      <a:lnTo>
                        <a:pt x="124" y="91"/>
                      </a:lnTo>
                      <a:lnTo>
                        <a:pt x="123" y="94"/>
                      </a:lnTo>
                      <a:lnTo>
                        <a:pt x="124" y="105"/>
                      </a:lnTo>
                      <a:lnTo>
                        <a:pt x="129" y="109"/>
                      </a:lnTo>
                      <a:lnTo>
                        <a:pt x="134" y="113"/>
                      </a:lnTo>
                      <a:lnTo>
                        <a:pt x="137" y="112"/>
                      </a:lnTo>
                      <a:lnTo>
                        <a:pt x="138" y="112"/>
                      </a:lnTo>
                      <a:lnTo>
                        <a:pt x="140" y="112"/>
                      </a:lnTo>
                      <a:lnTo>
                        <a:pt x="145" y="113"/>
                      </a:lnTo>
                      <a:lnTo>
                        <a:pt x="148" y="113"/>
                      </a:lnTo>
                      <a:lnTo>
                        <a:pt x="151" y="111"/>
                      </a:lnTo>
                      <a:lnTo>
                        <a:pt x="157" y="111"/>
                      </a:lnTo>
                      <a:lnTo>
                        <a:pt x="160" y="112"/>
                      </a:lnTo>
                      <a:lnTo>
                        <a:pt x="165" y="113"/>
                      </a:lnTo>
                      <a:lnTo>
                        <a:pt x="178" y="130"/>
                      </a:lnTo>
                      <a:lnTo>
                        <a:pt x="181" y="131"/>
                      </a:lnTo>
                      <a:lnTo>
                        <a:pt x="191" y="131"/>
                      </a:lnTo>
                      <a:lnTo>
                        <a:pt x="202" y="130"/>
                      </a:lnTo>
                      <a:lnTo>
                        <a:pt x="205" y="127"/>
                      </a:lnTo>
                      <a:lnTo>
                        <a:pt x="212" y="130"/>
                      </a:lnTo>
                      <a:lnTo>
                        <a:pt x="212" y="133"/>
                      </a:lnTo>
                      <a:lnTo>
                        <a:pt x="209" y="140"/>
                      </a:lnTo>
                      <a:lnTo>
                        <a:pt x="205" y="146"/>
                      </a:lnTo>
                      <a:lnTo>
                        <a:pt x="205" y="150"/>
                      </a:lnTo>
                      <a:lnTo>
                        <a:pt x="205" y="153"/>
                      </a:lnTo>
                      <a:lnTo>
                        <a:pt x="204" y="159"/>
                      </a:lnTo>
                      <a:lnTo>
                        <a:pt x="204" y="165"/>
                      </a:lnTo>
                      <a:lnTo>
                        <a:pt x="204" y="166"/>
                      </a:lnTo>
                      <a:lnTo>
                        <a:pt x="204" y="170"/>
                      </a:lnTo>
                      <a:lnTo>
                        <a:pt x="207" y="176"/>
                      </a:lnTo>
                      <a:lnTo>
                        <a:pt x="209" y="180"/>
                      </a:lnTo>
                      <a:lnTo>
                        <a:pt x="211" y="181"/>
                      </a:lnTo>
                      <a:lnTo>
                        <a:pt x="214" y="185"/>
                      </a:lnTo>
                      <a:lnTo>
                        <a:pt x="212" y="190"/>
                      </a:lnTo>
                      <a:lnTo>
                        <a:pt x="203" y="199"/>
                      </a:lnTo>
                      <a:lnTo>
                        <a:pt x="208" y="199"/>
                      </a:lnTo>
                      <a:lnTo>
                        <a:pt x="210" y="201"/>
                      </a:lnTo>
                      <a:lnTo>
                        <a:pt x="215" y="210"/>
                      </a:lnTo>
                      <a:lnTo>
                        <a:pt x="216" y="213"/>
                      </a:lnTo>
                      <a:lnTo>
                        <a:pt x="216" y="216"/>
                      </a:lnTo>
                      <a:lnTo>
                        <a:pt x="218" y="224"/>
                      </a:lnTo>
                      <a:lnTo>
                        <a:pt x="221" y="230"/>
                      </a:lnTo>
                      <a:lnTo>
                        <a:pt x="217" y="233"/>
                      </a:lnTo>
                      <a:lnTo>
                        <a:pt x="212" y="213"/>
                      </a:lnTo>
                      <a:lnTo>
                        <a:pt x="209" y="213"/>
                      </a:lnTo>
                      <a:lnTo>
                        <a:pt x="204" y="219"/>
                      </a:lnTo>
                      <a:lnTo>
                        <a:pt x="201" y="220"/>
                      </a:lnTo>
                      <a:lnTo>
                        <a:pt x="197" y="217"/>
                      </a:lnTo>
                      <a:lnTo>
                        <a:pt x="195" y="219"/>
                      </a:lnTo>
                      <a:lnTo>
                        <a:pt x="196" y="220"/>
                      </a:lnTo>
                      <a:lnTo>
                        <a:pt x="175" y="220"/>
                      </a:lnTo>
                      <a:lnTo>
                        <a:pt x="169" y="220"/>
                      </a:lnTo>
                      <a:lnTo>
                        <a:pt x="167" y="221"/>
                      </a:lnTo>
                      <a:lnTo>
                        <a:pt x="168" y="234"/>
                      </a:lnTo>
                      <a:lnTo>
                        <a:pt x="174" y="234"/>
                      </a:lnTo>
                      <a:lnTo>
                        <a:pt x="176" y="234"/>
                      </a:lnTo>
                      <a:lnTo>
                        <a:pt x="178" y="238"/>
                      </a:lnTo>
                      <a:lnTo>
                        <a:pt x="180" y="239"/>
                      </a:lnTo>
                      <a:lnTo>
                        <a:pt x="178" y="241"/>
                      </a:lnTo>
                      <a:lnTo>
                        <a:pt x="177" y="244"/>
                      </a:lnTo>
                      <a:lnTo>
                        <a:pt x="176" y="244"/>
                      </a:lnTo>
                      <a:lnTo>
                        <a:pt x="171" y="243"/>
                      </a:lnTo>
                      <a:lnTo>
                        <a:pt x="170" y="243"/>
                      </a:lnTo>
                      <a:lnTo>
                        <a:pt x="165" y="244"/>
                      </a:lnTo>
                      <a:lnTo>
                        <a:pt x="164" y="244"/>
                      </a:lnTo>
                      <a:lnTo>
                        <a:pt x="163" y="245"/>
                      </a:lnTo>
                      <a:lnTo>
                        <a:pt x="165" y="263"/>
                      </a:lnTo>
                      <a:lnTo>
                        <a:pt x="168" y="266"/>
                      </a:lnTo>
                      <a:lnTo>
                        <a:pt x="171" y="269"/>
                      </a:lnTo>
                      <a:lnTo>
                        <a:pt x="171" y="272"/>
                      </a:lnTo>
                      <a:lnTo>
                        <a:pt x="172" y="276"/>
                      </a:lnTo>
                      <a:lnTo>
                        <a:pt x="175" y="280"/>
                      </a:lnTo>
                      <a:lnTo>
                        <a:pt x="174" y="287"/>
                      </a:lnTo>
                      <a:lnTo>
                        <a:pt x="174" y="289"/>
                      </a:lnTo>
                      <a:lnTo>
                        <a:pt x="167" y="343"/>
                      </a:lnTo>
                      <a:lnTo>
                        <a:pt x="163" y="340"/>
                      </a:lnTo>
                      <a:lnTo>
                        <a:pt x="162" y="338"/>
                      </a:lnTo>
                      <a:lnTo>
                        <a:pt x="161" y="337"/>
                      </a:lnTo>
                      <a:lnTo>
                        <a:pt x="158" y="334"/>
                      </a:lnTo>
                      <a:lnTo>
                        <a:pt x="158" y="334"/>
                      </a:lnTo>
                      <a:lnTo>
                        <a:pt x="156" y="337"/>
                      </a:lnTo>
                      <a:lnTo>
                        <a:pt x="154" y="336"/>
                      </a:lnTo>
                      <a:lnTo>
                        <a:pt x="154" y="336"/>
                      </a:lnTo>
                      <a:lnTo>
                        <a:pt x="152" y="334"/>
                      </a:lnTo>
                      <a:lnTo>
                        <a:pt x="151" y="334"/>
                      </a:lnTo>
                      <a:lnTo>
                        <a:pt x="151" y="334"/>
                      </a:lnTo>
                      <a:lnTo>
                        <a:pt x="163" y="312"/>
                      </a:lnTo>
                      <a:lnTo>
                        <a:pt x="163" y="312"/>
                      </a:lnTo>
                      <a:lnTo>
                        <a:pt x="162" y="311"/>
                      </a:lnTo>
                      <a:lnTo>
                        <a:pt x="162" y="311"/>
                      </a:lnTo>
                      <a:lnTo>
                        <a:pt x="162" y="311"/>
                      </a:lnTo>
                      <a:lnTo>
                        <a:pt x="162" y="312"/>
                      </a:lnTo>
                      <a:lnTo>
                        <a:pt x="161" y="311"/>
                      </a:lnTo>
                      <a:lnTo>
                        <a:pt x="160" y="311"/>
                      </a:lnTo>
                      <a:lnTo>
                        <a:pt x="160" y="310"/>
                      </a:lnTo>
                      <a:lnTo>
                        <a:pt x="158" y="309"/>
                      </a:lnTo>
                      <a:lnTo>
                        <a:pt x="157" y="310"/>
                      </a:lnTo>
                      <a:lnTo>
                        <a:pt x="157" y="309"/>
                      </a:lnTo>
                      <a:lnTo>
                        <a:pt x="158" y="307"/>
                      </a:lnTo>
                      <a:lnTo>
                        <a:pt x="158" y="307"/>
                      </a:lnTo>
                      <a:lnTo>
                        <a:pt x="157" y="307"/>
                      </a:lnTo>
                      <a:lnTo>
                        <a:pt x="156" y="307"/>
                      </a:lnTo>
                      <a:lnTo>
                        <a:pt x="156" y="307"/>
                      </a:lnTo>
                      <a:lnTo>
                        <a:pt x="155" y="307"/>
                      </a:lnTo>
                      <a:lnTo>
                        <a:pt x="154" y="306"/>
                      </a:lnTo>
                      <a:lnTo>
                        <a:pt x="154" y="307"/>
                      </a:lnTo>
                      <a:lnTo>
                        <a:pt x="152" y="307"/>
                      </a:lnTo>
                      <a:lnTo>
                        <a:pt x="152" y="306"/>
                      </a:lnTo>
                      <a:lnTo>
                        <a:pt x="151" y="305"/>
                      </a:lnTo>
                      <a:lnTo>
                        <a:pt x="151" y="305"/>
                      </a:lnTo>
                      <a:lnTo>
                        <a:pt x="149" y="304"/>
                      </a:lnTo>
                      <a:lnTo>
                        <a:pt x="148" y="303"/>
                      </a:lnTo>
                      <a:lnTo>
                        <a:pt x="147" y="303"/>
                      </a:lnTo>
                      <a:lnTo>
                        <a:pt x="145" y="301"/>
                      </a:lnTo>
                      <a:lnTo>
                        <a:pt x="145" y="303"/>
                      </a:lnTo>
                      <a:lnTo>
                        <a:pt x="145" y="303"/>
                      </a:lnTo>
                      <a:lnTo>
                        <a:pt x="145" y="303"/>
                      </a:lnTo>
                      <a:lnTo>
                        <a:pt x="144" y="303"/>
                      </a:lnTo>
                      <a:lnTo>
                        <a:pt x="143" y="303"/>
                      </a:lnTo>
                      <a:lnTo>
                        <a:pt x="143" y="303"/>
                      </a:lnTo>
                      <a:lnTo>
                        <a:pt x="143" y="304"/>
                      </a:lnTo>
                      <a:lnTo>
                        <a:pt x="142" y="305"/>
                      </a:lnTo>
                      <a:lnTo>
                        <a:pt x="142" y="305"/>
                      </a:lnTo>
                      <a:lnTo>
                        <a:pt x="141" y="305"/>
                      </a:lnTo>
                      <a:lnTo>
                        <a:pt x="140" y="305"/>
                      </a:lnTo>
                      <a:lnTo>
                        <a:pt x="138" y="305"/>
                      </a:lnTo>
                      <a:lnTo>
                        <a:pt x="138" y="305"/>
                      </a:lnTo>
                      <a:lnTo>
                        <a:pt x="138" y="305"/>
                      </a:lnTo>
                      <a:lnTo>
                        <a:pt x="137" y="303"/>
                      </a:lnTo>
                      <a:lnTo>
                        <a:pt x="137" y="303"/>
                      </a:lnTo>
                      <a:lnTo>
                        <a:pt x="137" y="304"/>
                      </a:lnTo>
                      <a:lnTo>
                        <a:pt x="137" y="304"/>
                      </a:lnTo>
                      <a:lnTo>
                        <a:pt x="137" y="304"/>
                      </a:lnTo>
                      <a:lnTo>
                        <a:pt x="136" y="303"/>
                      </a:lnTo>
                      <a:lnTo>
                        <a:pt x="135" y="303"/>
                      </a:lnTo>
                      <a:lnTo>
                        <a:pt x="135" y="301"/>
                      </a:lnTo>
                      <a:lnTo>
                        <a:pt x="134" y="301"/>
                      </a:lnTo>
                      <a:lnTo>
                        <a:pt x="132" y="301"/>
                      </a:lnTo>
                      <a:lnTo>
                        <a:pt x="132" y="300"/>
                      </a:lnTo>
                      <a:lnTo>
                        <a:pt x="130" y="301"/>
                      </a:lnTo>
                      <a:lnTo>
                        <a:pt x="130" y="303"/>
                      </a:lnTo>
                      <a:lnTo>
                        <a:pt x="129" y="304"/>
                      </a:lnTo>
                      <a:lnTo>
                        <a:pt x="129" y="305"/>
                      </a:lnTo>
                      <a:lnTo>
                        <a:pt x="127" y="304"/>
                      </a:lnTo>
                      <a:lnTo>
                        <a:pt x="127" y="305"/>
                      </a:lnTo>
                      <a:lnTo>
                        <a:pt x="125" y="306"/>
                      </a:lnTo>
                      <a:lnTo>
                        <a:pt x="123" y="306"/>
                      </a:lnTo>
                      <a:lnTo>
                        <a:pt x="123" y="306"/>
                      </a:lnTo>
                      <a:lnTo>
                        <a:pt x="123" y="306"/>
                      </a:lnTo>
                      <a:lnTo>
                        <a:pt x="121" y="307"/>
                      </a:lnTo>
                      <a:lnTo>
                        <a:pt x="121" y="307"/>
                      </a:lnTo>
                      <a:lnTo>
                        <a:pt x="121" y="306"/>
                      </a:lnTo>
                      <a:lnTo>
                        <a:pt x="118" y="305"/>
                      </a:lnTo>
                      <a:lnTo>
                        <a:pt x="116" y="305"/>
                      </a:lnTo>
                      <a:lnTo>
                        <a:pt x="115" y="306"/>
                      </a:lnTo>
                      <a:lnTo>
                        <a:pt x="115" y="305"/>
                      </a:lnTo>
                      <a:lnTo>
                        <a:pt x="114" y="306"/>
                      </a:lnTo>
                      <a:lnTo>
                        <a:pt x="114" y="305"/>
                      </a:lnTo>
                      <a:lnTo>
                        <a:pt x="111" y="306"/>
                      </a:lnTo>
                      <a:lnTo>
                        <a:pt x="111" y="306"/>
                      </a:lnTo>
                      <a:lnTo>
                        <a:pt x="110" y="305"/>
                      </a:lnTo>
                      <a:lnTo>
                        <a:pt x="109" y="305"/>
                      </a:lnTo>
                      <a:lnTo>
                        <a:pt x="109" y="304"/>
                      </a:lnTo>
                      <a:lnTo>
                        <a:pt x="109" y="305"/>
                      </a:lnTo>
                      <a:lnTo>
                        <a:pt x="108" y="305"/>
                      </a:lnTo>
                      <a:lnTo>
                        <a:pt x="108" y="304"/>
                      </a:lnTo>
                      <a:lnTo>
                        <a:pt x="107" y="304"/>
                      </a:lnTo>
                      <a:lnTo>
                        <a:pt x="107" y="303"/>
                      </a:lnTo>
                      <a:lnTo>
                        <a:pt x="105" y="303"/>
                      </a:lnTo>
                      <a:lnTo>
                        <a:pt x="105" y="301"/>
                      </a:lnTo>
                      <a:lnTo>
                        <a:pt x="107" y="300"/>
                      </a:lnTo>
                      <a:lnTo>
                        <a:pt x="108" y="299"/>
                      </a:lnTo>
                      <a:lnTo>
                        <a:pt x="107" y="297"/>
                      </a:lnTo>
                      <a:lnTo>
                        <a:pt x="107" y="296"/>
                      </a:lnTo>
                      <a:lnTo>
                        <a:pt x="107" y="294"/>
                      </a:lnTo>
                      <a:lnTo>
                        <a:pt x="105" y="293"/>
                      </a:lnTo>
                      <a:lnTo>
                        <a:pt x="105" y="293"/>
                      </a:lnTo>
                      <a:lnTo>
                        <a:pt x="104" y="293"/>
                      </a:lnTo>
                      <a:lnTo>
                        <a:pt x="104" y="293"/>
                      </a:lnTo>
                      <a:lnTo>
                        <a:pt x="103" y="293"/>
                      </a:lnTo>
                      <a:lnTo>
                        <a:pt x="102" y="293"/>
                      </a:lnTo>
                      <a:lnTo>
                        <a:pt x="102" y="293"/>
                      </a:lnTo>
                      <a:lnTo>
                        <a:pt x="101" y="292"/>
                      </a:lnTo>
                      <a:lnTo>
                        <a:pt x="100" y="291"/>
                      </a:lnTo>
                      <a:lnTo>
                        <a:pt x="100" y="290"/>
                      </a:lnTo>
                      <a:lnTo>
                        <a:pt x="101" y="289"/>
                      </a:lnTo>
                      <a:lnTo>
                        <a:pt x="101" y="287"/>
                      </a:lnTo>
                      <a:lnTo>
                        <a:pt x="98" y="286"/>
                      </a:lnTo>
                      <a:lnTo>
                        <a:pt x="100" y="285"/>
                      </a:lnTo>
                      <a:lnTo>
                        <a:pt x="98" y="284"/>
                      </a:lnTo>
                      <a:lnTo>
                        <a:pt x="98" y="284"/>
                      </a:lnTo>
                      <a:lnTo>
                        <a:pt x="98" y="284"/>
                      </a:lnTo>
                      <a:lnTo>
                        <a:pt x="97" y="283"/>
                      </a:lnTo>
                      <a:lnTo>
                        <a:pt x="96" y="281"/>
                      </a:lnTo>
                      <a:lnTo>
                        <a:pt x="96" y="280"/>
                      </a:lnTo>
                      <a:lnTo>
                        <a:pt x="95" y="281"/>
                      </a:lnTo>
                      <a:lnTo>
                        <a:pt x="95" y="281"/>
                      </a:lnTo>
                      <a:lnTo>
                        <a:pt x="94" y="281"/>
                      </a:lnTo>
                      <a:lnTo>
                        <a:pt x="94" y="280"/>
                      </a:lnTo>
                      <a:lnTo>
                        <a:pt x="92" y="279"/>
                      </a:lnTo>
                      <a:lnTo>
                        <a:pt x="91" y="279"/>
                      </a:lnTo>
                      <a:lnTo>
                        <a:pt x="91" y="279"/>
                      </a:lnTo>
                      <a:lnTo>
                        <a:pt x="91" y="279"/>
                      </a:lnTo>
                      <a:lnTo>
                        <a:pt x="91" y="278"/>
                      </a:lnTo>
                      <a:lnTo>
                        <a:pt x="91" y="279"/>
                      </a:lnTo>
                      <a:lnTo>
                        <a:pt x="91" y="279"/>
                      </a:lnTo>
                      <a:lnTo>
                        <a:pt x="90" y="278"/>
                      </a:lnTo>
                      <a:lnTo>
                        <a:pt x="90" y="278"/>
                      </a:lnTo>
                      <a:lnTo>
                        <a:pt x="90" y="278"/>
                      </a:lnTo>
                      <a:lnTo>
                        <a:pt x="88" y="278"/>
                      </a:lnTo>
                      <a:lnTo>
                        <a:pt x="87" y="278"/>
                      </a:lnTo>
                      <a:lnTo>
                        <a:pt x="87" y="277"/>
                      </a:lnTo>
                      <a:lnTo>
                        <a:pt x="85" y="274"/>
                      </a:lnTo>
                      <a:lnTo>
                        <a:pt x="84" y="274"/>
                      </a:lnTo>
                      <a:lnTo>
                        <a:pt x="84" y="274"/>
                      </a:lnTo>
                      <a:lnTo>
                        <a:pt x="85" y="274"/>
                      </a:lnTo>
                      <a:lnTo>
                        <a:pt x="85" y="273"/>
                      </a:lnTo>
                      <a:lnTo>
                        <a:pt x="85" y="273"/>
                      </a:lnTo>
                      <a:lnTo>
                        <a:pt x="85" y="273"/>
                      </a:lnTo>
                      <a:lnTo>
                        <a:pt x="84" y="272"/>
                      </a:lnTo>
                      <a:lnTo>
                        <a:pt x="84" y="272"/>
                      </a:lnTo>
                      <a:lnTo>
                        <a:pt x="84" y="271"/>
                      </a:lnTo>
                      <a:lnTo>
                        <a:pt x="84" y="271"/>
                      </a:lnTo>
                      <a:lnTo>
                        <a:pt x="84" y="270"/>
                      </a:lnTo>
                      <a:lnTo>
                        <a:pt x="84" y="270"/>
                      </a:lnTo>
                      <a:lnTo>
                        <a:pt x="83" y="269"/>
                      </a:lnTo>
                      <a:lnTo>
                        <a:pt x="83" y="267"/>
                      </a:lnTo>
                      <a:lnTo>
                        <a:pt x="83" y="267"/>
                      </a:lnTo>
                      <a:lnTo>
                        <a:pt x="82" y="266"/>
                      </a:lnTo>
                      <a:lnTo>
                        <a:pt x="80" y="264"/>
                      </a:lnTo>
                      <a:lnTo>
                        <a:pt x="78" y="264"/>
                      </a:lnTo>
                      <a:lnTo>
                        <a:pt x="78" y="264"/>
                      </a:lnTo>
                      <a:lnTo>
                        <a:pt x="77" y="263"/>
                      </a:lnTo>
                      <a:lnTo>
                        <a:pt x="77" y="261"/>
                      </a:lnTo>
                      <a:lnTo>
                        <a:pt x="76" y="260"/>
                      </a:lnTo>
                      <a:lnTo>
                        <a:pt x="76" y="260"/>
                      </a:lnTo>
                      <a:lnTo>
                        <a:pt x="76" y="261"/>
                      </a:lnTo>
                      <a:lnTo>
                        <a:pt x="75" y="261"/>
                      </a:lnTo>
                      <a:lnTo>
                        <a:pt x="74" y="261"/>
                      </a:lnTo>
                      <a:lnTo>
                        <a:pt x="72" y="260"/>
                      </a:lnTo>
                      <a:lnTo>
                        <a:pt x="72" y="259"/>
                      </a:lnTo>
                      <a:lnTo>
                        <a:pt x="71" y="258"/>
                      </a:lnTo>
                      <a:lnTo>
                        <a:pt x="69" y="257"/>
                      </a:lnTo>
                      <a:lnTo>
                        <a:pt x="68" y="259"/>
                      </a:lnTo>
                      <a:lnTo>
                        <a:pt x="68" y="259"/>
                      </a:lnTo>
                      <a:lnTo>
                        <a:pt x="65" y="258"/>
                      </a:lnTo>
                      <a:lnTo>
                        <a:pt x="60" y="256"/>
                      </a:lnTo>
                      <a:lnTo>
                        <a:pt x="57" y="254"/>
                      </a:lnTo>
                      <a:lnTo>
                        <a:pt x="54" y="250"/>
                      </a:lnTo>
                      <a:lnTo>
                        <a:pt x="53" y="250"/>
                      </a:lnTo>
                      <a:lnTo>
                        <a:pt x="53" y="249"/>
                      </a:lnTo>
                      <a:lnTo>
                        <a:pt x="49" y="247"/>
                      </a:lnTo>
                      <a:lnTo>
                        <a:pt x="49" y="249"/>
                      </a:lnTo>
                      <a:lnTo>
                        <a:pt x="48" y="252"/>
                      </a:lnTo>
                      <a:lnTo>
                        <a:pt x="44" y="252"/>
                      </a:lnTo>
                      <a:lnTo>
                        <a:pt x="42" y="251"/>
                      </a:lnTo>
                      <a:lnTo>
                        <a:pt x="41" y="252"/>
                      </a:lnTo>
                      <a:lnTo>
                        <a:pt x="38" y="252"/>
                      </a:lnTo>
                      <a:lnTo>
                        <a:pt x="36" y="251"/>
                      </a:lnTo>
                      <a:lnTo>
                        <a:pt x="35" y="250"/>
                      </a:lnTo>
                      <a:lnTo>
                        <a:pt x="31" y="250"/>
                      </a:lnTo>
                      <a:lnTo>
                        <a:pt x="29" y="249"/>
                      </a:lnTo>
                      <a:lnTo>
                        <a:pt x="29" y="245"/>
                      </a:lnTo>
                      <a:lnTo>
                        <a:pt x="29" y="244"/>
                      </a:lnTo>
                      <a:lnTo>
                        <a:pt x="28" y="243"/>
                      </a:lnTo>
                      <a:lnTo>
                        <a:pt x="25" y="241"/>
                      </a:lnTo>
                      <a:lnTo>
                        <a:pt x="25" y="239"/>
                      </a:lnTo>
                      <a:lnTo>
                        <a:pt x="24" y="239"/>
                      </a:lnTo>
                      <a:lnTo>
                        <a:pt x="21" y="239"/>
                      </a:lnTo>
                      <a:lnTo>
                        <a:pt x="20" y="238"/>
                      </a:lnTo>
                      <a:lnTo>
                        <a:pt x="18" y="238"/>
                      </a:lnTo>
                      <a:lnTo>
                        <a:pt x="15" y="237"/>
                      </a:lnTo>
                      <a:lnTo>
                        <a:pt x="13" y="234"/>
                      </a:lnTo>
                      <a:lnTo>
                        <a:pt x="9" y="231"/>
                      </a:lnTo>
                      <a:lnTo>
                        <a:pt x="8" y="231"/>
                      </a:lnTo>
                      <a:lnTo>
                        <a:pt x="8" y="231"/>
                      </a:lnTo>
                      <a:lnTo>
                        <a:pt x="7" y="230"/>
                      </a:lnTo>
                      <a:lnTo>
                        <a:pt x="4" y="227"/>
                      </a:lnTo>
                      <a:lnTo>
                        <a:pt x="3" y="225"/>
                      </a:lnTo>
                      <a:lnTo>
                        <a:pt x="2" y="224"/>
                      </a:lnTo>
                      <a:lnTo>
                        <a:pt x="0" y="224"/>
                      </a:lnTo>
                      <a:lnTo>
                        <a:pt x="2" y="220"/>
                      </a:lnTo>
                      <a:lnTo>
                        <a:pt x="3" y="219"/>
                      </a:lnTo>
                      <a:lnTo>
                        <a:pt x="7" y="219"/>
                      </a:lnTo>
                      <a:lnTo>
                        <a:pt x="8" y="220"/>
                      </a:lnTo>
                      <a:lnTo>
                        <a:pt x="9" y="217"/>
                      </a:lnTo>
                      <a:lnTo>
                        <a:pt x="8" y="216"/>
                      </a:lnTo>
                      <a:lnTo>
                        <a:pt x="8" y="216"/>
                      </a:lnTo>
                      <a:lnTo>
                        <a:pt x="8" y="216"/>
                      </a:lnTo>
                      <a:lnTo>
                        <a:pt x="7" y="214"/>
                      </a:lnTo>
                      <a:lnTo>
                        <a:pt x="7" y="213"/>
                      </a:lnTo>
                      <a:lnTo>
                        <a:pt x="7" y="213"/>
                      </a:lnTo>
                      <a:lnTo>
                        <a:pt x="7" y="212"/>
                      </a:lnTo>
                      <a:lnTo>
                        <a:pt x="8" y="211"/>
                      </a:lnTo>
                      <a:lnTo>
                        <a:pt x="7" y="210"/>
                      </a:lnTo>
                      <a:lnTo>
                        <a:pt x="8" y="209"/>
                      </a:lnTo>
                      <a:lnTo>
                        <a:pt x="9" y="207"/>
                      </a:lnTo>
                      <a:lnTo>
                        <a:pt x="10" y="206"/>
                      </a:lnTo>
                      <a:lnTo>
                        <a:pt x="11" y="205"/>
                      </a:lnTo>
                      <a:lnTo>
                        <a:pt x="15" y="204"/>
                      </a:lnTo>
                      <a:lnTo>
                        <a:pt x="15" y="205"/>
                      </a:lnTo>
                      <a:lnTo>
                        <a:pt x="15" y="205"/>
                      </a:lnTo>
                      <a:lnTo>
                        <a:pt x="17" y="205"/>
                      </a:lnTo>
                      <a:lnTo>
                        <a:pt x="17" y="204"/>
                      </a:lnTo>
                      <a:lnTo>
                        <a:pt x="18" y="205"/>
                      </a:lnTo>
                      <a:lnTo>
                        <a:pt x="20" y="204"/>
                      </a:lnTo>
                      <a:lnTo>
                        <a:pt x="20" y="203"/>
                      </a:lnTo>
                      <a:lnTo>
                        <a:pt x="20" y="203"/>
                      </a:lnTo>
                      <a:lnTo>
                        <a:pt x="21" y="203"/>
                      </a:lnTo>
                      <a:lnTo>
                        <a:pt x="21" y="203"/>
                      </a:lnTo>
                      <a:lnTo>
                        <a:pt x="22" y="204"/>
                      </a:lnTo>
                      <a:lnTo>
                        <a:pt x="24" y="203"/>
                      </a:lnTo>
                      <a:lnTo>
                        <a:pt x="23" y="201"/>
                      </a:lnTo>
                      <a:lnTo>
                        <a:pt x="23" y="201"/>
                      </a:lnTo>
                      <a:lnTo>
                        <a:pt x="22" y="200"/>
                      </a:lnTo>
                      <a:lnTo>
                        <a:pt x="23" y="200"/>
                      </a:lnTo>
                      <a:lnTo>
                        <a:pt x="23" y="199"/>
                      </a:lnTo>
                      <a:lnTo>
                        <a:pt x="24" y="199"/>
                      </a:lnTo>
                      <a:lnTo>
                        <a:pt x="25" y="199"/>
                      </a:lnTo>
                      <a:lnTo>
                        <a:pt x="24" y="199"/>
                      </a:lnTo>
                      <a:lnTo>
                        <a:pt x="25" y="198"/>
                      </a:lnTo>
                      <a:lnTo>
                        <a:pt x="27" y="198"/>
                      </a:lnTo>
                      <a:lnTo>
                        <a:pt x="25" y="198"/>
                      </a:lnTo>
                      <a:lnTo>
                        <a:pt x="24" y="198"/>
                      </a:lnTo>
                      <a:lnTo>
                        <a:pt x="24" y="197"/>
                      </a:lnTo>
                      <a:lnTo>
                        <a:pt x="25" y="198"/>
                      </a:lnTo>
                      <a:lnTo>
                        <a:pt x="27" y="196"/>
                      </a:lnTo>
                      <a:lnTo>
                        <a:pt x="27" y="196"/>
                      </a:lnTo>
                      <a:lnTo>
                        <a:pt x="25" y="196"/>
                      </a:lnTo>
                      <a:lnTo>
                        <a:pt x="25" y="194"/>
                      </a:lnTo>
                      <a:lnTo>
                        <a:pt x="24" y="193"/>
                      </a:lnTo>
                      <a:lnTo>
                        <a:pt x="28" y="193"/>
                      </a:lnTo>
                      <a:lnTo>
                        <a:pt x="28" y="192"/>
                      </a:lnTo>
                      <a:lnTo>
                        <a:pt x="29" y="191"/>
                      </a:lnTo>
                      <a:lnTo>
                        <a:pt x="29" y="190"/>
                      </a:lnTo>
                      <a:lnTo>
                        <a:pt x="30" y="189"/>
                      </a:lnTo>
                      <a:lnTo>
                        <a:pt x="29" y="189"/>
                      </a:lnTo>
                      <a:lnTo>
                        <a:pt x="30" y="187"/>
                      </a:lnTo>
                      <a:lnTo>
                        <a:pt x="31" y="189"/>
                      </a:lnTo>
                      <a:lnTo>
                        <a:pt x="31" y="189"/>
                      </a:lnTo>
                      <a:lnTo>
                        <a:pt x="31" y="186"/>
                      </a:lnTo>
                      <a:lnTo>
                        <a:pt x="31" y="186"/>
                      </a:lnTo>
                      <a:lnTo>
                        <a:pt x="31" y="185"/>
                      </a:lnTo>
                      <a:lnTo>
                        <a:pt x="31" y="185"/>
                      </a:lnTo>
                      <a:lnTo>
                        <a:pt x="33" y="185"/>
                      </a:lnTo>
                      <a:lnTo>
                        <a:pt x="33" y="185"/>
                      </a:lnTo>
                      <a:lnTo>
                        <a:pt x="33" y="184"/>
                      </a:lnTo>
                      <a:lnTo>
                        <a:pt x="31" y="184"/>
                      </a:lnTo>
                      <a:lnTo>
                        <a:pt x="33" y="184"/>
                      </a:lnTo>
                      <a:lnTo>
                        <a:pt x="34" y="184"/>
                      </a:lnTo>
                      <a:lnTo>
                        <a:pt x="34" y="183"/>
                      </a:lnTo>
                      <a:lnTo>
                        <a:pt x="35" y="181"/>
                      </a:lnTo>
                      <a:lnTo>
                        <a:pt x="36" y="181"/>
                      </a:lnTo>
                      <a:lnTo>
                        <a:pt x="35" y="180"/>
                      </a:lnTo>
                      <a:lnTo>
                        <a:pt x="36" y="180"/>
                      </a:lnTo>
                      <a:lnTo>
                        <a:pt x="35" y="180"/>
                      </a:lnTo>
                      <a:lnTo>
                        <a:pt x="35" y="180"/>
                      </a:lnTo>
                      <a:lnTo>
                        <a:pt x="36" y="180"/>
                      </a:lnTo>
                      <a:lnTo>
                        <a:pt x="36" y="179"/>
                      </a:lnTo>
                      <a:lnTo>
                        <a:pt x="36" y="178"/>
                      </a:lnTo>
                      <a:lnTo>
                        <a:pt x="36" y="178"/>
                      </a:lnTo>
                      <a:lnTo>
                        <a:pt x="37" y="177"/>
                      </a:lnTo>
                      <a:lnTo>
                        <a:pt x="36" y="177"/>
                      </a:lnTo>
                      <a:lnTo>
                        <a:pt x="36" y="176"/>
                      </a:lnTo>
                      <a:lnTo>
                        <a:pt x="36" y="177"/>
                      </a:lnTo>
                      <a:lnTo>
                        <a:pt x="34" y="178"/>
                      </a:lnTo>
                      <a:lnTo>
                        <a:pt x="33" y="177"/>
                      </a:lnTo>
                      <a:lnTo>
                        <a:pt x="33" y="176"/>
                      </a:lnTo>
                      <a:lnTo>
                        <a:pt x="33" y="174"/>
                      </a:lnTo>
                      <a:lnTo>
                        <a:pt x="34" y="176"/>
                      </a:lnTo>
                      <a:lnTo>
                        <a:pt x="35" y="174"/>
                      </a:lnTo>
                      <a:lnTo>
                        <a:pt x="34" y="173"/>
                      </a:lnTo>
                      <a:lnTo>
                        <a:pt x="34" y="173"/>
                      </a:lnTo>
                      <a:lnTo>
                        <a:pt x="33" y="174"/>
                      </a:lnTo>
                      <a:lnTo>
                        <a:pt x="31" y="176"/>
                      </a:lnTo>
                      <a:lnTo>
                        <a:pt x="31" y="176"/>
                      </a:lnTo>
                      <a:lnTo>
                        <a:pt x="30" y="174"/>
                      </a:lnTo>
                      <a:lnTo>
                        <a:pt x="30" y="173"/>
                      </a:lnTo>
                      <a:lnTo>
                        <a:pt x="30" y="172"/>
                      </a:lnTo>
                      <a:lnTo>
                        <a:pt x="31" y="171"/>
                      </a:lnTo>
                      <a:lnTo>
                        <a:pt x="33" y="170"/>
                      </a:lnTo>
                      <a:lnTo>
                        <a:pt x="34" y="170"/>
                      </a:lnTo>
                      <a:lnTo>
                        <a:pt x="33" y="169"/>
                      </a:lnTo>
                      <a:lnTo>
                        <a:pt x="31" y="166"/>
                      </a:lnTo>
                      <a:lnTo>
                        <a:pt x="33" y="165"/>
                      </a:lnTo>
                      <a:lnTo>
                        <a:pt x="33" y="163"/>
                      </a:lnTo>
                      <a:lnTo>
                        <a:pt x="33" y="160"/>
                      </a:lnTo>
                      <a:lnTo>
                        <a:pt x="33" y="159"/>
                      </a:lnTo>
                      <a:lnTo>
                        <a:pt x="34" y="159"/>
                      </a:lnTo>
                      <a:lnTo>
                        <a:pt x="33" y="158"/>
                      </a:lnTo>
                      <a:lnTo>
                        <a:pt x="33" y="157"/>
                      </a:lnTo>
                      <a:lnTo>
                        <a:pt x="33" y="151"/>
                      </a:lnTo>
                      <a:lnTo>
                        <a:pt x="33" y="149"/>
                      </a:lnTo>
                      <a:lnTo>
                        <a:pt x="31" y="146"/>
                      </a:lnTo>
                      <a:lnTo>
                        <a:pt x="31" y="146"/>
                      </a:lnTo>
                      <a:lnTo>
                        <a:pt x="31" y="145"/>
                      </a:lnTo>
                      <a:lnTo>
                        <a:pt x="31" y="144"/>
                      </a:lnTo>
                      <a:lnTo>
                        <a:pt x="30" y="144"/>
                      </a:lnTo>
                      <a:lnTo>
                        <a:pt x="30" y="144"/>
                      </a:lnTo>
                      <a:lnTo>
                        <a:pt x="29" y="144"/>
                      </a:lnTo>
                      <a:lnTo>
                        <a:pt x="30" y="142"/>
                      </a:lnTo>
                      <a:lnTo>
                        <a:pt x="31" y="142"/>
                      </a:lnTo>
                      <a:lnTo>
                        <a:pt x="33" y="142"/>
                      </a:lnTo>
                      <a:lnTo>
                        <a:pt x="34" y="140"/>
                      </a:lnTo>
                      <a:lnTo>
                        <a:pt x="35" y="140"/>
                      </a:lnTo>
                      <a:lnTo>
                        <a:pt x="35" y="138"/>
                      </a:lnTo>
                      <a:lnTo>
                        <a:pt x="33" y="133"/>
                      </a:lnTo>
                      <a:lnTo>
                        <a:pt x="33" y="132"/>
                      </a:lnTo>
                      <a:lnTo>
                        <a:pt x="31" y="129"/>
                      </a:lnTo>
                      <a:lnTo>
                        <a:pt x="31" y="129"/>
                      </a:lnTo>
                      <a:lnTo>
                        <a:pt x="31" y="129"/>
                      </a:lnTo>
                      <a:lnTo>
                        <a:pt x="33" y="125"/>
                      </a:lnTo>
                      <a:lnTo>
                        <a:pt x="34" y="125"/>
                      </a:lnTo>
                      <a:lnTo>
                        <a:pt x="34" y="124"/>
                      </a:lnTo>
                      <a:lnTo>
                        <a:pt x="33" y="120"/>
                      </a:lnTo>
                      <a:lnTo>
                        <a:pt x="31" y="118"/>
                      </a:lnTo>
                      <a:lnTo>
                        <a:pt x="30" y="119"/>
                      </a:lnTo>
                      <a:lnTo>
                        <a:pt x="30" y="118"/>
                      </a:lnTo>
                      <a:lnTo>
                        <a:pt x="28" y="116"/>
                      </a:lnTo>
                      <a:lnTo>
                        <a:pt x="28" y="116"/>
                      </a:lnTo>
                      <a:lnTo>
                        <a:pt x="28" y="113"/>
                      </a:lnTo>
                      <a:lnTo>
                        <a:pt x="28" y="111"/>
                      </a:lnTo>
                      <a:lnTo>
                        <a:pt x="27" y="110"/>
                      </a:lnTo>
                      <a:lnTo>
                        <a:pt x="24" y="109"/>
                      </a:lnTo>
                      <a:lnTo>
                        <a:pt x="24" y="109"/>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561" name="Chili">
                  <a:extLst>
                    <a:ext uri="{FF2B5EF4-FFF2-40B4-BE49-F238E27FC236}">
                      <a16:creationId xmlns:a16="http://schemas.microsoft.com/office/drawing/2014/main" id="{932C994C-2B08-1748-BA9C-DE52ED0D3C01}"/>
                    </a:ext>
                  </a:extLst>
                </p:cNvPr>
                <p:cNvSpPr>
                  <a:spLocks noEditPoints="1"/>
                </p:cNvSpPr>
                <p:nvPr/>
              </p:nvSpPr>
              <p:spPr bwMode="auto">
                <a:xfrm>
                  <a:off x="4529689" y="4512852"/>
                  <a:ext cx="342618" cy="1141574"/>
                </a:xfrm>
                <a:custGeom>
                  <a:avLst/>
                  <a:gdLst>
                    <a:gd name="T0" fmla="*/ 35 w 235"/>
                    <a:gd name="T1" fmla="*/ 55 h 783"/>
                    <a:gd name="T2" fmla="*/ 38 w 235"/>
                    <a:gd name="T3" fmla="*/ 235 h 783"/>
                    <a:gd name="T4" fmla="*/ 53 w 235"/>
                    <a:gd name="T5" fmla="*/ 407 h 783"/>
                    <a:gd name="T6" fmla="*/ 95 w 235"/>
                    <a:gd name="T7" fmla="*/ 568 h 783"/>
                    <a:gd name="T8" fmla="*/ 196 w 235"/>
                    <a:gd name="T9" fmla="*/ 711 h 783"/>
                    <a:gd name="T10" fmla="*/ 176 w 235"/>
                    <a:gd name="T11" fmla="*/ 717 h 783"/>
                    <a:gd name="T12" fmla="*/ 172 w 235"/>
                    <a:gd name="T13" fmla="*/ 729 h 783"/>
                    <a:gd name="T14" fmla="*/ 165 w 235"/>
                    <a:gd name="T15" fmla="*/ 733 h 783"/>
                    <a:gd name="T16" fmla="*/ 147 w 235"/>
                    <a:gd name="T17" fmla="*/ 723 h 783"/>
                    <a:gd name="T18" fmla="*/ 140 w 235"/>
                    <a:gd name="T19" fmla="*/ 718 h 783"/>
                    <a:gd name="T20" fmla="*/ 127 w 235"/>
                    <a:gd name="T21" fmla="*/ 719 h 783"/>
                    <a:gd name="T22" fmla="*/ 116 w 235"/>
                    <a:gd name="T23" fmla="*/ 705 h 783"/>
                    <a:gd name="T24" fmla="*/ 122 w 235"/>
                    <a:gd name="T25" fmla="*/ 695 h 783"/>
                    <a:gd name="T26" fmla="*/ 111 w 235"/>
                    <a:gd name="T27" fmla="*/ 696 h 783"/>
                    <a:gd name="T28" fmla="*/ 102 w 235"/>
                    <a:gd name="T29" fmla="*/ 675 h 783"/>
                    <a:gd name="T30" fmla="*/ 81 w 235"/>
                    <a:gd name="T31" fmla="*/ 665 h 783"/>
                    <a:gd name="T32" fmla="*/ 78 w 235"/>
                    <a:gd name="T33" fmla="*/ 659 h 783"/>
                    <a:gd name="T34" fmla="*/ 67 w 235"/>
                    <a:gd name="T35" fmla="*/ 638 h 783"/>
                    <a:gd name="T36" fmla="*/ 64 w 235"/>
                    <a:gd name="T37" fmla="*/ 621 h 783"/>
                    <a:gd name="T38" fmla="*/ 74 w 235"/>
                    <a:gd name="T39" fmla="*/ 610 h 783"/>
                    <a:gd name="T40" fmla="*/ 52 w 235"/>
                    <a:gd name="T41" fmla="*/ 601 h 783"/>
                    <a:gd name="T42" fmla="*/ 53 w 235"/>
                    <a:gd name="T43" fmla="*/ 588 h 783"/>
                    <a:gd name="T44" fmla="*/ 56 w 235"/>
                    <a:gd name="T45" fmla="*/ 568 h 783"/>
                    <a:gd name="T46" fmla="*/ 48 w 235"/>
                    <a:gd name="T47" fmla="*/ 546 h 783"/>
                    <a:gd name="T48" fmla="*/ 71 w 235"/>
                    <a:gd name="T49" fmla="*/ 548 h 783"/>
                    <a:gd name="T50" fmla="*/ 59 w 235"/>
                    <a:gd name="T51" fmla="*/ 508 h 783"/>
                    <a:gd name="T52" fmla="*/ 39 w 235"/>
                    <a:gd name="T53" fmla="*/ 495 h 783"/>
                    <a:gd name="T54" fmla="*/ 35 w 235"/>
                    <a:gd name="T55" fmla="*/ 465 h 783"/>
                    <a:gd name="T56" fmla="*/ 32 w 235"/>
                    <a:gd name="T57" fmla="*/ 437 h 783"/>
                    <a:gd name="T58" fmla="*/ 14 w 235"/>
                    <a:gd name="T59" fmla="*/ 412 h 783"/>
                    <a:gd name="T60" fmla="*/ 22 w 235"/>
                    <a:gd name="T61" fmla="*/ 390 h 783"/>
                    <a:gd name="T62" fmla="*/ 28 w 235"/>
                    <a:gd name="T63" fmla="*/ 364 h 783"/>
                    <a:gd name="T64" fmla="*/ 28 w 235"/>
                    <a:gd name="T65" fmla="*/ 335 h 783"/>
                    <a:gd name="T66" fmla="*/ 25 w 235"/>
                    <a:gd name="T67" fmla="*/ 299 h 783"/>
                    <a:gd name="T68" fmla="*/ 14 w 235"/>
                    <a:gd name="T69" fmla="*/ 258 h 783"/>
                    <a:gd name="T70" fmla="*/ 15 w 235"/>
                    <a:gd name="T71" fmla="*/ 228 h 783"/>
                    <a:gd name="T72" fmla="*/ 16 w 235"/>
                    <a:gd name="T73" fmla="*/ 198 h 783"/>
                    <a:gd name="T74" fmla="*/ 18 w 235"/>
                    <a:gd name="T75" fmla="*/ 167 h 783"/>
                    <a:gd name="T76" fmla="*/ 12 w 235"/>
                    <a:gd name="T77" fmla="*/ 140 h 783"/>
                    <a:gd name="T78" fmla="*/ 12 w 235"/>
                    <a:gd name="T79" fmla="*/ 110 h 783"/>
                    <a:gd name="T80" fmla="*/ 12 w 235"/>
                    <a:gd name="T81" fmla="*/ 83 h 783"/>
                    <a:gd name="T82" fmla="*/ 9 w 235"/>
                    <a:gd name="T83" fmla="*/ 58 h 783"/>
                    <a:gd name="T84" fmla="*/ 6 w 235"/>
                    <a:gd name="T85" fmla="*/ 40 h 783"/>
                    <a:gd name="T86" fmla="*/ 0 w 235"/>
                    <a:gd name="T87" fmla="*/ 16 h 783"/>
                    <a:gd name="T88" fmla="*/ 183 w 235"/>
                    <a:gd name="T89" fmla="*/ 737 h 783"/>
                    <a:gd name="T90" fmla="*/ 195 w 235"/>
                    <a:gd name="T91" fmla="*/ 758 h 783"/>
                    <a:gd name="T92" fmla="*/ 232 w 235"/>
                    <a:gd name="T93" fmla="*/ 782 h 783"/>
                    <a:gd name="T94" fmla="*/ 194 w 235"/>
                    <a:gd name="T95" fmla="*/ 769 h 783"/>
                    <a:gd name="T96" fmla="*/ 229 w 235"/>
                    <a:gd name="T97" fmla="*/ 765 h 783"/>
                    <a:gd name="T98" fmla="*/ 216 w 235"/>
                    <a:gd name="T99" fmla="*/ 756 h 783"/>
                    <a:gd name="T100" fmla="*/ 185 w 235"/>
                    <a:gd name="T101" fmla="*/ 752 h 783"/>
                    <a:gd name="T102" fmla="*/ 191 w 235"/>
                    <a:gd name="T103" fmla="*/ 739 h 783"/>
                    <a:gd name="T104" fmla="*/ 183 w 235"/>
                    <a:gd name="T105" fmla="*/ 719 h 783"/>
                    <a:gd name="T106" fmla="*/ 128 w 235"/>
                    <a:gd name="T107" fmla="*/ 728 h 783"/>
                    <a:gd name="T108" fmla="*/ 133 w 235"/>
                    <a:gd name="T109" fmla="*/ 728 h 783"/>
                    <a:gd name="T110" fmla="*/ 140 w 235"/>
                    <a:gd name="T111" fmla="*/ 742 h 783"/>
                    <a:gd name="T112" fmla="*/ 173 w 235"/>
                    <a:gd name="T113" fmla="*/ 749 h 783"/>
                    <a:gd name="T114" fmla="*/ 142 w 235"/>
                    <a:gd name="T115" fmla="*/ 745 h 783"/>
                    <a:gd name="T116" fmla="*/ 52 w 235"/>
                    <a:gd name="T117" fmla="*/ 516 h 783"/>
                    <a:gd name="T118" fmla="*/ 41 w 235"/>
                    <a:gd name="T119" fmla="*/ 515 h 783"/>
                    <a:gd name="T120" fmla="*/ 96 w 235"/>
                    <a:gd name="T121" fmla="*/ 689 h 783"/>
                    <a:gd name="T122" fmla="*/ 92 w 235"/>
                    <a:gd name="T123" fmla="*/ 695 h 7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35" h="783">
                      <a:moveTo>
                        <a:pt x="0" y="16"/>
                      </a:moveTo>
                      <a:lnTo>
                        <a:pt x="6" y="10"/>
                      </a:lnTo>
                      <a:lnTo>
                        <a:pt x="12" y="3"/>
                      </a:lnTo>
                      <a:lnTo>
                        <a:pt x="14" y="0"/>
                      </a:lnTo>
                      <a:lnTo>
                        <a:pt x="14" y="2"/>
                      </a:lnTo>
                      <a:lnTo>
                        <a:pt x="19" y="9"/>
                      </a:lnTo>
                      <a:lnTo>
                        <a:pt x="24" y="17"/>
                      </a:lnTo>
                      <a:lnTo>
                        <a:pt x="28" y="28"/>
                      </a:lnTo>
                      <a:lnTo>
                        <a:pt x="33" y="38"/>
                      </a:lnTo>
                      <a:lnTo>
                        <a:pt x="34" y="47"/>
                      </a:lnTo>
                      <a:lnTo>
                        <a:pt x="35" y="55"/>
                      </a:lnTo>
                      <a:lnTo>
                        <a:pt x="39" y="65"/>
                      </a:lnTo>
                      <a:lnTo>
                        <a:pt x="45" y="81"/>
                      </a:lnTo>
                      <a:lnTo>
                        <a:pt x="52" y="96"/>
                      </a:lnTo>
                      <a:lnTo>
                        <a:pt x="60" y="110"/>
                      </a:lnTo>
                      <a:lnTo>
                        <a:pt x="67" y="108"/>
                      </a:lnTo>
                      <a:lnTo>
                        <a:pt x="71" y="113"/>
                      </a:lnTo>
                      <a:lnTo>
                        <a:pt x="49" y="151"/>
                      </a:lnTo>
                      <a:lnTo>
                        <a:pt x="53" y="177"/>
                      </a:lnTo>
                      <a:lnTo>
                        <a:pt x="51" y="200"/>
                      </a:lnTo>
                      <a:lnTo>
                        <a:pt x="44" y="216"/>
                      </a:lnTo>
                      <a:lnTo>
                        <a:pt x="38" y="235"/>
                      </a:lnTo>
                      <a:lnTo>
                        <a:pt x="39" y="255"/>
                      </a:lnTo>
                      <a:lnTo>
                        <a:pt x="38" y="270"/>
                      </a:lnTo>
                      <a:lnTo>
                        <a:pt x="38" y="288"/>
                      </a:lnTo>
                      <a:lnTo>
                        <a:pt x="44" y="303"/>
                      </a:lnTo>
                      <a:lnTo>
                        <a:pt x="51" y="318"/>
                      </a:lnTo>
                      <a:lnTo>
                        <a:pt x="56" y="332"/>
                      </a:lnTo>
                      <a:lnTo>
                        <a:pt x="56" y="349"/>
                      </a:lnTo>
                      <a:lnTo>
                        <a:pt x="55" y="368"/>
                      </a:lnTo>
                      <a:lnTo>
                        <a:pt x="56" y="382"/>
                      </a:lnTo>
                      <a:lnTo>
                        <a:pt x="52" y="392"/>
                      </a:lnTo>
                      <a:lnTo>
                        <a:pt x="53" y="407"/>
                      </a:lnTo>
                      <a:lnTo>
                        <a:pt x="61" y="428"/>
                      </a:lnTo>
                      <a:lnTo>
                        <a:pt x="60" y="445"/>
                      </a:lnTo>
                      <a:lnTo>
                        <a:pt x="59" y="459"/>
                      </a:lnTo>
                      <a:lnTo>
                        <a:pt x="61" y="472"/>
                      </a:lnTo>
                      <a:lnTo>
                        <a:pt x="66" y="492"/>
                      </a:lnTo>
                      <a:lnTo>
                        <a:pt x="69" y="508"/>
                      </a:lnTo>
                      <a:lnTo>
                        <a:pt x="75" y="524"/>
                      </a:lnTo>
                      <a:lnTo>
                        <a:pt x="81" y="537"/>
                      </a:lnTo>
                      <a:lnTo>
                        <a:pt x="89" y="550"/>
                      </a:lnTo>
                      <a:lnTo>
                        <a:pt x="92" y="558"/>
                      </a:lnTo>
                      <a:lnTo>
                        <a:pt x="95" y="568"/>
                      </a:lnTo>
                      <a:lnTo>
                        <a:pt x="98" y="582"/>
                      </a:lnTo>
                      <a:lnTo>
                        <a:pt x="102" y="597"/>
                      </a:lnTo>
                      <a:lnTo>
                        <a:pt x="102" y="610"/>
                      </a:lnTo>
                      <a:lnTo>
                        <a:pt x="102" y="629"/>
                      </a:lnTo>
                      <a:lnTo>
                        <a:pt x="100" y="649"/>
                      </a:lnTo>
                      <a:lnTo>
                        <a:pt x="106" y="668"/>
                      </a:lnTo>
                      <a:lnTo>
                        <a:pt x="123" y="679"/>
                      </a:lnTo>
                      <a:lnTo>
                        <a:pt x="139" y="695"/>
                      </a:lnTo>
                      <a:lnTo>
                        <a:pt x="199" y="710"/>
                      </a:lnTo>
                      <a:lnTo>
                        <a:pt x="199" y="711"/>
                      </a:lnTo>
                      <a:lnTo>
                        <a:pt x="196" y="711"/>
                      </a:lnTo>
                      <a:lnTo>
                        <a:pt x="194" y="711"/>
                      </a:lnTo>
                      <a:lnTo>
                        <a:pt x="191" y="711"/>
                      </a:lnTo>
                      <a:lnTo>
                        <a:pt x="188" y="710"/>
                      </a:lnTo>
                      <a:lnTo>
                        <a:pt x="186" y="711"/>
                      </a:lnTo>
                      <a:lnTo>
                        <a:pt x="183" y="712"/>
                      </a:lnTo>
                      <a:lnTo>
                        <a:pt x="186" y="713"/>
                      </a:lnTo>
                      <a:lnTo>
                        <a:pt x="185" y="715"/>
                      </a:lnTo>
                      <a:lnTo>
                        <a:pt x="182" y="715"/>
                      </a:lnTo>
                      <a:lnTo>
                        <a:pt x="180" y="716"/>
                      </a:lnTo>
                      <a:lnTo>
                        <a:pt x="180" y="717"/>
                      </a:lnTo>
                      <a:lnTo>
                        <a:pt x="176" y="717"/>
                      </a:lnTo>
                      <a:lnTo>
                        <a:pt x="175" y="717"/>
                      </a:lnTo>
                      <a:lnTo>
                        <a:pt x="174" y="718"/>
                      </a:lnTo>
                      <a:lnTo>
                        <a:pt x="173" y="718"/>
                      </a:lnTo>
                      <a:lnTo>
                        <a:pt x="171" y="718"/>
                      </a:lnTo>
                      <a:lnTo>
                        <a:pt x="171" y="719"/>
                      </a:lnTo>
                      <a:lnTo>
                        <a:pt x="171" y="722"/>
                      </a:lnTo>
                      <a:lnTo>
                        <a:pt x="169" y="723"/>
                      </a:lnTo>
                      <a:lnTo>
                        <a:pt x="169" y="724"/>
                      </a:lnTo>
                      <a:lnTo>
                        <a:pt x="171" y="726"/>
                      </a:lnTo>
                      <a:lnTo>
                        <a:pt x="172" y="728"/>
                      </a:lnTo>
                      <a:lnTo>
                        <a:pt x="172" y="729"/>
                      </a:lnTo>
                      <a:lnTo>
                        <a:pt x="173" y="730"/>
                      </a:lnTo>
                      <a:lnTo>
                        <a:pt x="173" y="732"/>
                      </a:lnTo>
                      <a:lnTo>
                        <a:pt x="173" y="732"/>
                      </a:lnTo>
                      <a:lnTo>
                        <a:pt x="173" y="735"/>
                      </a:lnTo>
                      <a:lnTo>
                        <a:pt x="174" y="736"/>
                      </a:lnTo>
                      <a:lnTo>
                        <a:pt x="175" y="738"/>
                      </a:lnTo>
                      <a:lnTo>
                        <a:pt x="175" y="742"/>
                      </a:lnTo>
                      <a:lnTo>
                        <a:pt x="175" y="743"/>
                      </a:lnTo>
                      <a:lnTo>
                        <a:pt x="168" y="737"/>
                      </a:lnTo>
                      <a:lnTo>
                        <a:pt x="166" y="736"/>
                      </a:lnTo>
                      <a:lnTo>
                        <a:pt x="165" y="733"/>
                      </a:lnTo>
                      <a:lnTo>
                        <a:pt x="163" y="733"/>
                      </a:lnTo>
                      <a:lnTo>
                        <a:pt x="160" y="736"/>
                      </a:lnTo>
                      <a:lnTo>
                        <a:pt x="155" y="733"/>
                      </a:lnTo>
                      <a:lnTo>
                        <a:pt x="151" y="731"/>
                      </a:lnTo>
                      <a:lnTo>
                        <a:pt x="151" y="729"/>
                      </a:lnTo>
                      <a:lnTo>
                        <a:pt x="153" y="730"/>
                      </a:lnTo>
                      <a:lnTo>
                        <a:pt x="155" y="729"/>
                      </a:lnTo>
                      <a:lnTo>
                        <a:pt x="158" y="726"/>
                      </a:lnTo>
                      <a:lnTo>
                        <a:pt x="156" y="722"/>
                      </a:lnTo>
                      <a:lnTo>
                        <a:pt x="153" y="722"/>
                      </a:lnTo>
                      <a:lnTo>
                        <a:pt x="147" y="723"/>
                      </a:lnTo>
                      <a:lnTo>
                        <a:pt x="145" y="725"/>
                      </a:lnTo>
                      <a:lnTo>
                        <a:pt x="145" y="726"/>
                      </a:lnTo>
                      <a:lnTo>
                        <a:pt x="145" y="729"/>
                      </a:lnTo>
                      <a:lnTo>
                        <a:pt x="143" y="730"/>
                      </a:lnTo>
                      <a:lnTo>
                        <a:pt x="141" y="730"/>
                      </a:lnTo>
                      <a:lnTo>
                        <a:pt x="138" y="729"/>
                      </a:lnTo>
                      <a:lnTo>
                        <a:pt x="136" y="726"/>
                      </a:lnTo>
                      <a:lnTo>
                        <a:pt x="138" y="725"/>
                      </a:lnTo>
                      <a:lnTo>
                        <a:pt x="134" y="723"/>
                      </a:lnTo>
                      <a:lnTo>
                        <a:pt x="138" y="720"/>
                      </a:lnTo>
                      <a:lnTo>
                        <a:pt x="140" y="718"/>
                      </a:lnTo>
                      <a:lnTo>
                        <a:pt x="145" y="717"/>
                      </a:lnTo>
                      <a:lnTo>
                        <a:pt x="146" y="715"/>
                      </a:lnTo>
                      <a:lnTo>
                        <a:pt x="143" y="713"/>
                      </a:lnTo>
                      <a:lnTo>
                        <a:pt x="138" y="713"/>
                      </a:lnTo>
                      <a:lnTo>
                        <a:pt x="134" y="715"/>
                      </a:lnTo>
                      <a:lnTo>
                        <a:pt x="133" y="717"/>
                      </a:lnTo>
                      <a:lnTo>
                        <a:pt x="133" y="720"/>
                      </a:lnTo>
                      <a:lnTo>
                        <a:pt x="132" y="722"/>
                      </a:lnTo>
                      <a:lnTo>
                        <a:pt x="129" y="722"/>
                      </a:lnTo>
                      <a:lnTo>
                        <a:pt x="128" y="720"/>
                      </a:lnTo>
                      <a:lnTo>
                        <a:pt x="127" y="719"/>
                      </a:lnTo>
                      <a:lnTo>
                        <a:pt x="127" y="717"/>
                      </a:lnTo>
                      <a:lnTo>
                        <a:pt x="125" y="720"/>
                      </a:lnTo>
                      <a:lnTo>
                        <a:pt x="123" y="719"/>
                      </a:lnTo>
                      <a:lnTo>
                        <a:pt x="122" y="718"/>
                      </a:lnTo>
                      <a:lnTo>
                        <a:pt x="125" y="715"/>
                      </a:lnTo>
                      <a:lnTo>
                        <a:pt x="122" y="716"/>
                      </a:lnTo>
                      <a:lnTo>
                        <a:pt x="121" y="715"/>
                      </a:lnTo>
                      <a:lnTo>
                        <a:pt x="118" y="712"/>
                      </a:lnTo>
                      <a:lnTo>
                        <a:pt x="115" y="709"/>
                      </a:lnTo>
                      <a:lnTo>
                        <a:pt x="114" y="705"/>
                      </a:lnTo>
                      <a:lnTo>
                        <a:pt x="116" y="705"/>
                      </a:lnTo>
                      <a:lnTo>
                        <a:pt x="123" y="705"/>
                      </a:lnTo>
                      <a:lnTo>
                        <a:pt x="127" y="705"/>
                      </a:lnTo>
                      <a:lnTo>
                        <a:pt x="128" y="705"/>
                      </a:lnTo>
                      <a:lnTo>
                        <a:pt x="131" y="705"/>
                      </a:lnTo>
                      <a:lnTo>
                        <a:pt x="132" y="708"/>
                      </a:lnTo>
                      <a:lnTo>
                        <a:pt x="133" y="709"/>
                      </a:lnTo>
                      <a:lnTo>
                        <a:pt x="133" y="706"/>
                      </a:lnTo>
                      <a:lnTo>
                        <a:pt x="131" y="701"/>
                      </a:lnTo>
                      <a:lnTo>
                        <a:pt x="125" y="696"/>
                      </a:lnTo>
                      <a:lnTo>
                        <a:pt x="121" y="693"/>
                      </a:lnTo>
                      <a:lnTo>
                        <a:pt x="122" y="695"/>
                      </a:lnTo>
                      <a:lnTo>
                        <a:pt x="125" y="697"/>
                      </a:lnTo>
                      <a:lnTo>
                        <a:pt x="122" y="697"/>
                      </a:lnTo>
                      <a:lnTo>
                        <a:pt x="121" y="697"/>
                      </a:lnTo>
                      <a:lnTo>
                        <a:pt x="121" y="698"/>
                      </a:lnTo>
                      <a:lnTo>
                        <a:pt x="122" y="701"/>
                      </a:lnTo>
                      <a:lnTo>
                        <a:pt x="121" y="702"/>
                      </a:lnTo>
                      <a:lnTo>
                        <a:pt x="119" y="702"/>
                      </a:lnTo>
                      <a:lnTo>
                        <a:pt x="116" y="702"/>
                      </a:lnTo>
                      <a:lnTo>
                        <a:pt x="115" y="699"/>
                      </a:lnTo>
                      <a:lnTo>
                        <a:pt x="111" y="699"/>
                      </a:lnTo>
                      <a:lnTo>
                        <a:pt x="111" y="696"/>
                      </a:lnTo>
                      <a:lnTo>
                        <a:pt x="109" y="693"/>
                      </a:lnTo>
                      <a:lnTo>
                        <a:pt x="109" y="692"/>
                      </a:lnTo>
                      <a:lnTo>
                        <a:pt x="109" y="691"/>
                      </a:lnTo>
                      <a:lnTo>
                        <a:pt x="106" y="689"/>
                      </a:lnTo>
                      <a:lnTo>
                        <a:pt x="101" y="689"/>
                      </a:lnTo>
                      <a:lnTo>
                        <a:pt x="102" y="684"/>
                      </a:lnTo>
                      <a:lnTo>
                        <a:pt x="101" y="683"/>
                      </a:lnTo>
                      <a:lnTo>
                        <a:pt x="101" y="681"/>
                      </a:lnTo>
                      <a:lnTo>
                        <a:pt x="104" y="678"/>
                      </a:lnTo>
                      <a:lnTo>
                        <a:pt x="104" y="676"/>
                      </a:lnTo>
                      <a:lnTo>
                        <a:pt x="102" y="675"/>
                      </a:lnTo>
                      <a:lnTo>
                        <a:pt x="99" y="676"/>
                      </a:lnTo>
                      <a:lnTo>
                        <a:pt x="96" y="676"/>
                      </a:lnTo>
                      <a:lnTo>
                        <a:pt x="95" y="673"/>
                      </a:lnTo>
                      <a:lnTo>
                        <a:pt x="95" y="672"/>
                      </a:lnTo>
                      <a:lnTo>
                        <a:pt x="93" y="671"/>
                      </a:lnTo>
                      <a:lnTo>
                        <a:pt x="89" y="669"/>
                      </a:lnTo>
                      <a:lnTo>
                        <a:pt x="86" y="670"/>
                      </a:lnTo>
                      <a:lnTo>
                        <a:pt x="80" y="668"/>
                      </a:lnTo>
                      <a:lnTo>
                        <a:pt x="80" y="671"/>
                      </a:lnTo>
                      <a:lnTo>
                        <a:pt x="81" y="668"/>
                      </a:lnTo>
                      <a:lnTo>
                        <a:pt x="81" y="665"/>
                      </a:lnTo>
                      <a:lnTo>
                        <a:pt x="85" y="664"/>
                      </a:lnTo>
                      <a:lnTo>
                        <a:pt x="89" y="666"/>
                      </a:lnTo>
                      <a:lnTo>
                        <a:pt x="92" y="666"/>
                      </a:lnTo>
                      <a:lnTo>
                        <a:pt x="92" y="665"/>
                      </a:lnTo>
                      <a:lnTo>
                        <a:pt x="91" y="664"/>
                      </a:lnTo>
                      <a:lnTo>
                        <a:pt x="88" y="663"/>
                      </a:lnTo>
                      <a:lnTo>
                        <a:pt x="87" y="663"/>
                      </a:lnTo>
                      <a:lnTo>
                        <a:pt x="86" y="659"/>
                      </a:lnTo>
                      <a:lnTo>
                        <a:pt x="87" y="661"/>
                      </a:lnTo>
                      <a:lnTo>
                        <a:pt x="80" y="662"/>
                      </a:lnTo>
                      <a:lnTo>
                        <a:pt x="78" y="659"/>
                      </a:lnTo>
                      <a:lnTo>
                        <a:pt x="74" y="658"/>
                      </a:lnTo>
                      <a:lnTo>
                        <a:pt x="73" y="655"/>
                      </a:lnTo>
                      <a:lnTo>
                        <a:pt x="74" y="653"/>
                      </a:lnTo>
                      <a:lnTo>
                        <a:pt x="74" y="651"/>
                      </a:lnTo>
                      <a:lnTo>
                        <a:pt x="72" y="650"/>
                      </a:lnTo>
                      <a:lnTo>
                        <a:pt x="68" y="649"/>
                      </a:lnTo>
                      <a:lnTo>
                        <a:pt x="71" y="645"/>
                      </a:lnTo>
                      <a:lnTo>
                        <a:pt x="68" y="645"/>
                      </a:lnTo>
                      <a:lnTo>
                        <a:pt x="69" y="642"/>
                      </a:lnTo>
                      <a:lnTo>
                        <a:pt x="66" y="641"/>
                      </a:lnTo>
                      <a:lnTo>
                        <a:pt x="67" y="638"/>
                      </a:lnTo>
                      <a:lnTo>
                        <a:pt x="66" y="636"/>
                      </a:lnTo>
                      <a:lnTo>
                        <a:pt x="64" y="636"/>
                      </a:lnTo>
                      <a:lnTo>
                        <a:pt x="60" y="635"/>
                      </a:lnTo>
                      <a:lnTo>
                        <a:pt x="62" y="631"/>
                      </a:lnTo>
                      <a:lnTo>
                        <a:pt x="61" y="631"/>
                      </a:lnTo>
                      <a:lnTo>
                        <a:pt x="62" y="630"/>
                      </a:lnTo>
                      <a:lnTo>
                        <a:pt x="61" y="625"/>
                      </a:lnTo>
                      <a:lnTo>
                        <a:pt x="60" y="622"/>
                      </a:lnTo>
                      <a:lnTo>
                        <a:pt x="62" y="623"/>
                      </a:lnTo>
                      <a:lnTo>
                        <a:pt x="66" y="623"/>
                      </a:lnTo>
                      <a:lnTo>
                        <a:pt x="64" y="621"/>
                      </a:lnTo>
                      <a:lnTo>
                        <a:pt x="68" y="621"/>
                      </a:lnTo>
                      <a:lnTo>
                        <a:pt x="69" y="621"/>
                      </a:lnTo>
                      <a:lnTo>
                        <a:pt x="68" y="618"/>
                      </a:lnTo>
                      <a:lnTo>
                        <a:pt x="66" y="617"/>
                      </a:lnTo>
                      <a:lnTo>
                        <a:pt x="67" y="616"/>
                      </a:lnTo>
                      <a:lnTo>
                        <a:pt x="68" y="616"/>
                      </a:lnTo>
                      <a:lnTo>
                        <a:pt x="71" y="616"/>
                      </a:lnTo>
                      <a:lnTo>
                        <a:pt x="71" y="615"/>
                      </a:lnTo>
                      <a:lnTo>
                        <a:pt x="73" y="613"/>
                      </a:lnTo>
                      <a:lnTo>
                        <a:pt x="74" y="612"/>
                      </a:lnTo>
                      <a:lnTo>
                        <a:pt x="74" y="610"/>
                      </a:lnTo>
                      <a:lnTo>
                        <a:pt x="74" y="608"/>
                      </a:lnTo>
                      <a:lnTo>
                        <a:pt x="75" y="605"/>
                      </a:lnTo>
                      <a:lnTo>
                        <a:pt x="72" y="604"/>
                      </a:lnTo>
                      <a:lnTo>
                        <a:pt x="69" y="604"/>
                      </a:lnTo>
                      <a:lnTo>
                        <a:pt x="68" y="606"/>
                      </a:lnTo>
                      <a:lnTo>
                        <a:pt x="67" y="604"/>
                      </a:lnTo>
                      <a:lnTo>
                        <a:pt x="66" y="602"/>
                      </a:lnTo>
                      <a:lnTo>
                        <a:pt x="64" y="602"/>
                      </a:lnTo>
                      <a:lnTo>
                        <a:pt x="61" y="599"/>
                      </a:lnTo>
                      <a:lnTo>
                        <a:pt x="58" y="599"/>
                      </a:lnTo>
                      <a:lnTo>
                        <a:pt x="52" y="601"/>
                      </a:lnTo>
                      <a:lnTo>
                        <a:pt x="51" y="599"/>
                      </a:lnTo>
                      <a:lnTo>
                        <a:pt x="48" y="602"/>
                      </a:lnTo>
                      <a:lnTo>
                        <a:pt x="47" y="595"/>
                      </a:lnTo>
                      <a:lnTo>
                        <a:pt x="47" y="596"/>
                      </a:lnTo>
                      <a:lnTo>
                        <a:pt x="44" y="597"/>
                      </a:lnTo>
                      <a:lnTo>
                        <a:pt x="44" y="598"/>
                      </a:lnTo>
                      <a:lnTo>
                        <a:pt x="44" y="598"/>
                      </a:lnTo>
                      <a:lnTo>
                        <a:pt x="47" y="592"/>
                      </a:lnTo>
                      <a:lnTo>
                        <a:pt x="52" y="592"/>
                      </a:lnTo>
                      <a:lnTo>
                        <a:pt x="55" y="589"/>
                      </a:lnTo>
                      <a:lnTo>
                        <a:pt x="53" y="588"/>
                      </a:lnTo>
                      <a:lnTo>
                        <a:pt x="54" y="584"/>
                      </a:lnTo>
                      <a:lnTo>
                        <a:pt x="52" y="582"/>
                      </a:lnTo>
                      <a:lnTo>
                        <a:pt x="56" y="582"/>
                      </a:lnTo>
                      <a:lnTo>
                        <a:pt x="54" y="578"/>
                      </a:lnTo>
                      <a:lnTo>
                        <a:pt x="55" y="577"/>
                      </a:lnTo>
                      <a:lnTo>
                        <a:pt x="55" y="573"/>
                      </a:lnTo>
                      <a:lnTo>
                        <a:pt x="56" y="571"/>
                      </a:lnTo>
                      <a:lnTo>
                        <a:pt x="60" y="572"/>
                      </a:lnTo>
                      <a:lnTo>
                        <a:pt x="62" y="570"/>
                      </a:lnTo>
                      <a:lnTo>
                        <a:pt x="58" y="569"/>
                      </a:lnTo>
                      <a:lnTo>
                        <a:pt x="56" y="568"/>
                      </a:lnTo>
                      <a:lnTo>
                        <a:pt x="59" y="564"/>
                      </a:lnTo>
                      <a:lnTo>
                        <a:pt x="59" y="563"/>
                      </a:lnTo>
                      <a:lnTo>
                        <a:pt x="56" y="561"/>
                      </a:lnTo>
                      <a:lnTo>
                        <a:pt x="55" y="559"/>
                      </a:lnTo>
                      <a:lnTo>
                        <a:pt x="53" y="556"/>
                      </a:lnTo>
                      <a:lnTo>
                        <a:pt x="49" y="558"/>
                      </a:lnTo>
                      <a:lnTo>
                        <a:pt x="47" y="557"/>
                      </a:lnTo>
                      <a:lnTo>
                        <a:pt x="42" y="559"/>
                      </a:lnTo>
                      <a:lnTo>
                        <a:pt x="44" y="555"/>
                      </a:lnTo>
                      <a:lnTo>
                        <a:pt x="47" y="551"/>
                      </a:lnTo>
                      <a:lnTo>
                        <a:pt x="48" y="546"/>
                      </a:lnTo>
                      <a:lnTo>
                        <a:pt x="49" y="555"/>
                      </a:lnTo>
                      <a:lnTo>
                        <a:pt x="53" y="550"/>
                      </a:lnTo>
                      <a:lnTo>
                        <a:pt x="53" y="546"/>
                      </a:lnTo>
                      <a:lnTo>
                        <a:pt x="55" y="542"/>
                      </a:lnTo>
                      <a:lnTo>
                        <a:pt x="59" y="538"/>
                      </a:lnTo>
                      <a:lnTo>
                        <a:pt x="61" y="543"/>
                      </a:lnTo>
                      <a:lnTo>
                        <a:pt x="62" y="546"/>
                      </a:lnTo>
                      <a:lnTo>
                        <a:pt x="65" y="550"/>
                      </a:lnTo>
                      <a:lnTo>
                        <a:pt x="68" y="554"/>
                      </a:lnTo>
                      <a:lnTo>
                        <a:pt x="69" y="551"/>
                      </a:lnTo>
                      <a:lnTo>
                        <a:pt x="71" y="548"/>
                      </a:lnTo>
                      <a:lnTo>
                        <a:pt x="69" y="544"/>
                      </a:lnTo>
                      <a:lnTo>
                        <a:pt x="67" y="541"/>
                      </a:lnTo>
                      <a:lnTo>
                        <a:pt x="66" y="537"/>
                      </a:lnTo>
                      <a:lnTo>
                        <a:pt x="68" y="536"/>
                      </a:lnTo>
                      <a:lnTo>
                        <a:pt x="66" y="531"/>
                      </a:lnTo>
                      <a:lnTo>
                        <a:pt x="65" y="526"/>
                      </a:lnTo>
                      <a:lnTo>
                        <a:pt x="65" y="522"/>
                      </a:lnTo>
                      <a:lnTo>
                        <a:pt x="64" y="516"/>
                      </a:lnTo>
                      <a:lnTo>
                        <a:pt x="62" y="510"/>
                      </a:lnTo>
                      <a:lnTo>
                        <a:pt x="59" y="508"/>
                      </a:lnTo>
                      <a:lnTo>
                        <a:pt x="59" y="508"/>
                      </a:lnTo>
                      <a:lnTo>
                        <a:pt x="62" y="504"/>
                      </a:lnTo>
                      <a:lnTo>
                        <a:pt x="58" y="501"/>
                      </a:lnTo>
                      <a:lnTo>
                        <a:pt x="59" y="497"/>
                      </a:lnTo>
                      <a:lnTo>
                        <a:pt x="56" y="494"/>
                      </a:lnTo>
                      <a:lnTo>
                        <a:pt x="54" y="494"/>
                      </a:lnTo>
                      <a:lnTo>
                        <a:pt x="54" y="495"/>
                      </a:lnTo>
                      <a:lnTo>
                        <a:pt x="49" y="495"/>
                      </a:lnTo>
                      <a:lnTo>
                        <a:pt x="48" y="495"/>
                      </a:lnTo>
                      <a:lnTo>
                        <a:pt x="44" y="495"/>
                      </a:lnTo>
                      <a:lnTo>
                        <a:pt x="44" y="494"/>
                      </a:lnTo>
                      <a:lnTo>
                        <a:pt x="39" y="495"/>
                      </a:lnTo>
                      <a:lnTo>
                        <a:pt x="38" y="491"/>
                      </a:lnTo>
                      <a:lnTo>
                        <a:pt x="40" y="490"/>
                      </a:lnTo>
                      <a:lnTo>
                        <a:pt x="38" y="486"/>
                      </a:lnTo>
                      <a:lnTo>
                        <a:pt x="34" y="484"/>
                      </a:lnTo>
                      <a:lnTo>
                        <a:pt x="36" y="482"/>
                      </a:lnTo>
                      <a:lnTo>
                        <a:pt x="36" y="477"/>
                      </a:lnTo>
                      <a:lnTo>
                        <a:pt x="34" y="477"/>
                      </a:lnTo>
                      <a:lnTo>
                        <a:pt x="34" y="474"/>
                      </a:lnTo>
                      <a:lnTo>
                        <a:pt x="35" y="471"/>
                      </a:lnTo>
                      <a:lnTo>
                        <a:pt x="35" y="470"/>
                      </a:lnTo>
                      <a:lnTo>
                        <a:pt x="35" y="465"/>
                      </a:lnTo>
                      <a:lnTo>
                        <a:pt x="34" y="462"/>
                      </a:lnTo>
                      <a:lnTo>
                        <a:pt x="35" y="459"/>
                      </a:lnTo>
                      <a:lnTo>
                        <a:pt x="32" y="457"/>
                      </a:lnTo>
                      <a:lnTo>
                        <a:pt x="28" y="456"/>
                      </a:lnTo>
                      <a:lnTo>
                        <a:pt x="34" y="451"/>
                      </a:lnTo>
                      <a:lnTo>
                        <a:pt x="36" y="451"/>
                      </a:lnTo>
                      <a:lnTo>
                        <a:pt x="34" y="449"/>
                      </a:lnTo>
                      <a:lnTo>
                        <a:pt x="36" y="446"/>
                      </a:lnTo>
                      <a:lnTo>
                        <a:pt x="35" y="444"/>
                      </a:lnTo>
                      <a:lnTo>
                        <a:pt x="35" y="441"/>
                      </a:lnTo>
                      <a:lnTo>
                        <a:pt x="32" y="437"/>
                      </a:lnTo>
                      <a:lnTo>
                        <a:pt x="29" y="434"/>
                      </a:lnTo>
                      <a:lnTo>
                        <a:pt x="27" y="434"/>
                      </a:lnTo>
                      <a:lnTo>
                        <a:pt x="27" y="428"/>
                      </a:lnTo>
                      <a:lnTo>
                        <a:pt x="26" y="423"/>
                      </a:lnTo>
                      <a:lnTo>
                        <a:pt x="25" y="421"/>
                      </a:lnTo>
                      <a:lnTo>
                        <a:pt x="24" y="418"/>
                      </a:lnTo>
                      <a:lnTo>
                        <a:pt x="21" y="417"/>
                      </a:lnTo>
                      <a:lnTo>
                        <a:pt x="21" y="415"/>
                      </a:lnTo>
                      <a:lnTo>
                        <a:pt x="18" y="414"/>
                      </a:lnTo>
                      <a:lnTo>
                        <a:pt x="14" y="416"/>
                      </a:lnTo>
                      <a:lnTo>
                        <a:pt x="14" y="412"/>
                      </a:lnTo>
                      <a:lnTo>
                        <a:pt x="16" y="409"/>
                      </a:lnTo>
                      <a:lnTo>
                        <a:pt x="14" y="404"/>
                      </a:lnTo>
                      <a:lnTo>
                        <a:pt x="16" y="399"/>
                      </a:lnTo>
                      <a:lnTo>
                        <a:pt x="15" y="398"/>
                      </a:lnTo>
                      <a:lnTo>
                        <a:pt x="18" y="398"/>
                      </a:lnTo>
                      <a:lnTo>
                        <a:pt x="20" y="402"/>
                      </a:lnTo>
                      <a:lnTo>
                        <a:pt x="24" y="405"/>
                      </a:lnTo>
                      <a:lnTo>
                        <a:pt x="22" y="404"/>
                      </a:lnTo>
                      <a:lnTo>
                        <a:pt x="24" y="402"/>
                      </a:lnTo>
                      <a:lnTo>
                        <a:pt x="21" y="395"/>
                      </a:lnTo>
                      <a:lnTo>
                        <a:pt x="22" y="390"/>
                      </a:lnTo>
                      <a:lnTo>
                        <a:pt x="25" y="390"/>
                      </a:lnTo>
                      <a:lnTo>
                        <a:pt x="25" y="387"/>
                      </a:lnTo>
                      <a:lnTo>
                        <a:pt x="25" y="384"/>
                      </a:lnTo>
                      <a:lnTo>
                        <a:pt x="25" y="383"/>
                      </a:lnTo>
                      <a:lnTo>
                        <a:pt x="25" y="381"/>
                      </a:lnTo>
                      <a:lnTo>
                        <a:pt x="26" y="377"/>
                      </a:lnTo>
                      <a:lnTo>
                        <a:pt x="27" y="375"/>
                      </a:lnTo>
                      <a:lnTo>
                        <a:pt x="27" y="372"/>
                      </a:lnTo>
                      <a:lnTo>
                        <a:pt x="27" y="369"/>
                      </a:lnTo>
                      <a:lnTo>
                        <a:pt x="27" y="367"/>
                      </a:lnTo>
                      <a:lnTo>
                        <a:pt x="28" y="364"/>
                      </a:lnTo>
                      <a:lnTo>
                        <a:pt x="28" y="362"/>
                      </a:lnTo>
                      <a:lnTo>
                        <a:pt x="27" y="358"/>
                      </a:lnTo>
                      <a:lnTo>
                        <a:pt x="28" y="357"/>
                      </a:lnTo>
                      <a:lnTo>
                        <a:pt x="27" y="354"/>
                      </a:lnTo>
                      <a:lnTo>
                        <a:pt x="29" y="352"/>
                      </a:lnTo>
                      <a:lnTo>
                        <a:pt x="31" y="349"/>
                      </a:lnTo>
                      <a:lnTo>
                        <a:pt x="28" y="348"/>
                      </a:lnTo>
                      <a:lnTo>
                        <a:pt x="28" y="345"/>
                      </a:lnTo>
                      <a:lnTo>
                        <a:pt x="28" y="342"/>
                      </a:lnTo>
                      <a:lnTo>
                        <a:pt x="27" y="338"/>
                      </a:lnTo>
                      <a:lnTo>
                        <a:pt x="28" y="335"/>
                      </a:lnTo>
                      <a:lnTo>
                        <a:pt x="31" y="332"/>
                      </a:lnTo>
                      <a:lnTo>
                        <a:pt x="28" y="330"/>
                      </a:lnTo>
                      <a:lnTo>
                        <a:pt x="28" y="327"/>
                      </a:lnTo>
                      <a:lnTo>
                        <a:pt x="28" y="324"/>
                      </a:lnTo>
                      <a:lnTo>
                        <a:pt x="27" y="319"/>
                      </a:lnTo>
                      <a:lnTo>
                        <a:pt x="24" y="318"/>
                      </a:lnTo>
                      <a:lnTo>
                        <a:pt x="27" y="311"/>
                      </a:lnTo>
                      <a:lnTo>
                        <a:pt x="27" y="308"/>
                      </a:lnTo>
                      <a:lnTo>
                        <a:pt x="25" y="305"/>
                      </a:lnTo>
                      <a:lnTo>
                        <a:pt x="25" y="303"/>
                      </a:lnTo>
                      <a:lnTo>
                        <a:pt x="25" y="299"/>
                      </a:lnTo>
                      <a:lnTo>
                        <a:pt x="24" y="295"/>
                      </a:lnTo>
                      <a:lnTo>
                        <a:pt x="25" y="291"/>
                      </a:lnTo>
                      <a:lnTo>
                        <a:pt x="22" y="285"/>
                      </a:lnTo>
                      <a:lnTo>
                        <a:pt x="20" y="282"/>
                      </a:lnTo>
                      <a:lnTo>
                        <a:pt x="22" y="276"/>
                      </a:lnTo>
                      <a:lnTo>
                        <a:pt x="19" y="277"/>
                      </a:lnTo>
                      <a:lnTo>
                        <a:pt x="15" y="276"/>
                      </a:lnTo>
                      <a:lnTo>
                        <a:pt x="14" y="267"/>
                      </a:lnTo>
                      <a:lnTo>
                        <a:pt x="15" y="260"/>
                      </a:lnTo>
                      <a:lnTo>
                        <a:pt x="18" y="258"/>
                      </a:lnTo>
                      <a:lnTo>
                        <a:pt x="14" y="258"/>
                      </a:lnTo>
                      <a:lnTo>
                        <a:pt x="15" y="256"/>
                      </a:lnTo>
                      <a:lnTo>
                        <a:pt x="14" y="251"/>
                      </a:lnTo>
                      <a:lnTo>
                        <a:pt x="18" y="252"/>
                      </a:lnTo>
                      <a:lnTo>
                        <a:pt x="18" y="251"/>
                      </a:lnTo>
                      <a:lnTo>
                        <a:pt x="16" y="247"/>
                      </a:lnTo>
                      <a:lnTo>
                        <a:pt x="15" y="244"/>
                      </a:lnTo>
                      <a:lnTo>
                        <a:pt x="12" y="242"/>
                      </a:lnTo>
                      <a:lnTo>
                        <a:pt x="13" y="238"/>
                      </a:lnTo>
                      <a:lnTo>
                        <a:pt x="14" y="232"/>
                      </a:lnTo>
                      <a:lnTo>
                        <a:pt x="13" y="231"/>
                      </a:lnTo>
                      <a:lnTo>
                        <a:pt x="15" y="228"/>
                      </a:lnTo>
                      <a:lnTo>
                        <a:pt x="15" y="224"/>
                      </a:lnTo>
                      <a:lnTo>
                        <a:pt x="15" y="222"/>
                      </a:lnTo>
                      <a:lnTo>
                        <a:pt x="15" y="220"/>
                      </a:lnTo>
                      <a:lnTo>
                        <a:pt x="15" y="212"/>
                      </a:lnTo>
                      <a:lnTo>
                        <a:pt x="18" y="211"/>
                      </a:lnTo>
                      <a:lnTo>
                        <a:pt x="16" y="208"/>
                      </a:lnTo>
                      <a:lnTo>
                        <a:pt x="24" y="209"/>
                      </a:lnTo>
                      <a:lnTo>
                        <a:pt x="21" y="208"/>
                      </a:lnTo>
                      <a:lnTo>
                        <a:pt x="16" y="207"/>
                      </a:lnTo>
                      <a:lnTo>
                        <a:pt x="15" y="202"/>
                      </a:lnTo>
                      <a:lnTo>
                        <a:pt x="16" y="198"/>
                      </a:lnTo>
                      <a:lnTo>
                        <a:pt x="16" y="197"/>
                      </a:lnTo>
                      <a:lnTo>
                        <a:pt x="18" y="196"/>
                      </a:lnTo>
                      <a:lnTo>
                        <a:pt x="15" y="195"/>
                      </a:lnTo>
                      <a:lnTo>
                        <a:pt x="16" y="194"/>
                      </a:lnTo>
                      <a:lnTo>
                        <a:pt x="18" y="191"/>
                      </a:lnTo>
                      <a:lnTo>
                        <a:pt x="18" y="188"/>
                      </a:lnTo>
                      <a:lnTo>
                        <a:pt x="16" y="183"/>
                      </a:lnTo>
                      <a:lnTo>
                        <a:pt x="18" y="180"/>
                      </a:lnTo>
                      <a:lnTo>
                        <a:pt x="18" y="176"/>
                      </a:lnTo>
                      <a:lnTo>
                        <a:pt x="18" y="172"/>
                      </a:lnTo>
                      <a:lnTo>
                        <a:pt x="18" y="167"/>
                      </a:lnTo>
                      <a:lnTo>
                        <a:pt x="18" y="162"/>
                      </a:lnTo>
                      <a:lnTo>
                        <a:pt x="19" y="160"/>
                      </a:lnTo>
                      <a:lnTo>
                        <a:pt x="19" y="156"/>
                      </a:lnTo>
                      <a:lnTo>
                        <a:pt x="18" y="154"/>
                      </a:lnTo>
                      <a:lnTo>
                        <a:pt x="15" y="151"/>
                      </a:lnTo>
                      <a:lnTo>
                        <a:pt x="16" y="148"/>
                      </a:lnTo>
                      <a:lnTo>
                        <a:pt x="15" y="145"/>
                      </a:lnTo>
                      <a:lnTo>
                        <a:pt x="14" y="143"/>
                      </a:lnTo>
                      <a:lnTo>
                        <a:pt x="14" y="142"/>
                      </a:lnTo>
                      <a:lnTo>
                        <a:pt x="12" y="142"/>
                      </a:lnTo>
                      <a:lnTo>
                        <a:pt x="12" y="140"/>
                      </a:lnTo>
                      <a:lnTo>
                        <a:pt x="13" y="136"/>
                      </a:lnTo>
                      <a:lnTo>
                        <a:pt x="14" y="135"/>
                      </a:lnTo>
                      <a:lnTo>
                        <a:pt x="15" y="131"/>
                      </a:lnTo>
                      <a:lnTo>
                        <a:pt x="12" y="125"/>
                      </a:lnTo>
                      <a:lnTo>
                        <a:pt x="11" y="129"/>
                      </a:lnTo>
                      <a:lnTo>
                        <a:pt x="9" y="124"/>
                      </a:lnTo>
                      <a:lnTo>
                        <a:pt x="8" y="122"/>
                      </a:lnTo>
                      <a:lnTo>
                        <a:pt x="11" y="121"/>
                      </a:lnTo>
                      <a:lnTo>
                        <a:pt x="8" y="117"/>
                      </a:lnTo>
                      <a:lnTo>
                        <a:pt x="9" y="113"/>
                      </a:lnTo>
                      <a:lnTo>
                        <a:pt x="12" y="110"/>
                      </a:lnTo>
                      <a:lnTo>
                        <a:pt x="13" y="111"/>
                      </a:lnTo>
                      <a:lnTo>
                        <a:pt x="13" y="109"/>
                      </a:lnTo>
                      <a:lnTo>
                        <a:pt x="13" y="104"/>
                      </a:lnTo>
                      <a:lnTo>
                        <a:pt x="11" y="102"/>
                      </a:lnTo>
                      <a:lnTo>
                        <a:pt x="13" y="98"/>
                      </a:lnTo>
                      <a:lnTo>
                        <a:pt x="13" y="95"/>
                      </a:lnTo>
                      <a:lnTo>
                        <a:pt x="12" y="93"/>
                      </a:lnTo>
                      <a:lnTo>
                        <a:pt x="12" y="91"/>
                      </a:lnTo>
                      <a:lnTo>
                        <a:pt x="11" y="85"/>
                      </a:lnTo>
                      <a:lnTo>
                        <a:pt x="11" y="87"/>
                      </a:lnTo>
                      <a:lnTo>
                        <a:pt x="12" y="83"/>
                      </a:lnTo>
                      <a:lnTo>
                        <a:pt x="11" y="82"/>
                      </a:lnTo>
                      <a:lnTo>
                        <a:pt x="12" y="80"/>
                      </a:lnTo>
                      <a:lnTo>
                        <a:pt x="13" y="77"/>
                      </a:lnTo>
                      <a:lnTo>
                        <a:pt x="11" y="77"/>
                      </a:lnTo>
                      <a:lnTo>
                        <a:pt x="11" y="74"/>
                      </a:lnTo>
                      <a:lnTo>
                        <a:pt x="9" y="69"/>
                      </a:lnTo>
                      <a:lnTo>
                        <a:pt x="9" y="67"/>
                      </a:lnTo>
                      <a:lnTo>
                        <a:pt x="9" y="64"/>
                      </a:lnTo>
                      <a:lnTo>
                        <a:pt x="7" y="62"/>
                      </a:lnTo>
                      <a:lnTo>
                        <a:pt x="9" y="60"/>
                      </a:lnTo>
                      <a:lnTo>
                        <a:pt x="9" y="58"/>
                      </a:lnTo>
                      <a:lnTo>
                        <a:pt x="11" y="56"/>
                      </a:lnTo>
                      <a:lnTo>
                        <a:pt x="8" y="55"/>
                      </a:lnTo>
                      <a:lnTo>
                        <a:pt x="8" y="51"/>
                      </a:lnTo>
                      <a:lnTo>
                        <a:pt x="6" y="49"/>
                      </a:lnTo>
                      <a:lnTo>
                        <a:pt x="7" y="48"/>
                      </a:lnTo>
                      <a:lnTo>
                        <a:pt x="9" y="45"/>
                      </a:lnTo>
                      <a:lnTo>
                        <a:pt x="7" y="44"/>
                      </a:lnTo>
                      <a:lnTo>
                        <a:pt x="2" y="44"/>
                      </a:lnTo>
                      <a:lnTo>
                        <a:pt x="4" y="43"/>
                      </a:lnTo>
                      <a:lnTo>
                        <a:pt x="2" y="42"/>
                      </a:lnTo>
                      <a:lnTo>
                        <a:pt x="6" y="40"/>
                      </a:lnTo>
                      <a:lnTo>
                        <a:pt x="5" y="34"/>
                      </a:lnTo>
                      <a:lnTo>
                        <a:pt x="5" y="31"/>
                      </a:lnTo>
                      <a:lnTo>
                        <a:pt x="6" y="30"/>
                      </a:lnTo>
                      <a:lnTo>
                        <a:pt x="8" y="30"/>
                      </a:lnTo>
                      <a:lnTo>
                        <a:pt x="7" y="28"/>
                      </a:lnTo>
                      <a:lnTo>
                        <a:pt x="6" y="27"/>
                      </a:lnTo>
                      <a:lnTo>
                        <a:pt x="4" y="28"/>
                      </a:lnTo>
                      <a:lnTo>
                        <a:pt x="1" y="25"/>
                      </a:lnTo>
                      <a:lnTo>
                        <a:pt x="0" y="23"/>
                      </a:lnTo>
                      <a:lnTo>
                        <a:pt x="1" y="18"/>
                      </a:lnTo>
                      <a:lnTo>
                        <a:pt x="0" y="16"/>
                      </a:lnTo>
                      <a:lnTo>
                        <a:pt x="0" y="16"/>
                      </a:lnTo>
                      <a:close/>
                      <a:moveTo>
                        <a:pt x="183" y="737"/>
                      </a:moveTo>
                      <a:lnTo>
                        <a:pt x="185" y="735"/>
                      </a:lnTo>
                      <a:lnTo>
                        <a:pt x="186" y="740"/>
                      </a:lnTo>
                      <a:lnTo>
                        <a:pt x="186" y="746"/>
                      </a:lnTo>
                      <a:lnTo>
                        <a:pt x="183" y="745"/>
                      </a:lnTo>
                      <a:lnTo>
                        <a:pt x="179" y="745"/>
                      </a:lnTo>
                      <a:lnTo>
                        <a:pt x="180" y="740"/>
                      </a:lnTo>
                      <a:lnTo>
                        <a:pt x="180" y="737"/>
                      </a:lnTo>
                      <a:lnTo>
                        <a:pt x="183" y="737"/>
                      </a:lnTo>
                      <a:lnTo>
                        <a:pt x="183" y="737"/>
                      </a:lnTo>
                      <a:close/>
                      <a:moveTo>
                        <a:pt x="171" y="757"/>
                      </a:moveTo>
                      <a:lnTo>
                        <a:pt x="169" y="759"/>
                      </a:lnTo>
                      <a:lnTo>
                        <a:pt x="168" y="758"/>
                      </a:lnTo>
                      <a:lnTo>
                        <a:pt x="168" y="756"/>
                      </a:lnTo>
                      <a:lnTo>
                        <a:pt x="169" y="755"/>
                      </a:lnTo>
                      <a:lnTo>
                        <a:pt x="172" y="755"/>
                      </a:lnTo>
                      <a:lnTo>
                        <a:pt x="174" y="755"/>
                      </a:lnTo>
                      <a:lnTo>
                        <a:pt x="179" y="755"/>
                      </a:lnTo>
                      <a:lnTo>
                        <a:pt x="182" y="756"/>
                      </a:lnTo>
                      <a:lnTo>
                        <a:pt x="188" y="755"/>
                      </a:lnTo>
                      <a:lnTo>
                        <a:pt x="195" y="758"/>
                      </a:lnTo>
                      <a:lnTo>
                        <a:pt x="205" y="760"/>
                      </a:lnTo>
                      <a:lnTo>
                        <a:pt x="211" y="760"/>
                      </a:lnTo>
                      <a:lnTo>
                        <a:pt x="219" y="763"/>
                      </a:lnTo>
                      <a:lnTo>
                        <a:pt x="218" y="766"/>
                      </a:lnTo>
                      <a:lnTo>
                        <a:pt x="222" y="765"/>
                      </a:lnTo>
                      <a:lnTo>
                        <a:pt x="222" y="770"/>
                      </a:lnTo>
                      <a:lnTo>
                        <a:pt x="234" y="777"/>
                      </a:lnTo>
                      <a:lnTo>
                        <a:pt x="235" y="780"/>
                      </a:lnTo>
                      <a:lnTo>
                        <a:pt x="235" y="783"/>
                      </a:lnTo>
                      <a:lnTo>
                        <a:pt x="234" y="783"/>
                      </a:lnTo>
                      <a:lnTo>
                        <a:pt x="232" y="782"/>
                      </a:lnTo>
                      <a:lnTo>
                        <a:pt x="228" y="778"/>
                      </a:lnTo>
                      <a:lnTo>
                        <a:pt x="226" y="778"/>
                      </a:lnTo>
                      <a:lnTo>
                        <a:pt x="220" y="775"/>
                      </a:lnTo>
                      <a:lnTo>
                        <a:pt x="212" y="777"/>
                      </a:lnTo>
                      <a:lnTo>
                        <a:pt x="212" y="776"/>
                      </a:lnTo>
                      <a:lnTo>
                        <a:pt x="209" y="775"/>
                      </a:lnTo>
                      <a:lnTo>
                        <a:pt x="208" y="772"/>
                      </a:lnTo>
                      <a:lnTo>
                        <a:pt x="203" y="770"/>
                      </a:lnTo>
                      <a:lnTo>
                        <a:pt x="201" y="766"/>
                      </a:lnTo>
                      <a:lnTo>
                        <a:pt x="198" y="769"/>
                      </a:lnTo>
                      <a:lnTo>
                        <a:pt x="194" y="769"/>
                      </a:lnTo>
                      <a:lnTo>
                        <a:pt x="191" y="768"/>
                      </a:lnTo>
                      <a:lnTo>
                        <a:pt x="187" y="765"/>
                      </a:lnTo>
                      <a:lnTo>
                        <a:pt x="183" y="764"/>
                      </a:lnTo>
                      <a:lnTo>
                        <a:pt x="181" y="762"/>
                      </a:lnTo>
                      <a:lnTo>
                        <a:pt x="180" y="759"/>
                      </a:lnTo>
                      <a:lnTo>
                        <a:pt x="174" y="759"/>
                      </a:lnTo>
                      <a:lnTo>
                        <a:pt x="171" y="757"/>
                      </a:lnTo>
                      <a:lnTo>
                        <a:pt x="171" y="757"/>
                      </a:lnTo>
                      <a:close/>
                      <a:moveTo>
                        <a:pt x="225" y="764"/>
                      </a:moveTo>
                      <a:lnTo>
                        <a:pt x="228" y="765"/>
                      </a:lnTo>
                      <a:lnTo>
                        <a:pt x="229" y="765"/>
                      </a:lnTo>
                      <a:lnTo>
                        <a:pt x="231" y="764"/>
                      </a:lnTo>
                      <a:lnTo>
                        <a:pt x="229" y="763"/>
                      </a:lnTo>
                      <a:lnTo>
                        <a:pt x="227" y="762"/>
                      </a:lnTo>
                      <a:lnTo>
                        <a:pt x="225" y="764"/>
                      </a:lnTo>
                      <a:lnTo>
                        <a:pt x="225" y="764"/>
                      </a:lnTo>
                      <a:close/>
                      <a:moveTo>
                        <a:pt x="188" y="715"/>
                      </a:moveTo>
                      <a:lnTo>
                        <a:pt x="191" y="716"/>
                      </a:lnTo>
                      <a:lnTo>
                        <a:pt x="193" y="717"/>
                      </a:lnTo>
                      <a:lnTo>
                        <a:pt x="202" y="718"/>
                      </a:lnTo>
                      <a:lnTo>
                        <a:pt x="200" y="722"/>
                      </a:lnTo>
                      <a:lnTo>
                        <a:pt x="216" y="756"/>
                      </a:lnTo>
                      <a:lnTo>
                        <a:pt x="218" y="759"/>
                      </a:lnTo>
                      <a:lnTo>
                        <a:pt x="214" y="759"/>
                      </a:lnTo>
                      <a:lnTo>
                        <a:pt x="212" y="758"/>
                      </a:lnTo>
                      <a:lnTo>
                        <a:pt x="207" y="757"/>
                      </a:lnTo>
                      <a:lnTo>
                        <a:pt x="199" y="757"/>
                      </a:lnTo>
                      <a:lnTo>
                        <a:pt x="195" y="755"/>
                      </a:lnTo>
                      <a:lnTo>
                        <a:pt x="192" y="752"/>
                      </a:lnTo>
                      <a:lnTo>
                        <a:pt x="191" y="752"/>
                      </a:lnTo>
                      <a:lnTo>
                        <a:pt x="188" y="750"/>
                      </a:lnTo>
                      <a:lnTo>
                        <a:pt x="187" y="752"/>
                      </a:lnTo>
                      <a:lnTo>
                        <a:pt x="185" y="752"/>
                      </a:lnTo>
                      <a:lnTo>
                        <a:pt x="182" y="752"/>
                      </a:lnTo>
                      <a:lnTo>
                        <a:pt x="178" y="749"/>
                      </a:lnTo>
                      <a:lnTo>
                        <a:pt x="176" y="750"/>
                      </a:lnTo>
                      <a:lnTo>
                        <a:pt x="175" y="748"/>
                      </a:lnTo>
                      <a:lnTo>
                        <a:pt x="178" y="746"/>
                      </a:lnTo>
                      <a:lnTo>
                        <a:pt x="183" y="748"/>
                      </a:lnTo>
                      <a:lnTo>
                        <a:pt x="187" y="746"/>
                      </a:lnTo>
                      <a:lnTo>
                        <a:pt x="191" y="744"/>
                      </a:lnTo>
                      <a:lnTo>
                        <a:pt x="192" y="743"/>
                      </a:lnTo>
                      <a:lnTo>
                        <a:pt x="192" y="742"/>
                      </a:lnTo>
                      <a:lnTo>
                        <a:pt x="191" y="739"/>
                      </a:lnTo>
                      <a:lnTo>
                        <a:pt x="188" y="738"/>
                      </a:lnTo>
                      <a:lnTo>
                        <a:pt x="189" y="736"/>
                      </a:lnTo>
                      <a:lnTo>
                        <a:pt x="192" y="735"/>
                      </a:lnTo>
                      <a:lnTo>
                        <a:pt x="192" y="733"/>
                      </a:lnTo>
                      <a:lnTo>
                        <a:pt x="187" y="733"/>
                      </a:lnTo>
                      <a:lnTo>
                        <a:pt x="186" y="731"/>
                      </a:lnTo>
                      <a:lnTo>
                        <a:pt x="185" y="729"/>
                      </a:lnTo>
                      <a:lnTo>
                        <a:pt x="186" y="725"/>
                      </a:lnTo>
                      <a:lnTo>
                        <a:pt x="185" y="726"/>
                      </a:lnTo>
                      <a:lnTo>
                        <a:pt x="183" y="725"/>
                      </a:lnTo>
                      <a:lnTo>
                        <a:pt x="183" y="719"/>
                      </a:lnTo>
                      <a:lnTo>
                        <a:pt x="185" y="717"/>
                      </a:lnTo>
                      <a:lnTo>
                        <a:pt x="188" y="715"/>
                      </a:lnTo>
                      <a:lnTo>
                        <a:pt x="188" y="715"/>
                      </a:lnTo>
                      <a:close/>
                      <a:moveTo>
                        <a:pt x="113" y="725"/>
                      </a:moveTo>
                      <a:lnTo>
                        <a:pt x="116" y="728"/>
                      </a:lnTo>
                      <a:lnTo>
                        <a:pt x="119" y="726"/>
                      </a:lnTo>
                      <a:lnTo>
                        <a:pt x="121" y="729"/>
                      </a:lnTo>
                      <a:lnTo>
                        <a:pt x="122" y="731"/>
                      </a:lnTo>
                      <a:lnTo>
                        <a:pt x="125" y="730"/>
                      </a:lnTo>
                      <a:lnTo>
                        <a:pt x="128" y="730"/>
                      </a:lnTo>
                      <a:lnTo>
                        <a:pt x="128" y="728"/>
                      </a:lnTo>
                      <a:lnTo>
                        <a:pt x="127" y="726"/>
                      </a:lnTo>
                      <a:lnTo>
                        <a:pt x="125" y="725"/>
                      </a:lnTo>
                      <a:lnTo>
                        <a:pt x="125" y="724"/>
                      </a:lnTo>
                      <a:lnTo>
                        <a:pt x="121" y="723"/>
                      </a:lnTo>
                      <a:lnTo>
                        <a:pt x="116" y="720"/>
                      </a:lnTo>
                      <a:lnTo>
                        <a:pt x="114" y="720"/>
                      </a:lnTo>
                      <a:lnTo>
                        <a:pt x="111" y="720"/>
                      </a:lnTo>
                      <a:lnTo>
                        <a:pt x="113" y="725"/>
                      </a:lnTo>
                      <a:lnTo>
                        <a:pt x="113" y="725"/>
                      </a:lnTo>
                      <a:close/>
                      <a:moveTo>
                        <a:pt x="131" y="730"/>
                      </a:moveTo>
                      <a:lnTo>
                        <a:pt x="133" y="728"/>
                      </a:lnTo>
                      <a:lnTo>
                        <a:pt x="134" y="729"/>
                      </a:lnTo>
                      <a:lnTo>
                        <a:pt x="135" y="731"/>
                      </a:lnTo>
                      <a:lnTo>
                        <a:pt x="135" y="735"/>
                      </a:lnTo>
                      <a:lnTo>
                        <a:pt x="138" y="735"/>
                      </a:lnTo>
                      <a:lnTo>
                        <a:pt x="135" y="737"/>
                      </a:lnTo>
                      <a:lnTo>
                        <a:pt x="134" y="736"/>
                      </a:lnTo>
                      <a:lnTo>
                        <a:pt x="132" y="738"/>
                      </a:lnTo>
                      <a:lnTo>
                        <a:pt x="132" y="733"/>
                      </a:lnTo>
                      <a:lnTo>
                        <a:pt x="131" y="730"/>
                      </a:lnTo>
                      <a:lnTo>
                        <a:pt x="131" y="730"/>
                      </a:lnTo>
                      <a:close/>
                      <a:moveTo>
                        <a:pt x="140" y="742"/>
                      </a:moveTo>
                      <a:lnTo>
                        <a:pt x="140" y="738"/>
                      </a:lnTo>
                      <a:lnTo>
                        <a:pt x="142" y="737"/>
                      </a:lnTo>
                      <a:lnTo>
                        <a:pt x="145" y="732"/>
                      </a:lnTo>
                      <a:lnTo>
                        <a:pt x="146" y="731"/>
                      </a:lnTo>
                      <a:lnTo>
                        <a:pt x="151" y="735"/>
                      </a:lnTo>
                      <a:lnTo>
                        <a:pt x="159" y="738"/>
                      </a:lnTo>
                      <a:lnTo>
                        <a:pt x="166" y="739"/>
                      </a:lnTo>
                      <a:lnTo>
                        <a:pt x="168" y="742"/>
                      </a:lnTo>
                      <a:lnTo>
                        <a:pt x="173" y="746"/>
                      </a:lnTo>
                      <a:lnTo>
                        <a:pt x="174" y="751"/>
                      </a:lnTo>
                      <a:lnTo>
                        <a:pt x="173" y="749"/>
                      </a:lnTo>
                      <a:lnTo>
                        <a:pt x="171" y="751"/>
                      </a:lnTo>
                      <a:lnTo>
                        <a:pt x="166" y="751"/>
                      </a:lnTo>
                      <a:lnTo>
                        <a:pt x="165" y="755"/>
                      </a:lnTo>
                      <a:lnTo>
                        <a:pt x="162" y="755"/>
                      </a:lnTo>
                      <a:lnTo>
                        <a:pt x="160" y="751"/>
                      </a:lnTo>
                      <a:lnTo>
                        <a:pt x="156" y="745"/>
                      </a:lnTo>
                      <a:lnTo>
                        <a:pt x="155" y="749"/>
                      </a:lnTo>
                      <a:lnTo>
                        <a:pt x="152" y="748"/>
                      </a:lnTo>
                      <a:lnTo>
                        <a:pt x="148" y="744"/>
                      </a:lnTo>
                      <a:lnTo>
                        <a:pt x="145" y="748"/>
                      </a:lnTo>
                      <a:lnTo>
                        <a:pt x="142" y="745"/>
                      </a:lnTo>
                      <a:lnTo>
                        <a:pt x="140" y="742"/>
                      </a:lnTo>
                      <a:lnTo>
                        <a:pt x="140" y="742"/>
                      </a:lnTo>
                      <a:close/>
                      <a:moveTo>
                        <a:pt x="39" y="499"/>
                      </a:moveTo>
                      <a:lnTo>
                        <a:pt x="42" y="501"/>
                      </a:lnTo>
                      <a:lnTo>
                        <a:pt x="44" y="498"/>
                      </a:lnTo>
                      <a:lnTo>
                        <a:pt x="48" y="498"/>
                      </a:lnTo>
                      <a:lnTo>
                        <a:pt x="51" y="504"/>
                      </a:lnTo>
                      <a:lnTo>
                        <a:pt x="52" y="508"/>
                      </a:lnTo>
                      <a:lnTo>
                        <a:pt x="52" y="510"/>
                      </a:lnTo>
                      <a:lnTo>
                        <a:pt x="49" y="511"/>
                      </a:lnTo>
                      <a:lnTo>
                        <a:pt x="52" y="516"/>
                      </a:lnTo>
                      <a:lnTo>
                        <a:pt x="55" y="519"/>
                      </a:lnTo>
                      <a:lnTo>
                        <a:pt x="54" y="522"/>
                      </a:lnTo>
                      <a:lnTo>
                        <a:pt x="54" y="529"/>
                      </a:lnTo>
                      <a:lnTo>
                        <a:pt x="49" y="530"/>
                      </a:lnTo>
                      <a:lnTo>
                        <a:pt x="46" y="529"/>
                      </a:lnTo>
                      <a:lnTo>
                        <a:pt x="46" y="526"/>
                      </a:lnTo>
                      <a:lnTo>
                        <a:pt x="45" y="524"/>
                      </a:lnTo>
                      <a:lnTo>
                        <a:pt x="48" y="522"/>
                      </a:lnTo>
                      <a:lnTo>
                        <a:pt x="46" y="518"/>
                      </a:lnTo>
                      <a:lnTo>
                        <a:pt x="42" y="518"/>
                      </a:lnTo>
                      <a:lnTo>
                        <a:pt x="41" y="515"/>
                      </a:lnTo>
                      <a:lnTo>
                        <a:pt x="40" y="512"/>
                      </a:lnTo>
                      <a:lnTo>
                        <a:pt x="40" y="508"/>
                      </a:lnTo>
                      <a:lnTo>
                        <a:pt x="40" y="506"/>
                      </a:lnTo>
                      <a:lnTo>
                        <a:pt x="40" y="502"/>
                      </a:lnTo>
                      <a:lnTo>
                        <a:pt x="39" y="499"/>
                      </a:lnTo>
                      <a:lnTo>
                        <a:pt x="39" y="499"/>
                      </a:lnTo>
                      <a:close/>
                      <a:moveTo>
                        <a:pt x="92" y="679"/>
                      </a:moveTo>
                      <a:lnTo>
                        <a:pt x="95" y="678"/>
                      </a:lnTo>
                      <a:lnTo>
                        <a:pt x="100" y="679"/>
                      </a:lnTo>
                      <a:lnTo>
                        <a:pt x="99" y="686"/>
                      </a:lnTo>
                      <a:lnTo>
                        <a:pt x="96" y="689"/>
                      </a:lnTo>
                      <a:lnTo>
                        <a:pt x="99" y="691"/>
                      </a:lnTo>
                      <a:lnTo>
                        <a:pt x="99" y="693"/>
                      </a:lnTo>
                      <a:lnTo>
                        <a:pt x="108" y="701"/>
                      </a:lnTo>
                      <a:lnTo>
                        <a:pt x="107" y="704"/>
                      </a:lnTo>
                      <a:lnTo>
                        <a:pt x="112" y="703"/>
                      </a:lnTo>
                      <a:lnTo>
                        <a:pt x="106" y="708"/>
                      </a:lnTo>
                      <a:lnTo>
                        <a:pt x="108" y="710"/>
                      </a:lnTo>
                      <a:lnTo>
                        <a:pt x="104" y="710"/>
                      </a:lnTo>
                      <a:lnTo>
                        <a:pt x="101" y="706"/>
                      </a:lnTo>
                      <a:lnTo>
                        <a:pt x="100" y="698"/>
                      </a:lnTo>
                      <a:lnTo>
                        <a:pt x="92" y="695"/>
                      </a:lnTo>
                      <a:lnTo>
                        <a:pt x="94" y="686"/>
                      </a:lnTo>
                      <a:lnTo>
                        <a:pt x="92" y="683"/>
                      </a:lnTo>
                      <a:lnTo>
                        <a:pt x="82" y="679"/>
                      </a:lnTo>
                      <a:lnTo>
                        <a:pt x="80" y="676"/>
                      </a:lnTo>
                      <a:lnTo>
                        <a:pt x="82" y="672"/>
                      </a:lnTo>
                      <a:lnTo>
                        <a:pt x="85" y="677"/>
                      </a:lnTo>
                      <a:lnTo>
                        <a:pt x="87" y="679"/>
                      </a:lnTo>
                      <a:lnTo>
                        <a:pt x="89" y="681"/>
                      </a:lnTo>
                      <a:lnTo>
                        <a:pt x="92" y="679"/>
                      </a:lnTo>
                      <a:lnTo>
                        <a:pt x="92" y="679"/>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562" name="Canada">
                  <a:extLst>
                    <a:ext uri="{FF2B5EF4-FFF2-40B4-BE49-F238E27FC236}">
                      <a16:creationId xmlns:a16="http://schemas.microsoft.com/office/drawing/2014/main" id="{B09AE7B6-BCE1-174F-AE56-4C2D04C273A3}"/>
                    </a:ext>
                  </a:extLst>
                </p:cNvPr>
                <p:cNvSpPr>
                  <a:spLocks noEditPoints="1"/>
                </p:cNvSpPr>
                <p:nvPr>
                  <p:custDataLst>
                    <p:tags r:id="rId19"/>
                  </p:custDataLst>
                </p:nvPr>
              </p:nvSpPr>
              <p:spPr bwMode="auto">
                <a:xfrm>
                  <a:off x="3396862" y="1647983"/>
                  <a:ext cx="2028007" cy="1084714"/>
                </a:xfrm>
                <a:custGeom>
                  <a:avLst/>
                  <a:gdLst>
                    <a:gd name="T0" fmla="*/ 742 w 1391"/>
                    <a:gd name="T1" fmla="*/ 687 h 744"/>
                    <a:gd name="T2" fmla="*/ 669 w 1391"/>
                    <a:gd name="T3" fmla="*/ 617 h 744"/>
                    <a:gd name="T4" fmla="*/ 88 w 1391"/>
                    <a:gd name="T5" fmla="*/ 600 h 744"/>
                    <a:gd name="T6" fmla="*/ 54 w 1391"/>
                    <a:gd name="T7" fmla="*/ 550 h 744"/>
                    <a:gd name="T8" fmla="*/ 50 w 1391"/>
                    <a:gd name="T9" fmla="*/ 453 h 744"/>
                    <a:gd name="T10" fmla="*/ 225 w 1391"/>
                    <a:gd name="T11" fmla="*/ 222 h 744"/>
                    <a:gd name="T12" fmla="*/ 397 w 1391"/>
                    <a:gd name="T13" fmla="*/ 217 h 744"/>
                    <a:gd name="T14" fmla="*/ 581 w 1391"/>
                    <a:gd name="T15" fmla="*/ 262 h 744"/>
                    <a:gd name="T16" fmla="*/ 776 w 1391"/>
                    <a:gd name="T17" fmla="*/ 241 h 744"/>
                    <a:gd name="T18" fmla="*/ 841 w 1391"/>
                    <a:gd name="T19" fmla="*/ 235 h 744"/>
                    <a:gd name="T20" fmla="*/ 899 w 1391"/>
                    <a:gd name="T21" fmla="*/ 258 h 744"/>
                    <a:gd name="T22" fmla="*/ 709 w 1391"/>
                    <a:gd name="T23" fmla="*/ 350 h 744"/>
                    <a:gd name="T24" fmla="*/ 783 w 1391"/>
                    <a:gd name="T25" fmla="*/ 542 h 744"/>
                    <a:gd name="T26" fmla="*/ 918 w 1391"/>
                    <a:gd name="T27" fmla="*/ 379 h 744"/>
                    <a:gd name="T28" fmla="*/ 1044 w 1391"/>
                    <a:gd name="T29" fmla="*/ 418 h 744"/>
                    <a:gd name="T30" fmla="*/ 1123 w 1391"/>
                    <a:gd name="T31" fmla="*/ 436 h 744"/>
                    <a:gd name="T32" fmla="*/ 1170 w 1391"/>
                    <a:gd name="T33" fmla="*/ 490 h 744"/>
                    <a:gd name="T34" fmla="*/ 1180 w 1391"/>
                    <a:gd name="T35" fmla="*/ 522 h 744"/>
                    <a:gd name="T36" fmla="*/ 866 w 1391"/>
                    <a:gd name="T37" fmla="*/ 657 h 744"/>
                    <a:gd name="T38" fmla="*/ 957 w 1391"/>
                    <a:gd name="T39" fmla="*/ 700 h 744"/>
                    <a:gd name="T40" fmla="*/ 991 w 1391"/>
                    <a:gd name="T41" fmla="*/ 670 h 744"/>
                    <a:gd name="T42" fmla="*/ 839 w 1391"/>
                    <a:gd name="T43" fmla="*/ 678 h 744"/>
                    <a:gd name="T44" fmla="*/ 995 w 1391"/>
                    <a:gd name="T45" fmla="*/ 639 h 744"/>
                    <a:gd name="T46" fmla="*/ 1048 w 1391"/>
                    <a:gd name="T47" fmla="*/ 672 h 744"/>
                    <a:gd name="T48" fmla="*/ 952 w 1391"/>
                    <a:gd name="T49" fmla="*/ 687 h 744"/>
                    <a:gd name="T50" fmla="*/ 846 w 1391"/>
                    <a:gd name="T51" fmla="*/ 673 h 744"/>
                    <a:gd name="T52" fmla="*/ 1152 w 1391"/>
                    <a:gd name="T53" fmla="*/ 638 h 744"/>
                    <a:gd name="T54" fmla="*/ 1122 w 1391"/>
                    <a:gd name="T55" fmla="*/ 595 h 744"/>
                    <a:gd name="T56" fmla="*/ 1166 w 1391"/>
                    <a:gd name="T57" fmla="*/ 593 h 744"/>
                    <a:gd name="T58" fmla="*/ 1192 w 1391"/>
                    <a:gd name="T59" fmla="*/ 622 h 744"/>
                    <a:gd name="T60" fmla="*/ 42 w 1391"/>
                    <a:gd name="T61" fmla="*/ 565 h 744"/>
                    <a:gd name="T62" fmla="*/ 69 w 1391"/>
                    <a:gd name="T63" fmla="*/ 580 h 744"/>
                    <a:gd name="T64" fmla="*/ 542 w 1391"/>
                    <a:gd name="T65" fmla="*/ 513 h 744"/>
                    <a:gd name="T66" fmla="*/ 518 w 1391"/>
                    <a:gd name="T67" fmla="*/ 573 h 744"/>
                    <a:gd name="T68" fmla="*/ 16 w 1391"/>
                    <a:gd name="T69" fmla="*/ 519 h 744"/>
                    <a:gd name="T70" fmla="*/ 48 w 1391"/>
                    <a:gd name="T71" fmla="*/ 504 h 744"/>
                    <a:gd name="T72" fmla="*/ 1042 w 1391"/>
                    <a:gd name="T73" fmla="*/ 501 h 744"/>
                    <a:gd name="T74" fmla="*/ 501 w 1391"/>
                    <a:gd name="T75" fmla="*/ 450 h 744"/>
                    <a:gd name="T76" fmla="*/ 1117 w 1391"/>
                    <a:gd name="T77" fmla="*/ 359 h 744"/>
                    <a:gd name="T78" fmla="*/ 1052 w 1391"/>
                    <a:gd name="T79" fmla="*/ 332 h 744"/>
                    <a:gd name="T80" fmla="*/ 1071 w 1391"/>
                    <a:gd name="T81" fmla="*/ 231 h 744"/>
                    <a:gd name="T82" fmla="*/ 897 w 1391"/>
                    <a:gd name="T83" fmla="*/ 188 h 744"/>
                    <a:gd name="T84" fmla="*/ 1070 w 1391"/>
                    <a:gd name="T85" fmla="*/ 158 h 744"/>
                    <a:gd name="T86" fmla="*/ 1159 w 1391"/>
                    <a:gd name="T87" fmla="*/ 237 h 744"/>
                    <a:gd name="T88" fmla="*/ 1126 w 1391"/>
                    <a:gd name="T89" fmla="*/ 295 h 744"/>
                    <a:gd name="T90" fmla="*/ 853 w 1391"/>
                    <a:gd name="T91" fmla="*/ 325 h 744"/>
                    <a:gd name="T92" fmla="*/ 341 w 1391"/>
                    <a:gd name="T93" fmla="*/ 294 h 744"/>
                    <a:gd name="T94" fmla="*/ 1026 w 1391"/>
                    <a:gd name="T95" fmla="*/ 232 h 744"/>
                    <a:gd name="T96" fmla="*/ 582 w 1391"/>
                    <a:gd name="T97" fmla="*/ 195 h 744"/>
                    <a:gd name="T98" fmla="*/ 673 w 1391"/>
                    <a:gd name="T99" fmla="*/ 177 h 744"/>
                    <a:gd name="T100" fmla="*/ 665 w 1391"/>
                    <a:gd name="T101" fmla="*/ 222 h 744"/>
                    <a:gd name="T102" fmla="*/ 791 w 1391"/>
                    <a:gd name="T103" fmla="*/ 154 h 744"/>
                    <a:gd name="T104" fmla="*/ 456 w 1391"/>
                    <a:gd name="T105" fmla="*/ 175 h 744"/>
                    <a:gd name="T106" fmla="*/ 1083 w 1391"/>
                    <a:gd name="T107" fmla="*/ 110 h 744"/>
                    <a:gd name="T108" fmla="*/ 658 w 1391"/>
                    <a:gd name="T109" fmla="*/ 122 h 744"/>
                    <a:gd name="T110" fmla="*/ 803 w 1391"/>
                    <a:gd name="T111" fmla="*/ 111 h 744"/>
                    <a:gd name="T112" fmla="*/ 670 w 1391"/>
                    <a:gd name="T113" fmla="*/ 84 h 744"/>
                    <a:gd name="T114" fmla="*/ 1031 w 1391"/>
                    <a:gd name="T115" fmla="*/ 72 h 744"/>
                    <a:gd name="T116" fmla="*/ 1182 w 1391"/>
                    <a:gd name="T117" fmla="*/ 3 h 744"/>
                    <a:gd name="T118" fmla="*/ 1077 w 1391"/>
                    <a:gd name="T119" fmla="*/ 88 h 744"/>
                    <a:gd name="T120" fmla="*/ 841 w 1391"/>
                    <a:gd name="T121" fmla="*/ 65 h 744"/>
                    <a:gd name="T122" fmla="*/ 979 w 1391"/>
                    <a:gd name="T123" fmla="*/ 51 h 744"/>
                    <a:gd name="T124" fmla="*/ 1018 w 1391"/>
                    <a:gd name="T125" fmla="*/ 659 h 7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391" h="744">
                      <a:moveTo>
                        <a:pt x="992" y="84"/>
                      </a:moveTo>
                      <a:lnTo>
                        <a:pt x="989" y="85"/>
                      </a:lnTo>
                      <a:lnTo>
                        <a:pt x="984" y="84"/>
                      </a:lnTo>
                      <a:lnTo>
                        <a:pt x="984" y="83"/>
                      </a:lnTo>
                      <a:lnTo>
                        <a:pt x="980" y="85"/>
                      </a:lnTo>
                      <a:lnTo>
                        <a:pt x="977" y="84"/>
                      </a:lnTo>
                      <a:lnTo>
                        <a:pt x="975" y="82"/>
                      </a:lnTo>
                      <a:lnTo>
                        <a:pt x="979" y="79"/>
                      </a:lnTo>
                      <a:lnTo>
                        <a:pt x="984" y="77"/>
                      </a:lnTo>
                      <a:lnTo>
                        <a:pt x="988" y="78"/>
                      </a:lnTo>
                      <a:lnTo>
                        <a:pt x="990" y="78"/>
                      </a:lnTo>
                      <a:lnTo>
                        <a:pt x="993" y="78"/>
                      </a:lnTo>
                      <a:lnTo>
                        <a:pt x="998" y="79"/>
                      </a:lnTo>
                      <a:lnTo>
                        <a:pt x="992" y="84"/>
                      </a:lnTo>
                      <a:lnTo>
                        <a:pt x="992" y="84"/>
                      </a:lnTo>
                      <a:close/>
                      <a:moveTo>
                        <a:pt x="677" y="742"/>
                      </a:moveTo>
                      <a:lnTo>
                        <a:pt x="675" y="744"/>
                      </a:lnTo>
                      <a:lnTo>
                        <a:pt x="675" y="743"/>
                      </a:lnTo>
                      <a:lnTo>
                        <a:pt x="672" y="743"/>
                      </a:lnTo>
                      <a:lnTo>
                        <a:pt x="670" y="743"/>
                      </a:lnTo>
                      <a:lnTo>
                        <a:pt x="668" y="744"/>
                      </a:lnTo>
                      <a:lnTo>
                        <a:pt x="666" y="743"/>
                      </a:lnTo>
                      <a:lnTo>
                        <a:pt x="666" y="742"/>
                      </a:lnTo>
                      <a:lnTo>
                        <a:pt x="666" y="740"/>
                      </a:lnTo>
                      <a:lnTo>
                        <a:pt x="669" y="738"/>
                      </a:lnTo>
                      <a:lnTo>
                        <a:pt x="669" y="737"/>
                      </a:lnTo>
                      <a:lnTo>
                        <a:pt x="672" y="736"/>
                      </a:lnTo>
                      <a:lnTo>
                        <a:pt x="675" y="737"/>
                      </a:lnTo>
                      <a:lnTo>
                        <a:pt x="679" y="737"/>
                      </a:lnTo>
                      <a:lnTo>
                        <a:pt x="679" y="736"/>
                      </a:lnTo>
                      <a:lnTo>
                        <a:pt x="681" y="735"/>
                      </a:lnTo>
                      <a:lnTo>
                        <a:pt x="681" y="733"/>
                      </a:lnTo>
                      <a:lnTo>
                        <a:pt x="679" y="733"/>
                      </a:lnTo>
                      <a:lnTo>
                        <a:pt x="679" y="732"/>
                      </a:lnTo>
                      <a:lnTo>
                        <a:pt x="681" y="730"/>
                      </a:lnTo>
                      <a:lnTo>
                        <a:pt x="685" y="724"/>
                      </a:lnTo>
                      <a:lnTo>
                        <a:pt x="689" y="722"/>
                      </a:lnTo>
                      <a:lnTo>
                        <a:pt x="690" y="719"/>
                      </a:lnTo>
                      <a:lnTo>
                        <a:pt x="692" y="718"/>
                      </a:lnTo>
                      <a:lnTo>
                        <a:pt x="695" y="717"/>
                      </a:lnTo>
                      <a:lnTo>
                        <a:pt x="697" y="717"/>
                      </a:lnTo>
                      <a:lnTo>
                        <a:pt x="697" y="713"/>
                      </a:lnTo>
                      <a:lnTo>
                        <a:pt x="698" y="710"/>
                      </a:lnTo>
                      <a:lnTo>
                        <a:pt x="699" y="707"/>
                      </a:lnTo>
                      <a:lnTo>
                        <a:pt x="702" y="705"/>
                      </a:lnTo>
                      <a:lnTo>
                        <a:pt x="703" y="702"/>
                      </a:lnTo>
                      <a:lnTo>
                        <a:pt x="703" y="702"/>
                      </a:lnTo>
                      <a:lnTo>
                        <a:pt x="704" y="700"/>
                      </a:lnTo>
                      <a:lnTo>
                        <a:pt x="706" y="699"/>
                      </a:lnTo>
                      <a:lnTo>
                        <a:pt x="708" y="697"/>
                      </a:lnTo>
                      <a:lnTo>
                        <a:pt x="709" y="696"/>
                      </a:lnTo>
                      <a:lnTo>
                        <a:pt x="711" y="695"/>
                      </a:lnTo>
                      <a:lnTo>
                        <a:pt x="712" y="693"/>
                      </a:lnTo>
                      <a:lnTo>
                        <a:pt x="716" y="690"/>
                      </a:lnTo>
                      <a:lnTo>
                        <a:pt x="713" y="687"/>
                      </a:lnTo>
                      <a:lnTo>
                        <a:pt x="713" y="685"/>
                      </a:lnTo>
                      <a:lnTo>
                        <a:pt x="715" y="684"/>
                      </a:lnTo>
                      <a:lnTo>
                        <a:pt x="712" y="683"/>
                      </a:lnTo>
                      <a:lnTo>
                        <a:pt x="713" y="682"/>
                      </a:lnTo>
                      <a:lnTo>
                        <a:pt x="715" y="679"/>
                      </a:lnTo>
                      <a:lnTo>
                        <a:pt x="713" y="678"/>
                      </a:lnTo>
                      <a:lnTo>
                        <a:pt x="713" y="678"/>
                      </a:lnTo>
                      <a:lnTo>
                        <a:pt x="715" y="677"/>
                      </a:lnTo>
                      <a:lnTo>
                        <a:pt x="716" y="677"/>
                      </a:lnTo>
                      <a:lnTo>
                        <a:pt x="717" y="678"/>
                      </a:lnTo>
                      <a:lnTo>
                        <a:pt x="718" y="678"/>
                      </a:lnTo>
                      <a:lnTo>
                        <a:pt x="717" y="679"/>
                      </a:lnTo>
                      <a:lnTo>
                        <a:pt x="717" y="680"/>
                      </a:lnTo>
                      <a:lnTo>
                        <a:pt x="718" y="682"/>
                      </a:lnTo>
                      <a:lnTo>
                        <a:pt x="718" y="679"/>
                      </a:lnTo>
                      <a:lnTo>
                        <a:pt x="718" y="683"/>
                      </a:lnTo>
                      <a:lnTo>
                        <a:pt x="718" y="683"/>
                      </a:lnTo>
                      <a:lnTo>
                        <a:pt x="719" y="683"/>
                      </a:lnTo>
                      <a:lnTo>
                        <a:pt x="722" y="683"/>
                      </a:lnTo>
                      <a:lnTo>
                        <a:pt x="722" y="684"/>
                      </a:lnTo>
                      <a:lnTo>
                        <a:pt x="722" y="684"/>
                      </a:lnTo>
                      <a:lnTo>
                        <a:pt x="721" y="683"/>
                      </a:lnTo>
                      <a:lnTo>
                        <a:pt x="723" y="683"/>
                      </a:lnTo>
                      <a:lnTo>
                        <a:pt x="724" y="683"/>
                      </a:lnTo>
                      <a:lnTo>
                        <a:pt x="724" y="683"/>
                      </a:lnTo>
                      <a:lnTo>
                        <a:pt x="724" y="683"/>
                      </a:lnTo>
                      <a:lnTo>
                        <a:pt x="723" y="684"/>
                      </a:lnTo>
                      <a:lnTo>
                        <a:pt x="723" y="685"/>
                      </a:lnTo>
                      <a:lnTo>
                        <a:pt x="721" y="686"/>
                      </a:lnTo>
                      <a:lnTo>
                        <a:pt x="719" y="687"/>
                      </a:lnTo>
                      <a:lnTo>
                        <a:pt x="722" y="686"/>
                      </a:lnTo>
                      <a:lnTo>
                        <a:pt x="723" y="686"/>
                      </a:lnTo>
                      <a:lnTo>
                        <a:pt x="723" y="686"/>
                      </a:lnTo>
                      <a:lnTo>
                        <a:pt x="724" y="687"/>
                      </a:lnTo>
                      <a:lnTo>
                        <a:pt x="725" y="687"/>
                      </a:lnTo>
                      <a:lnTo>
                        <a:pt x="725" y="687"/>
                      </a:lnTo>
                      <a:lnTo>
                        <a:pt x="728" y="687"/>
                      </a:lnTo>
                      <a:lnTo>
                        <a:pt x="728" y="690"/>
                      </a:lnTo>
                      <a:lnTo>
                        <a:pt x="731" y="692"/>
                      </a:lnTo>
                      <a:lnTo>
                        <a:pt x="731" y="692"/>
                      </a:lnTo>
                      <a:lnTo>
                        <a:pt x="735" y="692"/>
                      </a:lnTo>
                      <a:lnTo>
                        <a:pt x="737" y="691"/>
                      </a:lnTo>
                      <a:lnTo>
                        <a:pt x="738" y="689"/>
                      </a:lnTo>
                      <a:lnTo>
                        <a:pt x="737" y="687"/>
                      </a:lnTo>
                      <a:lnTo>
                        <a:pt x="736" y="687"/>
                      </a:lnTo>
                      <a:lnTo>
                        <a:pt x="737" y="686"/>
                      </a:lnTo>
                      <a:lnTo>
                        <a:pt x="738" y="685"/>
                      </a:lnTo>
                      <a:lnTo>
                        <a:pt x="739" y="685"/>
                      </a:lnTo>
                      <a:lnTo>
                        <a:pt x="741" y="685"/>
                      </a:lnTo>
                      <a:lnTo>
                        <a:pt x="741" y="686"/>
                      </a:lnTo>
                      <a:lnTo>
                        <a:pt x="742" y="687"/>
                      </a:lnTo>
                      <a:lnTo>
                        <a:pt x="743" y="686"/>
                      </a:lnTo>
                      <a:lnTo>
                        <a:pt x="743" y="686"/>
                      </a:lnTo>
                      <a:lnTo>
                        <a:pt x="742" y="686"/>
                      </a:lnTo>
                      <a:lnTo>
                        <a:pt x="742" y="683"/>
                      </a:lnTo>
                      <a:lnTo>
                        <a:pt x="741" y="683"/>
                      </a:lnTo>
                      <a:lnTo>
                        <a:pt x="741" y="682"/>
                      </a:lnTo>
                      <a:lnTo>
                        <a:pt x="739" y="680"/>
                      </a:lnTo>
                      <a:lnTo>
                        <a:pt x="741" y="678"/>
                      </a:lnTo>
                      <a:lnTo>
                        <a:pt x="739" y="678"/>
                      </a:lnTo>
                      <a:lnTo>
                        <a:pt x="739" y="676"/>
                      </a:lnTo>
                      <a:lnTo>
                        <a:pt x="739" y="675"/>
                      </a:lnTo>
                      <a:lnTo>
                        <a:pt x="738" y="675"/>
                      </a:lnTo>
                      <a:lnTo>
                        <a:pt x="738" y="673"/>
                      </a:lnTo>
                      <a:lnTo>
                        <a:pt x="738" y="673"/>
                      </a:lnTo>
                      <a:lnTo>
                        <a:pt x="737" y="672"/>
                      </a:lnTo>
                      <a:lnTo>
                        <a:pt x="738" y="671"/>
                      </a:lnTo>
                      <a:lnTo>
                        <a:pt x="737" y="671"/>
                      </a:lnTo>
                      <a:lnTo>
                        <a:pt x="736" y="670"/>
                      </a:lnTo>
                      <a:lnTo>
                        <a:pt x="736" y="669"/>
                      </a:lnTo>
                      <a:lnTo>
                        <a:pt x="735" y="667"/>
                      </a:lnTo>
                      <a:lnTo>
                        <a:pt x="736" y="666"/>
                      </a:lnTo>
                      <a:lnTo>
                        <a:pt x="735" y="665"/>
                      </a:lnTo>
                      <a:lnTo>
                        <a:pt x="736" y="663"/>
                      </a:lnTo>
                      <a:lnTo>
                        <a:pt x="733" y="663"/>
                      </a:lnTo>
                      <a:lnTo>
                        <a:pt x="730" y="663"/>
                      </a:lnTo>
                      <a:lnTo>
                        <a:pt x="729" y="663"/>
                      </a:lnTo>
                      <a:lnTo>
                        <a:pt x="728" y="663"/>
                      </a:lnTo>
                      <a:lnTo>
                        <a:pt x="723" y="663"/>
                      </a:lnTo>
                      <a:lnTo>
                        <a:pt x="721" y="663"/>
                      </a:lnTo>
                      <a:lnTo>
                        <a:pt x="721" y="663"/>
                      </a:lnTo>
                      <a:lnTo>
                        <a:pt x="722" y="662"/>
                      </a:lnTo>
                      <a:lnTo>
                        <a:pt x="722" y="662"/>
                      </a:lnTo>
                      <a:lnTo>
                        <a:pt x="719" y="662"/>
                      </a:lnTo>
                      <a:lnTo>
                        <a:pt x="719" y="662"/>
                      </a:lnTo>
                      <a:lnTo>
                        <a:pt x="721" y="659"/>
                      </a:lnTo>
                      <a:lnTo>
                        <a:pt x="718" y="659"/>
                      </a:lnTo>
                      <a:lnTo>
                        <a:pt x="711" y="659"/>
                      </a:lnTo>
                      <a:lnTo>
                        <a:pt x="711" y="658"/>
                      </a:lnTo>
                      <a:lnTo>
                        <a:pt x="711" y="658"/>
                      </a:lnTo>
                      <a:lnTo>
                        <a:pt x="712" y="658"/>
                      </a:lnTo>
                      <a:lnTo>
                        <a:pt x="710" y="658"/>
                      </a:lnTo>
                      <a:lnTo>
                        <a:pt x="705" y="659"/>
                      </a:lnTo>
                      <a:lnTo>
                        <a:pt x="705" y="658"/>
                      </a:lnTo>
                      <a:lnTo>
                        <a:pt x="706" y="658"/>
                      </a:lnTo>
                      <a:lnTo>
                        <a:pt x="701" y="658"/>
                      </a:lnTo>
                      <a:lnTo>
                        <a:pt x="692" y="657"/>
                      </a:lnTo>
                      <a:lnTo>
                        <a:pt x="691" y="657"/>
                      </a:lnTo>
                      <a:lnTo>
                        <a:pt x="690" y="657"/>
                      </a:lnTo>
                      <a:lnTo>
                        <a:pt x="685" y="655"/>
                      </a:lnTo>
                      <a:lnTo>
                        <a:pt x="684" y="655"/>
                      </a:lnTo>
                      <a:lnTo>
                        <a:pt x="686" y="652"/>
                      </a:lnTo>
                      <a:lnTo>
                        <a:pt x="686" y="651"/>
                      </a:lnTo>
                      <a:lnTo>
                        <a:pt x="686" y="650"/>
                      </a:lnTo>
                      <a:lnTo>
                        <a:pt x="686" y="651"/>
                      </a:lnTo>
                      <a:lnTo>
                        <a:pt x="684" y="650"/>
                      </a:lnTo>
                      <a:lnTo>
                        <a:pt x="684" y="651"/>
                      </a:lnTo>
                      <a:lnTo>
                        <a:pt x="679" y="652"/>
                      </a:lnTo>
                      <a:lnTo>
                        <a:pt x="678" y="651"/>
                      </a:lnTo>
                      <a:lnTo>
                        <a:pt x="679" y="650"/>
                      </a:lnTo>
                      <a:lnTo>
                        <a:pt x="682" y="649"/>
                      </a:lnTo>
                      <a:lnTo>
                        <a:pt x="682" y="646"/>
                      </a:lnTo>
                      <a:lnTo>
                        <a:pt x="682" y="646"/>
                      </a:lnTo>
                      <a:lnTo>
                        <a:pt x="681" y="648"/>
                      </a:lnTo>
                      <a:lnTo>
                        <a:pt x="681" y="648"/>
                      </a:lnTo>
                      <a:lnTo>
                        <a:pt x="681" y="646"/>
                      </a:lnTo>
                      <a:lnTo>
                        <a:pt x="682" y="645"/>
                      </a:lnTo>
                      <a:lnTo>
                        <a:pt x="683" y="645"/>
                      </a:lnTo>
                      <a:lnTo>
                        <a:pt x="684" y="645"/>
                      </a:lnTo>
                      <a:lnTo>
                        <a:pt x="684" y="644"/>
                      </a:lnTo>
                      <a:lnTo>
                        <a:pt x="685" y="644"/>
                      </a:lnTo>
                      <a:lnTo>
                        <a:pt x="685" y="643"/>
                      </a:lnTo>
                      <a:lnTo>
                        <a:pt x="684" y="643"/>
                      </a:lnTo>
                      <a:lnTo>
                        <a:pt x="682" y="643"/>
                      </a:lnTo>
                      <a:lnTo>
                        <a:pt x="682" y="643"/>
                      </a:lnTo>
                      <a:lnTo>
                        <a:pt x="681" y="643"/>
                      </a:lnTo>
                      <a:lnTo>
                        <a:pt x="681" y="642"/>
                      </a:lnTo>
                      <a:lnTo>
                        <a:pt x="679" y="643"/>
                      </a:lnTo>
                      <a:lnTo>
                        <a:pt x="679" y="642"/>
                      </a:lnTo>
                      <a:lnTo>
                        <a:pt x="679" y="640"/>
                      </a:lnTo>
                      <a:lnTo>
                        <a:pt x="681" y="640"/>
                      </a:lnTo>
                      <a:lnTo>
                        <a:pt x="681" y="639"/>
                      </a:lnTo>
                      <a:lnTo>
                        <a:pt x="684" y="636"/>
                      </a:lnTo>
                      <a:lnTo>
                        <a:pt x="684" y="635"/>
                      </a:lnTo>
                      <a:lnTo>
                        <a:pt x="683" y="635"/>
                      </a:lnTo>
                      <a:lnTo>
                        <a:pt x="684" y="633"/>
                      </a:lnTo>
                      <a:lnTo>
                        <a:pt x="683" y="632"/>
                      </a:lnTo>
                      <a:lnTo>
                        <a:pt x="682" y="631"/>
                      </a:lnTo>
                      <a:lnTo>
                        <a:pt x="681" y="630"/>
                      </a:lnTo>
                      <a:lnTo>
                        <a:pt x="682" y="629"/>
                      </a:lnTo>
                      <a:lnTo>
                        <a:pt x="682" y="628"/>
                      </a:lnTo>
                      <a:lnTo>
                        <a:pt x="684" y="626"/>
                      </a:lnTo>
                      <a:lnTo>
                        <a:pt x="684" y="625"/>
                      </a:lnTo>
                      <a:lnTo>
                        <a:pt x="686" y="623"/>
                      </a:lnTo>
                      <a:lnTo>
                        <a:pt x="685" y="622"/>
                      </a:lnTo>
                      <a:lnTo>
                        <a:pt x="682" y="622"/>
                      </a:lnTo>
                      <a:lnTo>
                        <a:pt x="681" y="622"/>
                      </a:lnTo>
                      <a:lnTo>
                        <a:pt x="678" y="623"/>
                      </a:lnTo>
                      <a:lnTo>
                        <a:pt x="677" y="623"/>
                      </a:lnTo>
                      <a:lnTo>
                        <a:pt x="675" y="623"/>
                      </a:lnTo>
                      <a:lnTo>
                        <a:pt x="673" y="623"/>
                      </a:lnTo>
                      <a:lnTo>
                        <a:pt x="672" y="620"/>
                      </a:lnTo>
                      <a:lnTo>
                        <a:pt x="671" y="623"/>
                      </a:lnTo>
                      <a:lnTo>
                        <a:pt x="670" y="620"/>
                      </a:lnTo>
                      <a:lnTo>
                        <a:pt x="670" y="619"/>
                      </a:lnTo>
                      <a:lnTo>
                        <a:pt x="669" y="619"/>
                      </a:lnTo>
                      <a:lnTo>
                        <a:pt x="669" y="617"/>
                      </a:lnTo>
                      <a:lnTo>
                        <a:pt x="669" y="617"/>
                      </a:lnTo>
                      <a:lnTo>
                        <a:pt x="669" y="613"/>
                      </a:lnTo>
                      <a:lnTo>
                        <a:pt x="669" y="610"/>
                      </a:lnTo>
                      <a:lnTo>
                        <a:pt x="670" y="609"/>
                      </a:lnTo>
                      <a:lnTo>
                        <a:pt x="669" y="606"/>
                      </a:lnTo>
                      <a:lnTo>
                        <a:pt x="668" y="606"/>
                      </a:lnTo>
                      <a:lnTo>
                        <a:pt x="666" y="606"/>
                      </a:lnTo>
                      <a:lnTo>
                        <a:pt x="665" y="606"/>
                      </a:lnTo>
                      <a:lnTo>
                        <a:pt x="665" y="605"/>
                      </a:lnTo>
                      <a:lnTo>
                        <a:pt x="662" y="606"/>
                      </a:lnTo>
                      <a:lnTo>
                        <a:pt x="661" y="606"/>
                      </a:lnTo>
                      <a:lnTo>
                        <a:pt x="655" y="606"/>
                      </a:lnTo>
                      <a:lnTo>
                        <a:pt x="655" y="605"/>
                      </a:lnTo>
                      <a:lnTo>
                        <a:pt x="654" y="605"/>
                      </a:lnTo>
                      <a:lnTo>
                        <a:pt x="652" y="605"/>
                      </a:lnTo>
                      <a:lnTo>
                        <a:pt x="650" y="604"/>
                      </a:lnTo>
                      <a:lnTo>
                        <a:pt x="650" y="604"/>
                      </a:lnTo>
                      <a:lnTo>
                        <a:pt x="646" y="603"/>
                      </a:lnTo>
                      <a:lnTo>
                        <a:pt x="645" y="602"/>
                      </a:lnTo>
                      <a:lnTo>
                        <a:pt x="644" y="602"/>
                      </a:lnTo>
                      <a:lnTo>
                        <a:pt x="642" y="603"/>
                      </a:lnTo>
                      <a:lnTo>
                        <a:pt x="641" y="604"/>
                      </a:lnTo>
                      <a:lnTo>
                        <a:pt x="642" y="605"/>
                      </a:lnTo>
                      <a:lnTo>
                        <a:pt x="641" y="608"/>
                      </a:lnTo>
                      <a:lnTo>
                        <a:pt x="638" y="609"/>
                      </a:lnTo>
                      <a:lnTo>
                        <a:pt x="637" y="609"/>
                      </a:lnTo>
                      <a:lnTo>
                        <a:pt x="636" y="610"/>
                      </a:lnTo>
                      <a:lnTo>
                        <a:pt x="635" y="610"/>
                      </a:lnTo>
                      <a:lnTo>
                        <a:pt x="634" y="611"/>
                      </a:lnTo>
                      <a:lnTo>
                        <a:pt x="632" y="612"/>
                      </a:lnTo>
                      <a:lnTo>
                        <a:pt x="631" y="613"/>
                      </a:lnTo>
                      <a:lnTo>
                        <a:pt x="631" y="612"/>
                      </a:lnTo>
                      <a:lnTo>
                        <a:pt x="632" y="611"/>
                      </a:lnTo>
                      <a:lnTo>
                        <a:pt x="637" y="608"/>
                      </a:lnTo>
                      <a:lnTo>
                        <a:pt x="638" y="606"/>
                      </a:lnTo>
                      <a:lnTo>
                        <a:pt x="638" y="605"/>
                      </a:lnTo>
                      <a:lnTo>
                        <a:pt x="637" y="605"/>
                      </a:lnTo>
                      <a:lnTo>
                        <a:pt x="635" y="606"/>
                      </a:lnTo>
                      <a:lnTo>
                        <a:pt x="635" y="608"/>
                      </a:lnTo>
                      <a:lnTo>
                        <a:pt x="634" y="609"/>
                      </a:lnTo>
                      <a:lnTo>
                        <a:pt x="632" y="609"/>
                      </a:lnTo>
                      <a:lnTo>
                        <a:pt x="631" y="611"/>
                      </a:lnTo>
                      <a:lnTo>
                        <a:pt x="630" y="611"/>
                      </a:lnTo>
                      <a:lnTo>
                        <a:pt x="629" y="613"/>
                      </a:lnTo>
                      <a:lnTo>
                        <a:pt x="628" y="615"/>
                      </a:lnTo>
                      <a:lnTo>
                        <a:pt x="625" y="615"/>
                      </a:lnTo>
                      <a:lnTo>
                        <a:pt x="624" y="616"/>
                      </a:lnTo>
                      <a:lnTo>
                        <a:pt x="624" y="615"/>
                      </a:lnTo>
                      <a:lnTo>
                        <a:pt x="626" y="613"/>
                      </a:lnTo>
                      <a:lnTo>
                        <a:pt x="628" y="612"/>
                      </a:lnTo>
                      <a:lnTo>
                        <a:pt x="630" y="610"/>
                      </a:lnTo>
                      <a:lnTo>
                        <a:pt x="625" y="611"/>
                      </a:lnTo>
                      <a:lnTo>
                        <a:pt x="623" y="612"/>
                      </a:lnTo>
                      <a:lnTo>
                        <a:pt x="622" y="613"/>
                      </a:lnTo>
                      <a:lnTo>
                        <a:pt x="621" y="613"/>
                      </a:lnTo>
                      <a:lnTo>
                        <a:pt x="621" y="616"/>
                      </a:lnTo>
                      <a:lnTo>
                        <a:pt x="618" y="616"/>
                      </a:lnTo>
                      <a:lnTo>
                        <a:pt x="617" y="618"/>
                      </a:lnTo>
                      <a:lnTo>
                        <a:pt x="616" y="619"/>
                      </a:lnTo>
                      <a:lnTo>
                        <a:pt x="612" y="622"/>
                      </a:lnTo>
                      <a:lnTo>
                        <a:pt x="610" y="622"/>
                      </a:lnTo>
                      <a:lnTo>
                        <a:pt x="605" y="622"/>
                      </a:lnTo>
                      <a:lnTo>
                        <a:pt x="602" y="619"/>
                      </a:lnTo>
                      <a:lnTo>
                        <a:pt x="592" y="619"/>
                      </a:lnTo>
                      <a:lnTo>
                        <a:pt x="592" y="617"/>
                      </a:lnTo>
                      <a:lnTo>
                        <a:pt x="578" y="620"/>
                      </a:lnTo>
                      <a:lnTo>
                        <a:pt x="579" y="619"/>
                      </a:lnTo>
                      <a:lnTo>
                        <a:pt x="577" y="619"/>
                      </a:lnTo>
                      <a:lnTo>
                        <a:pt x="577" y="618"/>
                      </a:lnTo>
                      <a:lnTo>
                        <a:pt x="576" y="617"/>
                      </a:lnTo>
                      <a:lnTo>
                        <a:pt x="572" y="615"/>
                      </a:lnTo>
                      <a:lnTo>
                        <a:pt x="570" y="615"/>
                      </a:lnTo>
                      <a:lnTo>
                        <a:pt x="570" y="617"/>
                      </a:lnTo>
                      <a:lnTo>
                        <a:pt x="568" y="617"/>
                      </a:lnTo>
                      <a:lnTo>
                        <a:pt x="568" y="617"/>
                      </a:lnTo>
                      <a:lnTo>
                        <a:pt x="566" y="613"/>
                      </a:lnTo>
                      <a:lnTo>
                        <a:pt x="568" y="613"/>
                      </a:lnTo>
                      <a:lnTo>
                        <a:pt x="566" y="612"/>
                      </a:lnTo>
                      <a:lnTo>
                        <a:pt x="565" y="612"/>
                      </a:lnTo>
                      <a:lnTo>
                        <a:pt x="563" y="610"/>
                      </a:lnTo>
                      <a:lnTo>
                        <a:pt x="561" y="609"/>
                      </a:lnTo>
                      <a:lnTo>
                        <a:pt x="548" y="611"/>
                      </a:lnTo>
                      <a:lnTo>
                        <a:pt x="548" y="609"/>
                      </a:lnTo>
                      <a:lnTo>
                        <a:pt x="539" y="608"/>
                      </a:lnTo>
                      <a:lnTo>
                        <a:pt x="536" y="606"/>
                      </a:lnTo>
                      <a:lnTo>
                        <a:pt x="539" y="595"/>
                      </a:lnTo>
                      <a:lnTo>
                        <a:pt x="537" y="595"/>
                      </a:lnTo>
                      <a:lnTo>
                        <a:pt x="535" y="595"/>
                      </a:lnTo>
                      <a:lnTo>
                        <a:pt x="514" y="602"/>
                      </a:lnTo>
                      <a:lnTo>
                        <a:pt x="296" y="602"/>
                      </a:lnTo>
                      <a:lnTo>
                        <a:pt x="232" y="602"/>
                      </a:lnTo>
                      <a:lnTo>
                        <a:pt x="232" y="602"/>
                      </a:lnTo>
                      <a:lnTo>
                        <a:pt x="232" y="602"/>
                      </a:lnTo>
                      <a:lnTo>
                        <a:pt x="232" y="602"/>
                      </a:lnTo>
                      <a:lnTo>
                        <a:pt x="218" y="602"/>
                      </a:lnTo>
                      <a:lnTo>
                        <a:pt x="183" y="602"/>
                      </a:lnTo>
                      <a:lnTo>
                        <a:pt x="177" y="602"/>
                      </a:lnTo>
                      <a:lnTo>
                        <a:pt x="155" y="602"/>
                      </a:lnTo>
                      <a:lnTo>
                        <a:pt x="123" y="602"/>
                      </a:lnTo>
                      <a:lnTo>
                        <a:pt x="101" y="603"/>
                      </a:lnTo>
                      <a:lnTo>
                        <a:pt x="91" y="603"/>
                      </a:lnTo>
                      <a:lnTo>
                        <a:pt x="91" y="599"/>
                      </a:lnTo>
                      <a:lnTo>
                        <a:pt x="89" y="600"/>
                      </a:lnTo>
                      <a:lnTo>
                        <a:pt x="88" y="600"/>
                      </a:lnTo>
                      <a:lnTo>
                        <a:pt x="88" y="602"/>
                      </a:lnTo>
                      <a:lnTo>
                        <a:pt x="88" y="600"/>
                      </a:lnTo>
                      <a:lnTo>
                        <a:pt x="88" y="600"/>
                      </a:lnTo>
                      <a:lnTo>
                        <a:pt x="88" y="599"/>
                      </a:lnTo>
                      <a:lnTo>
                        <a:pt x="89" y="599"/>
                      </a:lnTo>
                      <a:lnTo>
                        <a:pt x="89" y="598"/>
                      </a:lnTo>
                      <a:lnTo>
                        <a:pt x="88" y="599"/>
                      </a:lnTo>
                      <a:lnTo>
                        <a:pt x="88" y="598"/>
                      </a:lnTo>
                      <a:lnTo>
                        <a:pt x="88" y="598"/>
                      </a:lnTo>
                      <a:lnTo>
                        <a:pt x="88" y="598"/>
                      </a:lnTo>
                      <a:lnTo>
                        <a:pt x="88" y="597"/>
                      </a:lnTo>
                      <a:lnTo>
                        <a:pt x="88" y="597"/>
                      </a:lnTo>
                      <a:lnTo>
                        <a:pt x="89" y="597"/>
                      </a:lnTo>
                      <a:lnTo>
                        <a:pt x="88" y="596"/>
                      </a:lnTo>
                      <a:lnTo>
                        <a:pt x="89" y="596"/>
                      </a:lnTo>
                      <a:lnTo>
                        <a:pt x="90" y="596"/>
                      </a:lnTo>
                      <a:lnTo>
                        <a:pt x="91" y="595"/>
                      </a:lnTo>
                      <a:lnTo>
                        <a:pt x="90" y="595"/>
                      </a:lnTo>
                      <a:lnTo>
                        <a:pt x="89" y="595"/>
                      </a:lnTo>
                      <a:lnTo>
                        <a:pt x="89" y="593"/>
                      </a:lnTo>
                      <a:lnTo>
                        <a:pt x="91" y="593"/>
                      </a:lnTo>
                      <a:lnTo>
                        <a:pt x="91" y="591"/>
                      </a:lnTo>
                      <a:lnTo>
                        <a:pt x="92" y="591"/>
                      </a:lnTo>
                      <a:lnTo>
                        <a:pt x="92" y="590"/>
                      </a:lnTo>
                      <a:lnTo>
                        <a:pt x="92" y="590"/>
                      </a:lnTo>
                      <a:lnTo>
                        <a:pt x="91" y="590"/>
                      </a:lnTo>
                      <a:lnTo>
                        <a:pt x="88" y="591"/>
                      </a:lnTo>
                      <a:lnTo>
                        <a:pt x="87" y="593"/>
                      </a:lnTo>
                      <a:lnTo>
                        <a:pt x="85" y="593"/>
                      </a:lnTo>
                      <a:lnTo>
                        <a:pt x="83" y="592"/>
                      </a:lnTo>
                      <a:lnTo>
                        <a:pt x="81" y="592"/>
                      </a:lnTo>
                      <a:lnTo>
                        <a:pt x="81" y="591"/>
                      </a:lnTo>
                      <a:lnTo>
                        <a:pt x="81" y="588"/>
                      </a:lnTo>
                      <a:lnTo>
                        <a:pt x="82" y="588"/>
                      </a:lnTo>
                      <a:lnTo>
                        <a:pt x="83" y="586"/>
                      </a:lnTo>
                      <a:lnTo>
                        <a:pt x="84" y="586"/>
                      </a:lnTo>
                      <a:lnTo>
                        <a:pt x="84" y="585"/>
                      </a:lnTo>
                      <a:lnTo>
                        <a:pt x="83" y="585"/>
                      </a:lnTo>
                      <a:lnTo>
                        <a:pt x="82" y="585"/>
                      </a:lnTo>
                      <a:lnTo>
                        <a:pt x="78" y="586"/>
                      </a:lnTo>
                      <a:lnTo>
                        <a:pt x="76" y="586"/>
                      </a:lnTo>
                      <a:lnTo>
                        <a:pt x="76" y="585"/>
                      </a:lnTo>
                      <a:lnTo>
                        <a:pt x="76" y="584"/>
                      </a:lnTo>
                      <a:lnTo>
                        <a:pt x="74" y="583"/>
                      </a:lnTo>
                      <a:lnTo>
                        <a:pt x="74" y="582"/>
                      </a:lnTo>
                      <a:lnTo>
                        <a:pt x="74" y="580"/>
                      </a:lnTo>
                      <a:lnTo>
                        <a:pt x="80" y="578"/>
                      </a:lnTo>
                      <a:lnTo>
                        <a:pt x="80" y="577"/>
                      </a:lnTo>
                      <a:lnTo>
                        <a:pt x="81" y="576"/>
                      </a:lnTo>
                      <a:lnTo>
                        <a:pt x="80" y="575"/>
                      </a:lnTo>
                      <a:lnTo>
                        <a:pt x="77" y="575"/>
                      </a:lnTo>
                      <a:lnTo>
                        <a:pt x="76" y="575"/>
                      </a:lnTo>
                      <a:lnTo>
                        <a:pt x="74" y="575"/>
                      </a:lnTo>
                      <a:lnTo>
                        <a:pt x="75" y="573"/>
                      </a:lnTo>
                      <a:lnTo>
                        <a:pt x="75" y="573"/>
                      </a:lnTo>
                      <a:lnTo>
                        <a:pt x="74" y="573"/>
                      </a:lnTo>
                      <a:lnTo>
                        <a:pt x="72" y="572"/>
                      </a:lnTo>
                      <a:lnTo>
                        <a:pt x="71" y="572"/>
                      </a:lnTo>
                      <a:lnTo>
                        <a:pt x="67" y="572"/>
                      </a:lnTo>
                      <a:lnTo>
                        <a:pt x="65" y="573"/>
                      </a:lnTo>
                      <a:lnTo>
                        <a:pt x="65" y="572"/>
                      </a:lnTo>
                      <a:lnTo>
                        <a:pt x="65" y="571"/>
                      </a:lnTo>
                      <a:lnTo>
                        <a:pt x="65" y="571"/>
                      </a:lnTo>
                      <a:lnTo>
                        <a:pt x="61" y="571"/>
                      </a:lnTo>
                      <a:lnTo>
                        <a:pt x="58" y="571"/>
                      </a:lnTo>
                      <a:lnTo>
                        <a:pt x="58" y="571"/>
                      </a:lnTo>
                      <a:lnTo>
                        <a:pt x="60" y="570"/>
                      </a:lnTo>
                      <a:lnTo>
                        <a:pt x="60" y="570"/>
                      </a:lnTo>
                      <a:lnTo>
                        <a:pt x="58" y="570"/>
                      </a:lnTo>
                      <a:lnTo>
                        <a:pt x="60" y="569"/>
                      </a:lnTo>
                      <a:lnTo>
                        <a:pt x="62" y="569"/>
                      </a:lnTo>
                      <a:lnTo>
                        <a:pt x="62" y="568"/>
                      </a:lnTo>
                      <a:lnTo>
                        <a:pt x="63" y="566"/>
                      </a:lnTo>
                      <a:lnTo>
                        <a:pt x="63" y="565"/>
                      </a:lnTo>
                      <a:lnTo>
                        <a:pt x="62" y="564"/>
                      </a:lnTo>
                      <a:lnTo>
                        <a:pt x="60" y="565"/>
                      </a:lnTo>
                      <a:lnTo>
                        <a:pt x="58" y="565"/>
                      </a:lnTo>
                      <a:lnTo>
                        <a:pt x="58" y="564"/>
                      </a:lnTo>
                      <a:lnTo>
                        <a:pt x="58" y="563"/>
                      </a:lnTo>
                      <a:lnTo>
                        <a:pt x="58" y="564"/>
                      </a:lnTo>
                      <a:lnTo>
                        <a:pt x="57" y="564"/>
                      </a:lnTo>
                      <a:lnTo>
                        <a:pt x="56" y="564"/>
                      </a:lnTo>
                      <a:lnTo>
                        <a:pt x="55" y="563"/>
                      </a:lnTo>
                      <a:lnTo>
                        <a:pt x="54" y="564"/>
                      </a:lnTo>
                      <a:lnTo>
                        <a:pt x="52" y="564"/>
                      </a:lnTo>
                      <a:lnTo>
                        <a:pt x="50" y="565"/>
                      </a:lnTo>
                      <a:lnTo>
                        <a:pt x="49" y="565"/>
                      </a:lnTo>
                      <a:lnTo>
                        <a:pt x="49" y="564"/>
                      </a:lnTo>
                      <a:lnTo>
                        <a:pt x="47" y="563"/>
                      </a:lnTo>
                      <a:lnTo>
                        <a:pt x="45" y="562"/>
                      </a:lnTo>
                      <a:lnTo>
                        <a:pt x="45" y="562"/>
                      </a:lnTo>
                      <a:lnTo>
                        <a:pt x="47" y="560"/>
                      </a:lnTo>
                      <a:lnTo>
                        <a:pt x="47" y="559"/>
                      </a:lnTo>
                      <a:lnTo>
                        <a:pt x="44" y="559"/>
                      </a:lnTo>
                      <a:lnTo>
                        <a:pt x="44" y="558"/>
                      </a:lnTo>
                      <a:lnTo>
                        <a:pt x="44" y="557"/>
                      </a:lnTo>
                      <a:lnTo>
                        <a:pt x="45" y="557"/>
                      </a:lnTo>
                      <a:lnTo>
                        <a:pt x="48" y="556"/>
                      </a:lnTo>
                      <a:lnTo>
                        <a:pt x="50" y="556"/>
                      </a:lnTo>
                      <a:lnTo>
                        <a:pt x="51" y="556"/>
                      </a:lnTo>
                      <a:lnTo>
                        <a:pt x="51" y="556"/>
                      </a:lnTo>
                      <a:lnTo>
                        <a:pt x="50" y="555"/>
                      </a:lnTo>
                      <a:lnTo>
                        <a:pt x="49" y="555"/>
                      </a:lnTo>
                      <a:lnTo>
                        <a:pt x="45" y="555"/>
                      </a:lnTo>
                      <a:lnTo>
                        <a:pt x="47" y="555"/>
                      </a:lnTo>
                      <a:lnTo>
                        <a:pt x="49" y="553"/>
                      </a:lnTo>
                      <a:lnTo>
                        <a:pt x="51" y="552"/>
                      </a:lnTo>
                      <a:lnTo>
                        <a:pt x="54" y="550"/>
                      </a:lnTo>
                      <a:lnTo>
                        <a:pt x="54" y="550"/>
                      </a:lnTo>
                      <a:lnTo>
                        <a:pt x="52" y="550"/>
                      </a:lnTo>
                      <a:lnTo>
                        <a:pt x="51" y="551"/>
                      </a:lnTo>
                      <a:lnTo>
                        <a:pt x="50" y="551"/>
                      </a:lnTo>
                      <a:lnTo>
                        <a:pt x="49" y="551"/>
                      </a:lnTo>
                      <a:lnTo>
                        <a:pt x="49" y="551"/>
                      </a:lnTo>
                      <a:lnTo>
                        <a:pt x="49" y="550"/>
                      </a:lnTo>
                      <a:lnTo>
                        <a:pt x="50" y="550"/>
                      </a:lnTo>
                      <a:lnTo>
                        <a:pt x="50" y="549"/>
                      </a:lnTo>
                      <a:lnTo>
                        <a:pt x="49" y="549"/>
                      </a:lnTo>
                      <a:lnTo>
                        <a:pt x="50" y="549"/>
                      </a:lnTo>
                      <a:lnTo>
                        <a:pt x="51" y="545"/>
                      </a:lnTo>
                      <a:lnTo>
                        <a:pt x="52" y="544"/>
                      </a:lnTo>
                      <a:lnTo>
                        <a:pt x="55" y="543"/>
                      </a:lnTo>
                      <a:lnTo>
                        <a:pt x="57" y="543"/>
                      </a:lnTo>
                      <a:lnTo>
                        <a:pt x="58" y="542"/>
                      </a:lnTo>
                      <a:lnTo>
                        <a:pt x="60" y="540"/>
                      </a:lnTo>
                      <a:lnTo>
                        <a:pt x="63" y="538"/>
                      </a:lnTo>
                      <a:lnTo>
                        <a:pt x="64" y="538"/>
                      </a:lnTo>
                      <a:lnTo>
                        <a:pt x="67" y="537"/>
                      </a:lnTo>
                      <a:lnTo>
                        <a:pt x="70" y="536"/>
                      </a:lnTo>
                      <a:lnTo>
                        <a:pt x="71" y="535"/>
                      </a:lnTo>
                      <a:lnTo>
                        <a:pt x="71" y="533"/>
                      </a:lnTo>
                      <a:lnTo>
                        <a:pt x="71" y="533"/>
                      </a:lnTo>
                      <a:lnTo>
                        <a:pt x="71" y="532"/>
                      </a:lnTo>
                      <a:lnTo>
                        <a:pt x="69" y="533"/>
                      </a:lnTo>
                      <a:lnTo>
                        <a:pt x="68" y="533"/>
                      </a:lnTo>
                      <a:lnTo>
                        <a:pt x="64" y="536"/>
                      </a:lnTo>
                      <a:lnTo>
                        <a:pt x="62" y="536"/>
                      </a:lnTo>
                      <a:lnTo>
                        <a:pt x="57" y="538"/>
                      </a:lnTo>
                      <a:lnTo>
                        <a:pt x="58" y="536"/>
                      </a:lnTo>
                      <a:lnTo>
                        <a:pt x="57" y="535"/>
                      </a:lnTo>
                      <a:lnTo>
                        <a:pt x="58" y="532"/>
                      </a:lnTo>
                      <a:lnTo>
                        <a:pt x="58" y="532"/>
                      </a:lnTo>
                      <a:lnTo>
                        <a:pt x="55" y="535"/>
                      </a:lnTo>
                      <a:lnTo>
                        <a:pt x="54" y="536"/>
                      </a:lnTo>
                      <a:lnTo>
                        <a:pt x="52" y="537"/>
                      </a:lnTo>
                      <a:lnTo>
                        <a:pt x="51" y="537"/>
                      </a:lnTo>
                      <a:lnTo>
                        <a:pt x="51" y="536"/>
                      </a:lnTo>
                      <a:lnTo>
                        <a:pt x="54" y="535"/>
                      </a:lnTo>
                      <a:lnTo>
                        <a:pt x="55" y="533"/>
                      </a:lnTo>
                      <a:lnTo>
                        <a:pt x="56" y="532"/>
                      </a:lnTo>
                      <a:lnTo>
                        <a:pt x="57" y="531"/>
                      </a:lnTo>
                      <a:lnTo>
                        <a:pt x="62" y="528"/>
                      </a:lnTo>
                      <a:lnTo>
                        <a:pt x="63" y="526"/>
                      </a:lnTo>
                      <a:lnTo>
                        <a:pt x="63" y="525"/>
                      </a:lnTo>
                      <a:lnTo>
                        <a:pt x="62" y="525"/>
                      </a:lnTo>
                      <a:lnTo>
                        <a:pt x="61" y="526"/>
                      </a:lnTo>
                      <a:lnTo>
                        <a:pt x="60" y="526"/>
                      </a:lnTo>
                      <a:lnTo>
                        <a:pt x="58" y="525"/>
                      </a:lnTo>
                      <a:lnTo>
                        <a:pt x="58" y="524"/>
                      </a:lnTo>
                      <a:lnTo>
                        <a:pt x="61" y="520"/>
                      </a:lnTo>
                      <a:lnTo>
                        <a:pt x="61" y="519"/>
                      </a:lnTo>
                      <a:lnTo>
                        <a:pt x="61" y="518"/>
                      </a:lnTo>
                      <a:lnTo>
                        <a:pt x="58" y="517"/>
                      </a:lnTo>
                      <a:lnTo>
                        <a:pt x="60" y="516"/>
                      </a:lnTo>
                      <a:lnTo>
                        <a:pt x="61" y="515"/>
                      </a:lnTo>
                      <a:lnTo>
                        <a:pt x="61" y="512"/>
                      </a:lnTo>
                      <a:lnTo>
                        <a:pt x="62" y="512"/>
                      </a:lnTo>
                      <a:lnTo>
                        <a:pt x="64" y="511"/>
                      </a:lnTo>
                      <a:lnTo>
                        <a:pt x="68" y="509"/>
                      </a:lnTo>
                      <a:lnTo>
                        <a:pt x="69" y="506"/>
                      </a:lnTo>
                      <a:lnTo>
                        <a:pt x="70" y="506"/>
                      </a:lnTo>
                      <a:lnTo>
                        <a:pt x="71" y="505"/>
                      </a:lnTo>
                      <a:lnTo>
                        <a:pt x="70" y="505"/>
                      </a:lnTo>
                      <a:lnTo>
                        <a:pt x="67" y="506"/>
                      </a:lnTo>
                      <a:lnTo>
                        <a:pt x="58" y="510"/>
                      </a:lnTo>
                      <a:lnTo>
                        <a:pt x="56" y="513"/>
                      </a:lnTo>
                      <a:lnTo>
                        <a:pt x="55" y="515"/>
                      </a:lnTo>
                      <a:lnTo>
                        <a:pt x="54" y="515"/>
                      </a:lnTo>
                      <a:lnTo>
                        <a:pt x="51" y="510"/>
                      </a:lnTo>
                      <a:lnTo>
                        <a:pt x="51" y="508"/>
                      </a:lnTo>
                      <a:lnTo>
                        <a:pt x="50" y="505"/>
                      </a:lnTo>
                      <a:lnTo>
                        <a:pt x="50" y="504"/>
                      </a:lnTo>
                      <a:lnTo>
                        <a:pt x="51" y="503"/>
                      </a:lnTo>
                      <a:lnTo>
                        <a:pt x="54" y="499"/>
                      </a:lnTo>
                      <a:lnTo>
                        <a:pt x="52" y="498"/>
                      </a:lnTo>
                      <a:lnTo>
                        <a:pt x="52" y="498"/>
                      </a:lnTo>
                      <a:lnTo>
                        <a:pt x="54" y="497"/>
                      </a:lnTo>
                      <a:lnTo>
                        <a:pt x="55" y="497"/>
                      </a:lnTo>
                      <a:lnTo>
                        <a:pt x="54" y="496"/>
                      </a:lnTo>
                      <a:lnTo>
                        <a:pt x="51" y="496"/>
                      </a:lnTo>
                      <a:lnTo>
                        <a:pt x="51" y="496"/>
                      </a:lnTo>
                      <a:lnTo>
                        <a:pt x="51" y="495"/>
                      </a:lnTo>
                      <a:lnTo>
                        <a:pt x="52" y="492"/>
                      </a:lnTo>
                      <a:lnTo>
                        <a:pt x="54" y="490"/>
                      </a:lnTo>
                      <a:lnTo>
                        <a:pt x="54" y="486"/>
                      </a:lnTo>
                      <a:lnTo>
                        <a:pt x="54" y="485"/>
                      </a:lnTo>
                      <a:lnTo>
                        <a:pt x="57" y="482"/>
                      </a:lnTo>
                      <a:lnTo>
                        <a:pt x="65" y="479"/>
                      </a:lnTo>
                      <a:lnTo>
                        <a:pt x="70" y="477"/>
                      </a:lnTo>
                      <a:lnTo>
                        <a:pt x="71" y="473"/>
                      </a:lnTo>
                      <a:lnTo>
                        <a:pt x="72" y="472"/>
                      </a:lnTo>
                      <a:lnTo>
                        <a:pt x="74" y="471"/>
                      </a:lnTo>
                      <a:lnTo>
                        <a:pt x="71" y="469"/>
                      </a:lnTo>
                      <a:lnTo>
                        <a:pt x="72" y="465"/>
                      </a:lnTo>
                      <a:lnTo>
                        <a:pt x="70" y="464"/>
                      </a:lnTo>
                      <a:lnTo>
                        <a:pt x="68" y="463"/>
                      </a:lnTo>
                      <a:lnTo>
                        <a:pt x="55" y="462"/>
                      </a:lnTo>
                      <a:lnTo>
                        <a:pt x="62" y="461"/>
                      </a:lnTo>
                      <a:lnTo>
                        <a:pt x="64" y="462"/>
                      </a:lnTo>
                      <a:lnTo>
                        <a:pt x="64" y="459"/>
                      </a:lnTo>
                      <a:lnTo>
                        <a:pt x="69" y="461"/>
                      </a:lnTo>
                      <a:lnTo>
                        <a:pt x="62" y="456"/>
                      </a:lnTo>
                      <a:lnTo>
                        <a:pt x="56" y="453"/>
                      </a:lnTo>
                      <a:lnTo>
                        <a:pt x="50" y="453"/>
                      </a:lnTo>
                      <a:lnTo>
                        <a:pt x="44" y="453"/>
                      </a:lnTo>
                      <a:lnTo>
                        <a:pt x="41" y="451"/>
                      </a:lnTo>
                      <a:lnTo>
                        <a:pt x="34" y="459"/>
                      </a:lnTo>
                      <a:lnTo>
                        <a:pt x="30" y="459"/>
                      </a:lnTo>
                      <a:lnTo>
                        <a:pt x="34" y="456"/>
                      </a:lnTo>
                      <a:lnTo>
                        <a:pt x="37" y="453"/>
                      </a:lnTo>
                      <a:lnTo>
                        <a:pt x="37" y="449"/>
                      </a:lnTo>
                      <a:lnTo>
                        <a:pt x="40" y="448"/>
                      </a:lnTo>
                      <a:lnTo>
                        <a:pt x="41" y="448"/>
                      </a:lnTo>
                      <a:lnTo>
                        <a:pt x="41" y="449"/>
                      </a:lnTo>
                      <a:lnTo>
                        <a:pt x="43" y="449"/>
                      </a:lnTo>
                      <a:lnTo>
                        <a:pt x="47" y="449"/>
                      </a:lnTo>
                      <a:lnTo>
                        <a:pt x="47" y="448"/>
                      </a:lnTo>
                      <a:lnTo>
                        <a:pt x="50" y="445"/>
                      </a:lnTo>
                      <a:lnTo>
                        <a:pt x="49" y="443"/>
                      </a:lnTo>
                      <a:lnTo>
                        <a:pt x="51" y="444"/>
                      </a:lnTo>
                      <a:lnTo>
                        <a:pt x="55" y="444"/>
                      </a:lnTo>
                      <a:lnTo>
                        <a:pt x="60" y="442"/>
                      </a:lnTo>
                      <a:lnTo>
                        <a:pt x="61" y="441"/>
                      </a:lnTo>
                      <a:lnTo>
                        <a:pt x="61" y="437"/>
                      </a:lnTo>
                      <a:lnTo>
                        <a:pt x="63" y="436"/>
                      </a:lnTo>
                      <a:lnTo>
                        <a:pt x="64" y="436"/>
                      </a:lnTo>
                      <a:lnTo>
                        <a:pt x="68" y="433"/>
                      </a:lnTo>
                      <a:lnTo>
                        <a:pt x="68" y="430"/>
                      </a:lnTo>
                      <a:lnTo>
                        <a:pt x="65" y="426"/>
                      </a:lnTo>
                      <a:lnTo>
                        <a:pt x="68" y="426"/>
                      </a:lnTo>
                      <a:lnTo>
                        <a:pt x="67" y="423"/>
                      </a:lnTo>
                      <a:lnTo>
                        <a:pt x="64" y="421"/>
                      </a:lnTo>
                      <a:lnTo>
                        <a:pt x="64" y="418"/>
                      </a:lnTo>
                      <a:lnTo>
                        <a:pt x="65" y="415"/>
                      </a:lnTo>
                      <a:lnTo>
                        <a:pt x="68" y="412"/>
                      </a:lnTo>
                      <a:lnTo>
                        <a:pt x="69" y="411"/>
                      </a:lnTo>
                      <a:lnTo>
                        <a:pt x="71" y="410"/>
                      </a:lnTo>
                      <a:lnTo>
                        <a:pt x="72" y="411"/>
                      </a:lnTo>
                      <a:lnTo>
                        <a:pt x="76" y="411"/>
                      </a:lnTo>
                      <a:lnTo>
                        <a:pt x="72" y="409"/>
                      </a:lnTo>
                      <a:lnTo>
                        <a:pt x="72" y="408"/>
                      </a:lnTo>
                      <a:lnTo>
                        <a:pt x="74" y="406"/>
                      </a:lnTo>
                      <a:lnTo>
                        <a:pt x="72" y="406"/>
                      </a:lnTo>
                      <a:lnTo>
                        <a:pt x="74" y="405"/>
                      </a:lnTo>
                      <a:lnTo>
                        <a:pt x="75" y="404"/>
                      </a:lnTo>
                      <a:lnTo>
                        <a:pt x="72" y="404"/>
                      </a:lnTo>
                      <a:lnTo>
                        <a:pt x="72" y="402"/>
                      </a:lnTo>
                      <a:lnTo>
                        <a:pt x="74" y="402"/>
                      </a:lnTo>
                      <a:lnTo>
                        <a:pt x="70" y="401"/>
                      </a:lnTo>
                      <a:lnTo>
                        <a:pt x="70" y="401"/>
                      </a:lnTo>
                      <a:lnTo>
                        <a:pt x="71" y="399"/>
                      </a:lnTo>
                      <a:lnTo>
                        <a:pt x="71" y="398"/>
                      </a:lnTo>
                      <a:lnTo>
                        <a:pt x="71" y="397"/>
                      </a:lnTo>
                      <a:lnTo>
                        <a:pt x="72" y="397"/>
                      </a:lnTo>
                      <a:lnTo>
                        <a:pt x="75" y="396"/>
                      </a:lnTo>
                      <a:lnTo>
                        <a:pt x="75" y="395"/>
                      </a:lnTo>
                      <a:lnTo>
                        <a:pt x="74" y="395"/>
                      </a:lnTo>
                      <a:lnTo>
                        <a:pt x="74" y="392"/>
                      </a:lnTo>
                      <a:lnTo>
                        <a:pt x="72" y="392"/>
                      </a:lnTo>
                      <a:lnTo>
                        <a:pt x="72" y="391"/>
                      </a:lnTo>
                      <a:lnTo>
                        <a:pt x="63" y="393"/>
                      </a:lnTo>
                      <a:lnTo>
                        <a:pt x="58" y="395"/>
                      </a:lnTo>
                      <a:lnTo>
                        <a:pt x="56" y="395"/>
                      </a:lnTo>
                      <a:lnTo>
                        <a:pt x="57" y="396"/>
                      </a:lnTo>
                      <a:lnTo>
                        <a:pt x="56" y="396"/>
                      </a:lnTo>
                      <a:lnTo>
                        <a:pt x="54" y="396"/>
                      </a:lnTo>
                      <a:lnTo>
                        <a:pt x="52" y="396"/>
                      </a:lnTo>
                      <a:lnTo>
                        <a:pt x="50" y="397"/>
                      </a:lnTo>
                      <a:lnTo>
                        <a:pt x="47" y="401"/>
                      </a:lnTo>
                      <a:lnTo>
                        <a:pt x="44" y="401"/>
                      </a:lnTo>
                      <a:lnTo>
                        <a:pt x="41" y="401"/>
                      </a:lnTo>
                      <a:lnTo>
                        <a:pt x="37" y="399"/>
                      </a:lnTo>
                      <a:lnTo>
                        <a:pt x="36" y="401"/>
                      </a:lnTo>
                      <a:lnTo>
                        <a:pt x="34" y="401"/>
                      </a:lnTo>
                      <a:lnTo>
                        <a:pt x="32" y="401"/>
                      </a:lnTo>
                      <a:lnTo>
                        <a:pt x="30" y="402"/>
                      </a:lnTo>
                      <a:lnTo>
                        <a:pt x="27" y="401"/>
                      </a:lnTo>
                      <a:lnTo>
                        <a:pt x="25" y="391"/>
                      </a:lnTo>
                      <a:lnTo>
                        <a:pt x="28" y="389"/>
                      </a:lnTo>
                      <a:lnTo>
                        <a:pt x="23" y="386"/>
                      </a:lnTo>
                      <a:lnTo>
                        <a:pt x="23" y="386"/>
                      </a:lnTo>
                      <a:lnTo>
                        <a:pt x="24" y="386"/>
                      </a:lnTo>
                      <a:lnTo>
                        <a:pt x="24" y="385"/>
                      </a:lnTo>
                      <a:lnTo>
                        <a:pt x="30" y="382"/>
                      </a:lnTo>
                      <a:lnTo>
                        <a:pt x="31" y="381"/>
                      </a:lnTo>
                      <a:lnTo>
                        <a:pt x="22" y="381"/>
                      </a:lnTo>
                      <a:lnTo>
                        <a:pt x="14" y="384"/>
                      </a:lnTo>
                      <a:lnTo>
                        <a:pt x="10" y="382"/>
                      </a:lnTo>
                      <a:lnTo>
                        <a:pt x="8" y="383"/>
                      </a:lnTo>
                      <a:lnTo>
                        <a:pt x="1" y="383"/>
                      </a:lnTo>
                      <a:lnTo>
                        <a:pt x="12" y="372"/>
                      </a:lnTo>
                      <a:lnTo>
                        <a:pt x="42" y="343"/>
                      </a:lnTo>
                      <a:lnTo>
                        <a:pt x="160" y="241"/>
                      </a:lnTo>
                      <a:lnTo>
                        <a:pt x="172" y="230"/>
                      </a:lnTo>
                      <a:lnTo>
                        <a:pt x="191" y="215"/>
                      </a:lnTo>
                      <a:lnTo>
                        <a:pt x="197" y="215"/>
                      </a:lnTo>
                      <a:lnTo>
                        <a:pt x="200" y="217"/>
                      </a:lnTo>
                      <a:lnTo>
                        <a:pt x="203" y="216"/>
                      </a:lnTo>
                      <a:lnTo>
                        <a:pt x="207" y="216"/>
                      </a:lnTo>
                      <a:lnTo>
                        <a:pt x="210" y="214"/>
                      </a:lnTo>
                      <a:lnTo>
                        <a:pt x="214" y="215"/>
                      </a:lnTo>
                      <a:lnTo>
                        <a:pt x="217" y="214"/>
                      </a:lnTo>
                      <a:lnTo>
                        <a:pt x="218" y="215"/>
                      </a:lnTo>
                      <a:lnTo>
                        <a:pt x="221" y="214"/>
                      </a:lnTo>
                      <a:lnTo>
                        <a:pt x="224" y="215"/>
                      </a:lnTo>
                      <a:lnTo>
                        <a:pt x="224" y="216"/>
                      </a:lnTo>
                      <a:lnTo>
                        <a:pt x="225" y="217"/>
                      </a:lnTo>
                      <a:lnTo>
                        <a:pt x="224" y="219"/>
                      </a:lnTo>
                      <a:lnTo>
                        <a:pt x="223" y="222"/>
                      </a:lnTo>
                      <a:lnTo>
                        <a:pt x="225" y="222"/>
                      </a:lnTo>
                      <a:lnTo>
                        <a:pt x="227" y="223"/>
                      </a:lnTo>
                      <a:lnTo>
                        <a:pt x="229" y="223"/>
                      </a:lnTo>
                      <a:lnTo>
                        <a:pt x="232" y="226"/>
                      </a:lnTo>
                      <a:lnTo>
                        <a:pt x="235" y="226"/>
                      </a:lnTo>
                      <a:lnTo>
                        <a:pt x="237" y="226"/>
                      </a:lnTo>
                      <a:lnTo>
                        <a:pt x="238" y="228"/>
                      </a:lnTo>
                      <a:lnTo>
                        <a:pt x="239" y="229"/>
                      </a:lnTo>
                      <a:lnTo>
                        <a:pt x="243" y="229"/>
                      </a:lnTo>
                      <a:lnTo>
                        <a:pt x="244" y="228"/>
                      </a:lnTo>
                      <a:lnTo>
                        <a:pt x="249" y="229"/>
                      </a:lnTo>
                      <a:lnTo>
                        <a:pt x="251" y="226"/>
                      </a:lnTo>
                      <a:lnTo>
                        <a:pt x="251" y="229"/>
                      </a:lnTo>
                      <a:lnTo>
                        <a:pt x="252" y="231"/>
                      </a:lnTo>
                      <a:lnTo>
                        <a:pt x="254" y="234"/>
                      </a:lnTo>
                      <a:lnTo>
                        <a:pt x="250" y="235"/>
                      </a:lnTo>
                      <a:lnTo>
                        <a:pt x="247" y="236"/>
                      </a:lnTo>
                      <a:lnTo>
                        <a:pt x="245" y="239"/>
                      </a:lnTo>
                      <a:lnTo>
                        <a:pt x="244" y="241"/>
                      </a:lnTo>
                      <a:lnTo>
                        <a:pt x="244" y="243"/>
                      </a:lnTo>
                      <a:lnTo>
                        <a:pt x="241" y="244"/>
                      </a:lnTo>
                      <a:lnTo>
                        <a:pt x="237" y="246"/>
                      </a:lnTo>
                      <a:lnTo>
                        <a:pt x="244" y="251"/>
                      </a:lnTo>
                      <a:lnTo>
                        <a:pt x="243" y="248"/>
                      </a:lnTo>
                      <a:lnTo>
                        <a:pt x="251" y="237"/>
                      </a:lnTo>
                      <a:lnTo>
                        <a:pt x="258" y="235"/>
                      </a:lnTo>
                      <a:lnTo>
                        <a:pt x="259" y="231"/>
                      </a:lnTo>
                      <a:lnTo>
                        <a:pt x="263" y="231"/>
                      </a:lnTo>
                      <a:lnTo>
                        <a:pt x="263" y="228"/>
                      </a:lnTo>
                      <a:lnTo>
                        <a:pt x="265" y="225"/>
                      </a:lnTo>
                      <a:lnTo>
                        <a:pt x="268" y="223"/>
                      </a:lnTo>
                      <a:lnTo>
                        <a:pt x="275" y="221"/>
                      </a:lnTo>
                      <a:lnTo>
                        <a:pt x="279" y="221"/>
                      </a:lnTo>
                      <a:lnTo>
                        <a:pt x="285" y="217"/>
                      </a:lnTo>
                      <a:lnTo>
                        <a:pt x="287" y="216"/>
                      </a:lnTo>
                      <a:lnTo>
                        <a:pt x="290" y="216"/>
                      </a:lnTo>
                      <a:lnTo>
                        <a:pt x="294" y="216"/>
                      </a:lnTo>
                      <a:lnTo>
                        <a:pt x="291" y="218"/>
                      </a:lnTo>
                      <a:lnTo>
                        <a:pt x="292" y="219"/>
                      </a:lnTo>
                      <a:lnTo>
                        <a:pt x="294" y="221"/>
                      </a:lnTo>
                      <a:lnTo>
                        <a:pt x="297" y="219"/>
                      </a:lnTo>
                      <a:lnTo>
                        <a:pt x="301" y="222"/>
                      </a:lnTo>
                      <a:lnTo>
                        <a:pt x="302" y="217"/>
                      </a:lnTo>
                      <a:lnTo>
                        <a:pt x="304" y="216"/>
                      </a:lnTo>
                      <a:lnTo>
                        <a:pt x="307" y="216"/>
                      </a:lnTo>
                      <a:lnTo>
                        <a:pt x="308" y="214"/>
                      </a:lnTo>
                      <a:lnTo>
                        <a:pt x="310" y="216"/>
                      </a:lnTo>
                      <a:lnTo>
                        <a:pt x="311" y="216"/>
                      </a:lnTo>
                      <a:lnTo>
                        <a:pt x="312" y="214"/>
                      </a:lnTo>
                      <a:lnTo>
                        <a:pt x="316" y="212"/>
                      </a:lnTo>
                      <a:lnTo>
                        <a:pt x="317" y="214"/>
                      </a:lnTo>
                      <a:lnTo>
                        <a:pt x="319" y="214"/>
                      </a:lnTo>
                      <a:lnTo>
                        <a:pt x="323" y="212"/>
                      </a:lnTo>
                      <a:lnTo>
                        <a:pt x="327" y="211"/>
                      </a:lnTo>
                      <a:lnTo>
                        <a:pt x="328" y="214"/>
                      </a:lnTo>
                      <a:lnTo>
                        <a:pt x="331" y="212"/>
                      </a:lnTo>
                      <a:lnTo>
                        <a:pt x="332" y="211"/>
                      </a:lnTo>
                      <a:lnTo>
                        <a:pt x="335" y="209"/>
                      </a:lnTo>
                      <a:lnTo>
                        <a:pt x="337" y="208"/>
                      </a:lnTo>
                      <a:lnTo>
                        <a:pt x="338" y="210"/>
                      </a:lnTo>
                      <a:lnTo>
                        <a:pt x="344" y="208"/>
                      </a:lnTo>
                      <a:lnTo>
                        <a:pt x="345" y="208"/>
                      </a:lnTo>
                      <a:lnTo>
                        <a:pt x="349" y="205"/>
                      </a:lnTo>
                      <a:lnTo>
                        <a:pt x="355" y="204"/>
                      </a:lnTo>
                      <a:lnTo>
                        <a:pt x="351" y="205"/>
                      </a:lnTo>
                      <a:lnTo>
                        <a:pt x="349" y="207"/>
                      </a:lnTo>
                      <a:lnTo>
                        <a:pt x="341" y="210"/>
                      </a:lnTo>
                      <a:lnTo>
                        <a:pt x="343" y="210"/>
                      </a:lnTo>
                      <a:lnTo>
                        <a:pt x="347" y="210"/>
                      </a:lnTo>
                      <a:lnTo>
                        <a:pt x="352" y="209"/>
                      </a:lnTo>
                      <a:lnTo>
                        <a:pt x="358" y="207"/>
                      </a:lnTo>
                      <a:lnTo>
                        <a:pt x="359" y="205"/>
                      </a:lnTo>
                      <a:lnTo>
                        <a:pt x="361" y="207"/>
                      </a:lnTo>
                      <a:lnTo>
                        <a:pt x="361" y="209"/>
                      </a:lnTo>
                      <a:lnTo>
                        <a:pt x="358" y="210"/>
                      </a:lnTo>
                      <a:lnTo>
                        <a:pt x="357" y="212"/>
                      </a:lnTo>
                      <a:lnTo>
                        <a:pt x="362" y="211"/>
                      </a:lnTo>
                      <a:lnTo>
                        <a:pt x="363" y="211"/>
                      </a:lnTo>
                      <a:lnTo>
                        <a:pt x="365" y="211"/>
                      </a:lnTo>
                      <a:lnTo>
                        <a:pt x="368" y="210"/>
                      </a:lnTo>
                      <a:lnTo>
                        <a:pt x="371" y="209"/>
                      </a:lnTo>
                      <a:lnTo>
                        <a:pt x="374" y="209"/>
                      </a:lnTo>
                      <a:lnTo>
                        <a:pt x="375" y="208"/>
                      </a:lnTo>
                      <a:lnTo>
                        <a:pt x="378" y="207"/>
                      </a:lnTo>
                      <a:lnTo>
                        <a:pt x="379" y="204"/>
                      </a:lnTo>
                      <a:lnTo>
                        <a:pt x="382" y="204"/>
                      </a:lnTo>
                      <a:lnTo>
                        <a:pt x="384" y="201"/>
                      </a:lnTo>
                      <a:lnTo>
                        <a:pt x="384" y="199"/>
                      </a:lnTo>
                      <a:lnTo>
                        <a:pt x="385" y="197"/>
                      </a:lnTo>
                      <a:lnTo>
                        <a:pt x="387" y="197"/>
                      </a:lnTo>
                      <a:lnTo>
                        <a:pt x="388" y="197"/>
                      </a:lnTo>
                      <a:lnTo>
                        <a:pt x="389" y="198"/>
                      </a:lnTo>
                      <a:lnTo>
                        <a:pt x="391" y="197"/>
                      </a:lnTo>
                      <a:lnTo>
                        <a:pt x="390" y="201"/>
                      </a:lnTo>
                      <a:lnTo>
                        <a:pt x="392" y="202"/>
                      </a:lnTo>
                      <a:lnTo>
                        <a:pt x="394" y="203"/>
                      </a:lnTo>
                      <a:lnTo>
                        <a:pt x="392" y="204"/>
                      </a:lnTo>
                      <a:lnTo>
                        <a:pt x="392" y="208"/>
                      </a:lnTo>
                      <a:lnTo>
                        <a:pt x="392" y="211"/>
                      </a:lnTo>
                      <a:lnTo>
                        <a:pt x="391" y="214"/>
                      </a:lnTo>
                      <a:lnTo>
                        <a:pt x="390" y="216"/>
                      </a:lnTo>
                      <a:lnTo>
                        <a:pt x="391" y="218"/>
                      </a:lnTo>
                      <a:lnTo>
                        <a:pt x="391" y="221"/>
                      </a:lnTo>
                      <a:lnTo>
                        <a:pt x="391" y="223"/>
                      </a:lnTo>
                      <a:lnTo>
                        <a:pt x="394" y="221"/>
                      </a:lnTo>
                      <a:lnTo>
                        <a:pt x="395" y="219"/>
                      </a:lnTo>
                      <a:lnTo>
                        <a:pt x="397" y="217"/>
                      </a:lnTo>
                      <a:lnTo>
                        <a:pt x="399" y="216"/>
                      </a:lnTo>
                      <a:lnTo>
                        <a:pt x="402" y="216"/>
                      </a:lnTo>
                      <a:lnTo>
                        <a:pt x="403" y="215"/>
                      </a:lnTo>
                      <a:lnTo>
                        <a:pt x="404" y="214"/>
                      </a:lnTo>
                      <a:lnTo>
                        <a:pt x="407" y="214"/>
                      </a:lnTo>
                      <a:lnTo>
                        <a:pt x="407" y="214"/>
                      </a:lnTo>
                      <a:lnTo>
                        <a:pt x="408" y="215"/>
                      </a:lnTo>
                      <a:lnTo>
                        <a:pt x="410" y="212"/>
                      </a:lnTo>
                      <a:lnTo>
                        <a:pt x="412" y="210"/>
                      </a:lnTo>
                      <a:lnTo>
                        <a:pt x="415" y="208"/>
                      </a:lnTo>
                      <a:lnTo>
                        <a:pt x="417" y="208"/>
                      </a:lnTo>
                      <a:lnTo>
                        <a:pt x="419" y="207"/>
                      </a:lnTo>
                      <a:lnTo>
                        <a:pt x="423" y="205"/>
                      </a:lnTo>
                      <a:lnTo>
                        <a:pt x="424" y="205"/>
                      </a:lnTo>
                      <a:lnTo>
                        <a:pt x="425" y="205"/>
                      </a:lnTo>
                      <a:lnTo>
                        <a:pt x="425" y="208"/>
                      </a:lnTo>
                      <a:lnTo>
                        <a:pt x="423" y="209"/>
                      </a:lnTo>
                      <a:lnTo>
                        <a:pt x="422" y="210"/>
                      </a:lnTo>
                      <a:lnTo>
                        <a:pt x="422" y="211"/>
                      </a:lnTo>
                      <a:lnTo>
                        <a:pt x="421" y="212"/>
                      </a:lnTo>
                      <a:lnTo>
                        <a:pt x="421" y="215"/>
                      </a:lnTo>
                      <a:lnTo>
                        <a:pt x="419" y="217"/>
                      </a:lnTo>
                      <a:lnTo>
                        <a:pt x="417" y="215"/>
                      </a:lnTo>
                      <a:lnTo>
                        <a:pt x="416" y="217"/>
                      </a:lnTo>
                      <a:lnTo>
                        <a:pt x="414" y="217"/>
                      </a:lnTo>
                      <a:lnTo>
                        <a:pt x="412" y="221"/>
                      </a:lnTo>
                      <a:lnTo>
                        <a:pt x="416" y="219"/>
                      </a:lnTo>
                      <a:lnTo>
                        <a:pt x="418" y="221"/>
                      </a:lnTo>
                      <a:lnTo>
                        <a:pt x="421" y="221"/>
                      </a:lnTo>
                      <a:lnTo>
                        <a:pt x="423" y="219"/>
                      </a:lnTo>
                      <a:lnTo>
                        <a:pt x="427" y="219"/>
                      </a:lnTo>
                      <a:lnTo>
                        <a:pt x="428" y="218"/>
                      </a:lnTo>
                      <a:lnTo>
                        <a:pt x="431" y="217"/>
                      </a:lnTo>
                      <a:lnTo>
                        <a:pt x="435" y="217"/>
                      </a:lnTo>
                      <a:lnTo>
                        <a:pt x="436" y="215"/>
                      </a:lnTo>
                      <a:lnTo>
                        <a:pt x="439" y="215"/>
                      </a:lnTo>
                      <a:lnTo>
                        <a:pt x="442" y="214"/>
                      </a:lnTo>
                      <a:lnTo>
                        <a:pt x="445" y="214"/>
                      </a:lnTo>
                      <a:lnTo>
                        <a:pt x="448" y="212"/>
                      </a:lnTo>
                      <a:lnTo>
                        <a:pt x="451" y="211"/>
                      </a:lnTo>
                      <a:lnTo>
                        <a:pt x="452" y="210"/>
                      </a:lnTo>
                      <a:lnTo>
                        <a:pt x="456" y="211"/>
                      </a:lnTo>
                      <a:lnTo>
                        <a:pt x="458" y="212"/>
                      </a:lnTo>
                      <a:lnTo>
                        <a:pt x="458" y="215"/>
                      </a:lnTo>
                      <a:lnTo>
                        <a:pt x="461" y="215"/>
                      </a:lnTo>
                      <a:lnTo>
                        <a:pt x="461" y="217"/>
                      </a:lnTo>
                      <a:lnTo>
                        <a:pt x="466" y="218"/>
                      </a:lnTo>
                      <a:lnTo>
                        <a:pt x="469" y="221"/>
                      </a:lnTo>
                      <a:lnTo>
                        <a:pt x="471" y="219"/>
                      </a:lnTo>
                      <a:lnTo>
                        <a:pt x="471" y="218"/>
                      </a:lnTo>
                      <a:lnTo>
                        <a:pt x="476" y="218"/>
                      </a:lnTo>
                      <a:lnTo>
                        <a:pt x="479" y="219"/>
                      </a:lnTo>
                      <a:lnTo>
                        <a:pt x="481" y="222"/>
                      </a:lnTo>
                      <a:lnTo>
                        <a:pt x="484" y="224"/>
                      </a:lnTo>
                      <a:lnTo>
                        <a:pt x="490" y="226"/>
                      </a:lnTo>
                      <a:lnTo>
                        <a:pt x="492" y="224"/>
                      </a:lnTo>
                      <a:lnTo>
                        <a:pt x="497" y="226"/>
                      </a:lnTo>
                      <a:lnTo>
                        <a:pt x="503" y="226"/>
                      </a:lnTo>
                      <a:lnTo>
                        <a:pt x="506" y="226"/>
                      </a:lnTo>
                      <a:lnTo>
                        <a:pt x="505" y="224"/>
                      </a:lnTo>
                      <a:lnTo>
                        <a:pt x="508" y="224"/>
                      </a:lnTo>
                      <a:lnTo>
                        <a:pt x="511" y="224"/>
                      </a:lnTo>
                      <a:lnTo>
                        <a:pt x="511" y="224"/>
                      </a:lnTo>
                      <a:lnTo>
                        <a:pt x="519" y="225"/>
                      </a:lnTo>
                      <a:lnTo>
                        <a:pt x="523" y="226"/>
                      </a:lnTo>
                      <a:lnTo>
                        <a:pt x="526" y="232"/>
                      </a:lnTo>
                      <a:lnTo>
                        <a:pt x="525" y="235"/>
                      </a:lnTo>
                      <a:lnTo>
                        <a:pt x="526" y="235"/>
                      </a:lnTo>
                      <a:lnTo>
                        <a:pt x="523" y="237"/>
                      </a:lnTo>
                      <a:lnTo>
                        <a:pt x="512" y="237"/>
                      </a:lnTo>
                      <a:lnTo>
                        <a:pt x="510" y="238"/>
                      </a:lnTo>
                      <a:lnTo>
                        <a:pt x="505" y="238"/>
                      </a:lnTo>
                      <a:lnTo>
                        <a:pt x="502" y="242"/>
                      </a:lnTo>
                      <a:lnTo>
                        <a:pt x="497" y="243"/>
                      </a:lnTo>
                      <a:lnTo>
                        <a:pt x="502" y="245"/>
                      </a:lnTo>
                      <a:lnTo>
                        <a:pt x="506" y="248"/>
                      </a:lnTo>
                      <a:lnTo>
                        <a:pt x="512" y="249"/>
                      </a:lnTo>
                      <a:lnTo>
                        <a:pt x="515" y="246"/>
                      </a:lnTo>
                      <a:lnTo>
                        <a:pt x="523" y="248"/>
                      </a:lnTo>
                      <a:lnTo>
                        <a:pt x="530" y="248"/>
                      </a:lnTo>
                      <a:lnTo>
                        <a:pt x="534" y="246"/>
                      </a:lnTo>
                      <a:lnTo>
                        <a:pt x="537" y="250"/>
                      </a:lnTo>
                      <a:lnTo>
                        <a:pt x="541" y="248"/>
                      </a:lnTo>
                      <a:lnTo>
                        <a:pt x="543" y="251"/>
                      </a:lnTo>
                      <a:lnTo>
                        <a:pt x="549" y="245"/>
                      </a:lnTo>
                      <a:lnTo>
                        <a:pt x="554" y="244"/>
                      </a:lnTo>
                      <a:lnTo>
                        <a:pt x="554" y="245"/>
                      </a:lnTo>
                      <a:lnTo>
                        <a:pt x="559" y="244"/>
                      </a:lnTo>
                      <a:lnTo>
                        <a:pt x="566" y="243"/>
                      </a:lnTo>
                      <a:lnTo>
                        <a:pt x="571" y="241"/>
                      </a:lnTo>
                      <a:lnTo>
                        <a:pt x="572" y="246"/>
                      </a:lnTo>
                      <a:lnTo>
                        <a:pt x="579" y="245"/>
                      </a:lnTo>
                      <a:lnTo>
                        <a:pt x="577" y="251"/>
                      </a:lnTo>
                      <a:lnTo>
                        <a:pt x="579" y="252"/>
                      </a:lnTo>
                      <a:lnTo>
                        <a:pt x="583" y="248"/>
                      </a:lnTo>
                      <a:lnTo>
                        <a:pt x="583" y="252"/>
                      </a:lnTo>
                      <a:lnTo>
                        <a:pt x="585" y="251"/>
                      </a:lnTo>
                      <a:lnTo>
                        <a:pt x="584" y="252"/>
                      </a:lnTo>
                      <a:lnTo>
                        <a:pt x="585" y="252"/>
                      </a:lnTo>
                      <a:lnTo>
                        <a:pt x="588" y="254"/>
                      </a:lnTo>
                      <a:lnTo>
                        <a:pt x="586" y="257"/>
                      </a:lnTo>
                      <a:lnTo>
                        <a:pt x="581" y="258"/>
                      </a:lnTo>
                      <a:lnTo>
                        <a:pt x="577" y="256"/>
                      </a:lnTo>
                      <a:lnTo>
                        <a:pt x="581" y="259"/>
                      </a:lnTo>
                      <a:lnTo>
                        <a:pt x="578" y="261"/>
                      </a:lnTo>
                      <a:lnTo>
                        <a:pt x="581" y="262"/>
                      </a:lnTo>
                      <a:lnTo>
                        <a:pt x="582" y="266"/>
                      </a:lnTo>
                      <a:lnTo>
                        <a:pt x="585" y="259"/>
                      </a:lnTo>
                      <a:lnTo>
                        <a:pt x="590" y="258"/>
                      </a:lnTo>
                      <a:lnTo>
                        <a:pt x="589" y="259"/>
                      </a:lnTo>
                      <a:lnTo>
                        <a:pt x="592" y="262"/>
                      </a:lnTo>
                      <a:lnTo>
                        <a:pt x="594" y="255"/>
                      </a:lnTo>
                      <a:lnTo>
                        <a:pt x="594" y="252"/>
                      </a:lnTo>
                      <a:lnTo>
                        <a:pt x="597" y="249"/>
                      </a:lnTo>
                      <a:lnTo>
                        <a:pt x="595" y="245"/>
                      </a:lnTo>
                      <a:lnTo>
                        <a:pt x="601" y="245"/>
                      </a:lnTo>
                      <a:lnTo>
                        <a:pt x="603" y="242"/>
                      </a:lnTo>
                      <a:lnTo>
                        <a:pt x="604" y="241"/>
                      </a:lnTo>
                      <a:lnTo>
                        <a:pt x="606" y="239"/>
                      </a:lnTo>
                      <a:lnTo>
                        <a:pt x="609" y="241"/>
                      </a:lnTo>
                      <a:lnTo>
                        <a:pt x="612" y="238"/>
                      </a:lnTo>
                      <a:lnTo>
                        <a:pt x="612" y="239"/>
                      </a:lnTo>
                      <a:lnTo>
                        <a:pt x="617" y="239"/>
                      </a:lnTo>
                      <a:lnTo>
                        <a:pt x="619" y="237"/>
                      </a:lnTo>
                      <a:lnTo>
                        <a:pt x="624" y="237"/>
                      </a:lnTo>
                      <a:lnTo>
                        <a:pt x="626" y="235"/>
                      </a:lnTo>
                      <a:lnTo>
                        <a:pt x="637" y="234"/>
                      </a:lnTo>
                      <a:lnTo>
                        <a:pt x="641" y="230"/>
                      </a:lnTo>
                      <a:lnTo>
                        <a:pt x="638" y="230"/>
                      </a:lnTo>
                      <a:lnTo>
                        <a:pt x="630" y="232"/>
                      </a:lnTo>
                      <a:lnTo>
                        <a:pt x="626" y="232"/>
                      </a:lnTo>
                      <a:lnTo>
                        <a:pt x="623" y="236"/>
                      </a:lnTo>
                      <a:lnTo>
                        <a:pt x="622" y="235"/>
                      </a:lnTo>
                      <a:lnTo>
                        <a:pt x="616" y="235"/>
                      </a:lnTo>
                      <a:lnTo>
                        <a:pt x="615" y="236"/>
                      </a:lnTo>
                      <a:lnTo>
                        <a:pt x="611" y="235"/>
                      </a:lnTo>
                      <a:lnTo>
                        <a:pt x="606" y="235"/>
                      </a:lnTo>
                      <a:lnTo>
                        <a:pt x="605" y="236"/>
                      </a:lnTo>
                      <a:lnTo>
                        <a:pt x="608" y="237"/>
                      </a:lnTo>
                      <a:lnTo>
                        <a:pt x="598" y="238"/>
                      </a:lnTo>
                      <a:lnTo>
                        <a:pt x="598" y="236"/>
                      </a:lnTo>
                      <a:lnTo>
                        <a:pt x="592" y="236"/>
                      </a:lnTo>
                      <a:lnTo>
                        <a:pt x="599" y="234"/>
                      </a:lnTo>
                      <a:lnTo>
                        <a:pt x="604" y="230"/>
                      </a:lnTo>
                      <a:lnTo>
                        <a:pt x="609" y="232"/>
                      </a:lnTo>
                      <a:lnTo>
                        <a:pt x="617" y="229"/>
                      </a:lnTo>
                      <a:lnTo>
                        <a:pt x="619" y="229"/>
                      </a:lnTo>
                      <a:lnTo>
                        <a:pt x="623" y="228"/>
                      </a:lnTo>
                      <a:lnTo>
                        <a:pt x="629" y="229"/>
                      </a:lnTo>
                      <a:lnTo>
                        <a:pt x="635" y="225"/>
                      </a:lnTo>
                      <a:lnTo>
                        <a:pt x="634" y="226"/>
                      </a:lnTo>
                      <a:lnTo>
                        <a:pt x="638" y="224"/>
                      </a:lnTo>
                      <a:lnTo>
                        <a:pt x="643" y="225"/>
                      </a:lnTo>
                      <a:lnTo>
                        <a:pt x="644" y="228"/>
                      </a:lnTo>
                      <a:lnTo>
                        <a:pt x="643" y="232"/>
                      </a:lnTo>
                      <a:lnTo>
                        <a:pt x="638" y="232"/>
                      </a:lnTo>
                      <a:lnTo>
                        <a:pt x="643" y="236"/>
                      </a:lnTo>
                      <a:lnTo>
                        <a:pt x="648" y="237"/>
                      </a:lnTo>
                      <a:lnTo>
                        <a:pt x="646" y="241"/>
                      </a:lnTo>
                      <a:lnTo>
                        <a:pt x="657" y="242"/>
                      </a:lnTo>
                      <a:lnTo>
                        <a:pt x="654" y="242"/>
                      </a:lnTo>
                      <a:lnTo>
                        <a:pt x="659" y="239"/>
                      </a:lnTo>
                      <a:lnTo>
                        <a:pt x="664" y="238"/>
                      </a:lnTo>
                      <a:lnTo>
                        <a:pt x="662" y="241"/>
                      </a:lnTo>
                      <a:lnTo>
                        <a:pt x="664" y="243"/>
                      </a:lnTo>
                      <a:lnTo>
                        <a:pt x="670" y="245"/>
                      </a:lnTo>
                      <a:lnTo>
                        <a:pt x="672" y="248"/>
                      </a:lnTo>
                      <a:lnTo>
                        <a:pt x="673" y="245"/>
                      </a:lnTo>
                      <a:lnTo>
                        <a:pt x="677" y="245"/>
                      </a:lnTo>
                      <a:lnTo>
                        <a:pt x="681" y="246"/>
                      </a:lnTo>
                      <a:lnTo>
                        <a:pt x="686" y="245"/>
                      </a:lnTo>
                      <a:lnTo>
                        <a:pt x="695" y="244"/>
                      </a:lnTo>
                      <a:lnTo>
                        <a:pt x="695" y="245"/>
                      </a:lnTo>
                      <a:lnTo>
                        <a:pt x="697" y="244"/>
                      </a:lnTo>
                      <a:lnTo>
                        <a:pt x="706" y="246"/>
                      </a:lnTo>
                      <a:lnTo>
                        <a:pt x="713" y="248"/>
                      </a:lnTo>
                      <a:lnTo>
                        <a:pt x="716" y="246"/>
                      </a:lnTo>
                      <a:lnTo>
                        <a:pt x="721" y="244"/>
                      </a:lnTo>
                      <a:lnTo>
                        <a:pt x="723" y="245"/>
                      </a:lnTo>
                      <a:lnTo>
                        <a:pt x="724" y="243"/>
                      </a:lnTo>
                      <a:lnTo>
                        <a:pt x="723" y="243"/>
                      </a:lnTo>
                      <a:lnTo>
                        <a:pt x="724" y="239"/>
                      </a:lnTo>
                      <a:lnTo>
                        <a:pt x="729" y="238"/>
                      </a:lnTo>
                      <a:lnTo>
                        <a:pt x="730" y="238"/>
                      </a:lnTo>
                      <a:lnTo>
                        <a:pt x="730" y="234"/>
                      </a:lnTo>
                      <a:lnTo>
                        <a:pt x="736" y="235"/>
                      </a:lnTo>
                      <a:lnTo>
                        <a:pt x="739" y="235"/>
                      </a:lnTo>
                      <a:lnTo>
                        <a:pt x="742" y="231"/>
                      </a:lnTo>
                      <a:lnTo>
                        <a:pt x="749" y="232"/>
                      </a:lnTo>
                      <a:lnTo>
                        <a:pt x="752" y="236"/>
                      </a:lnTo>
                      <a:lnTo>
                        <a:pt x="756" y="236"/>
                      </a:lnTo>
                      <a:lnTo>
                        <a:pt x="759" y="236"/>
                      </a:lnTo>
                      <a:lnTo>
                        <a:pt x="757" y="237"/>
                      </a:lnTo>
                      <a:lnTo>
                        <a:pt x="765" y="236"/>
                      </a:lnTo>
                      <a:lnTo>
                        <a:pt x="755" y="244"/>
                      </a:lnTo>
                      <a:lnTo>
                        <a:pt x="757" y="244"/>
                      </a:lnTo>
                      <a:lnTo>
                        <a:pt x="752" y="248"/>
                      </a:lnTo>
                      <a:lnTo>
                        <a:pt x="751" y="246"/>
                      </a:lnTo>
                      <a:lnTo>
                        <a:pt x="746" y="250"/>
                      </a:lnTo>
                      <a:lnTo>
                        <a:pt x="750" y="250"/>
                      </a:lnTo>
                      <a:lnTo>
                        <a:pt x="750" y="254"/>
                      </a:lnTo>
                      <a:lnTo>
                        <a:pt x="752" y="252"/>
                      </a:lnTo>
                      <a:lnTo>
                        <a:pt x="751" y="255"/>
                      </a:lnTo>
                      <a:lnTo>
                        <a:pt x="757" y="256"/>
                      </a:lnTo>
                      <a:lnTo>
                        <a:pt x="761" y="259"/>
                      </a:lnTo>
                      <a:lnTo>
                        <a:pt x="761" y="254"/>
                      </a:lnTo>
                      <a:lnTo>
                        <a:pt x="762" y="249"/>
                      </a:lnTo>
                      <a:lnTo>
                        <a:pt x="764" y="246"/>
                      </a:lnTo>
                      <a:lnTo>
                        <a:pt x="765" y="244"/>
                      </a:lnTo>
                      <a:lnTo>
                        <a:pt x="768" y="239"/>
                      </a:lnTo>
                      <a:lnTo>
                        <a:pt x="773" y="239"/>
                      </a:lnTo>
                      <a:lnTo>
                        <a:pt x="776" y="241"/>
                      </a:lnTo>
                      <a:lnTo>
                        <a:pt x="782" y="242"/>
                      </a:lnTo>
                      <a:lnTo>
                        <a:pt x="786" y="238"/>
                      </a:lnTo>
                      <a:lnTo>
                        <a:pt x="788" y="236"/>
                      </a:lnTo>
                      <a:lnTo>
                        <a:pt x="791" y="237"/>
                      </a:lnTo>
                      <a:lnTo>
                        <a:pt x="791" y="235"/>
                      </a:lnTo>
                      <a:lnTo>
                        <a:pt x="792" y="232"/>
                      </a:lnTo>
                      <a:lnTo>
                        <a:pt x="803" y="231"/>
                      </a:lnTo>
                      <a:lnTo>
                        <a:pt x="799" y="229"/>
                      </a:lnTo>
                      <a:lnTo>
                        <a:pt x="804" y="226"/>
                      </a:lnTo>
                      <a:lnTo>
                        <a:pt x="804" y="224"/>
                      </a:lnTo>
                      <a:lnTo>
                        <a:pt x="803" y="223"/>
                      </a:lnTo>
                      <a:lnTo>
                        <a:pt x="797" y="226"/>
                      </a:lnTo>
                      <a:lnTo>
                        <a:pt x="792" y="228"/>
                      </a:lnTo>
                      <a:lnTo>
                        <a:pt x="790" y="226"/>
                      </a:lnTo>
                      <a:lnTo>
                        <a:pt x="793" y="224"/>
                      </a:lnTo>
                      <a:lnTo>
                        <a:pt x="795" y="224"/>
                      </a:lnTo>
                      <a:lnTo>
                        <a:pt x="798" y="223"/>
                      </a:lnTo>
                      <a:lnTo>
                        <a:pt x="801" y="222"/>
                      </a:lnTo>
                      <a:lnTo>
                        <a:pt x="803" y="221"/>
                      </a:lnTo>
                      <a:lnTo>
                        <a:pt x="799" y="221"/>
                      </a:lnTo>
                      <a:lnTo>
                        <a:pt x="803" y="217"/>
                      </a:lnTo>
                      <a:lnTo>
                        <a:pt x="810" y="216"/>
                      </a:lnTo>
                      <a:lnTo>
                        <a:pt x="811" y="216"/>
                      </a:lnTo>
                      <a:lnTo>
                        <a:pt x="804" y="215"/>
                      </a:lnTo>
                      <a:lnTo>
                        <a:pt x="802" y="211"/>
                      </a:lnTo>
                      <a:lnTo>
                        <a:pt x="799" y="212"/>
                      </a:lnTo>
                      <a:lnTo>
                        <a:pt x="798" y="214"/>
                      </a:lnTo>
                      <a:lnTo>
                        <a:pt x="795" y="212"/>
                      </a:lnTo>
                      <a:lnTo>
                        <a:pt x="789" y="210"/>
                      </a:lnTo>
                      <a:lnTo>
                        <a:pt x="788" y="210"/>
                      </a:lnTo>
                      <a:lnTo>
                        <a:pt x="785" y="209"/>
                      </a:lnTo>
                      <a:lnTo>
                        <a:pt x="786" y="207"/>
                      </a:lnTo>
                      <a:lnTo>
                        <a:pt x="784" y="204"/>
                      </a:lnTo>
                      <a:lnTo>
                        <a:pt x="788" y="199"/>
                      </a:lnTo>
                      <a:lnTo>
                        <a:pt x="791" y="198"/>
                      </a:lnTo>
                      <a:lnTo>
                        <a:pt x="793" y="197"/>
                      </a:lnTo>
                      <a:lnTo>
                        <a:pt x="798" y="197"/>
                      </a:lnTo>
                      <a:lnTo>
                        <a:pt x="798" y="196"/>
                      </a:lnTo>
                      <a:lnTo>
                        <a:pt x="801" y="194"/>
                      </a:lnTo>
                      <a:lnTo>
                        <a:pt x="795" y="195"/>
                      </a:lnTo>
                      <a:lnTo>
                        <a:pt x="793" y="192"/>
                      </a:lnTo>
                      <a:lnTo>
                        <a:pt x="798" y="191"/>
                      </a:lnTo>
                      <a:lnTo>
                        <a:pt x="801" y="189"/>
                      </a:lnTo>
                      <a:lnTo>
                        <a:pt x="802" y="184"/>
                      </a:lnTo>
                      <a:lnTo>
                        <a:pt x="805" y="184"/>
                      </a:lnTo>
                      <a:lnTo>
                        <a:pt x="809" y="182"/>
                      </a:lnTo>
                      <a:lnTo>
                        <a:pt x="812" y="184"/>
                      </a:lnTo>
                      <a:lnTo>
                        <a:pt x="816" y="183"/>
                      </a:lnTo>
                      <a:lnTo>
                        <a:pt x="817" y="181"/>
                      </a:lnTo>
                      <a:lnTo>
                        <a:pt x="818" y="187"/>
                      </a:lnTo>
                      <a:lnTo>
                        <a:pt x="819" y="190"/>
                      </a:lnTo>
                      <a:lnTo>
                        <a:pt x="823" y="188"/>
                      </a:lnTo>
                      <a:lnTo>
                        <a:pt x="825" y="184"/>
                      </a:lnTo>
                      <a:lnTo>
                        <a:pt x="823" y="179"/>
                      </a:lnTo>
                      <a:lnTo>
                        <a:pt x="824" y="177"/>
                      </a:lnTo>
                      <a:lnTo>
                        <a:pt x="828" y="174"/>
                      </a:lnTo>
                      <a:lnTo>
                        <a:pt x="837" y="172"/>
                      </a:lnTo>
                      <a:lnTo>
                        <a:pt x="838" y="174"/>
                      </a:lnTo>
                      <a:lnTo>
                        <a:pt x="832" y="176"/>
                      </a:lnTo>
                      <a:lnTo>
                        <a:pt x="833" y="176"/>
                      </a:lnTo>
                      <a:lnTo>
                        <a:pt x="836" y="176"/>
                      </a:lnTo>
                      <a:lnTo>
                        <a:pt x="836" y="177"/>
                      </a:lnTo>
                      <a:lnTo>
                        <a:pt x="839" y="176"/>
                      </a:lnTo>
                      <a:lnTo>
                        <a:pt x="842" y="177"/>
                      </a:lnTo>
                      <a:lnTo>
                        <a:pt x="849" y="176"/>
                      </a:lnTo>
                      <a:lnTo>
                        <a:pt x="843" y="178"/>
                      </a:lnTo>
                      <a:lnTo>
                        <a:pt x="848" y="183"/>
                      </a:lnTo>
                      <a:lnTo>
                        <a:pt x="852" y="179"/>
                      </a:lnTo>
                      <a:lnTo>
                        <a:pt x="852" y="184"/>
                      </a:lnTo>
                      <a:lnTo>
                        <a:pt x="851" y="187"/>
                      </a:lnTo>
                      <a:lnTo>
                        <a:pt x="851" y="188"/>
                      </a:lnTo>
                      <a:lnTo>
                        <a:pt x="849" y="190"/>
                      </a:lnTo>
                      <a:lnTo>
                        <a:pt x="843" y="195"/>
                      </a:lnTo>
                      <a:lnTo>
                        <a:pt x="848" y="195"/>
                      </a:lnTo>
                      <a:lnTo>
                        <a:pt x="846" y="202"/>
                      </a:lnTo>
                      <a:lnTo>
                        <a:pt x="850" y="197"/>
                      </a:lnTo>
                      <a:lnTo>
                        <a:pt x="849" y="198"/>
                      </a:lnTo>
                      <a:lnTo>
                        <a:pt x="849" y="201"/>
                      </a:lnTo>
                      <a:lnTo>
                        <a:pt x="850" y="203"/>
                      </a:lnTo>
                      <a:lnTo>
                        <a:pt x="843" y="204"/>
                      </a:lnTo>
                      <a:lnTo>
                        <a:pt x="839" y="202"/>
                      </a:lnTo>
                      <a:lnTo>
                        <a:pt x="835" y="205"/>
                      </a:lnTo>
                      <a:lnTo>
                        <a:pt x="842" y="205"/>
                      </a:lnTo>
                      <a:lnTo>
                        <a:pt x="839" y="207"/>
                      </a:lnTo>
                      <a:lnTo>
                        <a:pt x="837" y="208"/>
                      </a:lnTo>
                      <a:lnTo>
                        <a:pt x="833" y="210"/>
                      </a:lnTo>
                      <a:lnTo>
                        <a:pt x="828" y="211"/>
                      </a:lnTo>
                      <a:lnTo>
                        <a:pt x="833" y="212"/>
                      </a:lnTo>
                      <a:lnTo>
                        <a:pt x="832" y="214"/>
                      </a:lnTo>
                      <a:lnTo>
                        <a:pt x="837" y="215"/>
                      </a:lnTo>
                      <a:lnTo>
                        <a:pt x="844" y="212"/>
                      </a:lnTo>
                      <a:lnTo>
                        <a:pt x="846" y="212"/>
                      </a:lnTo>
                      <a:lnTo>
                        <a:pt x="841" y="214"/>
                      </a:lnTo>
                      <a:lnTo>
                        <a:pt x="846" y="214"/>
                      </a:lnTo>
                      <a:lnTo>
                        <a:pt x="846" y="215"/>
                      </a:lnTo>
                      <a:lnTo>
                        <a:pt x="859" y="212"/>
                      </a:lnTo>
                      <a:lnTo>
                        <a:pt x="859" y="217"/>
                      </a:lnTo>
                      <a:lnTo>
                        <a:pt x="855" y="217"/>
                      </a:lnTo>
                      <a:lnTo>
                        <a:pt x="851" y="215"/>
                      </a:lnTo>
                      <a:lnTo>
                        <a:pt x="845" y="218"/>
                      </a:lnTo>
                      <a:lnTo>
                        <a:pt x="845" y="219"/>
                      </a:lnTo>
                      <a:lnTo>
                        <a:pt x="841" y="218"/>
                      </a:lnTo>
                      <a:lnTo>
                        <a:pt x="845" y="221"/>
                      </a:lnTo>
                      <a:lnTo>
                        <a:pt x="842" y="230"/>
                      </a:lnTo>
                      <a:lnTo>
                        <a:pt x="838" y="234"/>
                      </a:lnTo>
                      <a:lnTo>
                        <a:pt x="841" y="235"/>
                      </a:lnTo>
                      <a:lnTo>
                        <a:pt x="839" y="236"/>
                      </a:lnTo>
                      <a:lnTo>
                        <a:pt x="842" y="237"/>
                      </a:lnTo>
                      <a:lnTo>
                        <a:pt x="843" y="236"/>
                      </a:lnTo>
                      <a:lnTo>
                        <a:pt x="848" y="237"/>
                      </a:lnTo>
                      <a:lnTo>
                        <a:pt x="850" y="232"/>
                      </a:lnTo>
                      <a:lnTo>
                        <a:pt x="855" y="231"/>
                      </a:lnTo>
                      <a:lnTo>
                        <a:pt x="857" y="223"/>
                      </a:lnTo>
                      <a:lnTo>
                        <a:pt x="862" y="222"/>
                      </a:lnTo>
                      <a:lnTo>
                        <a:pt x="864" y="222"/>
                      </a:lnTo>
                      <a:lnTo>
                        <a:pt x="866" y="219"/>
                      </a:lnTo>
                      <a:lnTo>
                        <a:pt x="870" y="219"/>
                      </a:lnTo>
                      <a:lnTo>
                        <a:pt x="871" y="222"/>
                      </a:lnTo>
                      <a:lnTo>
                        <a:pt x="877" y="226"/>
                      </a:lnTo>
                      <a:lnTo>
                        <a:pt x="873" y="236"/>
                      </a:lnTo>
                      <a:lnTo>
                        <a:pt x="870" y="237"/>
                      </a:lnTo>
                      <a:lnTo>
                        <a:pt x="869" y="236"/>
                      </a:lnTo>
                      <a:lnTo>
                        <a:pt x="870" y="234"/>
                      </a:lnTo>
                      <a:lnTo>
                        <a:pt x="865" y="236"/>
                      </a:lnTo>
                      <a:lnTo>
                        <a:pt x="866" y="237"/>
                      </a:lnTo>
                      <a:lnTo>
                        <a:pt x="862" y="241"/>
                      </a:lnTo>
                      <a:lnTo>
                        <a:pt x="862" y="245"/>
                      </a:lnTo>
                      <a:lnTo>
                        <a:pt x="866" y="254"/>
                      </a:lnTo>
                      <a:lnTo>
                        <a:pt x="865" y="256"/>
                      </a:lnTo>
                      <a:lnTo>
                        <a:pt x="869" y="255"/>
                      </a:lnTo>
                      <a:lnTo>
                        <a:pt x="871" y="254"/>
                      </a:lnTo>
                      <a:lnTo>
                        <a:pt x="872" y="251"/>
                      </a:lnTo>
                      <a:lnTo>
                        <a:pt x="877" y="250"/>
                      </a:lnTo>
                      <a:lnTo>
                        <a:pt x="879" y="251"/>
                      </a:lnTo>
                      <a:lnTo>
                        <a:pt x="883" y="246"/>
                      </a:lnTo>
                      <a:lnTo>
                        <a:pt x="890" y="248"/>
                      </a:lnTo>
                      <a:lnTo>
                        <a:pt x="892" y="241"/>
                      </a:lnTo>
                      <a:lnTo>
                        <a:pt x="896" y="239"/>
                      </a:lnTo>
                      <a:lnTo>
                        <a:pt x="900" y="238"/>
                      </a:lnTo>
                      <a:lnTo>
                        <a:pt x="906" y="237"/>
                      </a:lnTo>
                      <a:lnTo>
                        <a:pt x="909" y="232"/>
                      </a:lnTo>
                      <a:lnTo>
                        <a:pt x="911" y="226"/>
                      </a:lnTo>
                      <a:lnTo>
                        <a:pt x="919" y="228"/>
                      </a:lnTo>
                      <a:lnTo>
                        <a:pt x="920" y="226"/>
                      </a:lnTo>
                      <a:lnTo>
                        <a:pt x="917" y="225"/>
                      </a:lnTo>
                      <a:lnTo>
                        <a:pt x="919" y="224"/>
                      </a:lnTo>
                      <a:lnTo>
                        <a:pt x="919" y="223"/>
                      </a:lnTo>
                      <a:lnTo>
                        <a:pt x="925" y="223"/>
                      </a:lnTo>
                      <a:lnTo>
                        <a:pt x="924" y="222"/>
                      </a:lnTo>
                      <a:lnTo>
                        <a:pt x="924" y="219"/>
                      </a:lnTo>
                      <a:lnTo>
                        <a:pt x="919" y="221"/>
                      </a:lnTo>
                      <a:lnTo>
                        <a:pt x="918" y="217"/>
                      </a:lnTo>
                      <a:lnTo>
                        <a:pt x="924" y="215"/>
                      </a:lnTo>
                      <a:lnTo>
                        <a:pt x="925" y="212"/>
                      </a:lnTo>
                      <a:lnTo>
                        <a:pt x="928" y="209"/>
                      </a:lnTo>
                      <a:lnTo>
                        <a:pt x="925" y="209"/>
                      </a:lnTo>
                      <a:lnTo>
                        <a:pt x="925" y="208"/>
                      </a:lnTo>
                      <a:lnTo>
                        <a:pt x="932" y="209"/>
                      </a:lnTo>
                      <a:lnTo>
                        <a:pt x="932" y="208"/>
                      </a:lnTo>
                      <a:lnTo>
                        <a:pt x="940" y="208"/>
                      </a:lnTo>
                      <a:lnTo>
                        <a:pt x="946" y="208"/>
                      </a:lnTo>
                      <a:lnTo>
                        <a:pt x="950" y="211"/>
                      </a:lnTo>
                      <a:lnTo>
                        <a:pt x="955" y="212"/>
                      </a:lnTo>
                      <a:lnTo>
                        <a:pt x="962" y="211"/>
                      </a:lnTo>
                      <a:lnTo>
                        <a:pt x="958" y="214"/>
                      </a:lnTo>
                      <a:lnTo>
                        <a:pt x="960" y="215"/>
                      </a:lnTo>
                      <a:lnTo>
                        <a:pt x="956" y="214"/>
                      </a:lnTo>
                      <a:lnTo>
                        <a:pt x="960" y="216"/>
                      </a:lnTo>
                      <a:lnTo>
                        <a:pt x="963" y="215"/>
                      </a:lnTo>
                      <a:lnTo>
                        <a:pt x="962" y="218"/>
                      </a:lnTo>
                      <a:lnTo>
                        <a:pt x="960" y="219"/>
                      </a:lnTo>
                      <a:lnTo>
                        <a:pt x="966" y="218"/>
                      </a:lnTo>
                      <a:lnTo>
                        <a:pt x="971" y="219"/>
                      </a:lnTo>
                      <a:lnTo>
                        <a:pt x="972" y="222"/>
                      </a:lnTo>
                      <a:lnTo>
                        <a:pt x="969" y="222"/>
                      </a:lnTo>
                      <a:lnTo>
                        <a:pt x="962" y="224"/>
                      </a:lnTo>
                      <a:lnTo>
                        <a:pt x="966" y="225"/>
                      </a:lnTo>
                      <a:lnTo>
                        <a:pt x="966" y="229"/>
                      </a:lnTo>
                      <a:lnTo>
                        <a:pt x="960" y="231"/>
                      </a:lnTo>
                      <a:lnTo>
                        <a:pt x="957" y="231"/>
                      </a:lnTo>
                      <a:lnTo>
                        <a:pt x="953" y="234"/>
                      </a:lnTo>
                      <a:lnTo>
                        <a:pt x="952" y="231"/>
                      </a:lnTo>
                      <a:lnTo>
                        <a:pt x="946" y="232"/>
                      </a:lnTo>
                      <a:lnTo>
                        <a:pt x="948" y="232"/>
                      </a:lnTo>
                      <a:lnTo>
                        <a:pt x="945" y="234"/>
                      </a:lnTo>
                      <a:lnTo>
                        <a:pt x="948" y="235"/>
                      </a:lnTo>
                      <a:lnTo>
                        <a:pt x="946" y="235"/>
                      </a:lnTo>
                      <a:lnTo>
                        <a:pt x="948" y="236"/>
                      </a:lnTo>
                      <a:lnTo>
                        <a:pt x="945" y="238"/>
                      </a:lnTo>
                      <a:lnTo>
                        <a:pt x="948" y="239"/>
                      </a:lnTo>
                      <a:lnTo>
                        <a:pt x="946" y="243"/>
                      </a:lnTo>
                      <a:lnTo>
                        <a:pt x="949" y="241"/>
                      </a:lnTo>
                      <a:lnTo>
                        <a:pt x="950" y="244"/>
                      </a:lnTo>
                      <a:lnTo>
                        <a:pt x="952" y="250"/>
                      </a:lnTo>
                      <a:lnTo>
                        <a:pt x="949" y="252"/>
                      </a:lnTo>
                      <a:lnTo>
                        <a:pt x="946" y="257"/>
                      </a:lnTo>
                      <a:lnTo>
                        <a:pt x="942" y="258"/>
                      </a:lnTo>
                      <a:lnTo>
                        <a:pt x="938" y="258"/>
                      </a:lnTo>
                      <a:lnTo>
                        <a:pt x="935" y="259"/>
                      </a:lnTo>
                      <a:lnTo>
                        <a:pt x="930" y="264"/>
                      </a:lnTo>
                      <a:lnTo>
                        <a:pt x="928" y="263"/>
                      </a:lnTo>
                      <a:lnTo>
                        <a:pt x="923" y="266"/>
                      </a:lnTo>
                      <a:lnTo>
                        <a:pt x="918" y="266"/>
                      </a:lnTo>
                      <a:lnTo>
                        <a:pt x="911" y="269"/>
                      </a:lnTo>
                      <a:lnTo>
                        <a:pt x="908" y="270"/>
                      </a:lnTo>
                      <a:lnTo>
                        <a:pt x="908" y="266"/>
                      </a:lnTo>
                      <a:lnTo>
                        <a:pt x="905" y="264"/>
                      </a:lnTo>
                      <a:lnTo>
                        <a:pt x="905" y="262"/>
                      </a:lnTo>
                      <a:lnTo>
                        <a:pt x="903" y="263"/>
                      </a:lnTo>
                      <a:lnTo>
                        <a:pt x="903" y="258"/>
                      </a:lnTo>
                      <a:lnTo>
                        <a:pt x="898" y="257"/>
                      </a:lnTo>
                      <a:lnTo>
                        <a:pt x="899" y="258"/>
                      </a:lnTo>
                      <a:lnTo>
                        <a:pt x="893" y="259"/>
                      </a:lnTo>
                      <a:lnTo>
                        <a:pt x="892" y="261"/>
                      </a:lnTo>
                      <a:lnTo>
                        <a:pt x="896" y="259"/>
                      </a:lnTo>
                      <a:lnTo>
                        <a:pt x="902" y="262"/>
                      </a:lnTo>
                      <a:lnTo>
                        <a:pt x="899" y="263"/>
                      </a:lnTo>
                      <a:lnTo>
                        <a:pt x="903" y="264"/>
                      </a:lnTo>
                      <a:lnTo>
                        <a:pt x="902" y="265"/>
                      </a:lnTo>
                      <a:lnTo>
                        <a:pt x="904" y="268"/>
                      </a:lnTo>
                      <a:lnTo>
                        <a:pt x="902" y="270"/>
                      </a:lnTo>
                      <a:lnTo>
                        <a:pt x="903" y="272"/>
                      </a:lnTo>
                      <a:lnTo>
                        <a:pt x="898" y="271"/>
                      </a:lnTo>
                      <a:lnTo>
                        <a:pt x="899" y="271"/>
                      </a:lnTo>
                      <a:lnTo>
                        <a:pt x="897" y="270"/>
                      </a:lnTo>
                      <a:lnTo>
                        <a:pt x="895" y="271"/>
                      </a:lnTo>
                      <a:lnTo>
                        <a:pt x="895" y="269"/>
                      </a:lnTo>
                      <a:lnTo>
                        <a:pt x="892" y="270"/>
                      </a:lnTo>
                      <a:lnTo>
                        <a:pt x="895" y="272"/>
                      </a:lnTo>
                      <a:lnTo>
                        <a:pt x="883" y="271"/>
                      </a:lnTo>
                      <a:lnTo>
                        <a:pt x="884" y="265"/>
                      </a:lnTo>
                      <a:lnTo>
                        <a:pt x="878" y="266"/>
                      </a:lnTo>
                      <a:lnTo>
                        <a:pt x="871" y="266"/>
                      </a:lnTo>
                      <a:lnTo>
                        <a:pt x="865" y="268"/>
                      </a:lnTo>
                      <a:lnTo>
                        <a:pt x="864" y="268"/>
                      </a:lnTo>
                      <a:lnTo>
                        <a:pt x="864" y="269"/>
                      </a:lnTo>
                      <a:lnTo>
                        <a:pt x="863" y="269"/>
                      </a:lnTo>
                      <a:lnTo>
                        <a:pt x="864" y="271"/>
                      </a:lnTo>
                      <a:lnTo>
                        <a:pt x="872" y="274"/>
                      </a:lnTo>
                      <a:lnTo>
                        <a:pt x="869" y="275"/>
                      </a:lnTo>
                      <a:lnTo>
                        <a:pt x="869" y="276"/>
                      </a:lnTo>
                      <a:lnTo>
                        <a:pt x="863" y="278"/>
                      </a:lnTo>
                      <a:lnTo>
                        <a:pt x="861" y="278"/>
                      </a:lnTo>
                      <a:lnTo>
                        <a:pt x="856" y="283"/>
                      </a:lnTo>
                      <a:lnTo>
                        <a:pt x="845" y="286"/>
                      </a:lnTo>
                      <a:lnTo>
                        <a:pt x="845" y="288"/>
                      </a:lnTo>
                      <a:lnTo>
                        <a:pt x="841" y="289"/>
                      </a:lnTo>
                      <a:lnTo>
                        <a:pt x="836" y="288"/>
                      </a:lnTo>
                      <a:lnTo>
                        <a:pt x="829" y="288"/>
                      </a:lnTo>
                      <a:lnTo>
                        <a:pt x="829" y="284"/>
                      </a:lnTo>
                      <a:lnTo>
                        <a:pt x="825" y="283"/>
                      </a:lnTo>
                      <a:lnTo>
                        <a:pt x="828" y="283"/>
                      </a:lnTo>
                      <a:lnTo>
                        <a:pt x="823" y="282"/>
                      </a:lnTo>
                      <a:lnTo>
                        <a:pt x="821" y="279"/>
                      </a:lnTo>
                      <a:lnTo>
                        <a:pt x="815" y="278"/>
                      </a:lnTo>
                      <a:lnTo>
                        <a:pt x="812" y="278"/>
                      </a:lnTo>
                      <a:lnTo>
                        <a:pt x="815" y="279"/>
                      </a:lnTo>
                      <a:lnTo>
                        <a:pt x="806" y="278"/>
                      </a:lnTo>
                      <a:lnTo>
                        <a:pt x="815" y="283"/>
                      </a:lnTo>
                      <a:lnTo>
                        <a:pt x="817" y="289"/>
                      </a:lnTo>
                      <a:lnTo>
                        <a:pt x="830" y="290"/>
                      </a:lnTo>
                      <a:lnTo>
                        <a:pt x="844" y="290"/>
                      </a:lnTo>
                      <a:lnTo>
                        <a:pt x="844" y="292"/>
                      </a:lnTo>
                      <a:lnTo>
                        <a:pt x="830" y="302"/>
                      </a:lnTo>
                      <a:lnTo>
                        <a:pt x="823" y="304"/>
                      </a:lnTo>
                      <a:lnTo>
                        <a:pt x="816" y="311"/>
                      </a:lnTo>
                      <a:lnTo>
                        <a:pt x="804" y="314"/>
                      </a:lnTo>
                      <a:lnTo>
                        <a:pt x="799" y="311"/>
                      </a:lnTo>
                      <a:lnTo>
                        <a:pt x="798" y="314"/>
                      </a:lnTo>
                      <a:lnTo>
                        <a:pt x="795" y="311"/>
                      </a:lnTo>
                      <a:lnTo>
                        <a:pt x="795" y="312"/>
                      </a:lnTo>
                      <a:lnTo>
                        <a:pt x="793" y="311"/>
                      </a:lnTo>
                      <a:lnTo>
                        <a:pt x="790" y="310"/>
                      </a:lnTo>
                      <a:lnTo>
                        <a:pt x="788" y="310"/>
                      </a:lnTo>
                      <a:lnTo>
                        <a:pt x="790" y="311"/>
                      </a:lnTo>
                      <a:lnTo>
                        <a:pt x="788" y="315"/>
                      </a:lnTo>
                      <a:lnTo>
                        <a:pt x="784" y="312"/>
                      </a:lnTo>
                      <a:lnTo>
                        <a:pt x="784" y="316"/>
                      </a:lnTo>
                      <a:lnTo>
                        <a:pt x="781" y="319"/>
                      </a:lnTo>
                      <a:lnTo>
                        <a:pt x="776" y="319"/>
                      </a:lnTo>
                      <a:lnTo>
                        <a:pt x="771" y="321"/>
                      </a:lnTo>
                      <a:lnTo>
                        <a:pt x="761" y="317"/>
                      </a:lnTo>
                      <a:lnTo>
                        <a:pt x="761" y="317"/>
                      </a:lnTo>
                      <a:lnTo>
                        <a:pt x="750" y="317"/>
                      </a:lnTo>
                      <a:lnTo>
                        <a:pt x="752" y="318"/>
                      </a:lnTo>
                      <a:lnTo>
                        <a:pt x="751" y="321"/>
                      </a:lnTo>
                      <a:lnTo>
                        <a:pt x="757" y="318"/>
                      </a:lnTo>
                      <a:lnTo>
                        <a:pt x="759" y="318"/>
                      </a:lnTo>
                      <a:lnTo>
                        <a:pt x="761" y="322"/>
                      </a:lnTo>
                      <a:lnTo>
                        <a:pt x="765" y="323"/>
                      </a:lnTo>
                      <a:lnTo>
                        <a:pt x="769" y="324"/>
                      </a:lnTo>
                      <a:lnTo>
                        <a:pt x="765" y="331"/>
                      </a:lnTo>
                      <a:lnTo>
                        <a:pt x="762" y="332"/>
                      </a:lnTo>
                      <a:lnTo>
                        <a:pt x="757" y="332"/>
                      </a:lnTo>
                      <a:lnTo>
                        <a:pt x="752" y="335"/>
                      </a:lnTo>
                      <a:lnTo>
                        <a:pt x="743" y="334"/>
                      </a:lnTo>
                      <a:lnTo>
                        <a:pt x="742" y="335"/>
                      </a:lnTo>
                      <a:lnTo>
                        <a:pt x="738" y="334"/>
                      </a:lnTo>
                      <a:lnTo>
                        <a:pt x="738" y="337"/>
                      </a:lnTo>
                      <a:lnTo>
                        <a:pt x="743" y="338"/>
                      </a:lnTo>
                      <a:lnTo>
                        <a:pt x="742" y="339"/>
                      </a:lnTo>
                      <a:lnTo>
                        <a:pt x="738" y="341"/>
                      </a:lnTo>
                      <a:lnTo>
                        <a:pt x="737" y="338"/>
                      </a:lnTo>
                      <a:lnTo>
                        <a:pt x="733" y="341"/>
                      </a:lnTo>
                      <a:lnTo>
                        <a:pt x="732" y="339"/>
                      </a:lnTo>
                      <a:lnTo>
                        <a:pt x="732" y="342"/>
                      </a:lnTo>
                      <a:lnTo>
                        <a:pt x="736" y="342"/>
                      </a:lnTo>
                      <a:lnTo>
                        <a:pt x="730" y="343"/>
                      </a:lnTo>
                      <a:lnTo>
                        <a:pt x="729" y="342"/>
                      </a:lnTo>
                      <a:lnTo>
                        <a:pt x="726" y="346"/>
                      </a:lnTo>
                      <a:lnTo>
                        <a:pt x="724" y="345"/>
                      </a:lnTo>
                      <a:lnTo>
                        <a:pt x="724" y="346"/>
                      </a:lnTo>
                      <a:lnTo>
                        <a:pt x="719" y="346"/>
                      </a:lnTo>
                      <a:lnTo>
                        <a:pt x="719" y="348"/>
                      </a:lnTo>
                      <a:lnTo>
                        <a:pt x="716" y="350"/>
                      </a:lnTo>
                      <a:lnTo>
                        <a:pt x="713" y="349"/>
                      </a:lnTo>
                      <a:lnTo>
                        <a:pt x="712" y="352"/>
                      </a:lnTo>
                      <a:lnTo>
                        <a:pt x="709" y="350"/>
                      </a:lnTo>
                      <a:lnTo>
                        <a:pt x="708" y="354"/>
                      </a:lnTo>
                      <a:lnTo>
                        <a:pt x="712" y="354"/>
                      </a:lnTo>
                      <a:lnTo>
                        <a:pt x="705" y="356"/>
                      </a:lnTo>
                      <a:lnTo>
                        <a:pt x="695" y="361"/>
                      </a:lnTo>
                      <a:lnTo>
                        <a:pt x="698" y="361"/>
                      </a:lnTo>
                      <a:lnTo>
                        <a:pt x="697" y="362"/>
                      </a:lnTo>
                      <a:lnTo>
                        <a:pt x="693" y="363"/>
                      </a:lnTo>
                      <a:lnTo>
                        <a:pt x="693" y="364"/>
                      </a:lnTo>
                      <a:lnTo>
                        <a:pt x="691" y="366"/>
                      </a:lnTo>
                      <a:lnTo>
                        <a:pt x="677" y="377"/>
                      </a:lnTo>
                      <a:lnTo>
                        <a:pt x="669" y="377"/>
                      </a:lnTo>
                      <a:lnTo>
                        <a:pt x="673" y="378"/>
                      </a:lnTo>
                      <a:lnTo>
                        <a:pt x="670" y="383"/>
                      </a:lnTo>
                      <a:lnTo>
                        <a:pt x="666" y="388"/>
                      </a:lnTo>
                      <a:lnTo>
                        <a:pt x="666" y="388"/>
                      </a:lnTo>
                      <a:lnTo>
                        <a:pt x="664" y="391"/>
                      </a:lnTo>
                      <a:lnTo>
                        <a:pt x="663" y="392"/>
                      </a:lnTo>
                      <a:lnTo>
                        <a:pt x="659" y="399"/>
                      </a:lnTo>
                      <a:lnTo>
                        <a:pt x="654" y="405"/>
                      </a:lnTo>
                      <a:lnTo>
                        <a:pt x="655" y="406"/>
                      </a:lnTo>
                      <a:lnTo>
                        <a:pt x="655" y="408"/>
                      </a:lnTo>
                      <a:lnTo>
                        <a:pt x="656" y="410"/>
                      </a:lnTo>
                      <a:lnTo>
                        <a:pt x="656" y="411"/>
                      </a:lnTo>
                      <a:lnTo>
                        <a:pt x="656" y="412"/>
                      </a:lnTo>
                      <a:lnTo>
                        <a:pt x="657" y="411"/>
                      </a:lnTo>
                      <a:lnTo>
                        <a:pt x="658" y="411"/>
                      </a:lnTo>
                      <a:lnTo>
                        <a:pt x="669" y="411"/>
                      </a:lnTo>
                      <a:lnTo>
                        <a:pt x="670" y="411"/>
                      </a:lnTo>
                      <a:lnTo>
                        <a:pt x="673" y="411"/>
                      </a:lnTo>
                      <a:lnTo>
                        <a:pt x="675" y="411"/>
                      </a:lnTo>
                      <a:lnTo>
                        <a:pt x="671" y="421"/>
                      </a:lnTo>
                      <a:lnTo>
                        <a:pt x="671" y="426"/>
                      </a:lnTo>
                      <a:lnTo>
                        <a:pt x="668" y="438"/>
                      </a:lnTo>
                      <a:lnTo>
                        <a:pt x="663" y="443"/>
                      </a:lnTo>
                      <a:lnTo>
                        <a:pt x="661" y="444"/>
                      </a:lnTo>
                      <a:lnTo>
                        <a:pt x="669" y="444"/>
                      </a:lnTo>
                      <a:lnTo>
                        <a:pt x="676" y="443"/>
                      </a:lnTo>
                      <a:lnTo>
                        <a:pt x="690" y="439"/>
                      </a:lnTo>
                      <a:lnTo>
                        <a:pt x="698" y="442"/>
                      </a:lnTo>
                      <a:lnTo>
                        <a:pt x="701" y="444"/>
                      </a:lnTo>
                      <a:lnTo>
                        <a:pt x="711" y="446"/>
                      </a:lnTo>
                      <a:lnTo>
                        <a:pt x="713" y="448"/>
                      </a:lnTo>
                      <a:lnTo>
                        <a:pt x="717" y="448"/>
                      </a:lnTo>
                      <a:lnTo>
                        <a:pt x="717" y="450"/>
                      </a:lnTo>
                      <a:lnTo>
                        <a:pt x="719" y="451"/>
                      </a:lnTo>
                      <a:lnTo>
                        <a:pt x="719" y="452"/>
                      </a:lnTo>
                      <a:lnTo>
                        <a:pt x="723" y="455"/>
                      </a:lnTo>
                      <a:lnTo>
                        <a:pt x="724" y="455"/>
                      </a:lnTo>
                      <a:lnTo>
                        <a:pt x="725" y="462"/>
                      </a:lnTo>
                      <a:lnTo>
                        <a:pt x="726" y="463"/>
                      </a:lnTo>
                      <a:lnTo>
                        <a:pt x="729" y="464"/>
                      </a:lnTo>
                      <a:lnTo>
                        <a:pt x="729" y="464"/>
                      </a:lnTo>
                      <a:lnTo>
                        <a:pt x="735" y="465"/>
                      </a:lnTo>
                      <a:lnTo>
                        <a:pt x="741" y="468"/>
                      </a:lnTo>
                      <a:lnTo>
                        <a:pt x="742" y="469"/>
                      </a:lnTo>
                      <a:lnTo>
                        <a:pt x="745" y="469"/>
                      </a:lnTo>
                      <a:lnTo>
                        <a:pt x="748" y="470"/>
                      </a:lnTo>
                      <a:lnTo>
                        <a:pt x="750" y="472"/>
                      </a:lnTo>
                      <a:lnTo>
                        <a:pt x="751" y="475"/>
                      </a:lnTo>
                      <a:lnTo>
                        <a:pt x="752" y="476"/>
                      </a:lnTo>
                      <a:lnTo>
                        <a:pt x="755" y="476"/>
                      </a:lnTo>
                      <a:lnTo>
                        <a:pt x="756" y="477"/>
                      </a:lnTo>
                      <a:lnTo>
                        <a:pt x="755" y="477"/>
                      </a:lnTo>
                      <a:lnTo>
                        <a:pt x="753" y="478"/>
                      </a:lnTo>
                      <a:lnTo>
                        <a:pt x="757" y="477"/>
                      </a:lnTo>
                      <a:lnTo>
                        <a:pt x="759" y="478"/>
                      </a:lnTo>
                      <a:lnTo>
                        <a:pt x="764" y="478"/>
                      </a:lnTo>
                      <a:lnTo>
                        <a:pt x="768" y="477"/>
                      </a:lnTo>
                      <a:lnTo>
                        <a:pt x="770" y="478"/>
                      </a:lnTo>
                      <a:lnTo>
                        <a:pt x="773" y="477"/>
                      </a:lnTo>
                      <a:lnTo>
                        <a:pt x="775" y="478"/>
                      </a:lnTo>
                      <a:lnTo>
                        <a:pt x="777" y="478"/>
                      </a:lnTo>
                      <a:lnTo>
                        <a:pt x="784" y="479"/>
                      </a:lnTo>
                      <a:lnTo>
                        <a:pt x="786" y="478"/>
                      </a:lnTo>
                      <a:lnTo>
                        <a:pt x="788" y="479"/>
                      </a:lnTo>
                      <a:lnTo>
                        <a:pt x="788" y="481"/>
                      </a:lnTo>
                      <a:lnTo>
                        <a:pt x="791" y="481"/>
                      </a:lnTo>
                      <a:lnTo>
                        <a:pt x="792" y="481"/>
                      </a:lnTo>
                      <a:lnTo>
                        <a:pt x="793" y="481"/>
                      </a:lnTo>
                      <a:lnTo>
                        <a:pt x="795" y="481"/>
                      </a:lnTo>
                      <a:lnTo>
                        <a:pt x="795" y="482"/>
                      </a:lnTo>
                      <a:lnTo>
                        <a:pt x="796" y="481"/>
                      </a:lnTo>
                      <a:lnTo>
                        <a:pt x="796" y="481"/>
                      </a:lnTo>
                      <a:lnTo>
                        <a:pt x="797" y="482"/>
                      </a:lnTo>
                      <a:lnTo>
                        <a:pt x="796" y="483"/>
                      </a:lnTo>
                      <a:lnTo>
                        <a:pt x="795" y="485"/>
                      </a:lnTo>
                      <a:lnTo>
                        <a:pt x="795" y="485"/>
                      </a:lnTo>
                      <a:lnTo>
                        <a:pt x="795" y="486"/>
                      </a:lnTo>
                      <a:lnTo>
                        <a:pt x="786" y="495"/>
                      </a:lnTo>
                      <a:lnTo>
                        <a:pt x="784" y="498"/>
                      </a:lnTo>
                      <a:lnTo>
                        <a:pt x="785" y="504"/>
                      </a:lnTo>
                      <a:lnTo>
                        <a:pt x="785" y="508"/>
                      </a:lnTo>
                      <a:lnTo>
                        <a:pt x="782" y="511"/>
                      </a:lnTo>
                      <a:lnTo>
                        <a:pt x="779" y="517"/>
                      </a:lnTo>
                      <a:lnTo>
                        <a:pt x="777" y="518"/>
                      </a:lnTo>
                      <a:lnTo>
                        <a:pt x="775" y="520"/>
                      </a:lnTo>
                      <a:lnTo>
                        <a:pt x="773" y="523"/>
                      </a:lnTo>
                      <a:lnTo>
                        <a:pt x="775" y="524"/>
                      </a:lnTo>
                      <a:lnTo>
                        <a:pt x="776" y="524"/>
                      </a:lnTo>
                      <a:lnTo>
                        <a:pt x="777" y="529"/>
                      </a:lnTo>
                      <a:lnTo>
                        <a:pt x="781" y="533"/>
                      </a:lnTo>
                      <a:lnTo>
                        <a:pt x="779" y="536"/>
                      </a:lnTo>
                      <a:lnTo>
                        <a:pt x="778" y="537"/>
                      </a:lnTo>
                      <a:lnTo>
                        <a:pt x="779" y="538"/>
                      </a:lnTo>
                      <a:lnTo>
                        <a:pt x="779" y="539"/>
                      </a:lnTo>
                      <a:lnTo>
                        <a:pt x="783" y="542"/>
                      </a:lnTo>
                      <a:lnTo>
                        <a:pt x="783" y="540"/>
                      </a:lnTo>
                      <a:lnTo>
                        <a:pt x="785" y="542"/>
                      </a:lnTo>
                      <a:lnTo>
                        <a:pt x="785" y="544"/>
                      </a:lnTo>
                      <a:lnTo>
                        <a:pt x="786" y="544"/>
                      </a:lnTo>
                      <a:lnTo>
                        <a:pt x="788" y="546"/>
                      </a:lnTo>
                      <a:lnTo>
                        <a:pt x="788" y="548"/>
                      </a:lnTo>
                      <a:lnTo>
                        <a:pt x="788" y="551"/>
                      </a:lnTo>
                      <a:lnTo>
                        <a:pt x="788" y="552"/>
                      </a:lnTo>
                      <a:lnTo>
                        <a:pt x="788" y="553"/>
                      </a:lnTo>
                      <a:lnTo>
                        <a:pt x="785" y="555"/>
                      </a:lnTo>
                      <a:lnTo>
                        <a:pt x="784" y="556"/>
                      </a:lnTo>
                      <a:lnTo>
                        <a:pt x="782" y="558"/>
                      </a:lnTo>
                      <a:lnTo>
                        <a:pt x="781" y="558"/>
                      </a:lnTo>
                      <a:lnTo>
                        <a:pt x="781" y="558"/>
                      </a:lnTo>
                      <a:lnTo>
                        <a:pt x="782" y="558"/>
                      </a:lnTo>
                      <a:lnTo>
                        <a:pt x="784" y="556"/>
                      </a:lnTo>
                      <a:lnTo>
                        <a:pt x="788" y="555"/>
                      </a:lnTo>
                      <a:lnTo>
                        <a:pt x="789" y="555"/>
                      </a:lnTo>
                      <a:lnTo>
                        <a:pt x="793" y="557"/>
                      </a:lnTo>
                      <a:lnTo>
                        <a:pt x="795" y="558"/>
                      </a:lnTo>
                      <a:lnTo>
                        <a:pt x="796" y="558"/>
                      </a:lnTo>
                      <a:lnTo>
                        <a:pt x="796" y="560"/>
                      </a:lnTo>
                      <a:lnTo>
                        <a:pt x="797" y="559"/>
                      </a:lnTo>
                      <a:lnTo>
                        <a:pt x="797" y="558"/>
                      </a:lnTo>
                      <a:lnTo>
                        <a:pt x="799" y="556"/>
                      </a:lnTo>
                      <a:lnTo>
                        <a:pt x="799" y="553"/>
                      </a:lnTo>
                      <a:lnTo>
                        <a:pt x="801" y="553"/>
                      </a:lnTo>
                      <a:lnTo>
                        <a:pt x="803" y="551"/>
                      </a:lnTo>
                      <a:lnTo>
                        <a:pt x="805" y="549"/>
                      </a:lnTo>
                      <a:lnTo>
                        <a:pt x="808" y="550"/>
                      </a:lnTo>
                      <a:lnTo>
                        <a:pt x="808" y="551"/>
                      </a:lnTo>
                      <a:lnTo>
                        <a:pt x="810" y="552"/>
                      </a:lnTo>
                      <a:lnTo>
                        <a:pt x="810" y="552"/>
                      </a:lnTo>
                      <a:lnTo>
                        <a:pt x="810" y="556"/>
                      </a:lnTo>
                      <a:lnTo>
                        <a:pt x="811" y="556"/>
                      </a:lnTo>
                      <a:lnTo>
                        <a:pt x="813" y="552"/>
                      </a:lnTo>
                      <a:lnTo>
                        <a:pt x="815" y="550"/>
                      </a:lnTo>
                      <a:lnTo>
                        <a:pt x="813" y="549"/>
                      </a:lnTo>
                      <a:lnTo>
                        <a:pt x="812" y="546"/>
                      </a:lnTo>
                      <a:lnTo>
                        <a:pt x="813" y="546"/>
                      </a:lnTo>
                      <a:lnTo>
                        <a:pt x="816" y="546"/>
                      </a:lnTo>
                      <a:lnTo>
                        <a:pt x="817" y="543"/>
                      </a:lnTo>
                      <a:lnTo>
                        <a:pt x="818" y="543"/>
                      </a:lnTo>
                      <a:lnTo>
                        <a:pt x="824" y="538"/>
                      </a:lnTo>
                      <a:lnTo>
                        <a:pt x="826" y="532"/>
                      </a:lnTo>
                      <a:lnTo>
                        <a:pt x="825" y="531"/>
                      </a:lnTo>
                      <a:lnTo>
                        <a:pt x="825" y="530"/>
                      </a:lnTo>
                      <a:lnTo>
                        <a:pt x="825" y="528"/>
                      </a:lnTo>
                      <a:lnTo>
                        <a:pt x="826" y="526"/>
                      </a:lnTo>
                      <a:lnTo>
                        <a:pt x="826" y="525"/>
                      </a:lnTo>
                      <a:lnTo>
                        <a:pt x="825" y="524"/>
                      </a:lnTo>
                      <a:lnTo>
                        <a:pt x="826" y="523"/>
                      </a:lnTo>
                      <a:lnTo>
                        <a:pt x="826" y="522"/>
                      </a:lnTo>
                      <a:lnTo>
                        <a:pt x="829" y="517"/>
                      </a:lnTo>
                      <a:lnTo>
                        <a:pt x="829" y="515"/>
                      </a:lnTo>
                      <a:lnTo>
                        <a:pt x="828" y="513"/>
                      </a:lnTo>
                      <a:lnTo>
                        <a:pt x="828" y="512"/>
                      </a:lnTo>
                      <a:lnTo>
                        <a:pt x="830" y="512"/>
                      </a:lnTo>
                      <a:lnTo>
                        <a:pt x="832" y="502"/>
                      </a:lnTo>
                      <a:lnTo>
                        <a:pt x="835" y="501"/>
                      </a:lnTo>
                      <a:lnTo>
                        <a:pt x="835" y="501"/>
                      </a:lnTo>
                      <a:lnTo>
                        <a:pt x="831" y="499"/>
                      </a:lnTo>
                      <a:lnTo>
                        <a:pt x="831" y="491"/>
                      </a:lnTo>
                      <a:lnTo>
                        <a:pt x="829" y="490"/>
                      </a:lnTo>
                      <a:lnTo>
                        <a:pt x="836" y="486"/>
                      </a:lnTo>
                      <a:lnTo>
                        <a:pt x="843" y="486"/>
                      </a:lnTo>
                      <a:lnTo>
                        <a:pt x="846" y="485"/>
                      </a:lnTo>
                      <a:lnTo>
                        <a:pt x="852" y="483"/>
                      </a:lnTo>
                      <a:lnTo>
                        <a:pt x="857" y="481"/>
                      </a:lnTo>
                      <a:lnTo>
                        <a:pt x="863" y="478"/>
                      </a:lnTo>
                      <a:lnTo>
                        <a:pt x="869" y="477"/>
                      </a:lnTo>
                      <a:lnTo>
                        <a:pt x="876" y="472"/>
                      </a:lnTo>
                      <a:lnTo>
                        <a:pt x="881" y="471"/>
                      </a:lnTo>
                      <a:lnTo>
                        <a:pt x="890" y="463"/>
                      </a:lnTo>
                      <a:lnTo>
                        <a:pt x="896" y="456"/>
                      </a:lnTo>
                      <a:lnTo>
                        <a:pt x="897" y="452"/>
                      </a:lnTo>
                      <a:lnTo>
                        <a:pt x="902" y="445"/>
                      </a:lnTo>
                      <a:lnTo>
                        <a:pt x="903" y="439"/>
                      </a:lnTo>
                      <a:lnTo>
                        <a:pt x="903" y="429"/>
                      </a:lnTo>
                      <a:lnTo>
                        <a:pt x="900" y="424"/>
                      </a:lnTo>
                      <a:lnTo>
                        <a:pt x="900" y="421"/>
                      </a:lnTo>
                      <a:lnTo>
                        <a:pt x="896" y="418"/>
                      </a:lnTo>
                      <a:lnTo>
                        <a:pt x="892" y="418"/>
                      </a:lnTo>
                      <a:lnTo>
                        <a:pt x="888" y="413"/>
                      </a:lnTo>
                      <a:lnTo>
                        <a:pt x="891" y="410"/>
                      </a:lnTo>
                      <a:lnTo>
                        <a:pt x="900" y="402"/>
                      </a:lnTo>
                      <a:lnTo>
                        <a:pt x="904" y="401"/>
                      </a:lnTo>
                      <a:lnTo>
                        <a:pt x="906" y="399"/>
                      </a:lnTo>
                      <a:lnTo>
                        <a:pt x="908" y="398"/>
                      </a:lnTo>
                      <a:lnTo>
                        <a:pt x="906" y="398"/>
                      </a:lnTo>
                      <a:lnTo>
                        <a:pt x="908" y="397"/>
                      </a:lnTo>
                      <a:lnTo>
                        <a:pt x="909" y="396"/>
                      </a:lnTo>
                      <a:lnTo>
                        <a:pt x="910" y="396"/>
                      </a:lnTo>
                      <a:lnTo>
                        <a:pt x="911" y="393"/>
                      </a:lnTo>
                      <a:lnTo>
                        <a:pt x="913" y="393"/>
                      </a:lnTo>
                      <a:lnTo>
                        <a:pt x="915" y="393"/>
                      </a:lnTo>
                      <a:lnTo>
                        <a:pt x="915" y="392"/>
                      </a:lnTo>
                      <a:lnTo>
                        <a:pt x="918" y="391"/>
                      </a:lnTo>
                      <a:lnTo>
                        <a:pt x="918" y="389"/>
                      </a:lnTo>
                      <a:lnTo>
                        <a:pt x="920" y="388"/>
                      </a:lnTo>
                      <a:lnTo>
                        <a:pt x="920" y="386"/>
                      </a:lnTo>
                      <a:lnTo>
                        <a:pt x="918" y="386"/>
                      </a:lnTo>
                      <a:lnTo>
                        <a:pt x="917" y="386"/>
                      </a:lnTo>
                      <a:lnTo>
                        <a:pt x="919" y="383"/>
                      </a:lnTo>
                      <a:lnTo>
                        <a:pt x="920" y="382"/>
                      </a:lnTo>
                      <a:lnTo>
                        <a:pt x="918" y="379"/>
                      </a:lnTo>
                      <a:lnTo>
                        <a:pt x="920" y="378"/>
                      </a:lnTo>
                      <a:lnTo>
                        <a:pt x="922" y="378"/>
                      </a:lnTo>
                      <a:lnTo>
                        <a:pt x="923" y="377"/>
                      </a:lnTo>
                      <a:lnTo>
                        <a:pt x="920" y="377"/>
                      </a:lnTo>
                      <a:lnTo>
                        <a:pt x="920" y="375"/>
                      </a:lnTo>
                      <a:lnTo>
                        <a:pt x="923" y="373"/>
                      </a:lnTo>
                      <a:lnTo>
                        <a:pt x="923" y="373"/>
                      </a:lnTo>
                      <a:lnTo>
                        <a:pt x="917" y="372"/>
                      </a:lnTo>
                      <a:lnTo>
                        <a:pt x="924" y="368"/>
                      </a:lnTo>
                      <a:lnTo>
                        <a:pt x="929" y="364"/>
                      </a:lnTo>
                      <a:lnTo>
                        <a:pt x="929" y="361"/>
                      </a:lnTo>
                      <a:lnTo>
                        <a:pt x="930" y="361"/>
                      </a:lnTo>
                      <a:lnTo>
                        <a:pt x="932" y="359"/>
                      </a:lnTo>
                      <a:lnTo>
                        <a:pt x="932" y="357"/>
                      </a:lnTo>
                      <a:lnTo>
                        <a:pt x="931" y="356"/>
                      </a:lnTo>
                      <a:lnTo>
                        <a:pt x="930" y="355"/>
                      </a:lnTo>
                      <a:lnTo>
                        <a:pt x="930" y="351"/>
                      </a:lnTo>
                      <a:lnTo>
                        <a:pt x="933" y="344"/>
                      </a:lnTo>
                      <a:lnTo>
                        <a:pt x="946" y="339"/>
                      </a:lnTo>
                      <a:lnTo>
                        <a:pt x="950" y="341"/>
                      </a:lnTo>
                      <a:lnTo>
                        <a:pt x="952" y="341"/>
                      </a:lnTo>
                      <a:lnTo>
                        <a:pt x="971" y="345"/>
                      </a:lnTo>
                      <a:lnTo>
                        <a:pt x="973" y="344"/>
                      </a:lnTo>
                      <a:lnTo>
                        <a:pt x="979" y="345"/>
                      </a:lnTo>
                      <a:lnTo>
                        <a:pt x="982" y="346"/>
                      </a:lnTo>
                      <a:lnTo>
                        <a:pt x="982" y="345"/>
                      </a:lnTo>
                      <a:lnTo>
                        <a:pt x="983" y="345"/>
                      </a:lnTo>
                      <a:lnTo>
                        <a:pt x="985" y="345"/>
                      </a:lnTo>
                      <a:lnTo>
                        <a:pt x="990" y="344"/>
                      </a:lnTo>
                      <a:lnTo>
                        <a:pt x="992" y="343"/>
                      </a:lnTo>
                      <a:lnTo>
                        <a:pt x="992" y="345"/>
                      </a:lnTo>
                      <a:lnTo>
                        <a:pt x="995" y="342"/>
                      </a:lnTo>
                      <a:lnTo>
                        <a:pt x="999" y="341"/>
                      </a:lnTo>
                      <a:lnTo>
                        <a:pt x="1000" y="343"/>
                      </a:lnTo>
                      <a:lnTo>
                        <a:pt x="1003" y="344"/>
                      </a:lnTo>
                      <a:lnTo>
                        <a:pt x="1004" y="345"/>
                      </a:lnTo>
                      <a:lnTo>
                        <a:pt x="1009" y="348"/>
                      </a:lnTo>
                      <a:lnTo>
                        <a:pt x="1009" y="348"/>
                      </a:lnTo>
                      <a:lnTo>
                        <a:pt x="1011" y="349"/>
                      </a:lnTo>
                      <a:lnTo>
                        <a:pt x="1010" y="351"/>
                      </a:lnTo>
                      <a:lnTo>
                        <a:pt x="1013" y="352"/>
                      </a:lnTo>
                      <a:lnTo>
                        <a:pt x="1013" y="355"/>
                      </a:lnTo>
                      <a:lnTo>
                        <a:pt x="1016" y="356"/>
                      </a:lnTo>
                      <a:lnTo>
                        <a:pt x="1017" y="356"/>
                      </a:lnTo>
                      <a:lnTo>
                        <a:pt x="1020" y="357"/>
                      </a:lnTo>
                      <a:lnTo>
                        <a:pt x="1020" y="358"/>
                      </a:lnTo>
                      <a:lnTo>
                        <a:pt x="1017" y="358"/>
                      </a:lnTo>
                      <a:lnTo>
                        <a:pt x="1016" y="361"/>
                      </a:lnTo>
                      <a:lnTo>
                        <a:pt x="1017" y="361"/>
                      </a:lnTo>
                      <a:lnTo>
                        <a:pt x="1016" y="362"/>
                      </a:lnTo>
                      <a:lnTo>
                        <a:pt x="1016" y="363"/>
                      </a:lnTo>
                      <a:lnTo>
                        <a:pt x="1018" y="364"/>
                      </a:lnTo>
                      <a:lnTo>
                        <a:pt x="1024" y="366"/>
                      </a:lnTo>
                      <a:lnTo>
                        <a:pt x="1029" y="368"/>
                      </a:lnTo>
                      <a:lnTo>
                        <a:pt x="1033" y="366"/>
                      </a:lnTo>
                      <a:lnTo>
                        <a:pt x="1036" y="366"/>
                      </a:lnTo>
                      <a:lnTo>
                        <a:pt x="1036" y="368"/>
                      </a:lnTo>
                      <a:lnTo>
                        <a:pt x="1035" y="370"/>
                      </a:lnTo>
                      <a:lnTo>
                        <a:pt x="1036" y="371"/>
                      </a:lnTo>
                      <a:lnTo>
                        <a:pt x="1038" y="371"/>
                      </a:lnTo>
                      <a:lnTo>
                        <a:pt x="1039" y="370"/>
                      </a:lnTo>
                      <a:lnTo>
                        <a:pt x="1042" y="370"/>
                      </a:lnTo>
                      <a:lnTo>
                        <a:pt x="1044" y="368"/>
                      </a:lnTo>
                      <a:lnTo>
                        <a:pt x="1045" y="368"/>
                      </a:lnTo>
                      <a:lnTo>
                        <a:pt x="1045" y="371"/>
                      </a:lnTo>
                      <a:lnTo>
                        <a:pt x="1044" y="372"/>
                      </a:lnTo>
                      <a:lnTo>
                        <a:pt x="1039" y="373"/>
                      </a:lnTo>
                      <a:lnTo>
                        <a:pt x="1038" y="376"/>
                      </a:lnTo>
                      <a:lnTo>
                        <a:pt x="1036" y="377"/>
                      </a:lnTo>
                      <a:lnTo>
                        <a:pt x="1035" y="381"/>
                      </a:lnTo>
                      <a:lnTo>
                        <a:pt x="1036" y="383"/>
                      </a:lnTo>
                      <a:lnTo>
                        <a:pt x="1033" y="386"/>
                      </a:lnTo>
                      <a:lnTo>
                        <a:pt x="1031" y="386"/>
                      </a:lnTo>
                      <a:lnTo>
                        <a:pt x="1031" y="389"/>
                      </a:lnTo>
                      <a:lnTo>
                        <a:pt x="1032" y="390"/>
                      </a:lnTo>
                      <a:lnTo>
                        <a:pt x="1031" y="393"/>
                      </a:lnTo>
                      <a:lnTo>
                        <a:pt x="1032" y="393"/>
                      </a:lnTo>
                      <a:lnTo>
                        <a:pt x="1031" y="395"/>
                      </a:lnTo>
                      <a:lnTo>
                        <a:pt x="1028" y="397"/>
                      </a:lnTo>
                      <a:lnTo>
                        <a:pt x="1026" y="399"/>
                      </a:lnTo>
                      <a:lnTo>
                        <a:pt x="1025" y="399"/>
                      </a:lnTo>
                      <a:lnTo>
                        <a:pt x="1025" y="401"/>
                      </a:lnTo>
                      <a:lnTo>
                        <a:pt x="1029" y="399"/>
                      </a:lnTo>
                      <a:lnTo>
                        <a:pt x="1032" y="401"/>
                      </a:lnTo>
                      <a:lnTo>
                        <a:pt x="1031" y="402"/>
                      </a:lnTo>
                      <a:lnTo>
                        <a:pt x="1028" y="402"/>
                      </a:lnTo>
                      <a:lnTo>
                        <a:pt x="1026" y="404"/>
                      </a:lnTo>
                      <a:lnTo>
                        <a:pt x="1028" y="404"/>
                      </a:lnTo>
                      <a:lnTo>
                        <a:pt x="1030" y="403"/>
                      </a:lnTo>
                      <a:lnTo>
                        <a:pt x="1031" y="404"/>
                      </a:lnTo>
                      <a:lnTo>
                        <a:pt x="1031" y="405"/>
                      </a:lnTo>
                      <a:lnTo>
                        <a:pt x="1029" y="406"/>
                      </a:lnTo>
                      <a:lnTo>
                        <a:pt x="1028" y="408"/>
                      </a:lnTo>
                      <a:lnTo>
                        <a:pt x="1029" y="405"/>
                      </a:lnTo>
                      <a:lnTo>
                        <a:pt x="1029" y="405"/>
                      </a:lnTo>
                      <a:lnTo>
                        <a:pt x="1026" y="405"/>
                      </a:lnTo>
                      <a:lnTo>
                        <a:pt x="1024" y="409"/>
                      </a:lnTo>
                      <a:lnTo>
                        <a:pt x="1023" y="410"/>
                      </a:lnTo>
                      <a:lnTo>
                        <a:pt x="1024" y="410"/>
                      </a:lnTo>
                      <a:lnTo>
                        <a:pt x="1026" y="409"/>
                      </a:lnTo>
                      <a:lnTo>
                        <a:pt x="1036" y="409"/>
                      </a:lnTo>
                      <a:lnTo>
                        <a:pt x="1039" y="410"/>
                      </a:lnTo>
                      <a:lnTo>
                        <a:pt x="1039" y="415"/>
                      </a:lnTo>
                      <a:lnTo>
                        <a:pt x="1044" y="416"/>
                      </a:lnTo>
                      <a:lnTo>
                        <a:pt x="1043" y="418"/>
                      </a:lnTo>
                      <a:lnTo>
                        <a:pt x="1044" y="418"/>
                      </a:lnTo>
                      <a:lnTo>
                        <a:pt x="1046" y="417"/>
                      </a:lnTo>
                      <a:lnTo>
                        <a:pt x="1046" y="418"/>
                      </a:lnTo>
                      <a:lnTo>
                        <a:pt x="1045" y="419"/>
                      </a:lnTo>
                      <a:lnTo>
                        <a:pt x="1046" y="421"/>
                      </a:lnTo>
                      <a:lnTo>
                        <a:pt x="1044" y="423"/>
                      </a:lnTo>
                      <a:lnTo>
                        <a:pt x="1045" y="423"/>
                      </a:lnTo>
                      <a:lnTo>
                        <a:pt x="1048" y="421"/>
                      </a:lnTo>
                      <a:lnTo>
                        <a:pt x="1050" y="419"/>
                      </a:lnTo>
                      <a:lnTo>
                        <a:pt x="1056" y="417"/>
                      </a:lnTo>
                      <a:lnTo>
                        <a:pt x="1059" y="416"/>
                      </a:lnTo>
                      <a:lnTo>
                        <a:pt x="1059" y="416"/>
                      </a:lnTo>
                      <a:lnTo>
                        <a:pt x="1063" y="416"/>
                      </a:lnTo>
                      <a:lnTo>
                        <a:pt x="1069" y="410"/>
                      </a:lnTo>
                      <a:lnTo>
                        <a:pt x="1072" y="412"/>
                      </a:lnTo>
                      <a:lnTo>
                        <a:pt x="1073" y="411"/>
                      </a:lnTo>
                      <a:lnTo>
                        <a:pt x="1073" y="410"/>
                      </a:lnTo>
                      <a:lnTo>
                        <a:pt x="1075" y="409"/>
                      </a:lnTo>
                      <a:lnTo>
                        <a:pt x="1076" y="410"/>
                      </a:lnTo>
                      <a:lnTo>
                        <a:pt x="1077" y="409"/>
                      </a:lnTo>
                      <a:lnTo>
                        <a:pt x="1076" y="408"/>
                      </a:lnTo>
                      <a:lnTo>
                        <a:pt x="1082" y="405"/>
                      </a:lnTo>
                      <a:lnTo>
                        <a:pt x="1083" y="406"/>
                      </a:lnTo>
                      <a:lnTo>
                        <a:pt x="1083" y="405"/>
                      </a:lnTo>
                      <a:lnTo>
                        <a:pt x="1083" y="402"/>
                      </a:lnTo>
                      <a:lnTo>
                        <a:pt x="1083" y="402"/>
                      </a:lnTo>
                      <a:lnTo>
                        <a:pt x="1085" y="402"/>
                      </a:lnTo>
                      <a:lnTo>
                        <a:pt x="1086" y="401"/>
                      </a:lnTo>
                      <a:lnTo>
                        <a:pt x="1086" y="399"/>
                      </a:lnTo>
                      <a:lnTo>
                        <a:pt x="1088" y="399"/>
                      </a:lnTo>
                      <a:lnTo>
                        <a:pt x="1089" y="398"/>
                      </a:lnTo>
                      <a:lnTo>
                        <a:pt x="1089" y="397"/>
                      </a:lnTo>
                      <a:lnTo>
                        <a:pt x="1090" y="397"/>
                      </a:lnTo>
                      <a:lnTo>
                        <a:pt x="1090" y="397"/>
                      </a:lnTo>
                      <a:lnTo>
                        <a:pt x="1090" y="393"/>
                      </a:lnTo>
                      <a:lnTo>
                        <a:pt x="1092" y="391"/>
                      </a:lnTo>
                      <a:lnTo>
                        <a:pt x="1098" y="389"/>
                      </a:lnTo>
                      <a:lnTo>
                        <a:pt x="1106" y="381"/>
                      </a:lnTo>
                      <a:lnTo>
                        <a:pt x="1108" y="381"/>
                      </a:lnTo>
                      <a:lnTo>
                        <a:pt x="1106" y="379"/>
                      </a:lnTo>
                      <a:lnTo>
                        <a:pt x="1108" y="378"/>
                      </a:lnTo>
                      <a:lnTo>
                        <a:pt x="1110" y="378"/>
                      </a:lnTo>
                      <a:lnTo>
                        <a:pt x="1111" y="379"/>
                      </a:lnTo>
                      <a:lnTo>
                        <a:pt x="1112" y="381"/>
                      </a:lnTo>
                      <a:lnTo>
                        <a:pt x="1111" y="382"/>
                      </a:lnTo>
                      <a:lnTo>
                        <a:pt x="1112" y="382"/>
                      </a:lnTo>
                      <a:lnTo>
                        <a:pt x="1111" y="382"/>
                      </a:lnTo>
                      <a:lnTo>
                        <a:pt x="1111" y="383"/>
                      </a:lnTo>
                      <a:lnTo>
                        <a:pt x="1110" y="385"/>
                      </a:lnTo>
                      <a:lnTo>
                        <a:pt x="1110" y="385"/>
                      </a:lnTo>
                      <a:lnTo>
                        <a:pt x="1110" y="386"/>
                      </a:lnTo>
                      <a:lnTo>
                        <a:pt x="1112" y="386"/>
                      </a:lnTo>
                      <a:lnTo>
                        <a:pt x="1113" y="386"/>
                      </a:lnTo>
                      <a:lnTo>
                        <a:pt x="1112" y="388"/>
                      </a:lnTo>
                      <a:lnTo>
                        <a:pt x="1112" y="390"/>
                      </a:lnTo>
                      <a:lnTo>
                        <a:pt x="1112" y="390"/>
                      </a:lnTo>
                      <a:lnTo>
                        <a:pt x="1113" y="391"/>
                      </a:lnTo>
                      <a:lnTo>
                        <a:pt x="1113" y="392"/>
                      </a:lnTo>
                      <a:lnTo>
                        <a:pt x="1113" y="393"/>
                      </a:lnTo>
                      <a:lnTo>
                        <a:pt x="1115" y="396"/>
                      </a:lnTo>
                      <a:lnTo>
                        <a:pt x="1112" y="398"/>
                      </a:lnTo>
                      <a:lnTo>
                        <a:pt x="1116" y="399"/>
                      </a:lnTo>
                      <a:lnTo>
                        <a:pt x="1116" y="401"/>
                      </a:lnTo>
                      <a:lnTo>
                        <a:pt x="1117" y="401"/>
                      </a:lnTo>
                      <a:lnTo>
                        <a:pt x="1117" y="402"/>
                      </a:lnTo>
                      <a:lnTo>
                        <a:pt x="1117" y="403"/>
                      </a:lnTo>
                      <a:lnTo>
                        <a:pt x="1115" y="404"/>
                      </a:lnTo>
                      <a:lnTo>
                        <a:pt x="1118" y="404"/>
                      </a:lnTo>
                      <a:lnTo>
                        <a:pt x="1118" y="405"/>
                      </a:lnTo>
                      <a:lnTo>
                        <a:pt x="1118" y="406"/>
                      </a:lnTo>
                      <a:lnTo>
                        <a:pt x="1119" y="408"/>
                      </a:lnTo>
                      <a:lnTo>
                        <a:pt x="1120" y="409"/>
                      </a:lnTo>
                      <a:lnTo>
                        <a:pt x="1120" y="411"/>
                      </a:lnTo>
                      <a:lnTo>
                        <a:pt x="1120" y="412"/>
                      </a:lnTo>
                      <a:lnTo>
                        <a:pt x="1118" y="413"/>
                      </a:lnTo>
                      <a:lnTo>
                        <a:pt x="1116" y="415"/>
                      </a:lnTo>
                      <a:lnTo>
                        <a:pt x="1116" y="416"/>
                      </a:lnTo>
                      <a:lnTo>
                        <a:pt x="1116" y="416"/>
                      </a:lnTo>
                      <a:lnTo>
                        <a:pt x="1117" y="417"/>
                      </a:lnTo>
                      <a:lnTo>
                        <a:pt x="1119" y="416"/>
                      </a:lnTo>
                      <a:lnTo>
                        <a:pt x="1122" y="416"/>
                      </a:lnTo>
                      <a:lnTo>
                        <a:pt x="1123" y="416"/>
                      </a:lnTo>
                      <a:lnTo>
                        <a:pt x="1119" y="419"/>
                      </a:lnTo>
                      <a:lnTo>
                        <a:pt x="1120" y="421"/>
                      </a:lnTo>
                      <a:lnTo>
                        <a:pt x="1119" y="421"/>
                      </a:lnTo>
                      <a:lnTo>
                        <a:pt x="1117" y="422"/>
                      </a:lnTo>
                      <a:lnTo>
                        <a:pt x="1117" y="423"/>
                      </a:lnTo>
                      <a:lnTo>
                        <a:pt x="1122" y="422"/>
                      </a:lnTo>
                      <a:lnTo>
                        <a:pt x="1122" y="423"/>
                      </a:lnTo>
                      <a:lnTo>
                        <a:pt x="1123" y="424"/>
                      </a:lnTo>
                      <a:lnTo>
                        <a:pt x="1122" y="425"/>
                      </a:lnTo>
                      <a:lnTo>
                        <a:pt x="1122" y="426"/>
                      </a:lnTo>
                      <a:lnTo>
                        <a:pt x="1124" y="426"/>
                      </a:lnTo>
                      <a:lnTo>
                        <a:pt x="1125" y="425"/>
                      </a:lnTo>
                      <a:lnTo>
                        <a:pt x="1126" y="426"/>
                      </a:lnTo>
                      <a:lnTo>
                        <a:pt x="1129" y="428"/>
                      </a:lnTo>
                      <a:lnTo>
                        <a:pt x="1129" y="428"/>
                      </a:lnTo>
                      <a:lnTo>
                        <a:pt x="1125" y="430"/>
                      </a:lnTo>
                      <a:lnTo>
                        <a:pt x="1126" y="431"/>
                      </a:lnTo>
                      <a:lnTo>
                        <a:pt x="1125" y="432"/>
                      </a:lnTo>
                      <a:lnTo>
                        <a:pt x="1124" y="432"/>
                      </a:lnTo>
                      <a:lnTo>
                        <a:pt x="1118" y="435"/>
                      </a:lnTo>
                      <a:lnTo>
                        <a:pt x="1117" y="436"/>
                      </a:lnTo>
                      <a:lnTo>
                        <a:pt x="1118" y="436"/>
                      </a:lnTo>
                      <a:lnTo>
                        <a:pt x="1120" y="436"/>
                      </a:lnTo>
                      <a:lnTo>
                        <a:pt x="1122" y="436"/>
                      </a:lnTo>
                      <a:lnTo>
                        <a:pt x="1123" y="436"/>
                      </a:lnTo>
                      <a:lnTo>
                        <a:pt x="1124" y="437"/>
                      </a:lnTo>
                      <a:lnTo>
                        <a:pt x="1124" y="438"/>
                      </a:lnTo>
                      <a:lnTo>
                        <a:pt x="1122" y="439"/>
                      </a:lnTo>
                      <a:lnTo>
                        <a:pt x="1123" y="441"/>
                      </a:lnTo>
                      <a:lnTo>
                        <a:pt x="1126" y="442"/>
                      </a:lnTo>
                      <a:lnTo>
                        <a:pt x="1127" y="442"/>
                      </a:lnTo>
                      <a:lnTo>
                        <a:pt x="1129" y="442"/>
                      </a:lnTo>
                      <a:lnTo>
                        <a:pt x="1130" y="443"/>
                      </a:lnTo>
                      <a:lnTo>
                        <a:pt x="1129" y="444"/>
                      </a:lnTo>
                      <a:lnTo>
                        <a:pt x="1127" y="445"/>
                      </a:lnTo>
                      <a:lnTo>
                        <a:pt x="1125" y="445"/>
                      </a:lnTo>
                      <a:lnTo>
                        <a:pt x="1122" y="448"/>
                      </a:lnTo>
                      <a:lnTo>
                        <a:pt x="1120" y="451"/>
                      </a:lnTo>
                      <a:lnTo>
                        <a:pt x="1119" y="452"/>
                      </a:lnTo>
                      <a:lnTo>
                        <a:pt x="1119" y="452"/>
                      </a:lnTo>
                      <a:lnTo>
                        <a:pt x="1120" y="453"/>
                      </a:lnTo>
                      <a:lnTo>
                        <a:pt x="1119" y="453"/>
                      </a:lnTo>
                      <a:lnTo>
                        <a:pt x="1119" y="453"/>
                      </a:lnTo>
                      <a:lnTo>
                        <a:pt x="1118" y="455"/>
                      </a:lnTo>
                      <a:lnTo>
                        <a:pt x="1116" y="455"/>
                      </a:lnTo>
                      <a:lnTo>
                        <a:pt x="1117" y="456"/>
                      </a:lnTo>
                      <a:lnTo>
                        <a:pt x="1118" y="458"/>
                      </a:lnTo>
                      <a:lnTo>
                        <a:pt x="1117" y="458"/>
                      </a:lnTo>
                      <a:lnTo>
                        <a:pt x="1115" y="458"/>
                      </a:lnTo>
                      <a:lnTo>
                        <a:pt x="1113" y="458"/>
                      </a:lnTo>
                      <a:lnTo>
                        <a:pt x="1112" y="459"/>
                      </a:lnTo>
                      <a:lnTo>
                        <a:pt x="1113" y="459"/>
                      </a:lnTo>
                      <a:lnTo>
                        <a:pt x="1118" y="459"/>
                      </a:lnTo>
                      <a:lnTo>
                        <a:pt x="1119" y="459"/>
                      </a:lnTo>
                      <a:lnTo>
                        <a:pt x="1120" y="459"/>
                      </a:lnTo>
                      <a:lnTo>
                        <a:pt x="1122" y="459"/>
                      </a:lnTo>
                      <a:lnTo>
                        <a:pt x="1122" y="461"/>
                      </a:lnTo>
                      <a:lnTo>
                        <a:pt x="1120" y="462"/>
                      </a:lnTo>
                      <a:lnTo>
                        <a:pt x="1122" y="462"/>
                      </a:lnTo>
                      <a:lnTo>
                        <a:pt x="1122" y="463"/>
                      </a:lnTo>
                      <a:lnTo>
                        <a:pt x="1122" y="464"/>
                      </a:lnTo>
                      <a:lnTo>
                        <a:pt x="1123" y="464"/>
                      </a:lnTo>
                      <a:lnTo>
                        <a:pt x="1124" y="465"/>
                      </a:lnTo>
                      <a:lnTo>
                        <a:pt x="1124" y="466"/>
                      </a:lnTo>
                      <a:lnTo>
                        <a:pt x="1124" y="466"/>
                      </a:lnTo>
                      <a:lnTo>
                        <a:pt x="1125" y="466"/>
                      </a:lnTo>
                      <a:lnTo>
                        <a:pt x="1129" y="466"/>
                      </a:lnTo>
                      <a:lnTo>
                        <a:pt x="1129" y="468"/>
                      </a:lnTo>
                      <a:lnTo>
                        <a:pt x="1130" y="468"/>
                      </a:lnTo>
                      <a:lnTo>
                        <a:pt x="1130" y="468"/>
                      </a:lnTo>
                      <a:lnTo>
                        <a:pt x="1130" y="468"/>
                      </a:lnTo>
                      <a:lnTo>
                        <a:pt x="1130" y="469"/>
                      </a:lnTo>
                      <a:lnTo>
                        <a:pt x="1131" y="469"/>
                      </a:lnTo>
                      <a:lnTo>
                        <a:pt x="1132" y="468"/>
                      </a:lnTo>
                      <a:lnTo>
                        <a:pt x="1135" y="468"/>
                      </a:lnTo>
                      <a:lnTo>
                        <a:pt x="1132" y="471"/>
                      </a:lnTo>
                      <a:lnTo>
                        <a:pt x="1132" y="472"/>
                      </a:lnTo>
                      <a:lnTo>
                        <a:pt x="1133" y="473"/>
                      </a:lnTo>
                      <a:lnTo>
                        <a:pt x="1132" y="475"/>
                      </a:lnTo>
                      <a:lnTo>
                        <a:pt x="1132" y="475"/>
                      </a:lnTo>
                      <a:lnTo>
                        <a:pt x="1131" y="475"/>
                      </a:lnTo>
                      <a:lnTo>
                        <a:pt x="1131" y="476"/>
                      </a:lnTo>
                      <a:lnTo>
                        <a:pt x="1130" y="476"/>
                      </a:lnTo>
                      <a:lnTo>
                        <a:pt x="1129" y="477"/>
                      </a:lnTo>
                      <a:lnTo>
                        <a:pt x="1130" y="478"/>
                      </a:lnTo>
                      <a:lnTo>
                        <a:pt x="1130" y="479"/>
                      </a:lnTo>
                      <a:lnTo>
                        <a:pt x="1130" y="479"/>
                      </a:lnTo>
                      <a:lnTo>
                        <a:pt x="1132" y="478"/>
                      </a:lnTo>
                      <a:lnTo>
                        <a:pt x="1135" y="478"/>
                      </a:lnTo>
                      <a:lnTo>
                        <a:pt x="1136" y="478"/>
                      </a:lnTo>
                      <a:lnTo>
                        <a:pt x="1139" y="477"/>
                      </a:lnTo>
                      <a:lnTo>
                        <a:pt x="1139" y="477"/>
                      </a:lnTo>
                      <a:lnTo>
                        <a:pt x="1139" y="478"/>
                      </a:lnTo>
                      <a:lnTo>
                        <a:pt x="1139" y="478"/>
                      </a:lnTo>
                      <a:lnTo>
                        <a:pt x="1136" y="481"/>
                      </a:lnTo>
                      <a:lnTo>
                        <a:pt x="1137" y="481"/>
                      </a:lnTo>
                      <a:lnTo>
                        <a:pt x="1137" y="481"/>
                      </a:lnTo>
                      <a:lnTo>
                        <a:pt x="1139" y="479"/>
                      </a:lnTo>
                      <a:lnTo>
                        <a:pt x="1139" y="481"/>
                      </a:lnTo>
                      <a:lnTo>
                        <a:pt x="1142" y="479"/>
                      </a:lnTo>
                      <a:lnTo>
                        <a:pt x="1144" y="479"/>
                      </a:lnTo>
                      <a:lnTo>
                        <a:pt x="1143" y="481"/>
                      </a:lnTo>
                      <a:lnTo>
                        <a:pt x="1142" y="481"/>
                      </a:lnTo>
                      <a:lnTo>
                        <a:pt x="1142" y="482"/>
                      </a:lnTo>
                      <a:lnTo>
                        <a:pt x="1143" y="482"/>
                      </a:lnTo>
                      <a:lnTo>
                        <a:pt x="1145" y="481"/>
                      </a:lnTo>
                      <a:lnTo>
                        <a:pt x="1145" y="479"/>
                      </a:lnTo>
                      <a:lnTo>
                        <a:pt x="1146" y="478"/>
                      </a:lnTo>
                      <a:lnTo>
                        <a:pt x="1147" y="478"/>
                      </a:lnTo>
                      <a:lnTo>
                        <a:pt x="1147" y="478"/>
                      </a:lnTo>
                      <a:lnTo>
                        <a:pt x="1147" y="481"/>
                      </a:lnTo>
                      <a:lnTo>
                        <a:pt x="1146" y="481"/>
                      </a:lnTo>
                      <a:lnTo>
                        <a:pt x="1146" y="481"/>
                      </a:lnTo>
                      <a:lnTo>
                        <a:pt x="1147" y="481"/>
                      </a:lnTo>
                      <a:lnTo>
                        <a:pt x="1149" y="479"/>
                      </a:lnTo>
                      <a:lnTo>
                        <a:pt x="1150" y="481"/>
                      </a:lnTo>
                      <a:lnTo>
                        <a:pt x="1150" y="482"/>
                      </a:lnTo>
                      <a:lnTo>
                        <a:pt x="1150" y="484"/>
                      </a:lnTo>
                      <a:lnTo>
                        <a:pt x="1150" y="485"/>
                      </a:lnTo>
                      <a:lnTo>
                        <a:pt x="1156" y="488"/>
                      </a:lnTo>
                      <a:lnTo>
                        <a:pt x="1158" y="486"/>
                      </a:lnTo>
                      <a:lnTo>
                        <a:pt x="1159" y="486"/>
                      </a:lnTo>
                      <a:lnTo>
                        <a:pt x="1160" y="485"/>
                      </a:lnTo>
                      <a:lnTo>
                        <a:pt x="1163" y="485"/>
                      </a:lnTo>
                      <a:lnTo>
                        <a:pt x="1165" y="484"/>
                      </a:lnTo>
                      <a:lnTo>
                        <a:pt x="1165" y="485"/>
                      </a:lnTo>
                      <a:lnTo>
                        <a:pt x="1165" y="485"/>
                      </a:lnTo>
                      <a:lnTo>
                        <a:pt x="1165" y="486"/>
                      </a:lnTo>
                      <a:lnTo>
                        <a:pt x="1164" y="488"/>
                      </a:lnTo>
                      <a:lnTo>
                        <a:pt x="1165" y="489"/>
                      </a:lnTo>
                      <a:lnTo>
                        <a:pt x="1170" y="490"/>
                      </a:lnTo>
                      <a:lnTo>
                        <a:pt x="1170" y="491"/>
                      </a:lnTo>
                      <a:lnTo>
                        <a:pt x="1172" y="491"/>
                      </a:lnTo>
                      <a:lnTo>
                        <a:pt x="1172" y="491"/>
                      </a:lnTo>
                      <a:lnTo>
                        <a:pt x="1172" y="492"/>
                      </a:lnTo>
                      <a:lnTo>
                        <a:pt x="1170" y="493"/>
                      </a:lnTo>
                      <a:lnTo>
                        <a:pt x="1167" y="493"/>
                      </a:lnTo>
                      <a:lnTo>
                        <a:pt x="1167" y="493"/>
                      </a:lnTo>
                      <a:lnTo>
                        <a:pt x="1166" y="493"/>
                      </a:lnTo>
                      <a:lnTo>
                        <a:pt x="1165" y="495"/>
                      </a:lnTo>
                      <a:lnTo>
                        <a:pt x="1164" y="495"/>
                      </a:lnTo>
                      <a:lnTo>
                        <a:pt x="1160" y="495"/>
                      </a:lnTo>
                      <a:lnTo>
                        <a:pt x="1158" y="496"/>
                      </a:lnTo>
                      <a:lnTo>
                        <a:pt x="1152" y="498"/>
                      </a:lnTo>
                      <a:lnTo>
                        <a:pt x="1149" y="501"/>
                      </a:lnTo>
                      <a:lnTo>
                        <a:pt x="1147" y="502"/>
                      </a:lnTo>
                      <a:lnTo>
                        <a:pt x="1143" y="502"/>
                      </a:lnTo>
                      <a:lnTo>
                        <a:pt x="1143" y="502"/>
                      </a:lnTo>
                      <a:lnTo>
                        <a:pt x="1140" y="503"/>
                      </a:lnTo>
                      <a:lnTo>
                        <a:pt x="1137" y="504"/>
                      </a:lnTo>
                      <a:lnTo>
                        <a:pt x="1131" y="506"/>
                      </a:lnTo>
                      <a:lnTo>
                        <a:pt x="1127" y="506"/>
                      </a:lnTo>
                      <a:lnTo>
                        <a:pt x="1126" y="506"/>
                      </a:lnTo>
                      <a:lnTo>
                        <a:pt x="1123" y="508"/>
                      </a:lnTo>
                      <a:lnTo>
                        <a:pt x="1122" y="510"/>
                      </a:lnTo>
                      <a:lnTo>
                        <a:pt x="1120" y="510"/>
                      </a:lnTo>
                      <a:lnTo>
                        <a:pt x="1120" y="511"/>
                      </a:lnTo>
                      <a:lnTo>
                        <a:pt x="1120" y="512"/>
                      </a:lnTo>
                      <a:lnTo>
                        <a:pt x="1122" y="512"/>
                      </a:lnTo>
                      <a:lnTo>
                        <a:pt x="1120" y="513"/>
                      </a:lnTo>
                      <a:lnTo>
                        <a:pt x="1120" y="513"/>
                      </a:lnTo>
                      <a:lnTo>
                        <a:pt x="1119" y="513"/>
                      </a:lnTo>
                      <a:lnTo>
                        <a:pt x="1118" y="513"/>
                      </a:lnTo>
                      <a:lnTo>
                        <a:pt x="1116" y="515"/>
                      </a:lnTo>
                      <a:lnTo>
                        <a:pt x="1116" y="515"/>
                      </a:lnTo>
                      <a:lnTo>
                        <a:pt x="1116" y="516"/>
                      </a:lnTo>
                      <a:lnTo>
                        <a:pt x="1117" y="515"/>
                      </a:lnTo>
                      <a:lnTo>
                        <a:pt x="1118" y="516"/>
                      </a:lnTo>
                      <a:lnTo>
                        <a:pt x="1119" y="516"/>
                      </a:lnTo>
                      <a:lnTo>
                        <a:pt x="1120" y="515"/>
                      </a:lnTo>
                      <a:lnTo>
                        <a:pt x="1122" y="513"/>
                      </a:lnTo>
                      <a:lnTo>
                        <a:pt x="1125" y="511"/>
                      </a:lnTo>
                      <a:lnTo>
                        <a:pt x="1129" y="511"/>
                      </a:lnTo>
                      <a:lnTo>
                        <a:pt x="1130" y="511"/>
                      </a:lnTo>
                      <a:lnTo>
                        <a:pt x="1133" y="509"/>
                      </a:lnTo>
                      <a:lnTo>
                        <a:pt x="1136" y="509"/>
                      </a:lnTo>
                      <a:lnTo>
                        <a:pt x="1137" y="509"/>
                      </a:lnTo>
                      <a:lnTo>
                        <a:pt x="1139" y="508"/>
                      </a:lnTo>
                      <a:lnTo>
                        <a:pt x="1139" y="506"/>
                      </a:lnTo>
                      <a:lnTo>
                        <a:pt x="1143" y="504"/>
                      </a:lnTo>
                      <a:lnTo>
                        <a:pt x="1147" y="502"/>
                      </a:lnTo>
                      <a:lnTo>
                        <a:pt x="1153" y="502"/>
                      </a:lnTo>
                      <a:lnTo>
                        <a:pt x="1155" y="501"/>
                      </a:lnTo>
                      <a:lnTo>
                        <a:pt x="1159" y="501"/>
                      </a:lnTo>
                      <a:lnTo>
                        <a:pt x="1160" y="501"/>
                      </a:lnTo>
                      <a:lnTo>
                        <a:pt x="1160" y="501"/>
                      </a:lnTo>
                      <a:lnTo>
                        <a:pt x="1157" y="499"/>
                      </a:lnTo>
                      <a:lnTo>
                        <a:pt x="1152" y="501"/>
                      </a:lnTo>
                      <a:lnTo>
                        <a:pt x="1151" y="499"/>
                      </a:lnTo>
                      <a:lnTo>
                        <a:pt x="1153" y="498"/>
                      </a:lnTo>
                      <a:lnTo>
                        <a:pt x="1155" y="498"/>
                      </a:lnTo>
                      <a:lnTo>
                        <a:pt x="1156" y="498"/>
                      </a:lnTo>
                      <a:lnTo>
                        <a:pt x="1166" y="498"/>
                      </a:lnTo>
                      <a:lnTo>
                        <a:pt x="1166" y="499"/>
                      </a:lnTo>
                      <a:lnTo>
                        <a:pt x="1169" y="506"/>
                      </a:lnTo>
                      <a:lnTo>
                        <a:pt x="1167" y="508"/>
                      </a:lnTo>
                      <a:lnTo>
                        <a:pt x="1166" y="508"/>
                      </a:lnTo>
                      <a:lnTo>
                        <a:pt x="1164" y="509"/>
                      </a:lnTo>
                      <a:lnTo>
                        <a:pt x="1162" y="509"/>
                      </a:lnTo>
                      <a:lnTo>
                        <a:pt x="1162" y="510"/>
                      </a:lnTo>
                      <a:lnTo>
                        <a:pt x="1162" y="510"/>
                      </a:lnTo>
                      <a:lnTo>
                        <a:pt x="1163" y="510"/>
                      </a:lnTo>
                      <a:lnTo>
                        <a:pt x="1164" y="510"/>
                      </a:lnTo>
                      <a:lnTo>
                        <a:pt x="1164" y="512"/>
                      </a:lnTo>
                      <a:lnTo>
                        <a:pt x="1163" y="513"/>
                      </a:lnTo>
                      <a:lnTo>
                        <a:pt x="1163" y="515"/>
                      </a:lnTo>
                      <a:lnTo>
                        <a:pt x="1163" y="513"/>
                      </a:lnTo>
                      <a:lnTo>
                        <a:pt x="1165" y="511"/>
                      </a:lnTo>
                      <a:lnTo>
                        <a:pt x="1167" y="510"/>
                      </a:lnTo>
                      <a:lnTo>
                        <a:pt x="1171" y="508"/>
                      </a:lnTo>
                      <a:lnTo>
                        <a:pt x="1172" y="508"/>
                      </a:lnTo>
                      <a:lnTo>
                        <a:pt x="1173" y="508"/>
                      </a:lnTo>
                      <a:lnTo>
                        <a:pt x="1176" y="508"/>
                      </a:lnTo>
                      <a:lnTo>
                        <a:pt x="1178" y="506"/>
                      </a:lnTo>
                      <a:lnTo>
                        <a:pt x="1178" y="508"/>
                      </a:lnTo>
                      <a:lnTo>
                        <a:pt x="1178" y="508"/>
                      </a:lnTo>
                      <a:lnTo>
                        <a:pt x="1176" y="509"/>
                      </a:lnTo>
                      <a:lnTo>
                        <a:pt x="1176" y="509"/>
                      </a:lnTo>
                      <a:lnTo>
                        <a:pt x="1176" y="509"/>
                      </a:lnTo>
                      <a:lnTo>
                        <a:pt x="1179" y="510"/>
                      </a:lnTo>
                      <a:lnTo>
                        <a:pt x="1180" y="510"/>
                      </a:lnTo>
                      <a:lnTo>
                        <a:pt x="1184" y="511"/>
                      </a:lnTo>
                      <a:lnTo>
                        <a:pt x="1184" y="511"/>
                      </a:lnTo>
                      <a:lnTo>
                        <a:pt x="1184" y="512"/>
                      </a:lnTo>
                      <a:lnTo>
                        <a:pt x="1182" y="511"/>
                      </a:lnTo>
                      <a:lnTo>
                        <a:pt x="1180" y="511"/>
                      </a:lnTo>
                      <a:lnTo>
                        <a:pt x="1180" y="511"/>
                      </a:lnTo>
                      <a:lnTo>
                        <a:pt x="1185" y="515"/>
                      </a:lnTo>
                      <a:lnTo>
                        <a:pt x="1185" y="517"/>
                      </a:lnTo>
                      <a:lnTo>
                        <a:pt x="1185" y="518"/>
                      </a:lnTo>
                      <a:lnTo>
                        <a:pt x="1184" y="518"/>
                      </a:lnTo>
                      <a:lnTo>
                        <a:pt x="1184" y="519"/>
                      </a:lnTo>
                      <a:lnTo>
                        <a:pt x="1184" y="519"/>
                      </a:lnTo>
                      <a:lnTo>
                        <a:pt x="1183" y="520"/>
                      </a:lnTo>
                      <a:lnTo>
                        <a:pt x="1182" y="522"/>
                      </a:lnTo>
                      <a:lnTo>
                        <a:pt x="1180" y="522"/>
                      </a:lnTo>
                      <a:lnTo>
                        <a:pt x="1180" y="522"/>
                      </a:lnTo>
                      <a:lnTo>
                        <a:pt x="1182" y="523"/>
                      </a:lnTo>
                      <a:lnTo>
                        <a:pt x="1183" y="524"/>
                      </a:lnTo>
                      <a:lnTo>
                        <a:pt x="1182" y="525"/>
                      </a:lnTo>
                      <a:lnTo>
                        <a:pt x="1178" y="526"/>
                      </a:lnTo>
                      <a:lnTo>
                        <a:pt x="1178" y="528"/>
                      </a:lnTo>
                      <a:lnTo>
                        <a:pt x="1178" y="528"/>
                      </a:lnTo>
                      <a:lnTo>
                        <a:pt x="1178" y="529"/>
                      </a:lnTo>
                      <a:lnTo>
                        <a:pt x="1180" y="529"/>
                      </a:lnTo>
                      <a:lnTo>
                        <a:pt x="1182" y="529"/>
                      </a:lnTo>
                      <a:lnTo>
                        <a:pt x="1182" y="530"/>
                      </a:lnTo>
                      <a:lnTo>
                        <a:pt x="1180" y="530"/>
                      </a:lnTo>
                      <a:lnTo>
                        <a:pt x="1178" y="530"/>
                      </a:lnTo>
                      <a:lnTo>
                        <a:pt x="1177" y="530"/>
                      </a:lnTo>
                      <a:lnTo>
                        <a:pt x="1176" y="531"/>
                      </a:lnTo>
                      <a:lnTo>
                        <a:pt x="1177" y="532"/>
                      </a:lnTo>
                      <a:lnTo>
                        <a:pt x="1179" y="532"/>
                      </a:lnTo>
                      <a:lnTo>
                        <a:pt x="1182" y="533"/>
                      </a:lnTo>
                      <a:lnTo>
                        <a:pt x="1182" y="535"/>
                      </a:lnTo>
                      <a:lnTo>
                        <a:pt x="1180" y="535"/>
                      </a:lnTo>
                      <a:lnTo>
                        <a:pt x="1179" y="535"/>
                      </a:lnTo>
                      <a:lnTo>
                        <a:pt x="1178" y="535"/>
                      </a:lnTo>
                      <a:lnTo>
                        <a:pt x="1178" y="536"/>
                      </a:lnTo>
                      <a:lnTo>
                        <a:pt x="1179" y="536"/>
                      </a:lnTo>
                      <a:lnTo>
                        <a:pt x="1179" y="537"/>
                      </a:lnTo>
                      <a:lnTo>
                        <a:pt x="1179" y="539"/>
                      </a:lnTo>
                      <a:lnTo>
                        <a:pt x="1177" y="540"/>
                      </a:lnTo>
                      <a:lnTo>
                        <a:pt x="1175" y="543"/>
                      </a:lnTo>
                      <a:lnTo>
                        <a:pt x="1170" y="545"/>
                      </a:lnTo>
                      <a:lnTo>
                        <a:pt x="1169" y="546"/>
                      </a:lnTo>
                      <a:lnTo>
                        <a:pt x="1162" y="549"/>
                      </a:lnTo>
                      <a:lnTo>
                        <a:pt x="1160" y="550"/>
                      </a:lnTo>
                      <a:lnTo>
                        <a:pt x="1158" y="551"/>
                      </a:lnTo>
                      <a:lnTo>
                        <a:pt x="1156" y="552"/>
                      </a:lnTo>
                      <a:lnTo>
                        <a:pt x="1156" y="552"/>
                      </a:lnTo>
                      <a:lnTo>
                        <a:pt x="1155" y="553"/>
                      </a:lnTo>
                      <a:lnTo>
                        <a:pt x="1152" y="553"/>
                      </a:lnTo>
                      <a:lnTo>
                        <a:pt x="1151" y="553"/>
                      </a:lnTo>
                      <a:lnTo>
                        <a:pt x="1151" y="552"/>
                      </a:lnTo>
                      <a:lnTo>
                        <a:pt x="1150" y="552"/>
                      </a:lnTo>
                      <a:lnTo>
                        <a:pt x="1147" y="553"/>
                      </a:lnTo>
                      <a:lnTo>
                        <a:pt x="1135" y="556"/>
                      </a:lnTo>
                      <a:lnTo>
                        <a:pt x="1131" y="556"/>
                      </a:lnTo>
                      <a:lnTo>
                        <a:pt x="1127" y="557"/>
                      </a:lnTo>
                      <a:lnTo>
                        <a:pt x="1127" y="558"/>
                      </a:lnTo>
                      <a:lnTo>
                        <a:pt x="1120" y="563"/>
                      </a:lnTo>
                      <a:lnTo>
                        <a:pt x="1118" y="566"/>
                      </a:lnTo>
                      <a:lnTo>
                        <a:pt x="1116" y="566"/>
                      </a:lnTo>
                      <a:lnTo>
                        <a:pt x="1105" y="573"/>
                      </a:lnTo>
                      <a:lnTo>
                        <a:pt x="1104" y="573"/>
                      </a:lnTo>
                      <a:lnTo>
                        <a:pt x="1103" y="573"/>
                      </a:lnTo>
                      <a:lnTo>
                        <a:pt x="1102" y="576"/>
                      </a:lnTo>
                      <a:lnTo>
                        <a:pt x="1097" y="577"/>
                      </a:lnTo>
                      <a:lnTo>
                        <a:pt x="1078" y="578"/>
                      </a:lnTo>
                      <a:lnTo>
                        <a:pt x="1071" y="580"/>
                      </a:lnTo>
                      <a:lnTo>
                        <a:pt x="1070" y="578"/>
                      </a:lnTo>
                      <a:lnTo>
                        <a:pt x="1037" y="576"/>
                      </a:lnTo>
                      <a:lnTo>
                        <a:pt x="1033" y="577"/>
                      </a:lnTo>
                      <a:lnTo>
                        <a:pt x="1029" y="576"/>
                      </a:lnTo>
                      <a:lnTo>
                        <a:pt x="1023" y="577"/>
                      </a:lnTo>
                      <a:lnTo>
                        <a:pt x="1015" y="576"/>
                      </a:lnTo>
                      <a:lnTo>
                        <a:pt x="1008" y="577"/>
                      </a:lnTo>
                      <a:lnTo>
                        <a:pt x="1006" y="576"/>
                      </a:lnTo>
                      <a:lnTo>
                        <a:pt x="1003" y="577"/>
                      </a:lnTo>
                      <a:lnTo>
                        <a:pt x="998" y="578"/>
                      </a:lnTo>
                      <a:lnTo>
                        <a:pt x="998" y="577"/>
                      </a:lnTo>
                      <a:lnTo>
                        <a:pt x="996" y="577"/>
                      </a:lnTo>
                      <a:lnTo>
                        <a:pt x="996" y="578"/>
                      </a:lnTo>
                      <a:lnTo>
                        <a:pt x="995" y="579"/>
                      </a:lnTo>
                      <a:lnTo>
                        <a:pt x="989" y="582"/>
                      </a:lnTo>
                      <a:lnTo>
                        <a:pt x="985" y="585"/>
                      </a:lnTo>
                      <a:lnTo>
                        <a:pt x="984" y="585"/>
                      </a:lnTo>
                      <a:lnTo>
                        <a:pt x="983" y="586"/>
                      </a:lnTo>
                      <a:lnTo>
                        <a:pt x="979" y="592"/>
                      </a:lnTo>
                      <a:lnTo>
                        <a:pt x="976" y="596"/>
                      </a:lnTo>
                      <a:lnTo>
                        <a:pt x="970" y="596"/>
                      </a:lnTo>
                      <a:lnTo>
                        <a:pt x="969" y="596"/>
                      </a:lnTo>
                      <a:lnTo>
                        <a:pt x="966" y="596"/>
                      </a:lnTo>
                      <a:lnTo>
                        <a:pt x="964" y="597"/>
                      </a:lnTo>
                      <a:lnTo>
                        <a:pt x="962" y="598"/>
                      </a:lnTo>
                      <a:lnTo>
                        <a:pt x="962" y="598"/>
                      </a:lnTo>
                      <a:lnTo>
                        <a:pt x="962" y="599"/>
                      </a:lnTo>
                      <a:lnTo>
                        <a:pt x="958" y="600"/>
                      </a:lnTo>
                      <a:lnTo>
                        <a:pt x="955" y="600"/>
                      </a:lnTo>
                      <a:lnTo>
                        <a:pt x="952" y="604"/>
                      </a:lnTo>
                      <a:lnTo>
                        <a:pt x="951" y="604"/>
                      </a:lnTo>
                      <a:lnTo>
                        <a:pt x="945" y="606"/>
                      </a:lnTo>
                      <a:lnTo>
                        <a:pt x="942" y="610"/>
                      </a:lnTo>
                      <a:lnTo>
                        <a:pt x="940" y="611"/>
                      </a:lnTo>
                      <a:lnTo>
                        <a:pt x="937" y="615"/>
                      </a:lnTo>
                      <a:lnTo>
                        <a:pt x="930" y="619"/>
                      </a:lnTo>
                      <a:lnTo>
                        <a:pt x="924" y="626"/>
                      </a:lnTo>
                      <a:lnTo>
                        <a:pt x="919" y="630"/>
                      </a:lnTo>
                      <a:lnTo>
                        <a:pt x="917" y="632"/>
                      </a:lnTo>
                      <a:lnTo>
                        <a:pt x="912" y="633"/>
                      </a:lnTo>
                      <a:lnTo>
                        <a:pt x="909" y="637"/>
                      </a:lnTo>
                      <a:lnTo>
                        <a:pt x="905" y="640"/>
                      </a:lnTo>
                      <a:lnTo>
                        <a:pt x="898" y="644"/>
                      </a:lnTo>
                      <a:lnTo>
                        <a:pt x="896" y="646"/>
                      </a:lnTo>
                      <a:lnTo>
                        <a:pt x="888" y="649"/>
                      </a:lnTo>
                      <a:lnTo>
                        <a:pt x="885" y="649"/>
                      </a:lnTo>
                      <a:lnTo>
                        <a:pt x="882" y="650"/>
                      </a:lnTo>
                      <a:lnTo>
                        <a:pt x="879" y="651"/>
                      </a:lnTo>
                      <a:lnTo>
                        <a:pt x="877" y="652"/>
                      </a:lnTo>
                      <a:lnTo>
                        <a:pt x="873" y="655"/>
                      </a:lnTo>
                      <a:lnTo>
                        <a:pt x="869" y="657"/>
                      </a:lnTo>
                      <a:lnTo>
                        <a:pt x="866" y="657"/>
                      </a:lnTo>
                      <a:lnTo>
                        <a:pt x="861" y="659"/>
                      </a:lnTo>
                      <a:lnTo>
                        <a:pt x="857" y="664"/>
                      </a:lnTo>
                      <a:lnTo>
                        <a:pt x="849" y="670"/>
                      </a:lnTo>
                      <a:lnTo>
                        <a:pt x="848" y="671"/>
                      </a:lnTo>
                      <a:lnTo>
                        <a:pt x="846" y="671"/>
                      </a:lnTo>
                      <a:lnTo>
                        <a:pt x="843" y="672"/>
                      </a:lnTo>
                      <a:lnTo>
                        <a:pt x="841" y="673"/>
                      </a:lnTo>
                      <a:lnTo>
                        <a:pt x="843" y="675"/>
                      </a:lnTo>
                      <a:lnTo>
                        <a:pt x="835" y="678"/>
                      </a:lnTo>
                      <a:lnTo>
                        <a:pt x="831" y="679"/>
                      </a:lnTo>
                      <a:lnTo>
                        <a:pt x="828" y="680"/>
                      </a:lnTo>
                      <a:lnTo>
                        <a:pt x="824" y="682"/>
                      </a:lnTo>
                      <a:lnTo>
                        <a:pt x="817" y="684"/>
                      </a:lnTo>
                      <a:lnTo>
                        <a:pt x="816" y="684"/>
                      </a:lnTo>
                      <a:lnTo>
                        <a:pt x="802" y="693"/>
                      </a:lnTo>
                      <a:lnTo>
                        <a:pt x="799" y="693"/>
                      </a:lnTo>
                      <a:lnTo>
                        <a:pt x="797" y="696"/>
                      </a:lnTo>
                      <a:lnTo>
                        <a:pt x="792" y="698"/>
                      </a:lnTo>
                      <a:lnTo>
                        <a:pt x="789" y="698"/>
                      </a:lnTo>
                      <a:lnTo>
                        <a:pt x="788" y="698"/>
                      </a:lnTo>
                      <a:lnTo>
                        <a:pt x="785" y="700"/>
                      </a:lnTo>
                      <a:lnTo>
                        <a:pt x="783" y="702"/>
                      </a:lnTo>
                      <a:lnTo>
                        <a:pt x="782" y="703"/>
                      </a:lnTo>
                      <a:lnTo>
                        <a:pt x="781" y="703"/>
                      </a:lnTo>
                      <a:lnTo>
                        <a:pt x="782" y="704"/>
                      </a:lnTo>
                      <a:lnTo>
                        <a:pt x="783" y="704"/>
                      </a:lnTo>
                      <a:lnTo>
                        <a:pt x="783" y="704"/>
                      </a:lnTo>
                      <a:lnTo>
                        <a:pt x="781" y="704"/>
                      </a:lnTo>
                      <a:lnTo>
                        <a:pt x="778" y="705"/>
                      </a:lnTo>
                      <a:lnTo>
                        <a:pt x="777" y="705"/>
                      </a:lnTo>
                      <a:lnTo>
                        <a:pt x="777" y="704"/>
                      </a:lnTo>
                      <a:lnTo>
                        <a:pt x="776" y="703"/>
                      </a:lnTo>
                      <a:lnTo>
                        <a:pt x="773" y="704"/>
                      </a:lnTo>
                      <a:lnTo>
                        <a:pt x="772" y="703"/>
                      </a:lnTo>
                      <a:lnTo>
                        <a:pt x="772" y="703"/>
                      </a:lnTo>
                      <a:lnTo>
                        <a:pt x="772" y="702"/>
                      </a:lnTo>
                      <a:lnTo>
                        <a:pt x="768" y="704"/>
                      </a:lnTo>
                      <a:lnTo>
                        <a:pt x="764" y="704"/>
                      </a:lnTo>
                      <a:lnTo>
                        <a:pt x="759" y="705"/>
                      </a:lnTo>
                      <a:lnTo>
                        <a:pt x="753" y="706"/>
                      </a:lnTo>
                      <a:lnTo>
                        <a:pt x="749" y="705"/>
                      </a:lnTo>
                      <a:lnTo>
                        <a:pt x="745" y="706"/>
                      </a:lnTo>
                      <a:lnTo>
                        <a:pt x="742" y="707"/>
                      </a:lnTo>
                      <a:lnTo>
                        <a:pt x="739" y="710"/>
                      </a:lnTo>
                      <a:lnTo>
                        <a:pt x="739" y="710"/>
                      </a:lnTo>
                      <a:lnTo>
                        <a:pt x="738" y="710"/>
                      </a:lnTo>
                      <a:lnTo>
                        <a:pt x="737" y="711"/>
                      </a:lnTo>
                      <a:lnTo>
                        <a:pt x="737" y="711"/>
                      </a:lnTo>
                      <a:lnTo>
                        <a:pt x="733" y="712"/>
                      </a:lnTo>
                      <a:lnTo>
                        <a:pt x="731" y="716"/>
                      </a:lnTo>
                      <a:lnTo>
                        <a:pt x="731" y="717"/>
                      </a:lnTo>
                      <a:lnTo>
                        <a:pt x="733" y="720"/>
                      </a:lnTo>
                      <a:lnTo>
                        <a:pt x="737" y="719"/>
                      </a:lnTo>
                      <a:lnTo>
                        <a:pt x="741" y="717"/>
                      </a:lnTo>
                      <a:lnTo>
                        <a:pt x="739" y="720"/>
                      </a:lnTo>
                      <a:lnTo>
                        <a:pt x="739" y="725"/>
                      </a:lnTo>
                      <a:lnTo>
                        <a:pt x="739" y="725"/>
                      </a:lnTo>
                      <a:lnTo>
                        <a:pt x="737" y="725"/>
                      </a:lnTo>
                      <a:lnTo>
                        <a:pt x="733" y="725"/>
                      </a:lnTo>
                      <a:lnTo>
                        <a:pt x="732" y="725"/>
                      </a:lnTo>
                      <a:lnTo>
                        <a:pt x="730" y="726"/>
                      </a:lnTo>
                      <a:lnTo>
                        <a:pt x="728" y="725"/>
                      </a:lnTo>
                      <a:lnTo>
                        <a:pt x="719" y="727"/>
                      </a:lnTo>
                      <a:lnTo>
                        <a:pt x="717" y="730"/>
                      </a:lnTo>
                      <a:lnTo>
                        <a:pt x="716" y="730"/>
                      </a:lnTo>
                      <a:lnTo>
                        <a:pt x="716" y="730"/>
                      </a:lnTo>
                      <a:lnTo>
                        <a:pt x="713" y="731"/>
                      </a:lnTo>
                      <a:lnTo>
                        <a:pt x="719" y="731"/>
                      </a:lnTo>
                      <a:lnTo>
                        <a:pt x="719" y="732"/>
                      </a:lnTo>
                      <a:lnTo>
                        <a:pt x="718" y="732"/>
                      </a:lnTo>
                      <a:lnTo>
                        <a:pt x="711" y="731"/>
                      </a:lnTo>
                      <a:lnTo>
                        <a:pt x="710" y="730"/>
                      </a:lnTo>
                      <a:lnTo>
                        <a:pt x="708" y="730"/>
                      </a:lnTo>
                      <a:lnTo>
                        <a:pt x="702" y="730"/>
                      </a:lnTo>
                      <a:lnTo>
                        <a:pt x="696" y="731"/>
                      </a:lnTo>
                      <a:lnTo>
                        <a:pt x="692" y="735"/>
                      </a:lnTo>
                      <a:lnTo>
                        <a:pt x="690" y="735"/>
                      </a:lnTo>
                      <a:lnTo>
                        <a:pt x="689" y="738"/>
                      </a:lnTo>
                      <a:lnTo>
                        <a:pt x="683" y="738"/>
                      </a:lnTo>
                      <a:lnTo>
                        <a:pt x="682" y="739"/>
                      </a:lnTo>
                      <a:lnTo>
                        <a:pt x="677" y="740"/>
                      </a:lnTo>
                      <a:lnTo>
                        <a:pt x="677" y="742"/>
                      </a:lnTo>
                      <a:lnTo>
                        <a:pt x="677" y="742"/>
                      </a:lnTo>
                      <a:close/>
                      <a:moveTo>
                        <a:pt x="969" y="712"/>
                      </a:moveTo>
                      <a:lnTo>
                        <a:pt x="968" y="712"/>
                      </a:lnTo>
                      <a:lnTo>
                        <a:pt x="968" y="712"/>
                      </a:lnTo>
                      <a:lnTo>
                        <a:pt x="966" y="712"/>
                      </a:lnTo>
                      <a:lnTo>
                        <a:pt x="965" y="711"/>
                      </a:lnTo>
                      <a:lnTo>
                        <a:pt x="964" y="712"/>
                      </a:lnTo>
                      <a:lnTo>
                        <a:pt x="963" y="712"/>
                      </a:lnTo>
                      <a:lnTo>
                        <a:pt x="963" y="711"/>
                      </a:lnTo>
                      <a:lnTo>
                        <a:pt x="962" y="712"/>
                      </a:lnTo>
                      <a:lnTo>
                        <a:pt x="960" y="712"/>
                      </a:lnTo>
                      <a:lnTo>
                        <a:pt x="959" y="711"/>
                      </a:lnTo>
                      <a:lnTo>
                        <a:pt x="959" y="710"/>
                      </a:lnTo>
                      <a:lnTo>
                        <a:pt x="958" y="709"/>
                      </a:lnTo>
                      <a:lnTo>
                        <a:pt x="958" y="709"/>
                      </a:lnTo>
                      <a:lnTo>
                        <a:pt x="955" y="707"/>
                      </a:lnTo>
                      <a:lnTo>
                        <a:pt x="955" y="706"/>
                      </a:lnTo>
                      <a:lnTo>
                        <a:pt x="955" y="705"/>
                      </a:lnTo>
                      <a:lnTo>
                        <a:pt x="955" y="705"/>
                      </a:lnTo>
                      <a:lnTo>
                        <a:pt x="955" y="704"/>
                      </a:lnTo>
                      <a:lnTo>
                        <a:pt x="956" y="703"/>
                      </a:lnTo>
                      <a:lnTo>
                        <a:pt x="957" y="703"/>
                      </a:lnTo>
                      <a:lnTo>
                        <a:pt x="957" y="700"/>
                      </a:lnTo>
                      <a:lnTo>
                        <a:pt x="957" y="700"/>
                      </a:lnTo>
                      <a:lnTo>
                        <a:pt x="957" y="699"/>
                      </a:lnTo>
                      <a:lnTo>
                        <a:pt x="956" y="699"/>
                      </a:lnTo>
                      <a:lnTo>
                        <a:pt x="956" y="698"/>
                      </a:lnTo>
                      <a:lnTo>
                        <a:pt x="955" y="697"/>
                      </a:lnTo>
                      <a:lnTo>
                        <a:pt x="955" y="697"/>
                      </a:lnTo>
                      <a:lnTo>
                        <a:pt x="956" y="696"/>
                      </a:lnTo>
                      <a:lnTo>
                        <a:pt x="956" y="696"/>
                      </a:lnTo>
                      <a:lnTo>
                        <a:pt x="957" y="695"/>
                      </a:lnTo>
                      <a:lnTo>
                        <a:pt x="957" y="693"/>
                      </a:lnTo>
                      <a:lnTo>
                        <a:pt x="958" y="695"/>
                      </a:lnTo>
                      <a:lnTo>
                        <a:pt x="960" y="695"/>
                      </a:lnTo>
                      <a:lnTo>
                        <a:pt x="966" y="692"/>
                      </a:lnTo>
                      <a:lnTo>
                        <a:pt x="968" y="691"/>
                      </a:lnTo>
                      <a:lnTo>
                        <a:pt x="968" y="691"/>
                      </a:lnTo>
                      <a:lnTo>
                        <a:pt x="968" y="691"/>
                      </a:lnTo>
                      <a:lnTo>
                        <a:pt x="968" y="691"/>
                      </a:lnTo>
                      <a:lnTo>
                        <a:pt x="966" y="691"/>
                      </a:lnTo>
                      <a:lnTo>
                        <a:pt x="963" y="691"/>
                      </a:lnTo>
                      <a:lnTo>
                        <a:pt x="962" y="692"/>
                      </a:lnTo>
                      <a:lnTo>
                        <a:pt x="962" y="691"/>
                      </a:lnTo>
                      <a:lnTo>
                        <a:pt x="966" y="690"/>
                      </a:lnTo>
                      <a:lnTo>
                        <a:pt x="968" y="690"/>
                      </a:lnTo>
                      <a:lnTo>
                        <a:pt x="970" y="689"/>
                      </a:lnTo>
                      <a:lnTo>
                        <a:pt x="970" y="689"/>
                      </a:lnTo>
                      <a:lnTo>
                        <a:pt x="970" y="689"/>
                      </a:lnTo>
                      <a:lnTo>
                        <a:pt x="970" y="690"/>
                      </a:lnTo>
                      <a:lnTo>
                        <a:pt x="971" y="690"/>
                      </a:lnTo>
                      <a:lnTo>
                        <a:pt x="971" y="690"/>
                      </a:lnTo>
                      <a:lnTo>
                        <a:pt x="975" y="687"/>
                      </a:lnTo>
                      <a:lnTo>
                        <a:pt x="975" y="687"/>
                      </a:lnTo>
                      <a:lnTo>
                        <a:pt x="972" y="689"/>
                      </a:lnTo>
                      <a:lnTo>
                        <a:pt x="971" y="689"/>
                      </a:lnTo>
                      <a:lnTo>
                        <a:pt x="971" y="687"/>
                      </a:lnTo>
                      <a:lnTo>
                        <a:pt x="971" y="687"/>
                      </a:lnTo>
                      <a:lnTo>
                        <a:pt x="975" y="685"/>
                      </a:lnTo>
                      <a:lnTo>
                        <a:pt x="977" y="684"/>
                      </a:lnTo>
                      <a:lnTo>
                        <a:pt x="983" y="682"/>
                      </a:lnTo>
                      <a:lnTo>
                        <a:pt x="986" y="679"/>
                      </a:lnTo>
                      <a:lnTo>
                        <a:pt x="989" y="678"/>
                      </a:lnTo>
                      <a:lnTo>
                        <a:pt x="995" y="677"/>
                      </a:lnTo>
                      <a:lnTo>
                        <a:pt x="996" y="676"/>
                      </a:lnTo>
                      <a:lnTo>
                        <a:pt x="996" y="676"/>
                      </a:lnTo>
                      <a:lnTo>
                        <a:pt x="996" y="676"/>
                      </a:lnTo>
                      <a:lnTo>
                        <a:pt x="996" y="675"/>
                      </a:lnTo>
                      <a:lnTo>
                        <a:pt x="997" y="676"/>
                      </a:lnTo>
                      <a:lnTo>
                        <a:pt x="998" y="676"/>
                      </a:lnTo>
                      <a:lnTo>
                        <a:pt x="998" y="676"/>
                      </a:lnTo>
                      <a:lnTo>
                        <a:pt x="996" y="678"/>
                      </a:lnTo>
                      <a:lnTo>
                        <a:pt x="996" y="678"/>
                      </a:lnTo>
                      <a:lnTo>
                        <a:pt x="997" y="679"/>
                      </a:lnTo>
                      <a:lnTo>
                        <a:pt x="998" y="679"/>
                      </a:lnTo>
                      <a:lnTo>
                        <a:pt x="998" y="679"/>
                      </a:lnTo>
                      <a:lnTo>
                        <a:pt x="999" y="678"/>
                      </a:lnTo>
                      <a:lnTo>
                        <a:pt x="1000" y="677"/>
                      </a:lnTo>
                      <a:lnTo>
                        <a:pt x="1003" y="677"/>
                      </a:lnTo>
                      <a:lnTo>
                        <a:pt x="1009" y="675"/>
                      </a:lnTo>
                      <a:lnTo>
                        <a:pt x="1010" y="676"/>
                      </a:lnTo>
                      <a:lnTo>
                        <a:pt x="1011" y="675"/>
                      </a:lnTo>
                      <a:lnTo>
                        <a:pt x="1012" y="675"/>
                      </a:lnTo>
                      <a:lnTo>
                        <a:pt x="1012" y="675"/>
                      </a:lnTo>
                      <a:lnTo>
                        <a:pt x="1012" y="675"/>
                      </a:lnTo>
                      <a:lnTo>
                        <a:pt x="1008" y="673"/>
                      </a:lnTo>
                      <a:lnTo>
                        <a:pt x="1005" y="675"/>
                      </a:lnTo>
                      <a:lnTo>
                        <a:pt x="1003" y="673"/>
                      </a:lnTo>
                      <a:lnTo>
                        <a:pt x="1000" y="673"/>
                      </a:lnTo>
                      <a:lnTo>
                        <a:pt x="999" y="673"/>
                      </a:lnTo>
                      <a:lnTo>
                        <a:pt x="998" y="675"/>
                      </a:lnTo>
                      <a:lnTo>
                        <a:pt x="996" y="675"/>
                      </a:lnTo>
                      <a:lnTo>
                        <a:pt x="996" y="673"/>
                      </a:lnTo>
                      <a:lnTo>
                        <a:pt x="993" y="673"/>
                      </a:lnTo>
                      <a:lnTo>
                        <a:pt x="992" y="675"/>
                      </a:lnTo>
                      <a:lnTo>
                        <a:pt x="991" y="676"/>
                      </a:lnTo>
                      <a:lnTo>
                        <a:pt x="990" y="676"/>
                      </a:lnTo>
                      <a:lnTo>
                        <a:pt x="990" y="675"/>
                      </a:lnTo>
                      <a:lnTo>
                        <a:pt x="989" y="675"/>
                      </a:lnTo>
                      <a:lnTo>
                        <a:pt x="989" y="675"/>
                      </a:lnTo>
                      <a:lnTo>
                        <a:pt x="988" y="675"/>
                      </a:lnTo>
                      <a:lnTo>
                        <a:pt x="989" y="673"/>
                      </a:lnTo>
                      <a:lnTo>
                        <a:pt x="991" y="672"/>
                      </a:lnTo>
                      <a:lnTo>
                        <a:pt x="991" y="671"/>
                      </a:lnTo>
                      <a:lnTo>
                        <a:pt x="992" y="671"/>
                      </a:lnTo>
                      <a:lnTo>
                        <a:pt x="995" y="670"/>
                      </a:lnTo>
                      <a:lnTo>
                        <a:pt x="998" y="669"/>
                      </a:lnTo>
                      <a:lnTo>
                        <a:pt x="999" y="667"/>
                      </a:lnTo>
                      <a:lnTo>
                        <a:pt x="1000" y="665"/>
                      </a:lnTo>
                      <a:lnTo>
                        <a:pt x="1002" y="665"/>
                      </a:lnTo>
                      <a:lnTo>
                        <a:pt x="1002" y="665"/>
                      </a:lnTo>
                      <a:lnTo>
                        <a:pt x="1002" y="665"/>
                      </a:lnTo>
                      <a:lnTo>
                        <a:pt x="1002" y="664"/>
                      </a:lnTo>
                      <a:lnTo>
                        <a:pt x="1002" y="664"/>
                      </a:lnTo>
                      <a:lnTo>
                        <a:pt x="1002" y="664"/>
                      </a:lnTo>
                      <a:lnTo>
                        <a:pt x="1002" y="664"/>
                      </a:lnTo>
                      <a:lnTo>
                        <a:pt x="998" y="667"/>
                      </a:lnTo>
                      <a:lnTo>
                        <a:pt x="998" y="667"/>
                      </a:lnTo>
                      <a:lnTo>
                        <a:pt x="998" y="667"/>
                      </a:lnTo>
                      <a:lnTo>
                        <a:pt x="998" y="666"/>
                      </a:lnTo>
                      <a:lnTo>
                        <a:pt x="998" y="665"/>
                      </a:lnTo>
                      <a:lnTo>
                        <a:pt x="998" y="665"/>
                      </a:lnTo>
                      <a:lnTo>
                        <a:pt x="998" y="665"/>
                      </a:lnTo>
                      <a:lnTo>
                        <a:pt x="998" y="665"/>
                      </a:lnTo>
                      <a:lnTo>
                        <a:pt x="997" y="665"/>
                      </a:lnTo>
                      <a:lnTo>
                        <a:pt x="996" y="666"/>
                      </a:lnTo>
                      <a:lnTo>
                        <a:pt x="996" y="667"/>
                      </a:lnTo>
                      <a:lnTo>
                        <a:pt x="993" y="669"/>
                      </a:lnTo>
                      <a:lnTo>
                        <a:pt x="993" y="670"/>
                      </a:lnTo>
                      <a:lnTo>
                        <a:pt x="991" y="670"/>
                      </a:lnTo>
                      <a:lnTo>
                        <a:pt x="991" y="670"/>
                      </a:lnTo>
                      <a:lnTo>
                        <a:pt x="990" y="670"/>
                      </a:lnTo>
                      <a:lnTo>
                        <a:pt x="989" y="671"/>
                      </a:lnTo>
                      <a:lnTo>
                        <a:pt x="988" y="671"/>
                      </a:lnTo>
                      <a:lnTo>
                        <a:pt x="988" y="671"/>
                      </a:lnTo>
                      <a:lnTo>
                        <a:pt x="986" y="671"/>
                      </a:lnTo>
                      <a:lnTo>
                        <a:pt x="985" y="672"/>
                      </a:lnTo>
                      <a:lnTo>
                        <a:pt x="984" y="672"/>
                      </a:lnTo>
                      <a:lnTo>
                        <a:pt x="984" y="672"/>
                      </a:lnTo>
                      <a:lnTo>
                        <a:pt x="980" y="673"/>
                      </a:lnTo>
                      <a:lnTo>
                        <a:pt x="980" y="675"/>
                      </a:lnTo>
                      <a:lnTo>
                        <a:pt x="979" y="675"/>
                      </a:lnTo>
                      <a:lnTo>
                        <a:pt x="978" y="675"/>
                      </a:lnTo>
                      <a:lnTo>
                        <a:pt x="978" y="676"/>
                      </a:lnTo>
                      <a:lnTo>
                        <a:pt x="977" y="676"/>
                      </a:lnTo>
                      <a:lnTo>
                        <a:pt x="976" y="676"/>
                      </a:lnTo>
                      <a:lnTo>
                        <a:pt x="975" y="677"/>
                      </a:lnTo>
                      <a:lnTo>
                        <a:pt x="973" y="677"/>
                      </a:lnTo>
                      <a:lnTo>
                        <a:pt x="972" y="678"/>
                      </a:lnTo>
                      <a:lnTo>
                        <a:pt x="971" y="678"/>
                      </a:lnTo>
                      <a:lnTo>
                        <a:pt x="971" y="678"/>
                      </a:lnTo>
                      <a:lnTo>
                        <a:pt x="970" y="678"/>
                      </a:lnTo>
                      <a:lnTo>
                        <a:pt x="970" y="677"/>
                      </a:lnTo>
                      <a:lnTo>
                        <a:pt x="970" y="677"/>
                      </a:lnTo>
                      <a:lnTo>
                        <a:pt x="970" y="676"/>
                      </a:lnTo>
                      <a:lnTo>
                        <a:pt x="969" y="677"/>
                      </a:lnTo>
                      <a:lnTo>
                        <a:pt x="968" y="678"/>
                      </a:lnTo>
                      <a:lnTo>
                        <a:pt x="968" y="678"/>
                      </a:lnTo>
                      <a:lnTo>
                        <a:pt x="968" y="678"/>
                      </a:lnTo>
                      <a:lnTo>
                        <a:pt x="968" y="679"/>
                      </a:lnTo>
                      <a:lnTo>
                        <a:pt x="965" y="679"/>
                      </a:lnTo>
                      <a:lnTo>
                        <a:pt x="965" y="679"/>
                      </a:lnTo>
                      <a:lnTo>
                        <a:pt x="964" y="679"/>
                      </a:lnTo>
                      <a:lnTo>
                        <a:pt x="964" y="679"/>
                      </a:lnTo>
                      <a:lnTo>
                        <a:pt x="963" y="680"/>
                      </a:lnTo>
                      <a:lnTo>
                        <a:pt x="962" y="680"/>
                      </a:lnTo>
                      <a:lnTo>
                        <a:pt x="962" y="680"/>
                      </a:lnTo>
                      <a:lnTo>
                        <a:pt x="962" y="679"/>
                      </a:lnTo>
                      <a:lnTo>
                        <a:pt x="962" y="679"/>
                      </a:lnTo>
                      <a:lnTo>
                        <a:pt x="960" y="679"/>
                      </a:lnTo>
                      <a:lnTo>
                        <a:pt x="960" y="679"/>
                      </a:lnTo>
                      <a:lnTo>
                        <a:pt x="960" y="680"/>
                      </a:lnTo>
                      <a:lnTo>
                        <a:pt x="959" y="680"/>
                      </a:lnTo>
                      <a:lnTo>
                        <a:pt x="958" y="680"/>
                      </a:lnTo>
                      <a:lnTo>
                        <a:pt x="958" y="680"/>
                      </a:lnTo>
                      <a:lnTo>
                        <a:pt x="957" y="680"/>
                      </a:lnTo>
                      <a:lnTo>
                        <a:pt x="956" y="680"/>
                      </a:lnTo>
                      <a:lnTo>
                        <a:pt x="956" y="680"/>
                      </a:lnTo>
                      <a:lnTo>
                        <a:pt x="955" y="680"/>
                      </a:lnTo>
                      <a:lnTo>
                        <a:pt x="955" y="680"/>
                      </a:lnTo>
                      <a:lnTo>
                        <a:pt x="955" y="680"/>
                      </a:lnTo>
                      <a:lnTo>
                        <a:pt x="955" y="679"/>
                      </a:lnTo>
                      <a:lnTo>
                        <a:pt x="955" y="679"/>
                      </a:lnTo>
                      <a:lnTo>
                        <a:pt x="955" y="679"/>
                      </a:lnTo>
                      <a:lnTo>
                        <a:pt x="953" y="679"/>
                      </a:lnTo>
                      <a:lnTo>
                        <a:pt x="953" y="679"/>
                      </a:lnTo>
                      <a:lnTo>
                        <a:pt x="952" y="680"/>
                      </a:lnTo>
                      <a:lnTo>
                        <a:pt x="952" y="680"/>
                      </a:lnTo>
                      <a:lnTo>
                        <a:pt x="951" y="679"/>
                      </a:lnTo>
                      <a:lnTo>
                        <a:pt x="950" y="682"/>
                      </a:lnTo>
                      <a:lnTo>
                        <a:pt x="950" y="685"/>
                      </a:lnTo>
                      <a:lnTo>
                        <a:pt x="946" y="678"/>
                      </a:lnTo>
                      <a:lnTo>
                        <a:pt x="945" y="679"/>
                      </a:lnTo>
                      <a:lnTo>
                        <a:pt x="944" y="676"/>
                      </a:lnTo>
                      <a:lnTo>
                        <a:pt x="945" y="675"/>
                      </a:lnTo>
                      <a:lnTo>
                        <a:pt x="945" y="672"/>
                      </a:lnTo>
                      <a:lnTo>
                        <a:pt x="946" y="671"/>
                      </a:lnTo>
                      <a:lnTo>
                        <a:pt x="946" y="670"/>
                      </a:lnTo>
                      <a:lnTo>
                        <a:pt x="944" y="669"/>
                      </a:lnTo>
                      <a:lnTo>
                        <a:pt x="944" y="670"/>
                      </a:lnTo>
                      <a:lnTo>
                        <a:pt x="942" y="669"/>
                      </a:lnTo>
                      <a:lnTo>
                        <a:pt x="944" y="663"/>
                      </a:lnTo>
                      <a:lnTo>
                        <a:pt x="951" y="642"/>
                      </a:lnTo>
                      <a:lnTo>
                        <a:pt x="951" y="640"/>
                      </a:lnTo>
                      <a:lnTo>
                        <a:pt x="953" y="640"/>
                      </a:lnTo>
                      <a:lnTo>
                        <a:pt x="949" y="635"/>
                      </a:lnTo>
                      <a:lnTo>
                        <a:pt x="946" y="635"/>
                      </a:lnTo>
                      <a:lnTo>
                        <a:pt x="945" y="636"/>
                      </a:lnTo>
                      <a:lnTo>
                        <a:pt x="942" y="636"/>
                      </a:lnTo>
                      <a:lnTo>
                        <a:pt x="937" y="638"/>
                      </a:lnTo>
                      <a:lnTo>
                        <a:pt x="935" y="637"/>
                      </a:lnTo>
                      <a:lnTo>
                        <a:pt x="936" y="633"/>
                      </a:lnTo>
                      <a:lnTo>
                        <a:pt x="932" y="635"/>
                      </a:lnTo>
                      <a:lnTo>
                        <a:pt x="918" y="644"/>
                      </a:lnTo>
                      <a:lnTo>
                        <a:pt x="912" y="653"/>
                      </a:lnTo>
                      <a:lnTo>
                        <a:pt x="906" y="658"/>
                      </a:lnTo>
                      <a:lnTo>
                        <a:pt x="905" y="663"/>
                      </a:lnTo>
                      <a:lnTo>
                        <a:pt x="905" y="663"/>
                      </a:lnTo>
                      <a:lnTo>
                        <a:pt x="905" y="664"/>
                      </a:lnTo>
                      <a:lnTo>
                        <a:pt x="895" y="672"/>
                      </a:lnTo>
                      <a:lnTo>
                        <a:pt x="896" y="675"/>
                      </a:lnTo>
                      <a:lnTo>
                        <a:pt x="893" y="673"/>
                      </a:lnTo>
                      <a:lnTo>
                        <a:pt x="891" y="678"/>
                      </a:lnTo>
                      <a:lnTo>
                        <a:pt x="890" y="677"/>
                      </a:lnTo>
                      <a:lnTo>
                        <a:pt x="890" y="676"/>
                      </a:lnTo>
                      <a:lnTo>
                        <a:pt x="888" y="676"/>
                      </a:lnTo>
                      <a:lnTo>
                        <a:pt x="884" y="677"/>
                      </a:lnTo>
                      <a:lnTo>
                        <a:pt x="882" y="677"/>
                      </a:lnTo>
                      <a:lnTo>
                        <a:pt x="879" y="682"/>
                      </a:lnTo>
                      <a:lnTo>
                        <a:pt x="865" y="682"/>
                      </a:lnTo>
                      <a:lnTo>
                        <a:pt x="844" y="682"/>
                      </a:lnTo>
                      <a:lnTo>
                        <a:pt x="825" y="682"/>
                      </a:lnTo>
                      <a:lnTo>
                        <a:pt x="829" y="680"/>
                      </a:lnTo>
                      <a:lnTo>
                        <a:pt x="835" y="679"/>
                      </a:lnTo>
                      <a:lnTo>
                        <a:pt x="837" y="678"/>
                      </a:lnTo>
                      <a:lnTo>
                        <a:pt x="839" y="678"/>
                      </a:lnTo>
                      <a:lnTo>
                        <a:pt x="842" y="676"/>
                      </a:lnTo>
                      <a:lnTo>
                        <a:pt x="845" y="675"/>
                      </a:lnTo>
                      <a:lnTo>
                        <a:pt x="849" y="675"/>
                      </a:lnTo>
                      <a:lnTo>
                        <a:pt x="853" y="667"/>
                      </a:lnTo>
                      <a:lnTo>
                        <a:pt x="857" y="665"/>
                      </a:lnTo>
                      <a:lnTo>
                        <a:pt x="861" y="662"/>
                      </a:lnTo>
                      <a:lnTo>
                        <a:pt x="877" y="653"/>
                      </a:lnTo>
                      <a:lnTo>
                        <a:pt x="879" y="652"/>
                      </a:lnTo>
                      <a:lnTo>
                        <a:pt x="885" y="650"/>
                      </a:lnTo>
                      <a:lnTo>
                        <a:pt x="888" y="650"/>
                      </a:lnTo>
                      <a:lnTo>
                        <a:pt x="896" y="648"/>
                      </a:lnTo>
                      <a:lnTo>
                        <a:pt x="898" y="645"/>
                      </a:lnTo>
                      <a:lnTo>
                        <a:pt x="908" y="643"/>
                      </a:lnTo>
                      <a:lnTo>
                        <a:pt x="918" y="635"/>
                      </a:lnTo>
                      <a:lnTo>
                        <a:pt x="920" y="632"/>
                      </a:lnTo>
                      <a:lnTo>
                        <a:pt x="923" y="631"/>
                      </a:lnTo>
                      <a:lnTo>
                        <a:pt x="933" y="622"/>
                      </a:lnTo>
                      <a:lnTo>
                        <a:pt x="945" y="615"/>
                      </a:lnTo>
                      <a:lnTo>
                        <a:pt x="948" y="615"/>
                      </a:lnTo>
                      <a:lnTo>
                        <a:pt x="964" y="606"/>
                      </a:lnTo>
                      <a:lnTo>
                        <a:pt x="983" y="600"/>
                      </a:lnTo>
                      <a:lnTo>
                        <a:pt x="995" y="598"/>
                      </a:lnTo>
                      <a:lnTo>
                        <a:pt x="1008" y="597"/>
                      </a:lnTo>
                      <a:lnTo>
                        <a:pt x="1015" y="598"/>
                      </a:lnTo>
                      <a:lnTo>
                        <a:pt x="1020" y="600"/>
                      </a:lnTo>
                      <a:lnTo>
                        <a:pt x="1023" y="604"/>
                      </a:lnTo>
                      <a:lnTo>
                        <a:pt x="1023" y="605"/>
                      </a:lnTo>
                      <a:lnTo>
                        <a:pt x="1022" y="605"/>
                      </a:lnTo>
                      <a:lnTo>
                        <a:pt x="1019" y="605"/>
                      </a:lnTo>
                      <a:lnTo>
                        <a:pt x="1018" y="605"/>
                      </a:lnTo>
                      <a:lnTo>
                        <a:pt x="1020" y="608"/>
                      </a:lnTo>
                      <a:lnTo>
                        <a:pt x="1020" y="609"/>
                      </a:lnTo>
                      <a:lnTo>
                        <a:pt x="1020" y="610"/>
                      </a:lnTo>
                      <a:lnTo>
                        <a:pt x="1019" y="611"/>
                      </a:lnTo>
                      <a:lnTo>
                        <a:pt x="1018" y="613"/>
                      </a:lnTo>
                      <a:lnTo>
                        <a:pt x="1013" y="615"/>
                      </a:lnTo>
                      <a:lnTo>
                        <a:pt x="1009" y="618"/>
                      </a:lnTo>
                      <a:lnTo>
                        <a:pt x="999" y="622"/>
                      </a:lnTo>
                      <a:lnTo>
                        <a:pt x="992" y="619"/>
                      </a:lnTo>
                      <a:lnTo>
                        <a:pt x="991" y="618"/>
                      </a:lnTo>
                      <a:lnTo>
                        <a:pt x="989" y="619"/>
                      </a:lnTo>
                      <a:lnTo>
                        <a:pt x="982" y="619"/>
                      </a:lnTo>
                      <a:lnTo>
                        <a:pt x="978" y="622"/>
                      </a:lnTo>
                      <a:lnTo>
                        <a:pt x="979" y="622"/>
                      </a:lnTo>
                      <a:lnTo>
                        <a:pt x="982" y="620"/>
                      </a:lnTo>
                      <a:lnTo>
                        <a:pt x="983" y="620"/>
                      </a:lnTo>
                      <a:lnTo>
                        <a:pt x="983" y="620"/>
                      </a:lnTo>
                      <a:lnTo>
                        <a:pt x="983" y="620"/>
                      </a:lnTo>
                      <a:lnTo>
                        <a:pt x="983" y="620"/>
                      </a:lnTo>
                      <a:lnTo>
                        <a:pt x="983" y="622"/>
                      </a:lnTo>
                      <a:lnTo>
                        <a:pt x="984" y="622"/>
                      </a:lnTo>
                      <a:lnTo>
                        <a:pt x="984" y="622"/>
                      </a:lnTo>
                      <a:lnTo>
                        <a:pt x="985" y="622"/>
                      </a:lnTo>
                      <a:lnTo>
                        <a:pt x="985" y="622"/>
                      </a:lnTo>
                      <a:lnTo>
                        <a:pt x="986" y="623"/>
                      </a:lnTo>
                      <a:lnTo>
                        <a:pt x="988" y="623"/>
                      </a:lnTo>
                      <a:lnTo>
                        <a:pt x="988" y="623"/>
                      </a:lnTo>
                      <a:lnTo>
                        <a:pt x="990" y="623"/>
                      </a:lnTo>
                      <a:lnTo>
                        <a:pt x="991" y="624"/>
                      </a:lnTo>
                      <a:lnTo>
                        <a:pt x="991" y="624"/>
                      </a:lnTo>
                      <a:lnTo>
                        <a:pt x="991" y="625"/>
                      </a:lnTo>
                      <a:lnTo>
                        <a:pt x="991" y="625"/>
                      </a:lnTo>
                      <a:lnTo>
                        <a:pt x="991" y="626"/>
                      </a:lnTo>
                      <a:lnTo>
                        <a:pt x="991" y="626"/>
                      </a:lnTo>
                      <a:lnTo>
                        <a:pt x="991" y="628"/>
                      </a:lnTo>
                      <a:lnTo>
                        <a:pt x="992" y="629"/>
                      </a:lnTo>
                      <a:lnTo>
                        <a:pt x="992" y="629"/>
                      </a:lnTo>
                      <a:lnTo>
                        <a:pt x="993" y="629"/>
                      </a:lnTo>
                      <a:lnTo>
                        <a:pt x="993" y="629"/>
                      </a:lnTo>
                      <a:lnTo>
                        <a:pt x="995" y="628"/>
                      </a:lnTo>
                      <a:lnTo>
                        <a:pt x="996" y="628"/>
                      </a:lnTo>
                      <a:lnTo>
                        <a:pt x="997" y="626"/>
                      </a:lnTo>
                      <a:lnTo>
                        <a:pt x="998" y="626"/>
                      </a:lnTo>
                      <a:lnTo>
                        <a:pt x="998" y="626"/>
                      </a:lnTo>
                      <a:lnTo>
                        <a:pt x="999" y="625"/>
                      </a:lnTo>
                      <a:lnTo>
                        <a:pt x="1002" y="625"/>
                      </a:lnTo>
                      <a:lnTo>
                        <a:pt x="1004" y="625"/>
                      </a:lnTo>
                      <a:lnTo>
                        <a:pt x="1004" y="625"/>
                      </a:lnTo>
                      <a:lnTo>
                        <a:pt x="1003" y="625"/>
                      </a:lnTo>
                      <a:lnTo>
                        <a:pt x="1002" y="625"/>
                      </a:lnTo>
                      <a:lnTo>
                        <a:pt x="1002" y="626"/>
                      </a:lnTo>
                      <a:lnTo>
                        <a:pt x="1003" y="626"/>
                      </a:lnTo>
                      <a:lnTo>
                        <a:pt x="1004" y="625"/>
                      </a:lnTo>
                      <a:lnTo>
                        <a:pt x="1005" y="625"/>
                      </a:lnTo>
                      <a:lnTo>
                        <a:pt x="1006" y="625"/>
                      </a:lnTo>
                      <a:lnTo>
                        <a:pt x="1006" y="626"/>
                      </a:lnTo>
                      <a:lnTo>
                        <a:pt x="1006" y="626"/>
                      </a:lnTo>
                      <a:lnTo>
                        <a:pt x="1008" y="626"/>
                      </a:lnTo>
                      <a:lnTo>
                        <a:pt x="1008" y="626"/>
                      </a:lnTo>
                      <a:lnTo>
                        <a:pt x="1006" y="628"/>
                      </a:lnTo>
                      <a:lnTo>
                        <a:pt x="1006" y="628"/>
                      </a:lnTo>
                      <a:lnTo>
                        <a:pt x="1005" y="629"/>
                      </a:lnTo>
                      <a:lnTo>
                        <a:pt x="1004" y="630"/>
                      </a:lnTo>
                      <a:lnTo>
                        <a:pt x="1004" y="630"/>
                      </a:lnTo>
                      <a:lnTo>
                        <a:pt x="1004" y="631"/>
                      </a:lnTo>
                      <a:lnTo>
                        <a:pt x="1003" y="631"/>
                      </a:lnTo>
                      <a:lnTo>
                        <a:pt x="1003" y="632"/>
                      </a:lnTo>
                      <a:lnTo>
                        <a:pt x="1002" y="635"/>
                      </a:lnTo>
                      <a:lnTo>
                        <a:pt x="1002" y="635"/>
                      </a:lnTo>
                      <a:lnTo>
                        <a:pt x="1000" y="635"/>
                      </a:lnTo>
                      <a:lnTo>
                        <a:pt x="1000" y="636"/>
                      </a:lnTo>
                      <a:lnTo>
                        <a:pt x="1000" y="636"/>
                      </a:lnTo>
                      <a:lnTo>
                        <a:pt x="999" y="636"/>
                      </a:lnTo>
                      <a:lnTo>
                        <a:pt x="998" y="637"/>
                      </a:lnTo>
                      <a:lnTo>
                        <a:pt x="996" y="638"/>
                      </a:lnTo>
                      <a:lnTo>
                        <a:pt x="995" y="639"/>
                      </a:lnTo>
                      <a:lnTo>
                        <a:pt x="993" y="639"/>
                      </a:lnTo>
                      <a:lnTo>
                        <a:pt x="993" y="640"/>
                      </a:lnTo>
                      <a:lnTo>
                        <a:pt x="993" y="640"/>
                      </a:lnTo>
                      <a:lnTo>
                        <a:pt x="993" y="640"/>
                      </a:lnTo>
                      <a:lnTo>
                        <a:pt x="995" y="640"/>
                      </a:lnTo>
                      <a:lnTo>
                        <a:pt x="995" y="640"/>
                      </a:lnTo>
                      <a:lnTo>
                        <a:pt x="995" y="640"/>
                      </a:lnTo>
                      <a:lnTo>
                        <a:pt x="996" y="640"/>
                      </a:lnTo>
                      <a:lnTo>
                        <a:pt x="996" y="640"/>
                      </a:lnTo>
                      <a:lnTo>
                        <a:pt x="997" y="640"/>
                      </a:lnTo>
                      <a:lnTo>
                        <a:pt x="997" y="640"/>
                      </a:lnTo>
                      <a:lnTo>
                        <a:pt x="998" y="640"/>
                      </a:lnTo>
                      <a:lnTo>
                        <a:pt x="1000" y="640"/>
                      </a:lnTo>
                      <a:lnTo>
                        <a:pt x="1002" y="640"/>
                      </a:lnTo>
                      <a:lnTo>
                        <a:pt x="1000" y="643"/>
                      </a:lnTo>
                      <a:lnTo>
                        <a:pt x="999" y="644"/>
                      </a:lnTo>
                      <a:lnTo>
                        <a:pt x="998" y="645"/>
                      </a:lnTo>
                      <a:lnTo>
                        <a:pt x="998" y="645"/>
                      </a:lnTo>
                      <a:lnTo>
                        <a:pt x="998" y="646"/>
                      </a:lnTo>
                      <a:lnTo>
                        <a:pt x="998" y="646"/>
                      </a:lnTo>
                      <a:lnTo>
                        <a:pt x="998" y="648"/>
                      </a:lnTo>
                      <a:lnTo>
                        <a:pt x="999" y="648"/>
                      </a:lnTo>
                      <a:lnTo>
                        <a:pt x="999" y="648"/>
                      </a:lnTo>
                      <a:lnTo>
                        <a:pt x="999" y="648"/>
                      </a:lnTo>
                      <a:lnTo>
                        <a:pt x="1000" y="648"/>
                      </a:lnTo>
                      <a:lnTo>
                        <a:pt x="1000" y="649"/>
                      </a:lnTo>
                      <a:lnTo>
                        <a:pt x="1000" y="649"/>
                      </a:lnTo>
                      <a:lnTo>
                        <a:pt x="1000" y="649"/>
                      </a:lnTo>
                      <a:lnTo>
                        <a:pt x="999" y="650"/>
                      </a:lnTo>
                      <a:lnTo>
                        <a:pt x="1000" y="650"/>
                      </a:lnTo>
                      <a:lnTo>
                        <a:pt x="999" y="651"/>
                      </a:lnTo>
                      <a:lnTo>
                        <a:pt x="999" y="651"/>
                      </a:lnTo>
                      <a:lnTo>
                        <a:pt x="999" y="652"/>
                      </a:lnTo>
                      <a:lnTo>
                        <a:pt x="1000" y="653"/>
                      </a:lnTo>
                      <a:lnTo>
                        <a:pt x="1000" y="655"/>
                      </a:lnTo>
                      <a:lnTo>
                        <a:pt x="1000" y="655"/>
                      </a:lnTo>
                      <a:lnTo>
                        <a:pt x="1000" y="655"/>
                      </a:lnTo>
                      <a:lnTo>
                        <a:pt x="1002" y="655"/>
                      </a:lnTo>
                      <a:lnTo>
                        <a:pt x="1002" y="656"/>
                      </a:lnTo>
                      <a:lnTo>
                        <a:pt x="1000" y="656"/>
                      </a:lnTo>
                      <a:lnTo>
                        <a:pt x="1000" y="656"/>
                      </a:lnTo>
                      <a:lnTo>
                        <a:pt x="1000" y="657"/>
                      </a:lnTo>
                      <a:lnTo>
                        <a:pt x="1000" y="657"/>
                      </a:lnTo>
                      <a:lnTo>
                        <a:pt x="1000" y="657"/>
                      </a:lnTo>
                      <a:lnTo>
                        <a:pt x="1000" y="657"/>
                      </a:lnTo>
                      <a:lnTo>
                        <a:pt x="1003" y="657"/>
                      </a:lnTo>
                      <a:lnTo>
                        <a:pt x="1004" y="657"/>
                      </a:lnTo>
                      <a:lnTo>
                        <a:pt x="1005" y="657"/>
                      </a:lnTo>
                      <a:lnTo>
                        <a:pt x="1006" y="658"/>
                      </a:lnTo>
                      <a:lnTo>
                        <a:pt x="1006" y="658"/>
                      </a:lnTo>
                      <a:lnTo>
                        <a:pt x="1008" y="658"/>
                      </a:lnTo>
                      <a:lnTo>
                        <a:pt x="1009" y="658"/>
                      </a:lnTo>
                      <a:lnTo>
                        <a:pt x="1010" y="658"/>
                      </a:lnTo>
                      <a:lnTo>
                        <a:pt x="1010" y="658"/>
                      </a:lnTo>
                      <a:lnTo>
                        <a:pt x="1010" y="658"/>
                      </a:lnTo>
                      <a:lnTo>
                        <a:pt x="1012" y="659"/>
                      </a:lnTo>
                      <a:lnTo>
                        <a:pt x="1012" y="659"/>
                      </a:lnTo>
                      <a:lnTo>
                        <a:pt x="1012" y="659"/>
                      </a:lnTo>
                      <a:lnTo>
                        <a:pt x="1012" y="660"/>
                      </a:lnTo>
                      <a:lnTo>
                        <a:pt x="1011" y="660"/>
                      </a:lnTo>
                      <a:lnTo>
                        <a:pt x="1011" y="660"/>
                      </a:lnTo>
                      <a:lnTo>
                        <a:pt x="1010" y="660"/>
                      </a:lnTo>
                      <a:lnTo>
                        <a:pt x="1009" y="660"/>
                      </a:lnTo>
                      <a:lnTo>
                        <a:pt x="1008" y="660"/>
                      </a:lnTo>
                      <a:lnTo>
                        <a:pt x="1006" y="662"/>
                      </a:lnTo>
                      <a:lnTo>
                        <a:pt x="1006" y="662"/>
                      </a:lnTo>
                      <a:lnTo>
                        <a:pt x="1006" y="662"/>
                      </a:lnTo>
                      <a:lnTo>
                        <a:pt x="1008" y="662"/>
                      </a:lnTo>
                      <a:lnTo>
                        <a:pt x="1009" y="662"/>
                      </a:lnTo>
                      <a:lnTo>
                        <a:pt x="1010" y="663"/>
                      </a:lnTo>
                      <a:lnTo>
                        <a:pt x="1011" y="664"/>
                      </a:lnTo>
                      <a:lnTo>
                        <a:pt x="1011" y="664"/>
                      </a:lnTo>
                      <a:lnTo>
                        <a:pt x="1016" y="664"/>
                      </a:lnTo>
                      <a:lnTo>
                        <a:pt x="1016" y="665"/>
                      </a:lnTo>
                      <a:lnTo>
                        <a:pt x="1016" y="665"/>
                      </a:lnTo>
                      <a:lnTo>
                        <a:pt x="1016" y="665"/>
                      </a:lnTo>
                      <a:lnTo>
                        <a:pt x="1018" y="665"/>
                      </a:lnTo>
                      <a:lnTo>
                        <a:pt x="1018" y="665"/>
                      </a:lnTo>
                      <a:lnTo>
                        <a:pt x="1018" y="665"/>
                      </a:lnTo>
                      <a:lnTo>
                        <a:pt x="1017" y="666"/>
                      </a:lnTo>
                      <a:lnTo>
                        <a:pt x="1017" y="666"/>
                      </a:lnTo>
                      <a:lnTo>
                        <a:pt x="1017" y="667"/>
                      </a:lnTo>
                      <a:lnTo>
                        <a:pt x="1020" y="666"/>
                      </a:lnTo>
                      <a:lnTo>
                        <a:pt x="1020" y="666"/>
                      </a:lnTo>
                      <a:lnTo>
                        <a:pt x="1022" y="665"/>
                      </a:lnTo>
                      <a:lnTo>
                        <a:pt x="1028" y="667"/>
                      </a:lnTo>
                      <a:lnTo>
                        <a:pt x="1029" y="669"/>
                      </a:lnTo>
                      <a:lnTo>
                        <a:pt x="1030" y="669"/>
                      </a:lnTo>
                      <a:lnTo>
                        <a:pt x="1031" y="667"/>
                      </a:lnTo>
                      <a:lnTo>
                        <a:pt x="1032" y="667"/>
                      </a:lnTo>
                      <a:lnTo>
                        <a:pt x="1035" y="667"/>
                      </a:lnTo>
                      <a:lnTo>
                        <a:pt x="1035" y="667"/>
                      </a:lnTo>
                      <a:lnTo>
                        <a:pt x="1036" y="666"/>
                      </a:lnTo>
                      <a:lnTo>
                        <a:pt x="1040" y="664"/>
                      </a:lnTo>
                      <a:lnTo>
                        <a:pt x="1040" y="664"/>
                      </a:lnTo>
                      <a:lnTo>
                        <a:pt x="1039" y="667"/>
                      </a:lnTo>
                      <a:lnTo>
                        <a:pt x="1040" y="669"/>
                      </a:lnTo>
                      <a:lnTo>
                        <a:pt x="1044" y="669"/>
                      </a:lnTo>
                      <a:lnTo>
                        <a:pt x="1045" y="667"/>
                      </a:lnTo>
                      <a:lnTo>
                        <a:pt x="1046" y="669"/>
                      </a:lnTo>
                      <a:lnTo>
                        <a:pt x="1046" y="669"/>
                      </a:lnTo>
                      <a:lnTo>
                        <a:pt x="1048" y="670"/>
                      </a:lnTo>
                      <a:lnTo>
                        <a:pt x="1048" y="670"/>
                      </a:lnTo>
                      <a:lnTo>
                        <a:pt x="1049" y="671"/>
                      </a:lnTo>
                      <a:lnTo>
                        <a:pt x="1049" y="672"/>
                      </a:lnTo>
                      <a:lnTo>
                        <a:pt x="1048" y="672"/>
                      </a:lnTo>
                      <a:lnTo>
                        <a:pt x="1045" y="673"/>
                      </a:lnTo>
                      <a:lnTo>
                        <a:pt x="1044" y="675"/>
                      </a:lnTo>
                      <a:lnTo>
                        <a:pt x="1045" y="675"/>
                      </a:lnTo>
                      <a:lnTo>
                        <a:pt x="1045" y="675"/>
                      </a:lnTo>
                      <a:lnTo>
                        <a:pt x="1050" y="675"/>
                      </a:lnTo>
                      <a:lnTo>
                        <a:pt x="1052" y="675"/>
                      </a:lnTo>
                      <a:lnTo>
                        <a:pt x="1052" y="676"/>
                      </a:lnTo>
                      <a:lnTo>
                        <a:pt x="1052" y="676"/>
                      </a:lnTo>
                      <a:lnTo>
                        <a:pt x="1050" y="677"/>
                      </a:lnTo>
                      <a:lnTo>
                        <a:pt x="1049" y="678"/>
                      </a:lnTo>
                      <a:lnTo>
                        <a:pt x="1046" y="677"/>
                      </a:lnTo>
                      <a:lnTo>
                        <a:pt x="1045" y="677"/>
                      </a:lnTo>
                      <a:lnTo>
                        <a:pt x="1045" y="678"/>
                      </a:lnTo>
                      <a:lnTo>
                        <a:pt x="1040" y="679"/>
                      </a:lnTo>
                      <a:lnTo>
                        <a:pt x="1039" y="680"/>
                      </a:lnTo>
                      <a:lnTo>
                        <a:pt x="1037" y="680"/>
                      </a:lnTo>
                      <a:lnTo>
                        <a:pt x="1037" y="680"/>
                      </a:lnTo>
                      <a:lnTo>
                        <a:pt x="1035" y="682"/>
                      </a:lnTo>
                      <a:lnTo>
                        <a:pt x="1033" y="682"/>
                      </a:lnTo>
                      <a:lnTo>
                        <a:pt x="1032" y="683"/>
                      </a:lnTo>
                      <a:lnTo>
                        <a:pt x="1029" y="683"/>
                      </a:lnTo>
                      <a:lnTo>
                        <a:pt x="1026" y="684"/>
                      </a:lnTo>
                      <a:lnTo>
                        <a:pt x="1024" y="684"/>
                      </a:lnTo>
                      <a:lnTo>
                        <a:pt x="1022" y="686"/>
                      </a:lnTo>
                      <a:lnTo>
                        <a:pt x="1019" y="686"/>
                      </a:lnTo>
                      <a:lnTo>
                        <a:pt x="1018" y="687"/>
                      </a:lnTo>
                      <a:lnTo>
                        <a:pt x="1016" y="687"/>
                      </a:lnTo>
                      <a:lnTo>
                        <a:pt x="1015" y="689"/>
                      </a:lnTo>
                      <a:lnTo>
                        <a:pt x="1015" y="687"/>
                      </a:lnTo>
                      <a:lnTo>
                        <a:pt x="1012" y="687"/>
                      </a:lnTo>
                      <a:lnTo>
                        <a:pt x="1011" y="689"/>
                      </a:lnTo>
                      <a:lnTo>
                        <a:pt x="1010" y="689"/>
                      </a:lnTo>
                      <a:lnTo>
                        <a:pt x="1009" y="690"/>
                      </a:lnTo>
                      <a:lnTo>
                        <a:pt x="1008" y="690"/>
                      </a:lnTo>
                      <a:lnTo>
                        <a:pt x="1006" y="690"/>
                      </a:lnTo>
                      <a:lnTo>
                        <a:pt x="1006" y="690"/>
                      </a:lnTo>
                      <a:lnTo>
                        <a:pt x="1006" y="691"/>
                      </a:lnTo>
                      <a:lnTo>
                        <a:pt x="1004" y="693"/>
                      </a:lnTo>
                      <a:lnTo>
                        <a:pt x="1003" y="692"/>
                      </a:lnTo>
                      <a:lnTo>
                        <a:pt x="1003" y="693"/>
                      </a:lnTo>
                      <a:lnTo>
                        <a:pt x="1000" y="695"/>
                      </a:lnTo>
                      <a:lnTo>
                        <a:pt x="1000" y="693"/>
                      </a:lnTo>
                      <a:lnTo>
                        <a:pt x="999" y="692"/>
                      </a:lnTo>
                      <a:lnTo>
                        <a:pt x="999" y="691"/>
                      </a:lnTo>
                      <a:lnTo>
                        <a:pt x="999" y="690"/>
                      </a:lnTo>
                      <a:lnTo>
                        <a:pt x="1000" y="689"/>
                      </a:lnTo>
                      <a:lnTo>
                        <a:pt x="999" y="689"/>
                      </a:lnTo>
                      <a:lnTo>
                        <a:pt x="998" y="690"/>
                      </a:lnTo>
                      <a:lnTo>
                        <a:pt x="998" y="690"/>
                      </a:lnTo>
                      <a:lnTo>
                        <a:pt x="998" y="691"/>
                      </a:lnTo>
                      <a:lnTo>
                        <a:pt x="998" y="692"/>
                      </a:lnTo>
                      <a:lnTo>
                        <a:pt x="997" y="692"/>
                      </a:lnTo>
                      <a:lnTo>
                        <a:pt x="996" y="692"/>
                      </a:lnTo>
                      <a:lnTo>
                        <a:pt x="996" y="692"/>
                      </a:lnTo>
                      <a:lnTo>
                        <a:pt x="996" y="691"/>
                      </a:lnTo>
                      <a:lnTo>
                        <a:pt x="996" y="691"/>
                      </a:lnTo>
                      <a:lnTo>
                        <a:pt x="996" y="691"/>
                      </a:lnTo>
                      <a:lnTo>
                        <a:pt x="995" y="691"/>
                      </a:lnTo>
                      <a:lnTo>
                        <a:pt x="993" y="691"/>
                      </a:lnTo>
                      <a:lnTo>
                        <a:pt x="992" y="693"/>
                      </a:lnTo>
                      <a:lnTo>
                        <a:pt x="992" y="695"/>
                      </a:lnTo>
                      <a:lnTo>
                        <a:pt x="992" y="696"/>
                      </a:lnTo>
                      <a:lnTo>
                        <a:pt x="992" y="696"/>
                      </a:lnTo>
                      <a:lnTo>
                        <a:pt x="992" y="697"/>
                      </a:lnTo>
                      <a:lnTo>
                        <a:pt x="992" y="697"/>
                      </a:lnTo>
                      <a:lnTo>
                        <a:pt x="991" y="697"/>
                      </a:lnTo>
                      <a:lnTo>
                        <a:pt x="991" y="697"/>
                      </a:lnTo>
                      <a:lnTo>
                        <a:pt x="991" y="697"/>
                      </a:lnTo>
                      <a:lnTo>
                        <a:pt x="989" y="698"/>
                      </a:lnTo>
                      <a:lnTo>
                        <a:pt x="988" y="698"/>
                      </a:lnTo>
                      <a:lnTo>
                        <a:pt x="988" y="698"/>
                      </a:lnTo>
                      <a:lnTo>
                        <a:pt x="986" y="698"/>
                      </a:lnTo>
                      <a:lnTo>
                        <a:pt x="985" y="700"/>
                      </a:lnTo>
                      <a:lnTo>
                        <a:pt x="985" y="702"/>
                      </a:lnTo>
                      <a:lnTo>
                        <a:pt x="984" y="702"/>
                      </a:lnTo>
                      <a:lnTo>
                        <a:pt x="984" y="702"/>
                      </a:lnTo>
                      <a:lnTo>
                        <a:pt x="980" y="704"/>
                      </a:lnTo>
                      <a:lnTo>
                        <a:pt x="980" y="704"/>
                      </a:lnTo>
                      <a:lnTo>
                        <a:pt x="980" y="704"/>
                      </a:lnTo>
                      <a:lnTo>
                        <a:pt x="980" y="705"/>
                      </a:lnTo>
                      <a:lnTo>
                        <a:pt x="979" y="705"/>
                      </a:lnTo>
                      <a:lnTo>
                        <a:pt x="978" y="706"/>
                      </a:lnTo>
                      <a:lnTo>
                        <a:pt x="978" y="706"/>
                      </a:lnTo>
                      <a:lnTo>
                        <a:pt x="977" y="706"/>
                      </a:lnTo>
                      <a:lnTo>
                        <a:pt x="976" y="707"/>
                      </a:lnTo>
                      <a:lnTo>
                        <a:pt x="975" y="707"/>
                      </a:lnTo>
                      <a:lnTo>
                        <a:pt x="973" y="709"/>
                      </a:lnTo>
                      <a:lnTo>
                        <a:pt x="972" y="709"/>
                      </a:lnTo>
                      <a:lnTo>
                        <a:pt x="971" y="709"/>
                      </a:lnTo>
                      <a:lnTo>
                        <a:pt x="971" y="709"/>
                      </a:lnTo>
                      <a:lnTo>
                        <a:pt x="970" y="710"/>
                      </a:lnTo>
                      <a:lnTo>
                        <a:pt x="970" y="711"/>
                      </a:lnTo>
                      <a:lnTo>
                        <a:pt x="969" y="712"/>
                      </a:lnTo>
                      <a:lnTo>
                        <a:pt x="969" y="712"/>
                      </a:lnTo>
                      <a:close/>
                      <a:moveTo>
                        <a:pt x="950" y="689"/>
                      </a:moveTo>
                      <a:lnTo>
                        <a:pt x="950" y="690"/>
                      </a:lnTo>
                      <a:lnTo>
                        <a:pt x="950" y="690"/>
                      </a:lnTo>
                      <a:lnTo>
                        <a:pt x="949" y="690"/>
                      </a:lnTo>
                      <a:lnTo>
                        <a:pt x="950" y="689"/>
                      </a:lnTo>
                      <a:lnTo>
                        <a:pt x="951" y="686"/>
                      </a:lnTo>
                      <a:lnTo>
                        <a:pt x="951" y="686"/>
                      </a:lnTo>
                      <a:lnTo>
                        <a:pt x="952" y="685"/>
                      </a:lnTo>
                      <a:lnTo>
                        <a:pt x="952" y="685"/>
                      </a:lnTo>
                      <a:lnTo>
                        <a:pt x="953" y="686"/>
                      </a:lnTo>
                      <a:lnTo>
                        <a:pt x="952" y="687"/>
                      </a:lnTo>
                      <a:lnTo>
                        <a:pt x="952" y="687"/>
                      </a:lnTo>
                      <a:lnTo>
                        <a:pt x="950" y="689"/>
                      </a:lnTo>
                      <a:lnTo>
                        <a:pt x="950" y="689"/>
                      </a:lnTo>
                      <a:lnTo>
                        <a:pt x="950" y="689"/>
                      </a:lnTo>
                      <a:close/>
                      <a:moveTo>
                        <a:pt x="843" y="673"/>
                      </a:moveTo>
                      <a:lnTo>
                        <a:pt x="843" y="672"/>
                      </a:lnTo>
                      <a:lnTo>
                        <a:pt x="844" y="672"/>
                      </a:lnTo>
                      <a:lnTo>
                        <a:pt x="843" y="673"/>
                      </a:lnTo>
                      <a:lnTo>
                        <a:pt x="843" y="673"/>
                      </a:lnTo>
                      <a:close/>
                      <a:moveTo>
                        <a:pt x="1056" y="671"/>
                      </a:moveTo>
                      <a:lnTo>
                        <a:pt x="1055" y="671"/>
                      </a:lnTo>
                      <a:lnTo>
                        <a:pt x="1055" y="670"/>
                      </a:lnTo>
                      <a:lnTo>
                        <a:pt x="1051" y="670"/>
                      </a:lnTo>
                      <a:lnTo>
                        <a:pt x="1049" y="671"/>
                      </a:lnTo>
                      <a:lnTo>
                        <a:pt x="1048" y="670"/>
                      </a:lnTo>
                      <a:lnTo>
                        <a:pt x="1046" y="671"/>
                      </a:lnTo>
                      <a:lnTo>
                        <a:pt x="1046" y="671"/>
                      </a:lnTo>
                      <a:lnTo>
                        <a:pt x="1045" y="671"/>
                      </a:lnTo>
                      <a:lnTo>
                        <a:pt x="1045" y="670"/>
                      </a:lnTo>
                      <a:lnTo>
                        <a:pt x="1044" y="669"/>
                      </a:lnTo>
                      <a:lnTo>
                        <a:pt x="1044" y="667"/>
                      </a:lnTo>
                      <a:lnTo>
                        <a:pt x="1044" y="665"/>
                      </a:lnTo>
                      <a:lnTo>
                        <a:pt x="1044" y="664"/>
                      </a:lnTo>
                      <a:lnTo>
                        <a:pt x="1044" y="664"/>
                      </a:lnTo>
                      <a:lnTo>
                        <a:pt x="1044" y="662"/>
                      </a:lnTo>
                      <a:lnTo>
                        <a:pt x="1046" y="660"/>
                      </a:lnTo>
                      <a:lnTo>
                        <a:pt x="1048" y="659"/>
                      </a:lnTo>
                      <a:lnTo>
                        <a:pt x="1050" y="657"/>
                      </a:lnTo>
                      <a:lnTo>
                        <a:pt x="1052" y="656"/>
                      </a:lnTo>
                      <a:lnTo>
                        <a:pt x="1053" y="653"/>
                      </a:lnTo>
                      <a:lnTo>
                        <a:pt x="1057" y="650"/>
                      </a:lnTo>
                      <a:lnTo>
                        <a:pt x="1059" y="646"/>
                      </a:lnTo>
                      <a:lnTo>
                        <a:pt x="1060" y="645"/>
                      </a:lnTo>
                      <a:lnTo>
                        <a:pt x="1064" y="644"/>
                      </a:lnTo>
                      <a:lnTo>
                        <a:pt x="1065" y="642"/>
                      </a:lnTo>
                      <a:lnTo>
                        <a:pt x="1066" y="642"/>
                      </a:lnTo>
                      <a:lnTo>
                        <a:pt x="1066" y="642"/>
                      </a:lnTo>
                      <a:lnTo>
                        <a:pt x="1068" y="642"/>
                      </a:lnTo>
                      <a:lnTo>
                        <a:pt x="1069" y="642"/>
                      </a:lnTo>
                      <a:lnTo>
                        <a:pt x="1069" y="642"/>
                      </a:lnTo>
                      <a:lnTo>
                        <a:pt x="1068" y="644"/>
                      </a:lnTo>
                      <a:lnTo>
                        <a:pt x="1068" y="644"/>
                      </a:lnTo>
                      <a:lnTo>
                        <a:pt x="1069" y="645"/>
                      </a:lnTo>
                      <a:lnTo>
                        <a:pt x="1069" y="648"/>
                      </a:lnTo>
                      <a:lnTo>
                        <a:pt x="1068" y="649"/>
                      </a:lnTo>
                      <a:lnTo>
                        <a:pt x="1068" y="650"/>
                      </a:lnTo>
                      <a:lnTo>
                        <a:pt x="1068" y="651"/>
                      </a:lnTo>
                      <a:lnTo>
                        <a:pt x="1063" y="656"/>
                      </a:lnTo>
                      <a:lnTo>
                        <a:pt x="1062" y="657"/>
                      </a:lnTo>
                      <a:lnTo>
                        <a:pt x="1063" y="657"/>
                      </a:lnTo>
                      <a:lnTo>
                        <a:pt x="1064" y="656"/>
                      </a:lnTo>
                      <a:lnTo>
                        <a:pt x="1065" y="656"/>
                      </a:lnTo>
                      <a:lnTo>
                        <a:pt x="1065" y="656"/>
                      </a:lnTo>
                      <a:lnTo>
                        <a:pt x="1066" y="656"/>
                      </a:lnTo>
                      <a:lnTo>
                        <a:pt x="1066" y="657"/>
                      </a:lnTo>
                      <a:lnTo>
                        <a:pt x="1066" y="657"/>
                      </a:lnTo>
                      <a:lnTo>
                        <a:pt x="1068" y="657"/>
                      </a:lnTo>
                      <a:lnTo>
                        <a:pt x="1068" y="657"/>
                      </a:lnTo>
                      <a:lnTo>
                        <a:pt x="1066" y="659"/>
                      </a:lnTo>
                      <a:lnTo>
                        <a:pt x="1066" y="659"/>
                      </a:lnTo>
                      <a:lnTo>
                        <a:pt x="1068" y="659"/>
                      </a:lnTo>
                      <a:lnTo>
                        <a:pt x="1068" y="658"/>
                      </a:lnTo>
                      <a:lnTo>
                        <a:pt x="1069" y="657"/>
                      </a:lnTo>
                      <a:lnTo>
                        <a:pt x="1069" y="657"/>
                      </a:lnTo>
                      <a:lnTo>
                        <a:pt x="1073" y="659"/>
                      </a:lnTo>
                      <a:lnTo>
                        <a:pt x="1072" y="660"/>
                      </a:lnTo>
                      <a:lnTo>
                        <a:pt x="1071" y="662"/>
                      </a:lnTo>
                      <a:lnTo>
                        <a:pt x="1070" y="662"/>
                      </a:lnTo>
                      <a:lnTo>
                        <a:pt x="1070" y="662"/>
                      </a:lnTo>
                      <a:lnTo>
                        <a:pt x="1071" y="663"/>
                      </a:lnTo>
                      <a:lnTo>
                        <a:pt x="1072" y="663"/>
                      </a:lnTo>
                      <a:lnTo>
                        <a:pt x="1072" y="664"/>
                      </a:lnTo>
                      <a:lnTo>
                        <a:pt x="1071" y="664"/>
                      </a:lnTo>
                      <a:lnTo>
                        <a:pt x="1069" y="665"/>
                      </a:lnTo>
                      <a:lnTo>
                        <a:pt x="1066" y="665"/>
                      </a:lnTo>
                      <a:lnTo>
                        <a:pt x="1066" y="665"/>
                      </a:lnTo>
                      <a:lnTo>
                        <a:pt x="1066" y="665"/>
                      </a:lnTo>
                      <a:lnTo>
                        <a:pt x="1066" y="665"/>
                      </a:lnTo>
                      <a:lnTo>
                        <a:pt x="1066" y="666"/>
                      </a:lnTo>
                      <a:lnTo>
                        <a:pt x="1066" y="666"/>
                      </a:lnTo>
                      <a:lnTo>
                        <a:pt x="1065" y="667"/>
                      </a:lnTo>
                      <a:lnTo>
                        <a:pt x="1064" y="669"/>
                      </a:lnTo>
                      <a:lnTo>
                        <a:pt x="1060" y="669"/>
                      </a:lnTo>
                      <a:lnTo>
                        <a:pt x="1057" y="670"/>
                      </a:lnTo>
                      <a:lnTo>
                        <a:pt x="1056" y="671"/>
                      </a:lnTo>
                      <a:lnTo>
                        <a:pt x="1056" y="671"/>
                      </a:lnTo>
                      <a:close/>
                      <a:moveTo>
                        <a:pt x="844" y="673"/>
                      </a:moveTo>
                      <a:lnTo>
                        <a:pt x="844" y="675"/>
                      </a:lnTo>
                      <a:lnTo>
                        <a:pt x="842" y="675"/>
                      </a:lnTo>
                      <a:lnTo>
                        <a:pt x="842" y="673"/>
                      </a:lnTo>
                      <a:lnTo>
                        <a:pt x="843" y="673"/>
                      </a:lnTo>
                      <a:lnTo>
                        <a:pt x="843" y="673"/>
                      </a:lnTo>
                      <a:lnTo>
                        <a:pt x="843" y="672"/>
                      </a:lnTo>
                      <a:lnTo>
                        <a:pt x="843" y="672"/>
                      </a:lnTo>
                      <a:lnTo>
                        <a:pt x="846" y="672"/>
                      </a:lnTo>
                      <a:lnTo>
                        <a:pt x="848" y="671"/>
                      </a:lnTo>
                      <a:lnTo>
                        <a:pt x="849" y="670"/>
                      </a:lnTo>
                      <a:lnTo>
                        <a:pt x="851" y="669"/>
                      </a:lnTo>
                      <a:lnTo>
                        <a:pt x="852" y="667"/>
                      </a:lnTo>
                      <a:lnTo>
                        <a:pt x="851" y="669"/>
                      </a:lnTo>
                      <a:lnTo>
                        <a:pt x="851" y="670"/>
                      </a:lnTo>
                      <a:lnTo>
                        <a:pt x="850" y="671"/>
                      </a:lnTo>
                      <a:lnTo>
                        <a:pt x="850" y="672"/>
                      </a:lnTo>
                      <a:lnTo>
                        <a:pt x="849" y="672"/>
                      </a:lnTo>
                      <a:lnTo>
                        <a:pt x="848" y="673"/>
                      </a:lnTo>
                      <a:lnTo>
                        <a:pt x="848" y="673"/>
                      </a:lnTo>
                      <a:lnTo>
                        <a:pt x="846" y="673"/>
                      </a:lnTo>
                      <a:lnTo>
                        <a:pt x="845" y="673"/>
                      </a:lnTo>
                      <a:lnTo>
                        <a:pt x="844" y="673"/>
                      </a:lnTo>
                      <a:lnTo>
                        <a:pt x="844" y="673"/>
                      </a:lnTo>
                      <a:lnTo>
                        <a:pt x="844" y="673"/>
                      </a:lnTo>
                      <a:lnTo>
                        <a:pt x="844" y="673"/>
                      </a:lnTo>
                      <a:close/>
                      <a:moveTo>
                        <a:pt x="721" y="666"/>
                      </a:moveTo>
                      <a:lnTo>
                        <a:pt x="718" y="670"/>
                      </a:lnTo>
                      <a:lnTo>
                        <a:pt x="715" y="671"/>
                      </a:lnTo>
                      <a:lnTo>
                        <a:pt x="711" y="670"/>
                      </a:lnTo>
                      <a:lnTo>
                        <a:pt x="708" y="670"/>
                      </a:lnTo>
                      <a:lnTo>
                        <a:pt x="708" y="667"/>
                      </a:lnTo>
                      <a:lnTo>
                        <a:pt x="702" y="667"/>
                      </a:lnTo>
                      <a:lnTo>
                        <a:pt x="702" y="666"/>
                      </a:lnTo>
                      <a:lnTo>
                        <a:pt x="695" y="664"/>
                      </a:lnTo>
                      <a:lnTo>
                        <a:pt x="696" y="663"/>
                      </a:lnTo>
                      <a:lnTo>
                        <a:pt x="696" y="663"/>
                      </a:lnTo>
                      <a:lnTo>
                        <a:pt x="699" y="663"/>
                      </a:lnTo>
                      <a:lnTo>
                        <a:pt x="701" y="663"/>
                      </a:lnTo>
                      <a:lnTo>
                        <a:pt x="703" y="662"/>
                      </a:lnTo>
                      <a:lnTo>
                        <a:pt x="702" y="662"/>
                      </a:lnTo>
                      <a:lnTo>
                        <a:pt x="702" y="664"/>
                      </a:lnTo>
                      <a:lnTo>
                        <a:pt x="705" y="665"/>
                      </a:lnTo>
                      <a:lnTo>
                        <a:pt x="705" y="665"/>
                      </a:lnTo>
                      <a:lnTo>
                        <a:pt x="705" y="664"/>
                      </a:lnTo>
                      <a:lnTo>
                        <a:pt x="708" y="664"/>
                      </a:lnTo>
                      <a:lnTo>
                        <a:pt x="710" y="663"/>
                      </a:lnTo>
                      <a:lnTo>
                        <a:pt x="712" y="664"/>
                      </a:lnTo>
                      <a:lnTo>
                        <a:pt x="715" y="663"/>
                      </a:lnTo>
                      <a:lnTo>
                        <a:pt x="716" y="662"/>
                      </a:lnTo>
                      <a:lnTo>
                        <a:pt x="717" y="663"/>
                      </a:lnTo>
                      <a:lnTo>
                        <a:pt x="717" y="664"/>
                      </a:lnTo>
                      <a:lnTo>
                        <a:pt x="717" y="665"/>
                      </a:lnTo>
                      <a:lnTo>
                        <a:pt x="717" y="666"/>
                      </a:lnTo>
                      <a:lnTo>
                        <a:pt x="719" y="664"/>
                      </a:lnTo>
                      <a:lnTo>
                        <a:pt x="721" y="664"/>
                      </a:lnTo>
                      <a:lnTo>
                        <a:pt x="719" y="665"/>
                      </a:lnTo>
                      <a:lnTo>
                        <a:pt x="721" y="665"/>
                      </a:lnTo>
                      <a:lnTo>
                        <a:pt x="721" y="666"/>
                      </a:lnTo>
                      <a:lnTo>
                        <a:pt x="721" y="666"/>
                      </a:lnTo>
                      <a:close/>
                      <a:moveTo>
                        <a:pt x="686" y="659"/>
                      </a:moveTo>
                      <a:lnTo>
                        <a:pt x="685" y="659"/>
                      </a:lnTo>
                      <a:lnTo>
                        <a:pt x="685" y="659"/>
                      </a:lnTo>
                      <a:lnTo>
                        <a:pt x="684" y="658"/>
                      </a:lnTo>
                      <a:lnTo>
                        <a:pt x="684" y="657"/>
                      </a:lnTo>
                      <a:lnTo>
                        <a:pt x="684" y="656"/>
                      </a:lnTo>
                      <a:lnTo>
                        <a:pt x="685" y="657"/>
                      </a:lnTo>
                      <a:lnTo>
                        <a:pt x="688" y="657"/>
                      </a:lnTo>
                      <a:lnTo>
                        <a:pt x="688" y="658"/>
                      </a:lnTo>
                      <a:lnTo>
                        <a:pt x="686" y="659"/>
                      </a:lnTo>
                      <a:lnTo>
                        <a:pt x="686" y="659"/>
                      </a:lnTo>
                      <a:lnTo>
                        <a:pt x="686" y="659"/>
                      </a:lnTo>
                      <a:close/>
                      <a:moveTo>
                        <a:pt x="903" y="644"/>
                      </a:moveTo>
                      <a:lnTo>
                        <a:pt x="898" y="645"/>
                      </a:lnTo>
                      <a:lnTo>
                        <a:pt x="903" y="642"/>
                      </a:lnTo>
                      <a:lnTo>
                        <a:pt x="905" y="642"/>
                      </a:lnTo>
                      <a:lnTo>
                        <a:pt x="903" y="644"/>
                      </a:lnTo>
                      <a:lnTo>
                        <a:pt x="903" y="644"/>
                      </a:lnTo>
                      <a:close/>
                      <a:moveTo>
                        <a:pt x="1183" y="648"/>
                      </a:moveTo>
                      <a:lnTo>
                        <a:pt x="1180" y="650"/>
                      </a:lnTo>
                      <a:lnTo>
                        <a:pt x="1179" y="649"/>
                      </a:lnTo>
                      <a:lnTo>
                        <a:pt x="1179" y="649"/>
                      </a:lnTo>
                      <a:lnTo>
                        <a:pt x="1179" y="646"/>
                      </a:lnTo>
                      <a:lnTo>
                        <a:pt x="1179" y="645"/>
                      </a:lnTo>
                      <a:lnTo>
                        <a:pt x="1180" y="643"/>
                      </a:lnTo>
                      <a:lnTo>
                        <a:pt x="1180" y="642"/>
                      </a:lnTo>
                      <a:lnTo>
                        <a:pt x="1183" y="639"/>
                      </a:lnTo>
                      <a:lnTo>
                        <a:pt x="1183" y="638"/>
                      </a:lnTo>
                      <a:lnTo>
                        <a:pt x="1182" y="638"/>
                      </a:lnTo>
                      <a:lnTo>
                        <a:pt x="1177" y="643"/>
                      </a:lnTo>
                      <a:lnTo>
                        <a:pt x="1172" y="645"/>
                      </a:lnTo>
                      <a:lnTo>
                        <a:pt x="1171" y="644"/>
                      </a:lnTo>
                      <a:lnTo>
                        <a:pt x="1172" y="643"/>
                      </a:lnTo>
                      <a:lnTo>
                        <a:pt x="1177" y="636"/>
                      </a:lnTo>
                      <a:lnTo>
                        <a:pt x="1178" y="635"/>
                      </a:lnTo>
                      <a:lnTo>
                        <a:pt x="1178" y="633"/>
                      </a:lnTo>
                      <a:lnTo>
                        <a:pt x="1178" y="632"/>
                      </a:lnTo>
                      <a:lnTo>
                        <a:pt x="1180" y="630"/>
                      </a:lnTo>
                      <a:lnTo>
                        <a:pt x="1179" y="629"/>
                      </a:lnTo>
                      <a:lnTo>
                        <a:pt x="1179" y="628"/>
                      </a:lnTo>
                      <a:lnTo>
                        <a:pt x="1179" y="625"/>
                      </a:lnTo>
                      <a:lnTo>
                        <a:pt x="1177" y="624"/>
                      </a:lnTo>
                      <a:lnTo>
                        <a:pt x="1173" y="628"/>
                      </a:lnTo>
                      <a:lnTo>
                        <a:pt x="1171" y="631"/>
                      </a:lnTo>
                      <a:lnTo>
                        <a:pt x="1171" y="632"/>
                      </a:lnTo>
                      <a:lnTo>
                        <a:pt x="1170" y="633"/>
                      </a:lnTo>
                      <a:lnTo>
                        <a:pt x="1167" y="633"/>
                      </a:lnTo>
                      <a:lnTo>
                        <a:pt x="1167" y="633"/>
                      </a:lnTo>
                      <a:lnTo>
                        <a:pt x="1166" y="633"/>
                      </a:lnTo>
                      <a:lnTo>
                        <a:pt x="1164" y="633"/>
                      </a:lnTo>
                      <a:lnTo>
                        <a:pt x="1160" y="636"/>
                      </a:lnTo>
                      <a:lnTo>
                        <a:pt x="1159" y="637"/>
                      </a:lnTo>
                      <a:lnTo>
                        <a:pt x="1159" y="638"/>
                      </a:lnTo>
                      <a:lnTo>
                        <a:pt x="1158" y="639"/>
                      </a:lnTo>
                      <a:lnTo>
                        <a:pt x="1153" y="643"/>
                      </a:lnTo>
                      <a:lnTo>
                        <a:pt x="1152" y="643"/>
                      </a:lnTo>
                      <a:lnTo>
                        <a:pt x="1151" y="644"/>
                      </a:lnTo>
                      <a:lnTo>
                        <a:pt x="1150" y="643"/>
                      </a:lnTo>
                      <a:lnTo>
                        <a:pt x="1149" y="644"/>
                      </a:lnTo>
                      <a:lnTo>
                        <a:pt x="1145" y="644"/>
                      </a:lnTo>
                      <a:lnTo>
                        <a:pt x="1144" y="644"/>
                      </a:lnTo>
                      <a:lnTo>
                        <a:pt x="1143" y="643"/>
                      </a:lnTo>
                      <a:lnTo>
                        <a:pt x="1143" y="642"/>
                      </a:lnTo>
                      <a:lnTo>
                        <a:pt x="1144" y="642"/>
                      </a:lnTo>
                      <a:lnTo>
                        <a:pt x="1146" y="639"/>
                      </a:lnTo>
                      <a:lnTo>
                        <a:pt x="1147" y="639"/>
                      </a:lnTo>
                      <a:lnTo>
                        <a:pt x="1152" y="638"/>
                      </a:lnTo>
                      <a:lnTo>
                        <a:pt x="1156" y="636"/>
                      </a:lnTo>
                      <a:lnTo>
                        <a:pt x="1157" y="633"/>
                      </a:lnTo>
                      <a:lnTo>
                        <a:pt x="1158" y="632"/>
                      </a:lnTo>
                      <a:lnTo>
                        <a:pt x="1163" y="631"/>
                      </a:lnTo>
                      <a:lnTo>
                        <a:pt x="1164" y="630"/>
                      </a:lnTo>
                      <a:lnTo>
                        <a:pt x="1165" y="629"/>
                      </a:lnTo>
                      <a:lnTo>
                        <a:pt x="1165" y="629"/>
                      </a:lnTo>
                      <a:lnTo>
                        <a:pt x="1164" y="629"/>
                      </a:lnTo>
                      <a:lnTo>
                        <a:pt x="1162" y="629"/>
                      </a:lnTo>
                      <a:lnTo>
                        <a:pt x="1160" y="630"/>
                      </a:lnTo>
                      <a:lnTo>
                        <a:pt x="1160" y="630"/>
                      </a:lnTo>
                      <a:lnTo>
                        <a:pt x="1160" y="629"/>
                      </a:lnTo>
                      <a:lnTo>
                        <a:pt x="1157" y="629"/>
                      </a:lnTo>
                      <a:lnTo>
                        <a:pt x="1157" y="628"/>
                      </a:lnTo>
                      <a:lnTo>
                        <a:pt x="1156" y="628"/>
                      </a:lnTo>
                      <a:lnTo>
                        <a:pt x="1156" y="628"/>
                      </a:lnTo>
                      <a:lnTo>
                        <a:pt x="1156" y="630"/>
                      </a:lnTo>
                      <a:lnTo>
                        <a:pt x="1155" y="631"/>
                      </a:lnTo>
                      <a:lnTo>
                        <a:pt x="1152" y="633"/>
                      </a:lnTo>
                      <a:lnTo>
                        <a:pt x="1151" y="632"/>
                      </a:lnTo>
                      <a:lnTo>
                        <a:pt x="1151" y="631"/>
                      </a:lnTo>
                      <a:lnTo>
                        <a:pt x="1150" y="632"/>
                      </a:lnTo>
                      <a:lnTo>
                        <a:pt x="1149" y="632"/>
                      </a:lnTo>
                      <a:lnTo>
                        <a:pt x="1147" y="632"/>
                      </a:lnTo>
                      <a:lnTo>
                        <a:pt x="1147" y="632"/>
                      </a:lnTo>
                      <a:lnTo>
                        <a:pt x="1149" y="631"/>
                      </a:lnTo>
                      <a:lnTo>
                        <a:pt x="1149" y="630"/>
                      </a:lnTo>
                      <a:lnTo>
                        <a:pt x="1149" y="630"/>
                      </a:lnTo>
                      <a:lnTo>
                        <a:pt x="1144" y="632"/>
                      </a:lnTo>
                      <a:lnTo>
                        <a:pt x="1143" y="631"/>
                      </a:lnTo>
                      <a:lnTo>
                        <a:pt x="1143" y="631"/>
                      </a:lnTo>
                      <a:lnTo>
                        <a:pt x="1144" y="631"/>
                      </a:lnTo>
                      <a:lnTo>
                        <a:pt x="1145" y="630"/>
                      </a:lnTo>
                      <a:lnTo>
                        <a:pt x="1149" y="629"/>
                      </a:lnTo>
                      <a:lnTo>
                        <a:pt x="1149" y="629"/>
                      </a:lnTo>
                      <a:lnTo>
                        <a:pt x="1149" y="628"/>
                      </a:lnTo>
                      <a:lnTo>
                        <a:pt x="1150" y="626"/>
                      </a:lnTo>
                      <a:lnTo>
                        <a:pt x="1151" y="625"/>
                      </a:lnTo>
                      <a:lnTo>
                        <a:pt x="1150" y="625"/>
                      </a:lnTo>
                      <a:lnTo>
                        <a:pt x="1146" y="628"/>
                      </a:lnTo>
                      <a:lnTo>
                        <a:pt x="1145" y="628"/>
                      </a:lnTo>
                      <a:lnTo>
                        <a:pt x="1145" y="626"/>
                      </a:lnTo>
                      <a:lnTo>
                        <a:pt x="1145" y="626"/>
                      </a:lnTo>
                      <a:lnTo>
                        <a:pt x="1145" y="626"/>
                      </a:lnTo>
                      <a:lnTo>
                        <a:pt x="1144" y="629"/>
                      </a:lnTo>
                      <a:lnTo>
                        <a:pt x="1143" y="629"/>
                      </a:lnTo>
                      <a:lnTo>
                        <a:pt x="1142" y="629"/>
                      </a:lnTo>
                      <a:lnTo>
                        <a:pt x="1140" y="629"/>
                      </a:lnTo>
                      <a:lnTo>
                        <a:pt x="1136" y="629"/>
                      </a:lnTo>
                      <a:lnTo>
                        <a:pt x="1132" y="631"/>
                      </a:lnTo>
                      <a:lnTo>
                        <a:pt x="1131" y="630"/>
                      </a:lnTo>
                      <a:lnTo>
                        <a:pt x="1129" y="630"/>
                      </a:lnTo>
                      <a:lnTo>
                        <a:pt x="1127" y="630"/>
                      </a:lnTo>
                      <a:lnTo>
                        <a:pt x="1125" y="630"/>
                      </a:lnTo>
                      <a:lnTo>
                        <a:pt x="1125" y="630"/>
                      </a:lnTo>
                      <a:lnTo>
                        <a:pt x="1125" y="629"/>
                      </a:lnTo>
                      <a:lnTo>
                        <a:pt x="1119" y="629"/>
                      </a:lnTo>
                      <a:lnTo>
                        <a:pt x="1118" y="629"/>
                      </a:lnTo>
                      <a:lnTo>
                        <a:pt x="1117" y="629"/>
                      </a:lnTo>
                      <a:lnTo>
                        <a:pt x="1109" y="628"/>
                      </a:lnTo>
                      <a:lnTo>
                        <a:pt x="1106" y="629"/>
                      </a:lnTo>
                      <a:lnTo>
                        <a:pt x="1103" y="629"/>
                      </a:lnTo>
                      <a:lnTo>
                        <a:pt x="1102" y="629"/>
                      </a:lnTo>
                      <a:lnTo>
                        <a:pt x="1096" y="630"/>
                      </a:lnTo>
                      <a:lnTo>
                        <a:pt x="1093" y="629"/>
                      </a:lnTo>
                      <a:lnTo>
                        <a:pt x="1093" y="628"/>
                      </a:lnTo>
                      <a:lnTo>
                        <a:pt x="1095" y="625"/>
                      </a:lnTo>
                      <a:lnTo>
                        <a:pt x="1093" y="625"/>
                      </a:lnTo>
                      <a:lnTo>
                        <a:pt x="1093" y="623"/>
                      </a:lnTo>
                      <a:lnTo>
                        <a:pt x="1108" y="613"/>
                      </a:lnTo>
                      <a:lnTo>
                        <a:pt x="1112" y="612"/>
                      </a:lnTo>
                      <a:lnTo>
                        <a:pt x="1112" y="611"/>
                      </a:lnTo>
                      <a:lnTo>
                        <a:pt x="1111" y="611"/>
                      </a:lnTo>
                      <a:lnTo>
                        <a:pt x="1110" y="610"/>
                      </a:lnTo>
                      <a:lnTo>
                        <a:pt x="1108" y="611"/>
                      </a:lnTo>
                      <a:lnTo>
                        <a:pt x="1103" y="611"/>
                      </a:lnTo>
                      <a:lnTo>
                        <a:pt x="1099" y="612"/>
                      </a:lnTo>
                      <a:lnTo>
                        <a:pt x="1099" y="612"/>
                      </a:lnTo>
                      <a:lnTo>
                        <a:pt x="1100" y="610"/>
                      </a:lnTo>
                      <a:lnTo>
                        <a:pt x="1108" y="608"/>
                      </a:lnTo>
                      <a:lnTo>
                        <a:pt x="1105" y="609"/>
                      </a:lnTo>
                      <a:lnTo>
                        <a:pt x="1106" y="610"/>
                      </a:lnTo>
                      <a:lnTo>
                        <a:pt x="1106" y="609"/>
                      </a:lnTo>
                      <a:lnTo>
                        <a:pt x="1108" y="610"/>
                      </a:lnTo>
                      <a:lnTo>
                        <a:pt x="1109" y="610"/>
                      </a:lnTo>
                      <a:lnTo>
                        <a:pt x="1112" y="605"/>
                      </a:lnTo>
                      <a:lnTo>
                        <a:pt x="1115" y="603"/>
                      </a:lnTo>
                      <a:lnTo>
                        <a:pt x="1115" y="602"/>
                      </a:lnTo>
                      <a:lnTo>
                        <a:pt x="1117" y="598"/>
                      </a:lnTo>
                      <a:lnTo>
                        <a:pt x="1118" y="598"/>
                      </a:lnTo>
                      <a:lnTo>
                        <a:pt x="1117" y="599"/>
                      </a:lnTo>
                      <a:lnTo>
                        <a:pt x="1118" y="600"/>
                      </a:lnTo>
                      <a:lnTo>
                        <a:pt x="1119" y="600"/>
                      </a:lnTo>
                      <a:lnTo>
                        <a:pt x="1120" y="600"/>
                      </a:lnTo>
                      <a:lnTo>
                        <a:pt x="1122" y="600"/>
                      </a:lnTo>
                      <a:lnTo>
                        <a:pt x="1122" y="599"/>
                      </a:lnTo>
                      <a:lnTo>
                        <a:pt x="1122" y="598"/>
                      </a:lnTo>
                      <a:lnTo>
                        <a:pt x="1123" y="599"/>
                      </a:lnTo>
                      <a:lnTo>
                        <a:pt x="1123" y="599"/>
                      </a:lnTo>
                      <a:lnTo>
                        <a:pt x="1123" y="598"/>
                      </a:lnTo>
                      <a:lnTo>
                        <a:pt x="1123" y="598"/>
                      </a:lnTo>
                      <a:lnTo>
                        <a:pt x="1124" y="598"/>
                      </a:lnTo>
                      <a:lnTo>
                        <a:pt x="1124" y="597"/>
                      </a:lnTo>
                      <a:lnTo>
                        <a:pt x="1120" y="597"/>
                      </a:lnTo>
                      <a:lnTo>
                        <a:pt x="1120" y="596"/>
                      </a:lnTo>
                      <a:lnTo>
                        <a:pt x="1122" y="595"/>
                      </a:lnTo>
                      <a:lnTo>
                        <a:pt x="1122" y="593"/>
                      </a:lnTo>
                      <a:lnTo>
                        <a:pt x="1124" y="591"/>
                      </a:lnTo>
                      <a:lnTo>
                        <a:pt x="1125" y="591"/>
                      </a:lnTo>
                      <a:lnTo>
                        <a:pt x="1127" y="591"/>
                      </a:lnTo>
                      <a:lnTo>
                        <a:pt x="1127" y="591"/>
                      </a:lnTo>
                      <a:lnTo>
                        <a:pt x="1129" y="591"/>
                      </a:lnTo>
                      <a:lnTo>
                        <a:pt x="1129" y="591"/>
                      </a:lnTo>
                      <a:lnTo>
                        <a:pt x="1127" y="591"/>
                      </a:lnTo>
                      <a:lnTo>
                        <a:pt x="1127" y="588"/>
                      </a:lnTo>
                      <a:lnTo>
                        <a:pt x="1131" y="584"/>
                      </a:lnTo>
                      <a:lnTo>
                        <a:pt x="1131" y="584"/>
                      </a:lnTo>
                      <a:lnTo>
                        <a:pt x="1132" y="582"/>
                      </a:lnTo>
                      <a:lnTo>
                        <a:pt x="1142" y="571"/>
                      </a:lnTo>
                      <a:lnTo>
                        <a:pt x="1143" y="570"/>
                      </a:lnTo>
                      <a:lnTo>
                        <a:pt x="1144" y="569"/>
                      </a:lnTo>
                      <a:lnTo>
                        <a:pt x="1144" y="568"/>
                      </a:lnTo>
                      <a:lnTo>
                        <a:pt x="1150" y="565"/>
                      </a:lnTo>
                      <a:lnTo>
                        <a:pt x="1151" y="563"/>
                      </a:lnTo>
                      <a:lnTo>
                        <a:pt x="1151" y="562"/>
                      </a:lnTo>
                      <a:lnTo>
                        <a:pt x="1150" y="560"/>
                      </a:lnTo>
                      <a:lnTo>
                        <a:pt x="1152" y="562"/>
                      </a:lnTo>
                      <a:lnTo>
                        <a:pt x="1152" y="560"/>
                      </a:lnTo>
                      <a:lnTo>
                        <a:pt x="1155" y="559"/>
                      </a:lnTo>
                      <a:lnTo>
                        <a:pt x="1156" y="557"/>
                      </a:lnTo>
                      <a:lnTo>
                        <a:pt x="1158" y="555"/>
                      </a:lnTo>
                      <a:lnTo>
                        <a:pt x="1160" y="555"/>
                      </a:lnTo>
                      <a:lnTo>
                        <a:pt x="1160" y="553"/>
                      </a:lnTo>
                      <a:lnTo>
                        <a:pt x="1172" y="549"/>
                      </a:lnTo>
                      <a:lnTo>
                        <a:pt x="1173" y="550"/>
                      </a:lnTo>
                      <a:lnTo>
                        <a:pt x="1172" y="551"/>
                      </a:lnTo>
                      <a:lnTo>
                        <a:pt x="1173" y="552"/>
                      </a:lnTo>
                      <a:lnTo>
                        <a:pt x="1175" y="551"/>
                      </a:lnTo>
                      <a:lnTo>
                        <a:pt x="1175" y="550"/>
                      </a:lnTo>
                      <a:lnTo>
                        <a:pt x="1176" y="550"/>
                      </a:lnTo>
                      <a:lnTo>
                        <a:pt x="1177" y="550"/>
                      </a:lnTo>
                      <a:lnTo>
                        <a:pt x="1178" y="550"/>
                      </a:lnTo>
                      <a:lnTo>
                        <a:pt x="1179" y="550"/>
                      </a:lnTo>
                      <a:lnTo>
                        <a:pt x="1177" y="555"/>
                      </a:lnTo>
                      <a:lnTo>
                        <a:pt x="1176" y="555"/>
                      </a:lnTo>
                      <a:lnTo>
                        <a:pt x="1175" y="556"/>
                      </a:lnTo>
                      <a:lnTo>
                        <a:pt x="1175" y="556"/>
                      </a:lnTo>
                      <a:lnTo>
                        <a:pt x="1167" y="555"/>
                      </a:lnTo>
                      <a:lnTo>
                        <a:pt x="1167" y="555"/>
                      </a:lnTo>
                      <a:lnTo>
                        <a:pt x="1167" y="556"/>
                      </a:lnTo>
                      <a:lnTo>
                        <a:pt x="1167" y="557"/>
                      </a:lnTo>
                      <a:lnTo>
                        <a:pt x="1167" y="557"/>
                      </a:lnTo>
                      <a:lnTo>
                        <a:pt x="1170" y="557"/>
                      </a:lnTo>
                      <a:lnTo>
                        <a:pt x="1170" y="557"/>
                      </a:lnTo>
                      <a:lnTo>
                        <a:pt x="1171" y="557"/>
                      </a:lnTo>
                      <a:lnTo>
                        <a:pt x="1172" y="558"/>
                      </a:lnTo>
                      <a:lnTo>
                        <a:pt x="1172" y="559"/>
                      </a:lnTo>
                      <a:lnTo>
                        <a:pt x="1167" y="563"/>
                      </a:lnTo>
                      <a:lnTo>
                        <a:pt x="1164" y="566"/>
                      </a:lnTo>
                      <a:lnTo>
                        <a:pt x="1164" y="566"/>
                      </a:lnTo>
                      <a:lnTo>
                        <a:pt x="1162" y="566"/>
                      </a:lnTo>
                      <a:lnTo>
                        <a:pt x="1163" y="568"/>
                      </a:lnTo>
                      <a:lnTo>
                        <a:pt x="1163" y="569"/>
                      </a:lnTo>
                      <a:lnTo>
                        <a:pt x="1159" y="571"/>
                      </a:lnTo>
                      <a:lnTo>
                        <a:pt x="1156" y="575"/>
                      </a:lnTo>
                      <a:lnTo>
                        <a:pt x="1151" y="579"/>
                      </a:lnTo>
                      <a:lnTo>
                        <a:pt x="1147" y="582"/>
                      </a:lnTo>
                      <a:lnTo>
                        <a:pt x="1149" y="583"/>
                      </a:lnTo>
                      <a:lnTo>
                        <a:pt x="1147" y="584"/>
                      </a:lnTo>
                      <a:lnTo>
                        <a:pt x="1145" y="586"/>
                      </a:lnTo>
                      <a:lnTo>
                        <a:pt x="1145" y="586"/>
                      </a:lnTo>
                      <a:lnTo>
                        <a:pt x="1146" y="586"/>
                      </a:lnTo>
                      <a:lnTo>
                        <a:pt x="1145" y="589"/>
                      </a:lnTo>
                      <a:lnTo>
                        <a:pt x="1146" y="589"/>
                      </a:lnTo>
                      <a:lnTo>
                        <a:pt x="1152" y="584"/>
                      </a:lnTo>
                      <a:lnTo>
                        <a:pt x="1153" y="583"/>
                      </a:lnTo>
                      <a:lnTo>
                        <a:pt x="1155" y="582"/>
                      </a:lnTo>
                      <a:lnTo>
                        <a:pt x="1159" y="578"/>
                      </a:lnTo>
                      <a:lnTo>
                        <a:pt x="1159" y="578"/>
                      </a:lnTo>
                      <a:lnTo>
                        <a:pt x="1159" y="579"/>
                      </a:lnTo>
                      <a:lnTo>
                        <a:pt x="1158" y="582"/>
                      </a:lnTo>
                      <a:lnTo>
                        <a:pt x="1160" y="580"/>
                      </a:lnTo>
                      <a:lnTo>
                        <a:pt x="1162" y="580"/>
                      </a:lnTo>
                      <a:lnTo>
                        <a:pt x="1163" y="582"/>
                      </a:lnTo>
                      <a:lnTo>
                        <a:pt x="1164" y="583"/>
                      </a:lnTo>
                      <a:lnTo>
                        <a:pt x="1165" y="582"/>
                      </a:lnTo>
                      <a:lnTo>
                        <a:pt x="1167" y="582"/>
                      </a:lnTo>
                      <a:lnTo>
                        <a:pt x="1169" y="582"/>
                      </a:lnTo>
                      <a:lnTo>
                        <a:pt x="1169" y="583"/>
                      </a:lnTo>
                      <a:lnTo>
                        <a:pt x="1162" y="586"/>
                      </a:lnTo>
                      <a:lnTo>
                        <a:pt x="1157" y="588"/>
                      </a:lnTo>
                      <a:lnTo>
                        <a:pt x="1158" y="588"/>
                      </a:lnTo>
                      <a:lnTo>
                        <a:pt x="1159" y="588"/>
                      </a:lnTo>
                      <a:lnTo>
                        <a:pt x="1160" y="588"/>
                      </a:lnTo>
                      <a:lnTo>
                        <a:pt x="1160" y="589"/>
                      </a:lnTo>
                      <a:lnTo>
                        <a:pt x="1160" y="590"/>
                      </a:lnTo>
                      <a:lnTo>
                        <a:pt x="1160" y="590"/>
                      </a:lnTo>
                      <a:lnTo>
                        <a:pt x="1157" y="591"/>
                      </a:lnTo>
                      <a:lnTo>
                        <a:pt x="1155" y="592"/>
                      </a:lnTo>
                      <a:lnTo>
                        <a:pt x="1156" y="593"/>
                      </a:lnTo>
                      <a:lnTo>
                        <a:pt x="1157" y="592"/>
                      </a:lnTo>
                      <a:lnTo>
                        <a:pt x="1160" y="590"/>
                      </a:lnTo>
                      <a:lnTo>
                        <a:pt x="1162" y="591"/>
                      </a:lnTo>
                      <a:lnTo>
                        <a:pt x="1160" y="591"/>
                      </a:lnTo>
                      <a:lnTo>
                        <a:pt x="1162" y="593"/>
                      </a:lnTo>
                      <a:lnTo>
                        <a:pt x="1164" y="592"/>
                      </a:lnTo>
                      <a:lnTo>
                        <a:pt x="1164" y="592"/>
                      </a:lnTo>
                      <a:lnTo>
                        <a:pt x="1164" y="592"/>
                      </a:lnTo>
                      <a:lnTo>
                        <a:pt x="1166" y="592"/>
                      </a:lnTo>
                      <a:lnTo>
                        <a:pt x="1167" y="592"/>
                      </a:lnTo>
                      <a:lnTo>
                        <a:pt x="1167" y="592"/>
                      </a:lnTo>
                      <a:lnTo>
                        <a:pt x="1166" y="593"/>
                      </a:lnTo>
                      <a:lnTo>
                        <a:pt x="1166" y="593"/>
                      </a:lnTo>
                      <a:lnTo>
                        <a:pt x="1166" y="593"/>
                      </a:lnTo>
                      <a:lnTo>
                        <a:pt x="1169" y="593"/>
                      </a:lnTo>
                      <a:lnTo>
                        <a:pt x="1169" y="593"/>
                      </a:lnTo>
                      <a:lnTo>
                        <a:pt x="1167" y="591"/>
                      </a:lnTo>
                      <a:lnTo>
                        <a:pt x="1169" y="591"/>
                      </a:lnTo>
                      <a:lnTo>
                        <a:pt x="1170" y="591"/>
                      </a:lnTo>
                      <a:lnTo>
                        <a:pt x="1170" y="591"/>
                      </a:lnTo>
                      <a:lnTo>
                        <a:pt x="1171" y="591"/>
                      </a:lnTo>
                      <a:lnTo>
                        <a:pt x="1170" y="592"/>
                      </a:lnTo>
                      <a:lnTo>
                        <a:pt x="1167" y="596"/>
                      </a:lnTo>
                      <a:lnTo>
                        <a:pt x="1166" y="597"/>
                      </a:lnTo>
                      <a:lnTo>
                        <a:pt x="1167" y="597"/>
                      </a:lnTo>
                      <a:lnTo>
                        <a:pt x="1169" y="597"/>
                      </a:lnTo>
                      <a:lnTo>
                        <a:pt x="1171" y="596"/>
                      </a:lnTo>
                      <a:lnTo>
                        <a:pt x="1171" y="596"/>
                      </a:lnTo>
                      <a:lnTo>
                        <a:pt x="1171" y="595"/>
                      </a:lnTo>
                      <a:lnTo>
                        <a:pt x="1171" y="595"/>
                      </a:lnTo>
                      <a:lnTo>
                        <a:pt x="1172" y="596"/>
                      </a:lnTo>
                      <a:lnTo>
                        <a:pt x="1172" y="596"/>
                      </a:lnTo>
                      <a:lnTo>
                        <a:pt x="1173" y="596"/>
                      </a:lnTo>
                      <a:lnTo>
                        <a:pt x="1175" y="593"/>
                      </a:lnTo>
                      <a:lnTo>
                        <a:pt x="1175" y="593"/>
                      </a:lnTo>
                      <a:lnTo>
                        <a:pt x="1175" y="595"/>
                      </a:lnTo>
                      <a:lnTo>
                        <a:pt x="1175" y="595"/>
                      </a:lnTo>
                      <a:lnTo>
                        <a:pt x="1176" y="595"/>
                      </a:lnTo>
                      <a:lnTo>
                        <a:pt x="1176" y="595"/>
                      </a:lnTo>
                      <a:lnTo>
                        <a:pt x="1180" y="591"/>
                      </a:lnTo>
                      <a:lnTo>
                        <a:pt x="1182" y="590"/>
                      </a:lnTo>
                      <a:lnTo>
                        <a:pt x="1182" y="591"/>
                      </a:lnTo>
                      <a:lnTo>
                        <a:pt x="1182" y="591"/>
                      </a:lnTo>
                      <a:lnTo>
                        <a:pt x="1180" y="592"/>
                      </a:lnTo>
                      <a:lnTo>
                        <a:pt x="1182" y="592"/>
                      </a:lnTo>
                      <a:lnTo>
                        <a:pt x="1180" y="595"/>
                      </a:lnTo>
                      <a:lnTo>
                        <a:pt x="1182" y="595"/>
                      </a:lnTo>
                      <a:lnTo>
                        <a:pt x="1183" y="592"/>
                      </a:lnTo>
                      <a:lnTo>
                        <a:pt x="1185" y="593"/>
                      </a:lnTo>
                      <a:lnTo>
                        <a:pt x="1186" y="592"/>
                      </a:lnTo>
                      <a:lnTo>
                        <a:pt x="1189" y="592"/>
                      </a:lnTo>
                      <a:lnTo>
                        <a:pt x="1191" y="593"/>
                      </a:lnTo>
                      <a:lnTo>
                        <a:pt x="1192" y="593"/>
                      </a:lnTo>
                      <a:lnTo>
                        <a:pt x="1192" y="595"/>
                      </a:lnTo>
                      <a:lnTo>
                        <a:pt x="1195" y="595"/>
                      </a:lnTo>
                      <a:lnTo>
                        <a:pt x="1196" y="596"/>
                      </a:lnTo>
                      <a:lnTo>
                        <a:pt x="1196" y="597"/>
                      </a:lnTo>
                      <a:lnTo>
                        <a:pt x="1192" y="600"/>
                      </a:lnTo>
                      <a:lnTo>
                        <a:pt x="1191" y="600"/>
                      </a:lnTo>
                      <a:lnTo>
                        <a:pt x="1187" y="603"/>
                      </a:lnTo>
                      <a:lnTo>
                        <a:pt x="1187" y="603"/>
                      </a:lnTo>
                      <a:lnTo>
                        <a:pt x="1185" y="604"/>
                      </a:lnTo>
                      <a:lnTo>
                        <a:pt x="1187" y="605"/>
                      </a:lnTo>
                      <a:lnTo>
                        <a:pt x="1187" y="605"/>
                      </a:lnTo>
                      <a:lnTo>
                        <a:pt x="1185" y="606"/>
                      </a:lnTo>
                      <a:lnTo>
                        <a:pt x="1185" y="608"/>
                      </a:lnTo>
                      <a:lnTo>
                        <a:pt x="1186" y="606"/>
                      </a:lnTo>
                      <a:lnTo>
                        <a:pt x="1187" y="606"/>
                      </a:lnTo>
                      <a:lnTo>
                        <a:pt x="1189" y="608"/>
                      </a:lnTo>
                      <a:lnTo>
                        <a:pt x="1190" y="608"/>
                      </a:lnTo>
                      <a:lnTo>
                        <a:pt x="1190" y="609"/>
                      </a:lnTo>
                      <a:lnTo>
                        <a:pt x="1189" y="609"/>
                      </a:lnTo>
                      <a:lnTo>
                        <a:pt x="1186" y="609"/>
                      </a:lnTo>
                      <a:lnTo>
                        <a:pt x="1187" y="610"/>
                      </a:lnTo>
                      <a:lnTo>
                        <a:pt x="1185" y="612"/>
                      </a:lnTo>
                      <a:lnTo>
                        <a:pt x="1186" y="612"/>
                      </a:lnTo>
                      <a:lnTo>
                        <a:pt x="1189" y="611"/>
                      </a:lnTo>
                      <a:lnTo>
                        <a:pt x="1189" y="611"/>
                      </a:lnTo>
                      <a:lnTo>
                        <a:pt x="1190" y="611"/>
                      </a:lnTo>
                      <a:lnTo>
                        <a:pt x="1190" y="612"/>
                      </a:lnTo>
                      <a:lnTo>
                        <a:pt x="1191" y="611"/>
                      </a:lnTo>
                      <a:lnTo>
                        <a:pt x="1192" y="610"/>
                      </a:lnTo>
                      <a:lnTo>
                        <a:pt x="1192" y="609"/>
                      </a:lnTo>
                      <a:lnTo>
                        <a:pt x="1193" y="609"/>
                      </a:lnTo>
                      <a:lnTo>
                        <a:pt x="1196" y="611"/>
                      </a:lnTo>
                      <a:lnTo>
                        <a:pt x="1197" y="609"/>
                      </a:lnTo>
                      <a:lnTo>
                        <a:pt x="1199" y="608"/>
                      </a:lnTo>
                      <a:lnTo>
                        <a:pt x="1199" y="608"/>
                      </a:lnTo>
                      <a:lnTo>
                        <a:pt x="1199" y="609"/>
                      </a:lnTo>
                      <a:lnTo>
                        <a:pt x="1197" y="612"/>
                      </a:lnTo>
                      <a:lnTo>
                        <a:pt x="1196" y="615"/>
                      </a:lnTo>
                      <a:lnTo>
                        <a:pt x="1193" y="613"/>
                      </a:lnTo>
                      <a:lnTo>
                        <a:pt x="1191" y="616"/>
                      </a:lnTo>
                      <a:lnTo>
                        <a:pt x="1187" y="617"/>
                      </a:lnTo>
                      <a:lnTo>
                        <a:pt x="1186" y="618"/>
                      </a:lnTo>
                      <a:lnTo>
                        <a:pt x="1183" y="617"/>
                      </a:lnTo>
                      <a:lnTo>
                        <a:pt x="1182" y="618"/>
                      </a:lnTo>
                      <a:lnTo>
                        <a:pt x="1182" y="619"/>
                      </a:lnTo>
                      <a:lnTo>
                        <a:pt x="1185" y="620"/>
                      </a:lnTo>
                      <a:lnTo>
                        <a:pt x="1186" y="620"/>
                      </a:lnTo>
                      <a:lnTo>
                        <a:pt x="1186" y="622"/>
                      </a:lnTo>
                      <a:lnTo>
                        <a:pt x="1183" y="625"/>
                      </a:lnTo>
                      <a:lnTo>
                        <a:pt x="1183" y="625"/>
                      </a:lnTo>
                      <a:lnTo>
                        <a:pt x="1182" y="625"/>
                      </a:lnTo>
                      <a:lnTo>
                        <a:pt x="1182" y="626"/>
                      </a:lnTo>
                      <a:lnTo>
                        <a:pt x="1182" y="626"/>
                      </a:lnTo>
                      <a:lnTo>
                        <a:pt x="1182" y="628"/>
                      </a:lnTo>
                      <a:lnTo>
                        <a:pt x="1182" y="629"/>
                      </a:lnTo>
                      <a:lnTo>
                        <a:pt x="1183" y="629"/>
                      </a:lnTo>
                      <a:lnTo>
                        <a:pt x="1184" y="628"/>
                      </a:lnTo>
                      <a:lnTo>
                        <a:pt x="1183" y="629"/>
                      </a:lnTo>
                      <a:lnTo>
                        <a:pt x="1184" y="630"/>
                      </a:lnTo>
                      <a:lnTo>
                        <a:pt x="1185" y="631"/>
                      </a:lnTo>
                      <a:lnTo>
                        <a:pt x="1185" y="630"/>
                      </a:lnTo>
                      <a:lnTo>
                        <a:pt x="1186" y="629"/>
                      </a:lnTo>
                      <a:lnTo>
                        <a:pt x="1187" y="628"/>
                      </a:lnTo>
                      <a:lnTo>
                        <a:pt x="1187" y="628"/>
                      </a:lnTo>
                      <a:lnTo>
                        <a:pt x="1192" y="622"/>
                      </a:lnTo>
                      <a:lnTo>
                        <a:pt x="1195" y="620"/>
                      </a:lnTo>
                      <a:lnTo>
                        <a:pt x="1196" y="620"/>
                      </a:lnTo>
                      <a:lnTo>
                        <a:pt x="1198" y="618"/>
                      </a:lnTo>
                      <a:lnTo>
                        <a:pt x="1199" y="619"/>
                      </a:lnTo>
                      <a:lnTo>
                        <a:pt x="1197" y="622"/>
                      </a:lnTo>
                      <a:lnTo>
                        <a:pt x="1196" y="623"/>
                      </a:lnTo>
                      <a:lnTo>
                        <a:pt x="1195" y="624"/>
                      </a:lnTo>
                      <a:lnTo>
                        <a:pt x="1192" y="626"/>
                      </a:lnTo>
                      <a:lnTo>
                        <a:pt x="1191" y="629"/>
                      </a:lnTo>
                      <a:lnTo>
                        <a:pt x="1191" y="630"/>
                      </a:lnTo>
                      <a:lnTo>
                        <a:pt x="1191" y="631"/>
                      </a:lnTo>
                      <a:lnTo>
                        <a:pt x="1190" y="631"/>
                      </a:lnTo>
                      <a:lnTo>
                        <a:pt x="1191" y="632"/>
                      </a:lnTo>
                      <a:lnTo>
                        <a:pt x="1196" y="630"/>
                      </a:lnTo>
                      <a:lnTo>
                        <a:pt x="1198" y="625"/>
                      </a:lnTo>
                      <a:lnTo>
                        <a:pt x="1199" y="626"/>
                      </a:lnTo>
                      <a:lnTo>
                        <a:pt x="1200" y="629"/>
                      </a:lnTo>
                      <a:lnTo>
                        <a:pt x="1199" y="630"/>
                      </a:lnTo>
                      <a:lnTo>
                        <a:pt x="1199" y="631"/>
                      </a:lnTo>
                      <a:lnTo>
                        <a:pt x="1195" y="637"/>
                      </a:lnTo>
                      <a:lnTo>
                        <a:pt x="1191" y="645"/>
                      </a:lnTo>
                      <a:lnTo>
                        <a:pt x="1190" y="646"/>
                      </a:lnTo>
                      <a:lnTo>
                        <a:pt x="1189" y="648"/>
                      </a:lnTo>
                      <a:lnTo>
                        <a:pt x="1186" y="649"/>
                      </a:lnTo>
                      <a:lnTo>
                        <a:pt x="1186" y="649"/>
                      </a:lnTo>
                      <a:lnTo>
                        <a:pt x="1185" y="648"/>
                      </a:lnTo>
                      <a:lnTo>
                        <a:pt x="1183" y="648"/>
                      </a:lnTo>
                      <a:lnTo>
                        <a:pt x="1183" y="648"/>
                      </a:lnTo>
                      <a:close/>
                      <a:moveTo>
                        <a:pt x="1051" y="637"/>
                      </a:moveTo>
                      <a:lnTo>
                        <a:pt x="1049" y="638"/>
                      </a:lnTo>
                      <a:lnTo>
                        <a:pt x="1048" y="638"/>
                      </a:lnTo>
                      <a:lnTo>
                        <a:pt x="1048" y="637"/>
                      </a:lnTo>
                      <a:lnTo>
                        <a:pt x="1048" y="638"/>
                      </a:lnTo>
                      <a:lnTo>
                        <a:pt x="1049" y="638"/>
                      </a:lnTo>
                      <a:lnTo>
                        <a:pt x="1051" y="637"/>
                      </a:lnTo>
                      <a:lnTo>
                        <a:pt x="1051" y="637"/>
                      </a:lnTo>
                      <a:close/>
                      <a:moveTo>
                        <a:pt x="1059" y="630"/>
                      </a:moveTo>
                      <a:lnTo>
                        <a:pt x="1057" y="631"/>
                      </a:lnTo>
                      <a:lnTo>
                        <a:pt x="1059" y="630"/>
                      </a:lnTo>
                      <a:lnTo>
                        <a:pt x="1059" y="630"/>
                      </a:lnTo>
                      <a:lnTo>
                        <a:pt x="1059" y="630"/>
                      </a:lnTo>
                      <a:close/>
                      <a:moveTo>
                        <a:pt x="1057" y="630"/>
                      </a:moveTo>
                      <a:lnTo>
                        <a:pt x="1050" y="635"/>
                      </a:lnTo>
                      <a:lnTo>
                        <a:pt x="1057" y="630"/>
                      </a:lnTo>
                      <a:lnTo>
                        <a:pt x="1059" y="629"/>
                      </a:lnTo>
                      <a:lnTo>
                        <a:pt x="1059" y="629"/>
                      </a:lnTo>
                      <a:lnTo>
                        <a:pt x="1057" y="630"/>
                      </a:lnTo>
                      <a:lnTo>
                        <a:pt x="1057" y="630"/>
                      </a:lnTo>
                      <a:close/>
                      <a:moveTo>
                        <a:pt x="71" y="615"/>
                      </a:moveTo>
                      <a:lnTo>
                        <a:pt x="69" y="616"/>
                      </a:lnTo>
                      <a:lnTo>
                        <a:pt x="68" y="615"/>
                      </a:lnTo>
                      <a:lnTo>
                        <a:pt x="63" y="611"/>
                      </a:lnTo>
                      <a:lnTo>
                        <a:pt x="61" y="611"/>
                      </a:lnTo>
                      <a:lnTo>
                        <a:pt x="58" y="611"/>
                      </a:lnTo>
                      <a:lnTo>
                        <a:pt x="56" y="609"/>
                      </a:lnTo>
                      <a:lnTo>
                        <a:pt x="55" y="608"/>
                      </a:lnTo>
                      <a:lnTo>
                        <a:pt x="52" y="608"/>
                      </a:lnTo>
                      <a:lnTo>
                        <a:pt x="51" y="605"/>
                      </a:lnTo>
                      <a:lnTo>
                        <a:pt x="56" y="603"/>
                      </a:lnTo>
                      <a:lnTo>
                        <a:pt x="56" y="602"/>
                      </a:lnTo>
                      <a:lnTo>
                        <a:pt x="54" y="602"/>
                      </a:lnTo>
                      <a:lnTo>
                        <a:pt x="52" y="602"/>
                      </a:lnTo>
                      <a:lnTo>
                        <a:pt x="51" y="602"/>
                      </a:lnTo>
                      <a:lnTo>
                        <a:pt x="48" y="603"/>
                      </a:lnTo>
                      <a:lnTo>
                        <a:pt x="45" y="600"/>
                      </a:lnTo>
                      <a:lnTo>
                        <a:pt x="44" y="599"/>
                      </a:lnTo>
                      <a:lnTo>
                        <a:pt x="47" y="598"/>
                      </a:lnTo>
                      <a:lnTo>
                        <a:pt x="48" y="597"/>
                      </a:lnTo>
                      <a:lnTo>
                        <a:pt x="48" y="596"/>
                      </a:lnTo>
                      <a:lnTo>
                        <a:pt x="44" y="597"/>
                      </a:lnTo>
                      <a:lnTo>
                        <a:pt x="45" y="593"/>
                      </a:lnTo>
                      <a:lnTo>
                        <a:pt x="42" y="595"/>
                      </a:lnTo>
                      <a:lnTo>
                        <a:pt x="40" y="593"/>
                      </a:lnTo>
                      <a:lnTo>
                        <a:pt x="38" y="595"/>
                      </a:lnTo>
                      <a:lnTo>
                        <a:pt x="38" y="593"/>
                      </a:lnTo>
                      <a:lnTo>
                        <a:pt x="41" y="590"/>
                      </a:lnTo>
                      <a:lnTo>
                        <a:pt x="43" y="589"/>
                      </a:lnTo>
                      <a:lnTo>
                        <a:pt x="43" y="588"/>
                      </a:lnTo>
                      <a:lnTo>
                        <a:pt x="42" y="588"/>
                      </a:lnTo>
                      <a:lnTo>
                        <a:pt x="43" y="584"/>
                      </a:lnTo>
                      <a:lnTo>
                        <a:pt x="41" y="584"/>
                      </a:lnTo>
                      <a:lnTo>
                        <a:pt x="37" y="584"/>
                      </a:lnTo>
                      <a:lnTo>
                        <a:pt x="35" y="584"/>
                      </a:lnTo>
                      <a:lnTo>
                        <a:pt x="35" y="583"/>
                      </a:lnTo>
                      <a:lnTo>
                        <a:pt x="36" y="582"/>
                      </a:lnTo>
                      <a:lnTo>
                        <a:pt x="37" y="580"/>
                      </a:lnTo>
                      <a:lnTo>
                        <a:pt x="36" y="579"/>
                      </a:lnTo>
                      <a:lnTo>
                        <a:pt x="32" y="582"/>
                      </a:lnTo>
                      <a:lnTo>
                        <a:pt x="32" y="579"/>
                      </a:lnTo>
                      <a:lnTo>
                        <a:pt x="30" y="578"/>
                      </a:lnTo>
                      <a:lnTo>
                        <a:pt x="27" y="579"/>
                      </a:lnTo>
                      <a:lnTo>
                        <a:pt x="27" y="579"/>
                      </a:lnTo>
                      <a:lnTo>
                        <a:pt x="30" y="577"/>
                      </a:lnTo>
                      <a:lnTo>
                        <a:pt x="30" y="576"/>
                      </a:lnTo>
                      <a:lnTo>
                        <a:pt x="28" y="575"/>
                      </a:lnTo>
                      <a:lnTo>
                        <a:pt x="30" y="573"/>
                      </a:lnTo>
                      <a:lnTo>
                        <a:pt x="31" y="572"/>
                      </a:lnTo>
                      <a:lnTo>
                        <a:pt x="31" y="572"/>
                      </a:lnTo>
                      <a:lnTo>
                        <a:pt x="29" y="572"/>
                      </a:lnTo>
                      <a:lnTo>
                        <a:pt x="28" y="569"/>
                      </a:lnTo>
                      <a:lnTo>
                        <a:pt x="29" y="568"/>
                      </a:lnTo>
                      <a:lnTo>
                        <a:pt x="28" y="566"/>
                      </a:lnTo>
                      <a:lnTo>
                        <a:pt x="29" y="565"/>
                      </a:lnTo>
                      <a:lnTo>
                        <a:pt x="32" y="564"/>
                      </a:lnTo>
                      <a:lnTo>
                        <a:pt x="36" y="564"/>
                      </a:lnTo>
                      <a:lnTo>
                        <a:pt x="42" y="565"/>
                      </a:lnTo>
                      <a:lnTo>
                        <a:pt x="45" y="570"/>
                      </a:lnTo>
                      <a:lnTo>
                        <a:pt x="51" y="571"/>
                      </a:lnTo>
                      <a:lnTo>
                        <a:pt x="52" y="572"/>
                      </a:lnTo>
                      <a:lnTo>
                        <a:pt x="60" y="572"/>
                      </a:lnTo>
                      <a:lnTo>
                        <a:pt x="61" y="573"/>
                      </a:lnTo>
                      <a:lnTo>
                        <a:pt x="68" y="575"/>
                      </a:lnTo>
                      <a:lnTo>
                        <a:pt x="68" y="576"/>
                      </a:lnTo>
                      <a:lnTo>
                        <a:pt x="67" y="578"/>
                      </a:lnTo>
                      <a:lnTo>
                        <a:pt x="67" y="584"/>
                      </a:lnTo>
                      <a:lnTo>
                        <a:pt x="68" y="588"/>
                      </a:lnTo>
                      <a:lnTo>
                        <a:pt x="67" y="589"/>
                      </a:lnTo>
                      <a:lnTo>
                        <a:pt x="67" y="592"/>
                      </a:lnTo>
                      <a:lnTo>
                        <a:pt x="76" y="597"/>
                      </a:lnTo>
                      <a:lnTo>
                        <a:pt x="77" y="599"/>
                      </a:lnTo>
                      <a:lnTo>
                        <a:pt x="77" y="603"/>
                      </a:lnTo>
                      <a:lnTo>
                        <a:pt x="77" y="605"/>
                      </a:lnTo>
                      <a:lnTo>
                        <a:pt x="76" y="608"/>
                      </a:lnTo>
                      <a:lnTo>
                        <a:pt x="76" y="609"/>
                      </a:lnTo>
                      <a:lnTo>
                        <a:pt x="77" y="608"/>
                      </a:lnTo>
                      <a:lnTo>
                        <a:pt x="77" y="608"/>
                      </a:lnTo>
                      <a:lnTo>
                        <a:pt x="77" y="608"/>
                      </a:lnTo>
                      <a:lnTo>
                        <a:pt x="77" y="606"/>
                      </a:lnTo>
                      <a:lnTo>
                        <a:pt x="78" y="606"/>
                      </a:lnTo>
                      <a:lnTo>
                        <a:pt x="78" y="606"/>
                      </a:lnTo>
                      <a:lnTo>
                        <a:pt x="78" y="608"/>
                      </a:lnTo>
                      <a:lnTo>
                        <a:pt x="77" y="608"/>
                      </a:lnTo>
                      <a:lnTo>
                        <a:pt x="77" y="609"/>
                      </a:lnTo>
                      <a:lnTo>
                        <a:pt x="78" y="609"/>
                      </a:lnTo>
                      <a:lnTo>
                        <a:pt x="77" y="611"/>
                      </a:lnTo>
                      <a:lnTo>
                        <a:pt x="77" y="611"/>
                      </a:lnTo>
                      <a:lnTo>
                        <a:pt x="78" y="612"/>
                      </a:lnTo>
                      <a:lnTo>
                        <a:pt x="77" y="613"/>
                      </a:lnTo>
                      <a:lnTo>
                        <a:pt x="77" y="613"/>
                      </a:lnTo>
                      <a:lnTo>
                        <a:pt x="76" y="613"/>
                      </a:lnTo>
                      <a:lnTo>
                        <a:pt x="75" y="613"/>
                      </a:lnTo>
                      <a:lnTo>
                        <a:pt x="74" y="613"/>
                      </a:lnTo>
                      <a:lnTo>
                        <a:pt x="71" y="615"/>
                      </a:lnTo>
                      <a:lnTo>
                        <a:pt x="71" y="615"/>
                      </a:lnTo>
                      <a:close/>
                      <a:moveTo>
                        <a:pt x="80" y="604"/>
                      </a:moveTo>
                      <a:lnTo>
                        <a:pt x="78" y="606"/>
                      </a:lnTo>
                      <a:lnTo>
                        <a:pt x="78" y="606"/>
                      </a:lnTo>
                      <a:lnTo>
                        <a:pt x="77" y="605"/>
                      </a:lnTo>
                      <a:lnTo>
                        <a:pt x="78" y="603"/>
                      </a:lnTo>
                      <a:lnTo>
                        <a:pt x="78" y="603"/>
                      </a:lnTo>
                      <a:lnTo>
                        <a:pt x="80" y="604"/>
                      </a:lnTo>
                      <a:lnTo>
                        <a:pt x="80" y="604"/>
                      </a:lnTo>
                      <a:close/>
                      <a:moveTo>
                        <a:pt x="78" y="590"/>
                      </a:moveTo>
                      <a:lnTo>
                        <a:pt x="77" y="591"/>
                      </a:lnTo>
                      <a:lnTo>
                        <a:pt x="74" y="590"/>
                      </a:lnTo>
                      <a:lnTo>
                        <a:pt x="74" y="588"/>
                      </a:lnTo>
                      <a:lnTo>
                        <a:pt x="72" y="586"/>
                      </a:lnTo>
                      <a:lnTo>
                        <a:pt x="74" y="585"/>
                      </a:lnTo>
                      <a:lnTo>
                        <a:pt x="74" y="585"/>
                      </a:lnTo>
                      <a:lnTo>
                        <a:pt x="74" y="586"/>
                      </a:lnTo>
                      <a:lnTo>
                        <a:pt x="77" y="588"/>
                      </a:lnTo>
                      <a:lnTo>
                        <a:pt x="77" y="589"/>
                      </a:lnTo>
                      <a:lnTo>
                        <a:pt x="78" y="590"/>
                      </a:lnTo>
                      <a:lnTo>
                        <a:pt x="78" y="590"/>
                      </a:lnTo>
                      <a:close/>
                      <a:moveTo>
                        <a:pt x="40" y="590"/>
                      </a:moveTo>
                      <a:lnTo>
                        <a:pt x="38" y="590"/>
                      </a:lnTo>
                      <a:lnTo>
                        <a:pt x="37" y="589"/>
                      </a:lnTo>
                      <a:lnTo>
                        <a:pt x="36" y="588"/>
                      </a:lnTo>
                      <a:lnTo>
                        <a:pt x="37" y="586"/>
                      </a:lnTo>
                      <a:lnTo>
                        <a:pt x="37" y="586"/>
                      </a:lnTo>
                      <a:lnTo>
                        <a:pt x="36" y="585"/>
                      </a:lnTo>
                      <a:lnTo>
                        <a:pt x="37" y="585"/>
                      </a:lnTo>
                      <a:lnTo>
                        <a:pt x="41" y="584"/>
                      </a:lnTo>
                      <a:lnTo>
                        <a:pt x="41" y="585"/>
                      </a:lnTo>
                      <a:lnTo>
                        <a:pt x="40" y="590"/>
                      </a:lnTo>
                      <a:lnTo>
                        <a:pt x="40" y="590"/>
                      </a:lnTo>
                      <a:close/>
                      <a:moveTo>
                        <a:pt x="1062" y="600"/>
                      </a:moveTo>
                      <a:lnTo>
                        <a:pt x="1053" y="602"/>
                      </a:lnTo>
                      <a:lnTo>
                        <a:pt x="1049" y="600"/>
                      </a:lnTo>
                      <a:lnTo>
                        <a:pt x="1043" y="599"/>
                      </a:lnTo>
                      <a:lnTo>
                        <a:pt x="1033" y="595"/>
                      </a:lnTo>
                      <a:lnTo>
                        <a:pt x="1033" y="593"/>
                      </a:lnTo>
                      <a:lnTo>
                        <a:pt x="1033" y="592"/>
                      </a:lnTo>
                      <a:lnTo>
                        <a:pt x="1031" y="590"/>
                      </a:lnTo>
                      <a:lnTo>
                        <a:pt x="1022" y="585"/>
                      </a:lnTo>
                      <a:lnTo>
                        <a:pt x="1028" y="584"/>
                      </a:lnTo>
                      <a:lnTo>
                        <a:pt x="1045" y="588"/>
                      </a:lnTo>
                      <a:lnTo>
                        <a:pt x="1052" y="591"/>
                      </a:lnTo>
                      <a:lnTo>
                        <a:pt x="1056" y="595"/>
                      </a:lnTo>
                      <a:lnTo>
                        <a:pt x="1059" y="596"/>
                      </a:lnTo>
                      <a:lnTo>
                        <a:pt x="1062" y="599"/>
                      </a:lnTo>
                      <a:lnTo>
                        <a:pt x="1062" y="600"/>
                      </a:lnTo>
                      <a:lnTo>
                        <a:pt x="1062" y="600"/>
                      </a:lnTo>
                      <a:close/>
                      <a:moveTo>
                        <a:pt x="72" y="580"/>
                      </a:moveTo>
                      <a:lnTo>
                        <a:pt x="71" y="582"/>
                      </a:lnTo>
                      <a:lnTo>
                        <a:pt x="71" y="579"/>
                      </a:lnTo>
                      <a:lnTo>
                        <a:pt x="75" y="576"/>
                      </a:lnTo>
                      <a:lnTo>
                        <a:pt x="77" y="576"/>
                      </a:lnTo>
                      <a:lnTo>
                        <a:pt x="77" y="577"/>
                      </a:lnTo>
                      <a:lnTo>
                        <a:pt x="77" y="578"/>
                      </a:lnTo>
                      <a:lnTo>
                        <a:pt x="76" y="578"/>
                      </a:lnTo>
                      <a:lnTo>
                        <a:pt x="74" y="579"/>
                      </a:lnTo>
                      <a:lnTo>
                        <a:pt x="72" y="580"/>
                      </a:lnTo>
                      <a:lnTo>
                        <a:pt x="72" y="580"/>
                      </a:lnTo>
                      <a:close/>
                      <a:moveTo>
                        <a:pt x="69" y="580"/>
                      </a:moveTo>
                      <a:lnTo>
                        <a:pt x="69" y="582"/>
                      </a:lnTo>
                      <a:lnTo>
                        <a:pt x="68" y="578"/>
                      </a:lnTo>
                      <a:lnTo>
                        <a:pt x="69" y="576"/>
                      </a:lnTo>
                      <a:lnTo>
                        <a:pt x="71" y="575"/>
                      </a:lnTo>
                      <a:lnTo>
                        <a:pt x="71" y="577"/>
                      </a:lnTo>
                      <a:lnTo>
                        <a:pt x="69" y="580"/>
                      </a:lnTo>
                      <a:lnTo>
                        <a:pt x="69" y="580"/>
                      </a:lnTo>
                      <a:close/>
                      <a:moveTo>
                        <a:pt x="60" y="569"/>
                      </a:moveTo>
                      <a:lnTo>
                        <a:pt x="60" y="569"/>
                      </a:lnTo>
                      <a:lnTo>
                        <a:pt x="55" y="569"/>
                      </a:lnTo>
                      <a:lnTo>
                        <a:pt x="55" y="568"/>
                      </a:lnTo>
                      <a:lnTo>
                        <a:pt x="57" y="566"/>
                      </a:lnTo>
                      <a:lnTo>
                        <a:pt x="61" y="565"/>
                      </a:lnTo>
                      <a:lnTo>
                        <a:pt x="62" y="565"/>
                      </a:lnTo>
                      <a:lnTo>
                        <a:pt x="62" y="566"/>
                      </a:lnTo>
                      <a:lnTo>
                        <a:pt x="60" y="569"/>
                      </a:lnTo>
                      <a:lnTo>
                        <a:pt x="60" y="569"/>
                      </a:lnTo>
                      <a:close/>
                      <a:moveTo>
                        <a:pt x="494" y="578"/>
                      </a:moveTo>
                      <a:lnTo>
                        <a:pt x="497" y="577"/>
                      </a:lnTo>
                      <a:lnTo>
                        <a:pt x="499" y="576"/>
                      </a:lnTo>
                      <a:lnTo>
                        <a:pt x="501" y="575"/>
                      </a:lnTo>
                      <a:lnTo>
                        <a:pt x="502" y="573"/>
                      </a:lnTo>
                      <a:lnTo>
                        <a:pt x="502" y="571"/>
                      </a:lnTo>
                      <a:lnTo>
                        <a:pt x="501" y="571"/>
                      </a:lnTo>
                      <a:lnTo>
                        <a:pt x="502" y="569"/>
                      </a:lnTo>
                      <a:lnTo>
                        <a:pt x="499" y="565"/>
                      </a:lnTo>
                      <a:lnTo>
                        <a:pt x="497" y="564"/>
                      </a:lnTo>
                      <a:lnTo>
                        <a:pt x="496" y="564"/>
                      </a:lnTo>
                      <a:lnTo>
                        <a:pt x="496" y="563"/>
                      </a:lnTo>
                      <a:lnTo>
                        <a:pt x="498" y="559"/>
                      </a:lnTo>
                      <a:lnTo>
                        <a:pt x="498" y="559"/>
                      </a:lnTo>
                      <a:lnTo>
                        <a:pt x="499" y="558"/>
                      </a:lnTo>
                      <a:lnTo>
                        <a:pt x="501" y="558"/>
                      </a:lnTo>
                      <a:lnTo>
                        <a:pt x="502" y="557"/>
                      </a:lnTo>
                      <a:lnTo>
                        <a:pt x="502" y="556"/>
                      </a:lnTo>
                      <a:lnTo>
                        <a:pt x="501" y="556"/>
                      </a:lnTo>
                      <a:lnTo>
                        <a:pt x="499" y="555"/>
                      </a:lnTo>
                      <a:lnTo>
                        <a:pt x="503" y="550"/>
                      </a:lnTo>
                      <a:lnTo>
                        <a:pt x="503" y="548"/>
                      </a:lnTo>
                      <a:lnTo>
                        <a:pt x="502" y="548"/>
                      </a:lnTo>
                      <a:lnTo>
                        <a:pt x="501" y="548"/>
                      </a:lnTo>
                      <a:lnTo>
                        <a:pt x="501" y="549"/>
                      </a:lnTo>
                      <a:lnTo>
                        <a:pt x="497" y="553"/>
                      </a:lnTo>
                      <a:lnTo>
                        <a:pt x="499" y="549"/>
                      </a:lnTo>
                      <a:lnTo>
                        <a:pt x="498" y="548"/>
                      </a:lnTo>
                      <a:lnTo>
                        <a:pt x="497" y="549"/>
                      </a:lnTo>
                      <a:lnTo>
                        <a:pt x="496" y="549"/>
                      </a:lnTo>
                      <a:lnTo>
                        <a:pt x="496" y="546"/>
                      </a:lnTo>
                      <a:lnTo>
                        <a:pt x="494" y="545"/>
                      </a:lnTo>
                      <a:lnTo>
                        <a:pt x="492" y="546"/>
                      </a:lnTo>
                      <a:lnTo>
                        <a:pt x="491" y="549"/>
                      </a:lnTo>
                      <a:lnTo>
                        <a:pt x="490" y="551"/>
                      </a:lnTo>
                      <a:lnTo>
                        <a:pt x="490" y="551"/>
                      </a:lnTo>
                      <a:lnTo>
                        <a:pt x="491" y="551"/>
                      </a:lnTo>
                      <a:lnTo>
                        <a:pt x="492" y="550"/>
                      </a:lnTo>
                      <a:lnTo>
                        <a:pt x="494" y="549"/>
                      </a:lnTo>
                      <a:lnTo>
                        <a:pt x="494" y="549"/>
                      </a:lnTo>
                      <a:lnTo>
                        <a:pt x="495" y="551"/>
                      </a:lnTo>
                      <a:lnTo>
                        <a:pt x="496" y="551"/>
                      </a:lnTo>
                      <a:lnTo>
                        <a:pt x="495" y="555"/>
                      </a:lnTo>
                      <a:lnTo>
                        <a:pt x="495" y="557"/>
                      </a:lnTo>
                      <a:lnTo>
                        <a:pt x="495" y="558"/>
                      </a:lnTo>
                      <a:lnTo>
                        <a:pt x="496" y="557"/>
                      </a:lnTo>
                      <a:lnTo>
                        <a:pt x="496" y="557"/>
                      </a:lnTo>
                      <a:lnTo>
                        <a:pt x="495" y="562"/>
                      </a:lnTo>
                      <a:lnTo>
                        <a:pt x="494" y="563"/>
                      </a:lnTo>
                      <a:lnTo>
                        <a:pt x="492" y="564"/>
                      </a:lnTo>
                      <a:lnTo>
                        <a:pt x="494" y="564"/>
                      </a:lnTo>
                      <a:lnTo>
                        <a:pt x="491" y="575"/>
                      </a:lnTo>
                      <a:lnTo>
                        <a:pt x="491" y="576"/>
                      </a:lnTo>
                      <a:lnTo>
                        <a:pt x="491" y="577"/>
                      </a:lnTo>
                      <a:lnTo>
                        <a:pt x="491" y="578"/>
                      </a:lnTo>
                      <a:lnTo>
                        <a:pt x="494" y="578"/>
                      </a:lnTo>
                      <a:lnTo>
                        <a:pt x="494" y="578"/>
                      </a:lnTo>
                      <a:close/>
                      <a:moveTo>
                        <a:pt x="522" y="573"/>
                      </a:moveTo>
                      <a:lnTo>
                        <a:pt x="524" y="573"/>
                      </a:lnTo>
                      <a:lnTo>
                        <a:pt x="526" y="568"/>
                      </a:lnTo>
                      <a:lnTo>
                        <a:pt x="528" y="566"/>
                      </a:lnTo>
                      <a:lnTo>
                        <a:pt x="528" y="568"/>
                      </a:lnTo>
                      <a:lnTo>
                        <a:pt x="529" y="569"/>
                      </a:lnTo>
                      <a:lnTo>
                        <a:pt x="530" y="569"/>
                      </a:lnTo>
                      <a:lnTo>
                        <a:pt x="531" y="568"/>
                      </a:lnTo>
                      <a:lnTo>
                        <a:pt x="534" y="559"/>
                      </a:lnTo>
                      <a:lnTo>
                        <a:pt x="536" y="558"/>
                      </a:lnTo>
                      <a:lnTo>
                        <a:pt x="537" y="557"/>
                      </a:lnTo>
                      <a:lnTo>
                        <a:pt x="536" y="552"/>
                      </a:lnTo>
                      <a:lnTo>
                        <a:pt x="537" y="550"/>
                      </a:lnTo>
                      <a:lnTo>
                        <a:pt x="536" y="548"/>
                      </a:lnTo>
                      <a:lnTo>
                        <a:pt x="537" y="545"/>
                      </a:lnTo>
                      <a:lnTo>
                        <a:pt x="537" y="545"/>
                      </a:lnTo>
                      <a:lnTo>
                        <a:pt x="536" y="544"/>
                      </a:lnTo>
                      <a:lnTo>
                        <a:pt x="535" y="544"/>
                      </a:lnTo>
                      <a:lnTo>
                        <a:pt x="537" y="543"/>
                      </a:lnTo>
                      <a:lnTo>
                        <a:pt x="536" y="540"/>
                      </a:lnTo>
                      <a:lnTo>
                        <a:pt x="536" y="539"/>
                      </a:lnTo>
                      <a:lnTo>
                        <a:pt x="536" y="537"/>
                      </a:lnTo>
                      <a:lnTo>
                        <a:pt x="537" y="537"/>
                      </a:lnTo>
                      <a:lnTo>
                        <a:pt x="538" y="535"/>
                      </a:lnTo>
                      <a:lnTo>
                        <a:pt x="538" y="533"/>
                      </a:lnTo>
                      <a:lnTo>
                        <a:pt x="538" y="532"/>
                      </a:lnTo>
                      <a:lnTo>
                        <a:pt x="538" y="531"/>
                      </a:lnTo>
                      <a:lnTo>
                        <a:pt x="538" y="530"/>
                      </a:lnTo>
                      <a:lnTo>
                        <a:pt x="538" y="525"/>
                      </a:lnTo>
                      <a:lnTo>
                        <a:pt x="539" y="523"/>
                      </a:lnTo>
                      <a:lnTo>
                        <a:pt x="539" y="523"/>
                      </a:lnTo>
                      <a:lnTo>
                        <a:pt x="541" y="522"/>
                      </a:lnTo>
                      <a:lnTo>
                        <a:pt x="541" y="520"/>
                      </a:lnTo>
                      <a:lnTo>
                        <a:pt x="542" y="519"/>
                      </a:lnTo>
                      <a:lnTo>
                        <a:pt x="541" y="518"/>
                      </a:lnTo>
                      <a:lnTo>
                        <a:pt x="541" y="517"/>
                      </a:lnTo>
                      <a:lnTo>
                        <a:pt x="541" y="516"/>
                      </a:lnTo>
                      <a:lnTo>
                        <a:pt x="541" y="513"/>
                      </a:lnTo>
                      <a:lnTo>
                        <a:pt x="542" y="513"/>
                      </a:lnTo>
                      <a:lnTo>
                        <a:pt x="541" y="510"/>
                      </a:lnTo>
                      <a:lnTo>
                        <a:pt x="539" y="509"/>
                      </a:lnTo>
                      <a:lnTo>
                        <a:pt x="539" y="508"/>
                      </a:lnTo>
                      <a:lnTo>
                        <a:pt x="538" y="506"/>
                      </a:lnTo>
                      <a:lnTo>
                        <a:pt x="535" y="505"/>
                      </a:lnTo>
                      <a:lnTo>
                        <a:pt x="534" y="505"/>
                      </a:lnTo>
                      <a:lnTo>
                        <a:pt x="526" y="508"/>
                      </a:lnTo>
                      <a:lnTo>
                        <a:pt x="524" y="508"/>
                      </a:lnTo>
                      <a:lnTo>
                        <a:pt x="524" y="509"/>
                      </a:lnTo>
                      <a:lnTo>
                        <a:pt x="523" y="510"/>
                      </a:lnTo>
                      <a:lnTo>
                        <a:pt x="518" y="513"/>
                      </a:lnTo>
                      <a:lnTo>
                        <a:pt x="517" y="515"/>
                      </a:lnTo>
                      <a:lnTo>
                        <a:pt x="515" y="518"/>
                      </a:lnTo>
                      <a:lnTo>
                        <a:pt x="514" y="518"/>
                      </a:lnTo>
                      <a:lnTo>
                        <a:pt x="512" y="518"/>
                      </a:lnTo>
                      <a:lnTo>
                        <a:pt x="511" y="518"/>
                      </a:lnTo>
                      <a:lnTo>
                        <a:pt x="514" y="516"/>
                      </a:lnTo>
                      <a:lnTo>
                        <a:pt x="514" y="515"/>
                      </a:lnTo>
                      <a:lnTo>
                        <a:pt x="509" y="517"/>
                      </a:lnTo>
                      <a:lnTo>
                        <a:pt x="510" y="516"/>
                      </a:lnTo>
                      <a:lnTo>
                        <a:pt x="509" y="516"/>
                      </a:lnTo>
                      <a:lnTo>
                        <a:pt x="509" y="516"/>
                      </a:lnTo>
                      <a:lnTo>
                        <a:pt x="508" y="516"/>
                      </a:lnTo>
                      <a:lnTo>
                        <a:pt x="505" y="517"/>
                      </a:lnTo>
                      <a:lnTo>
                        <a:pt x="505" y="518"/>
                      </a:lnTo>
                      <a:lnTo>
                        <a:pt x="504" y="518"/>
                      </a:lnTo>
                      <a:lnTo>
                        <a:pt x="505" y="516"/>
                      </a:lnTo>
                      <a:lnTo>
                        <a:pt x="506" y="513"/>
                      </a:lnTo>
                      <a:lnTo>
                        <a:pt x="505" y="511"/>
                      </a:lnTo>
                      <a:lnTo>
                        <a:pt x="505" y="510"/>
                      </a:lnTo>
                      <a:lnTo>
                        <a:pt x="504" y="510"/>
                      </a:lnTo>
                      <a:lnTo>
                        <a:pt x="502" y="510"/>
                      </a:lnTo>
                      <a:lnTo>
                        <a:pt x="498" y="510"/>
                      </a:lnTo>
                      <a:lnTo>
                        <a:pt x="497" y="510"/>
                      </a:lnTo>
                      <a:lnTo>
                        <a:pt x="496" y="511"/>
                      </a:lnTo>
                      <a:lnTo>
                        <a:pt x="496" y="512"/>
                      </a:lnTo>
                      <a:lnTo>
                        <a:pt x="494" y="512"/>
                      </a:lnTo>
                      <a:lnTo>
                        <a:pt x="492" y="512"/>
                      </a:lnTo>
                      <a:lnTo>
                        <a:pt x="491" y="513"/>
                      </a:lnTo>
                      <a:lnTo>
                        <a:pt x="491" y="513"/>
                      </a:lnTo>
                      <a:lnTo>
                        <a:pt x="495" y="516"/>
                      </a:lnTo>
                      <a:lnTo>
                        <a:pt x="496" y="517"/>
                      </a:lnTo>
                      <a:lnTo>
                        <a:pt x="497" y="517"/>
                      </a:lnTo>
                      <a:lnTo>
                        <a:pt x="497" y="519"/>
                      </a:lnTo>
                      <a:lnTo>
                        <a:pt x="498" y="519"/>
                      </a:lnTo>
                      <a:lnTo>
                        <a:pt x="501" y="519"/>
                      </a:lnTo>
                      <a:lnTo>
                        <a:pt x="501" y="520"/>
                      </a:lnTo>
                      <a:lnTo>
                        <a:pt x="503" y="520"/>
                      </a:lnTo>
                      <a:lnTo>
                        <a:pt x="503" y="520"/>
                      </a:lnTo>
                      <a:lnTo>
                        <a:pt x="505" y="519"/>
                      </a:lnTo>
                      <a:lnTo>
                        <a:pt x="505" y="519"/>
                      </a:lnTo>
                      <a:lnTo>
                        <a:pt x="508" y="518"/>
                      </a:lnTo>
                      <a:lnTo>
                        <a:pt x="508" y="522"/>
                      </a:lnTo>
                      <a:lnTo>
                        <a:pt x="509" y="520"/>
                      </a:lnTo>
                      <a:lnTo>
                        <a:pt x="510" y="519"/>
                      </a:lnTo>
                      <a:lnTo>
                        <a:pt x="511" y="519"/>
                      </a:lnTo>
                      <a:lnTo>
                        <a:pt x="512" y="519"/>
                      </a:lnTo>
                      <a:lnTo>
                        <a:pt x="515" y="519"/>
                      </a:lnTo>
                      <a:lnTo>
                        <a:pt x="515" y="522"/>
                      </a:lnTo>
                      <a:lnTo>
                        <a:pt x="517" y="522"/>
                      </a:lnTo>
                      <a:lnTo>
                        <a:pt x="518" y="522"/>
                      </a:lnTo>
                      <a:lnTo>
                        <a:pt x="521" y="520"/>
                      </a:lnTo>
                      <a:lnTo>
                        <a:pt x="524" y="522"/>
                      </a:lnTo>
                      <a:lnTo>
                        <a:pt x="524" y="522"/>
                      </a:lnTo>
                      <a:lnTo>
                        <a:pt x="516" y="523"/>
                      </a:lnTo>
                      <a:lnTo>
                        <a:pt x="516" y="524"/>
                      </a:lnTo>
                      <a:lnTo>
                        <a:pt x="515" y="528"/>
                      </a:lnTo>
                      <a:lnTo>
                        <a:pt x="515" y="529"/>
                      </a:lnTo>
                      <a:lnTo>
                        <a:pt x="517" y="532"/>
                      </a:lnTo>
                      <a:lnTo>
                        <a:pt x="516" y="535"/>
                      </a:lnTo>
                      <a:lnTo>
                        <a:pt x="517" y="536"/>
                      </a:lnTo>
                      <a:lnTo>
                        <a:pt x="518" y="536"/>
                      </a:lnTo>
                      <a:lnTo>
                        <a:pt x="519" y="538"/>
                      </a:lnTo>
                      <a:lnTo>
                        <a:pt x="518" y="539"/>
                      </a:lnTo>
                      <a:lnTo>
                        <a:pt x="519" y="540"/>
                      </a:lnTo>
                      <a:lnTo>
                        <a:pt x="518" y="543"/>
                      </a:lnTo>
                      <a:lnTo>
                        <a:pt x="521" y="544"/>
                      </a:lnTo>
                      <a:lnTo>
                        <a:pt x="525" y="539"/>
                      </a:lnTo>
                      <a:lnTo>
                        <a:pt x="525" y="539"/>
                      </a:lnTo>
                      <a:lnTo>
                        <a:pt x="529" y="539"/>
                      </a:lnTo>
                      <a:lnTo>
                        <a:pt x="525" y="542"/>
                      </a:lnTo>
                      <a:lnTo>
                        <a:pt x="524" y="543"/>
                      </a:lnTo>
                      <a:lnTo>
                        <a:pt x="525" y="543"/>
                      </a:lnTo>
                      <a:lnTo>
                        <a:pt x="529" y="542"/>
                      </a:lnTo>
                      <a:lnTo>
                        <a:pt x="530" y="542"/>
                      </a:lnTo>
                      <a:lnTo>
                        <a:pt x="529" y="545"/>
                      </a:lnTo>
                      <a:lnTo>
                        <a:pt x="526" y="549"/>
                      </a:lnTo>
                      <a:lnTo>
                        <a:pt x="524" y="552"/>
                      </a:lnTo>
                      <a:lnTo>
                        <a:pt x="524" y="553"/>
                      </a:lnTo>
                      <a:lnTo>
                        <a:pt x="525" y="552"/>
                      </a:lnTo>
                      <a:lnTo>
                        <a:pt x="529" y="550"/>
                      </a:lnTo>
                      <a:lnTo>
                        <a:pt x="532" y="548"/>
                      </a:lnTo>
                      <a:lnTo>
                        <a:pt x="534" y="548"/>
                      </a:lnTo>
                      <a:lnTo>
                        <a:pt x="534" y="550"/>
                      </a:lnTo>
                      <a:lnTo>
                        <a:pt x="534" y="551"/>
                      </a:lnTo>
                      <a:lnTo>
                        <a:pt x="529" y="553"/>
                      </a:lnTo>
                      <a:lnTo>
                        <a:pt x="525" y="558"/>
                      </a:lnTo>
                      <a:lnTo>
                        <a:pt x="529" y="557"/>
                      </a:lnTo>
                      <a:lnTo>
                        <a:pt x="528" y="557"/>
                      </a:lnTo>
                      <a:lnTo>
                        <a:pt x="530" y="556"/>
                      </a:lnTo>
                      <a:lnTo>
                        <a:pt x="531" y="555"/>
                      </a:lnTo>
                      <a:lnTo>
                        <a:pt x="534" y="555"/>
                      </a:lnTo>
                      <a:lnTo>
                        <a:pt x="530" y="557"/>
                      </a:lnTo>
                      <a:lnTo>
                        <a:pt x="523" y="563"/>
                      </a:lnTo>
                      <a:lnTo>
                        <a:pt x="518" y="571"/>
                      </a:lnTo>
                      <a:lnTo>
                        <a:pt x="518" y="573"/>
                      </a:lnTo>
                      <a:lnTo>
                        <a:pt x="522" y="573"/>
                      </a:lnTo>
                      <a:lnTo>
                        <a:pt x="522" y="573"/>
                      </a:lnTo>
                      <a:close/>
                      <a:moveTo>
                        <a:pt x="47" y="553"/>
                      </a:moveTo>
                      <a:lnTo>
                        <a:pt x="45" y="553"/>
                      </a:lnTo>
                      <a:lnTo>
                        <a:pt x="43" y="552"/>
                      </a:lnTo>
                      <a:lnTo>
                        <a:pt x="45" y="549"/>
                      </a:lnTo>
                      <a:lnTo>
                        <a:pt x="48" y="548"/>
                      </a:lnTo>
                      <a:lnTo>
                        <a:pt x="48" y="548"/>
                      </a:lnTo>
                      <a:lnTo>
                        <a:pt x="48" y="550"/>
                      </a:lnTo>
                      <a:lnTo>
                        <a:pt x="47" y="553"/>
                      </a:lnTo>
                      <a:lnTo>
                        <a:pt x="47" y="553"/>
                      </a:lnTo>
                      <a:close/>
                      <a:moveTo>
                        <a:pt x="486" y="550"/>
                      </a:moveTo>
                      <a:lnTo>
                        <a:pt x="489" y="550"/>
                      </a:lnTo>
                      <a:lnTo>
                        <a:pt x="491" y="544"/>
                      </a:lnTo>
                      <a:lnTo>
                        <a:pt x="489" y="546"/>
                      </a:lnTo>
                      <a:lnTo>
                        <a:pt x="489" y="546"/>
                      </a:lnTo>
                      <a:lnTo>
                        <a:pt x="490" y="544"/>
                      </a:lnTo>
                      <a:lnTo>
                        <a:pt x="491" y="542"/>
                      </a:lnTo>
                      <a:lnTo>
                        <a:pt x="492" y="540"/>
                      </a:lnTo>
                      <a:lnTo>
                        <a:pt x="491" y="540"/>
                      </a:lnTo>
                      <a:lnTo>
                        <a:pt x="494" y="537"/>
                      </a:lnTo>
                      <a:lnTo>
                        <a:pt x="497" y="535"/>
                      </a:lnTo>
                      <a:lnTo>
                        <a:pt x="501" y="531"/>
                      </a:lnTo>
                      <a:lnTo>
                        <a:pt x="503" y="525"/>
                      </a:lnTo>
                      <a:lnTo>
                        <a:pt x="504" y="524"/>
                      </a:lnTo>
                      <a:lnTo>
                        <a:pt x="503" y="523"/>
                      </a:lnTo>
                      <a:lnTo>
                        <a:pt x="502" y="523"/>
                      </a:lnTo>
                      <a:lnTo>
                        <a:pt x="501" y="522"/>
                      </a:lnTo>
                      <a:lnTo>
                        <a:pt x="499" y="520"/>
                      </a:lnTo>
                      <a:lnTo>
                        <a:pt x="496" y="520"/>
                      </a:lnTo>
                      <a:lnTo>
                        <a:pt x="495" y="519"/>
                      </a:lnTo>
                      <a:lnTo>
                        <a:pt x="494" y="519"/>
                      </a:lnTo>
                      <a:lnTo>
                        <a:pt x="491" y="520"/>
                      </a:lnTo>
                      <a:lnTo>
                        <a:pt x="486" y="520"/>
                      </a:lnTo>
                      <a:lnTo>
                        <a:pt x="488" y="519"/>
                      </a:lnTo>
                      <a:lnTo>
                        <a:pt x="485" y="519"/>
                      </a:lnTo>
                      <a:lnTo>
                        <a:pt x="484" y="519"/>
                      </a:lnTo>
                      <a:lnTo>
                        <a:pt x="484" y="522"/>
                      </a:lnTo>
                      <a:lnTo>
                        <a:pt x="485" y="522"/>
                      </a:lnTo>
                      <a:lnTo>
                        <a:pt x="484" y="523"/>
                      </a:lnTo>
                      <a:lnTo>
                        <a:pt x="483" y="524"/>
                      </a:lnTo>
                      <a:lnTo>
                        <a:pt x="483" y="525"/>
                      </a:lnTo>
                      <a:lnTo>
                        <a:pt x="484" y="525"/>
                      </a:lnTo>
                      <a:lnTo>
                        <a:pt x="483" y="526"/>
                      </a:lnTo>
                      <a:lnTo>
                        <a:pt x="484" y="526"/>
                      </a:lnTo>
                      <a:lnTo>
                        <a:pt x="484" y="528"/>
                      </a:lnTo>
                      <a:lnTo>
                        <a:pt x="486" y="526"/>
                      </a:lnTo>
                      <a:lnTo>
                        <a:pt x="488" y="525"/>
                      </a:lnTo>
                      <a:lnTo>
                        <a:pt x="489" y="524"/>
                      </a:lnTo>
                      <a:lnTo>
                        <a:pt x="489" y="523"/>
                      </a:lnTo>
                      <a:lnTo>
                        <a:pt x="489" y="523"/>
                      </a:lnTo>
                      <a:lnTo>
                        <a:pt x="489" y="523"/>
                      </a:lnTo>
                      <a:lnTo>
                        <a:pt x="490" y="522"/>
                      </a:lnTo>
                      <a:lnTo>
                        <a:pt x="492" y="523"/>
                      </a:lnTo>
                      <a:lnTo>
                        <a:pt x="491" y="525"/>
                      </a:lnTo>
                      <a:lnTo>
                        <a:pt x="490" y="528"/>
                      </a:lnTo>
                      <a:lnTo>
                        <a:pt x="490" y="529"/>
                      </a:lnTo>
                      <a:lnTo>
                        <a:pt x="491" y="530"/>
                      </a:lnTo>
                      <a:lnTo>
                        <a:pt x="491" y="529"/>
                      </a:lnTo>
                      <a:lnTo>
                        <a:pt x="494" y="525"/>
                      </a:lnTo>
                      <a:lnTo>
                        <a:pt x="495" y="524"/>
                      </a:lnTo>
                      <a:lnTo>
                        <a:pt x="495" y="524"/>
                      </a:lnTo>
                      <a:lnTo>
                        <a:pt x="496" y="525"/>
                      </a:lnTo>
                      <a:lnTo>
                        <a:pt x="496" y="526"/>
                      </a:lnTo>
                      <a:lnTo>
                        <a:pt x="495" y="529"/>
                      </a:lnTo>
                      <a:lnTo>
                        <a:pt x="494" y="532"/>
                      </a:lnTo>
                      <a:lnTo>
                        <a:pt x="489" y="536"/>
                      </a:lnTo>
                      <a:lnTo>
                        <a:pt x="488" y="538"/>
                      </a:lnTo>
                      <a:lnTo>
                        <a:pt x="485" y="542"/>
                      </a:lnTo>
                      <a:lnTo>
                        <a:pt x="485" y="543"/>
                      </a:lnTo>
                      <a:lnTo>
                        <a:pt x="484" y="544"/>
                      </a:lnTo>
                      <a:lnTo>
                        <a:pt x="484" y="548"/>
                      </a:lnTo>
                      <a:lnTo>
                        <a:pt x="485" y="546"/>
                      </a:lnTo>
                      <a:lnTo>
                        <a:pt x="489" y="542"/>
                      </a:lnTo>
                      <a:lnTo>
                        <a:pt x="489" y="542"/>
                      </a:lnTo>
                      <a:lnTo>
                        <a:pt x="488" y="545"/>
                      </a:lnTo>
                      <a:lnTo>
                        <a:pt x="485" y="549"/>
                      </a:lnTo>
                      <a:lnTo>
                        <a:pt x="486" y="550"/>
                      </a:lnTo>
                      <a:lnTo>
                        <a:pt x="486" y="550"/>
                      </a:lnTo>
                      <a:lnTo>
                        <a:pt x="486" y="550"/>
                      </a:lnTo>
                      <a:close/>
                      <a:moveTo>
                        <a:pt x="51" y="543"/>
                      </a:moveTo>
                      <a:lnTo>
                        <a:pt x="49" y="546"/>
                      </a:lnTo>
                      <a:lnTo>
                        <a:pt x="48" y="545"/>
                      </a:lnTo>
                      <a:lnTo>
                        <a:pt x="48" y="544"/>
                      </a:lnTo>
                      <a:lnTo>
                        <a:pt x="47" y="544"/>
                      </a:lnTo>
                      <a:lnTo>
                        <a:pt x="47" y="544"/>
                      </a:lnTo>
                      <a:lnTo>
                        <a:pt x="51" y="540"/>
                      </a:lnTo>
                      <a:lnTo>
                        <a:pt x="54" y="540"/>
                      </a:lnTo>
                      <a:lnTo>
                        <a:pt x="54" y="540"/>
                      </a:lnTo>
                      <a:lnTo>
                        <a:pt x="51" y="543"/>
                      </a:lnTo>
                      <a:lnTo>
                        <a:pt x="51" y="543"/>
                      </a:lnTo>
                      <a:close/>
                      <a:moveTo>
                        <a:pt x="8" y="540"/>
                      </a:moveTo>
                      <a:lnTo>
                        <a:pt x="5" y="540"/>
                      </a:lnTo>
                      <a:lnTo>
                        <a:pt x="5" y="539"/>
                      </a:lnTo>
                      <a:lnTo>
                        <a:pt x="5" y="538"/>
                      </a:lnTo>
                      <a:lnTo>
                        <a:pt x="3" y="536"/>
                      </a:lnTo>
                      <a:lnTo>
                        <a:pt x="4" y="532"/>
                      </a:lnTo>
                      <a:lnTo>
                        <a:pt x="3" y="529"/>
                      </a:lnTo>
                      <a:lnTo>
                        <a:pt x="3" y="528"/>
                      </a:lnTo>
                      <a:lnTo>
                        <a:pt x="1" y="525"/>
                      </a:lnTo>
                      <a:lnTo>
                        <a:pt x="1" y="523"/>
                      </a:lnTo>
                      <a:lnTo>
                        <a:pt x="4" y="522"/>
                      </a:lnTo>
                      <a:lnTo>
                        <a:pt x="0" y="519"/>
                      </a:lnTo>
                      <a:lnTo>
                        <a:pt x="8" y="519"/>
                      </a:lnTo>
                      <a:lnTo>
                        <a:pt x="16" y="517"/>
                      </a:lnTo>
                      <a:lnTo>
                        <a:pt x="16" y="519"/>
                      </a:lnTo>
                      <a:lnTo>
                        <a:pt x="14" y="520"/>
                      </a:lnTo>
                      <a:lnTo>
                        <a:pt x="12" y="520"/>
                      </a:lnTo>
                      <a:lnTo>
                        <a:pt x="12" y="522"/>
                      </a:lnTo>
                      <a:lnTo>
                        <a:pt x="15" y="524"/>
                      </a:lnTo>
                      <a:lnTo>
                        <a:pt x="10" y="526"/>
                      </a:lnTo>
                      <a:lnTo>
                        <a:pt x="8" y="526"/>
                      </a:lnTo>
                      <a:lnTo>
                        <a:pt x="10" y="529"/>
                      </a:lnTo>
                      <a:lnTo>
                        <a:pt x="9" y="531"/>
                      </a:lnTo>
                      <a:lnTo>
                        <a:pt x="10" y="532"/>
                      </a:lnTo>
                      <a:lnTo>
                        <a:pt x="7" y="533"/>
                      </a:lnTo>
                      <a:lnTo>
                        <a:pt x="7" y="536"/>
                      </a:lnTo>
                      <a:lnTo>
                        <a:pt x="9" y="535"/>
                      </a:lnTo>
                      <a:lnTo>
                        <a:pt x="8" y="539"/>
                      </a:lnTo>
                      <a:lnTo>
                        <a:pt x="8" y="540"/>
                      </a:lnTo>
                      <a:lnTo>
                        <a:pt x="8" y="540"/>
                      </a:lnTo>
                      <a:close/>
                      <a:moveTo>
                        <a:pt x="56" y="542"/>
                      </a:moveTo>
                      <a:lnTo>
                        <a:pt x="54" y="543"/>
                      </a:lnTo>
                      <a:lnTo>
                        <a:pt x="57" y="539"/>
                      </a:lnTo>
                      <a:lnTo>
                        <a:pt x="60" y="537"/>
                      </a:lnTo>
                      <a:lnTo>
                        <a:pt x="69" y="535"/>
                      </a:lnTo>
                      <a:lnTo>
                        <a:pt x="70" y="535"/>
                      </a:lnTo>
                      <a:lnTo>
                        <a:pt x="70" y="536"/>
                      </a:lnTo>
                      <a:lnTo>
                        <a:pt x="58" y="539"/>
                      </a:lnTo>
                      <a:lnTo>
                        <a:pt x="56" y="542"/>
                      </a:lnTo>
                      <a:lnTo>
                        <a:pt x="56" y="542"/>
                      </a:lnTo>
                      <a:close/>
                      <a:moveTo>
                        <a:pt x="54" y="530"/>
                      </a:moveTo>
                      <a:lnTo>
                        <a:pt x="51" y="532"/>
                      </a:lnTo>
                      <a:lnTo>
                        <a:pt x="49" y="535"/>
                      </a:lnTo>
                      <a:lnTo>
                        <a:pt x="47" y="535"/>
                      </a:lnTo>
                      <a:lnTo>
                        <a:pt x="44" y="533"/>
                      </a:lnTo>
                      <a:lnTo>
                        <a:pt x="42" y="532"/>
                      </a:lnTo>
                      <a:lnTo>
                        <a:pt x="38" y="531"/>
                      </a:lnTo>
                      <a:lnTo>
                        <a:pt x="44" y="530"/>
                      </a:lnTo>
                      <a:lnTo>
                        <a:pt x="45" y="529"/>
                      </a:lnTo>
                      <a:lnTo>
                        <a:pt x="45" y="528"/>
                      </a:lnTo>
                      <a:lnTo>
                        <a:pt x="47" y="525"/>
                      </a:lnTo>
                      <a:lnTo>
                        <a:pt x="47" y="525"/>
                      </a:lnTo>
                      <a:lnTo>
                        <a:pt x="47" y="525"/>
                      </a:lnTo>
                      <a:lnTo>
                        <a:pt x="51" y="524"/>
                      </a:lnTo>
                      <a:lnTo>
                        <a:pt x="51" y="523"/>
                      </a:lnTo>
                      <a:lnTo>
                        <a:pt x="52" y="520"/>
                      </a:lnTo>
                      <a:lnTo>
                        <a:pt x="56" y="518"/>
                      </a:lnTo>
                      <a:lnTo>
                        <a:pt x="56" y="517"/>
                      </a:lnTo>
                      <a:lnTo>
                        <a:pt x="57" y="517"/>
                      </a:lnTo>
                      <a:lnTo>
                        <a:pt x="61" y="520"/>
                      </a:lnTo>
                      <a:lnTo>
                        <a:pt x="58" y="523"/>
                      </a:lnTo>
                      <a:lnTo>
                        <a:pt x="55" y="526"/>
                      </a:lnTo>
                      <a:lnTo>
                        <a:pt x="54" y="530"/>
                      </a:lnTo>
                      <a:lnTo>
                        <a:pt x="54" y="530"/>
                      </a:lnTo>
                      <a:close/>
                      <a:moveTo>
                        <a:pt x="55" y="532"/>
                      </a:moveTo>
                      <a:lnTo>
                        <a:pt x="54" y="532"/>
                      </a:lnTo>
                      <a:lnTo>
                        <a:pt x="54" y="530"/>
                      </a:lnTo>
                      <a:lnTo>
                        <a:pt x="57" y="528"/>
                      </a:lnTo>
                      <a:lnTo>
                        <a:pt x="58" y="526"/>
                      </a:lnTo>
                      <a:lnTo>
                        <a:pt x="60" y="528"/>
                      </a:lnTo>
                      <a:lnTo>
                        <a:pt x="56" y="531"/>
                      </a:lnTo>
                      <a:lnTo>
                        <a:pt x="55" y="532"/>
                      </a:lnTo>
                      <a:lnTo>
                        <a:pt x="55" y="532"/>
                      </a:lnTo>
                      <a:close/>
                      <a:moveTo>
                        <a:pt x="796" y="522"/>
                      </a:moveTo>
                      <a:lnTo>
                        <a:pt x="796" y="528"/>
                      </a:lnTo>
                      <a:lnTo>
                        <a:pt x="791" y="528"/>
                      </a:lnTo>
                      <a:lnTo>
                        <a:pt x="790" y="526"/>
                      </a:lnTo>
                      <a:lnTo>
                        <a:pt x="784" y="526"/>
                      </a:lnTo>
                      <a:lnTo>
                        <a:pt x="782" y="524"/>
                      </a:lnTo>
                      <a:lnTo>
                        <a:pt x="778" y="522"/>
                      </a:lnTo>
                      <a:lnTo>
                        <a:pt x="778" y="520"/>
                      </a:lnTo>
                      <a:lnTo>
                        <a:pt x="784" y="519"/>
                      </a:lnTo>
                      <a:lnTo>
                        <a:pt x="789" y="518"/>
                      </a:lnTo>
                      <a:lnTo>
                        <a:pt x="790" y="518"/>
                      </a:lnTo>
                      <a:lnTo>
                        <a:pt x="795" y="518"/>
                      </a:lnTo>
                      <a:lnTo>
                        <a:pt x="796" y="522"/>
                      </a:lnTo>
                      <a:lnTo>
                        <a:pt x="796" y="522"/>
                      </a:lnTo>
                      <a:close/>
                      <a:moveTo>
                        <a:pt x="44" y="518"/>
                      </a:moveTo>
                      <a:lnTo>
                        <a:pt x="41" y="519"/>
                      </a:lnTo>
                      <a:lnTo>
                        <a:pt x="40" y="516"/>
                      </a:lnTo>
                      <a:lnTo>
                        <a:pt x="37" y="513"/>
                      </a:lnTo>
                      <a:lnTo>
                        <a:pt x="37" y="511"/>
                      </a:lnTo>
                      <a:lnTo>
                        <a:pt x="38" y="510"/>
                      </a:lnTo>
                      <a:lnTo>
                        <a:pt x="42" y="511"/>
                      </a:lnTo>
                      <a:lnTo>
                        <a:pt x="44" y="513"/>
                      </a:lnTo>
                      <a:lnTo>
                        <a:pt x="44" y="518"/>
                      </a:lnTo>
                      <a:lnTo>
                        <a:pt x="44" y="518"/>
                      </a:lnTo>
                      <a:close/>
                      <a:moveTo>
                        <a:pt x="49" y="517"/>
                      </a:moveTo>
                      <a:lnTo>
                        <a:pt x="47" y="518"/>
                      </a:lnTo>
                      <a:lnTo>
                        <a:pt x="47" y="512"/>
                      </a:lnTo>
                      <a:lnTo>
                        <a:pt x="47" y="512"/>
                      </a:lnTo>
                      <a:lnTo>
                        <a:pt x="48" y="511"/>
                      </a:lnTo>
                      <a:lnTo>
                        <a:pt x="45" y="510"/>
                      </a:lnTo>
                      <a:lnTo>
                        <a:pt x="45" y="508"/>
                      </a:lnTo>
                      <a:lnTo>
                        <a:pt x="45" y="505"/>
                      </a:lnTo>
                      <a:lnTo>
                        <a:pt x="48" y="505"/>
                      </a:lnTo>
                      <a:lnTo>
                        <a:pt x="49" y="505"/>
                      </a:lnTo>
                      <a:lnTo>
                        <a:pt x="51" y="513"/>
                      </a:lnTo>
                      <a:lnTo>
                        <a:pt x="51" y="515"/>
                      </a:lnTo>
                      <a:lnTo>
                        <a:pt x="49" y="517"/>
                      </a:lnTo>
                      <a:lnTo>
                        <a:pt x="49" y="517"/>
                      </a:lnTo>
                      <a:close/>
                      <a:moveTo>
                        <a:pt x="48" y="504"/>
                      </a:moveTo>
                      <a:lnTo>
                        <a:pt x="43" y="506"/>
                      </a:lnTo>
                      <a:lnTo>
                        <a:pt x="43" y="504"/>
                      </a:lnTo>
                      <a:lnTo>
                        <a:pt x="40" y="505"/>
                      </a:lnTo>
                      <a:lnTo>
                        <a:pt x="40" y="504"/>
                      </a:lnTo>
                      <a:lnTo>
                        <a:pt x="42" y="503"/>
                      </a:lnTo>
                      <a:lnTo>
                        <a:pt x="47" y="501"/>
                      </a:lnTo>
                      <a:lnTo>
                        <a:pt x="49" y="501"/>
                      </a:lnTo>
                      <a:lnTo>
                        <a:pt x="49" y="502"/>
                      </a:lnTo>
                      <a:lnTo>
                        <a:pt x="48" y="504"/>
                      </a:lnTo>
                      <a:lnTo>
                        <a:pt x="48" y="504"/>
                      </a:lnTo>
                      <a:close/>
                      <a:moveTo>
                        <a:pt x="9" y="517"/>
                      </a:moveTo>
                      <a:lnTo>
                        <a:pt x="2" y="518"/>
                      </a:lnTo>
                      <a:lnTo>
                        <a:pt x="1" y="515"/>
                      </a:lnTo>
                      <a:lnTo>
                        <a:pt x="2" y="513"/>
                      </a:lnTo>
                      <a:lnTo>
                        <a:pt x="5" y="513"/>
                      </a:lnTo>
                      <a:lnTo>
                        <a:pt x="2" y="511"/>
                      </a:lnTo>
                      <a:lnTo>
                        <a:pt x="2" y="510"/>
                      </a:lnTo>
                      <a:lnTo>
                        <a:pt x="3" y="509"/>
                      </a:lnTo>
                      <a:lnTo>
                        <a:pt x="3" y="505"/>
                      </a:lnTo>
                      <a:lnTo>
                        <a:pt x="7" y="505"/>
                      </a:lnTo>
                      <a:lnTo>
                        <a:pt x="8" y="503"/>
                      </a:lnTo>
                      <a:lnTo>
                        <a:pt x="8" y="501"/>
                      </a:lnTo>
                      <a:lnTo>
                        <a:pt x="10" y="498"/>
                      </a:lnTo>
                      <a:lnTo>
                        <a:pt x="12" y="499"/>
                      </a:lnTo>
                      <a:lnTo>
                        <a:pt x="16" y="499"/>
                      </a:lnTo>
                      <a:lnTo>
                        <a:pt x="16" y="501"/>
                      </a:lnTo>
                      <a:lnTo>
                        <a:pt x="20" y="499"/>
                      </a:lnTo>
                      <a:lnTo>
                        <a:pt x="22" y="498"/>
                      </a:lnTo>
                      <a:lnTo>
                        <a:pt x="22" y="502"/>
                      </a:lnTo>
                      <a:lnTo>
                        <a:pt x="24" y="499"/>
                      </a:lnTo>
                      <a:lnTo>
                        <a:pt x="27" y="499"/>
                      </a:lnTo>
                      <a:lnTo>
                        <a:pt x="30" y="499"/>
                      </a:lnTo>
                      <a:lnTo>
                        <a:pt x="27" y="503"/>
                      </a:lnTo>
                      <a:lnTo>
                        <a:pt x="24" y="506"/>
                      </a:lnTo>
                      <a:lnTo>
                        <a:pt x="22" y="509"/>
                      </a:lnTo>
                      <a:lnTo>
                        <a:pt x="17" y="510"/>
                      </a:lnTo>
                      <a:lnTo>
                        <a:pt x="17" y="513"/>
                      </a:lnTo>
                      <a:lnTo>
                        <a:pt x="11" y="517"/>
                      </a:lnTo>
                      <a:lnTo>
                        <a:pt x="9" y="517"/>
                      </a:lnTo>
                      <a:lnTo>
                        <a:pt x="9" y="517"/>
                      </a:lnTo>
                      <a:close/>
                      <a:moveTo>
                        <a:pt x="1044" y="508"/>
                      </a:moveTo>
                      <a:lnTo>
                        <a:pt x="1045" y="506"/>
                      </a:lnTo>
                      <a:lnTo>
                        <a:pt x="1048" y="505"/>
                      </a:lnTo>
                      <a:lnTo>
                        <a:pt x="1049" y="505"/>
                      </a:lnTo>
                      <a:lnTo>
                        <a:pt x="1050" y="504"/>
                      </a:lnTo>
                      <a:lnTo>
                        <a:pt x="1052" y="504"/>
                      </a:lnTo>
                      <a:lnTo>
                        <a:pt x="1056" y="504"/>
                      </a:lnTo>
                      <a:lnTo>
                        <a:pt x="1057" y="503"/>
                      </a:lnTo>
                      <a:lnTo>
                        <a:pt x="1056" y="502"/>
                      </a:lnTo>
                      <a:lnTo>
                        <a:pt x="1060" y="502"/>
                      </a:lnTo>
                      <a:lnTo>
                        <a:pt x="1062" y="502"/>
                      </a:lnTo>
                      <a:lnTo>
                        <a:pt x="1062" y="502"/>
                      </a:lnTo>
                      <a:lnTo>
                        <a:pt x="1060" y="506"/>
                      </a:lnTo>
                      <a:lnTo>
                        <a:pt x="1062" y="506"/>
                      </a:lnTo>
                      <a:lnTo>
                        <a:pt x="1063" y="506"/>
                      </a:lnTo>
                      <a:lnTo>
                        <a:pt x="1065" y="506"/>
                      </a:lnTo>
                      <a:lnTo>
                        <a:pt x="1066" y="505"/>
                      </a:lnTo>
                      <a:lnTo>
                        <a:pt x="1068" y="505"/>
                      </a:lnTo>
                      <a:lnTo>
                        <a:pt x="1068" y="505"/>
                      </a:lnTo>
                      <a:lnTo>
                        <a:pt x="1069" y="505"/>
                      </a:lnTo>
                      <a:lnTo>
                        <a:pt x="1070" y="505"/>
                      </a:lnTo>
                      <a:lnTo>
                        <a:pt x="1071" y="504"/>
                      </a:lnTo>
                      <a:lnTo>
                        <a:pt x="1071" y="503"/>
                      </a:lnTo>
                      <a:lnTo>
                        <a:pt x="1071" y="503"/>
                      </a:lnTo>
                      <a:lnTo>
                        <a:pt x="1075" y="503"/>
                      </a:lnTo>
                      <a:lnTo>
                        <a:pt x="1076" y="504"/>
                      </a:lnTo>
                      <a:lnTo>
                        <a:pt x="1077" y="504"/>
                      </a:lnTo>
                      <a:lnTo>
                        <a:pt x="1077" y="504"/>
                      </a:lnTo>
                      <a:lnTo>
                        <a:pt x="1079" y="503"/>
                      </a:lnTo>
                      <a:lnTo>
                        <a:pt x="1078" y="502"/>
                      </a:lnTo>
                      <a:lnTo>
                        <a:pt x="1078" y="501"/>
                      </a:lnTo>
                      <a:lnTo>
                        <a:pt x="1078" y="499"/>
                      </a:lnTo>
                      <a:lnTo>
                        <a:pt x="1078" y="498"/>
                      </a:lnTo>
                      <a:lnTo>
                        <a:pt x="1078" y="497"/>
                      </a:lnTo>
                      <a:lnTo>
                        <a:pt x="1079" y="496"/>
                      </a:lnTo>
                      <a:lnTo>
                        <a:pt x="1079" y="495"/>
                      </a:lnTo>
                      <a:lnTo>
                        <a:pt x="1079" y="495"/>
                      </a:lnTo>
                      <a:lnTo>
                        <a:pt x="1076" y="496"/>
                      </a:lnTo>
                      <a:lnTo>
                        <a:pt x="1071" y="496"/>
                      </a:lnTo>
                      <a:lnTo>
                        <a:pt x="1070" y="497"/>
                      </a:lnTo>
                      <a:lnTo>
                        <a:pt x="1071" y="498"/>
                      </a:lnTo>
                      <a:lnTo>
                        <a:pt x="1072" y="498"/>
                      </a:lnTo>
                      <a:lnTo>
                        <a:pt x="1072" y="498"/>
                      </a:lnTo>
                      <a:lnTo>
                        <a:pt x="1070" y="499"/>
                      </a:lnTo>
                      <a:lnTo>
                        <a:pt x="1069" y="501"/>
                      </a:lnTo>
                      <a:lnTo>
                        <a:pt x="1068" y="498"/>
                      </a:lnTo>
                      <a:lnTo>
                        <a:pt x="1066" y="497"/>
                      </a:lnTo>
                      <a:lnTo>
                        <a:pt x="1066" y="496"/>
                      </a:lnTo>
                      <a:lnTo>
                        <a:pt x="1065" y="492"/>
                      </a:lnTo>
                      <a:lnTo>
                        <a:pt x="1066" y="490"/>
                      </a:lnTo>
                      <a:lnTo>
                        <a:pt x="1065" y="489"/>
                      </a:lnTo>
                      <a:lnTo>
                        <a:pt x="1064" y="489"/>
                      </a:lnTo>
                      <a:lnTo>
                        <a:pt x="1064" y="489"/>
                      </a:lnTo>
                      <a:lnTo>
                        <a:pt x="1064" y="490"/>
                      </a:lnTo>
                      <a:lnTo>
                        <a:pt x="1063" y="491"/>
                      </a:lnTo>
                      <a:lnTo>
                        <a:pt x="1060" y="493"/>
                      </a:lnTo>
                      <a:lnTo>
                        <a:pt x="1060" y="496"/>
                      </a:lnTo>
                      <a:lnTo>
                        <a:pt x="1060" y="496"/>
                      </a:lnTo>
                      <a:lnTo>
                        <a:pt x="1059" y="496"/>
                      </a:lnTo>
                      <a:lnTo>
                        <a:pt x="1058" y="496"/>
                      </a:lnTo>
                      <a:lnTo>
                        <a:pt x="1057" y="495"/>
                      </a:lnTo>
                      <a:lnTo>
                        <a:pt x="1056" y="496"/>
                      </a:lnTo>
                      <a:lnTo>
                        <a:pt x="1055" y="496"/>
                      </a:lnTo>
                      <a:lnTo>
                        <a:pt x="1053" y="497"/>
                      </a:lnTo>
                      <a:lnTo>
                        <a:pt x="1055" y="498"/>
                      </a:lnTo>
                      <a:lnTo>
                        <a:pt x="1053" y="498"/>
                      </a:lnTo>
                      <a:lnTo>
                        <a:pt x="1051" y="498"/>
                      </a:lnTo>
                      <a:lnTo>
                        <a:pt x="1051" y="495"/>
                      </a:lnTo>
                      <a:lnTo>
                        <a:pt x="1050" y="495"/>
                      </a:lnTo>
                      <a:lnTo>
                        <a:pt x="1048" y="497"/>
                      </a:lnTo>
                      <a:lnTo>
                        <a:pt x="1046" y="498"/>
                      </a:lnTo>
                      <a:lnTo>
                        <a:pt x="1046" y="499"/>
                      </a:lnTo>
                      <a:lnTo>
                        <a:pt x="1044" y="499"/>
                      </a:lnTo>
                      <a:lnTo>
                        <a:pt x="1042" y="501"/>
                      </a:lnTo>
                      <a:lnTo>
                        <a:pt x="1042" y="501"/>
                      </a:lnTo>
                      <a:lnTo>
                        <a:pt x="1040" y="501"/>
                      </a:lnTo>
                      <a:lnTo>
                        <a:pt x="1040" y="499"/>
                      </a:lnTo>
                      <a:lnTo>
                        <a:pt x="1038" y="499"/>
                      </a:lnTo>
                      <a:lnTo>
                        <a:pt x="1037" y="499"/>
                      </a:lnTo>
                      <a:lnTo>
                        <a:pt x="1037" y="501"/>
                      </a:lnTo>
                      <a:lnTo>
                        <a:pt x="1037" y="501"/>
                      </a:lnTo>
                      <a:lnTo>
                        <a:pt x="1038" y="502"/>
                      </a:lnTo>
                      <a:lnTo>
                        <a:pt x="1043" y="506"/>
                      </a:lnTo>
                      <a:lnTo>
                        <a:pt x="1044" y="508"/>
                      </a:lnTo>
                      <a:lnTo>
                        <a:pt x="1044" y="508"/>
                      </a:lnTo>
                      <a:close/>
                      <a:moveTo>
                        <a:pt x="851" y="468"/>
                      </a:moveTo>
                      <a:lnTo>
                        <a:pt x="851" y="468"/>
                      </a:lnTo>
                      <a:lnTo>
                        <a:pt x="851" y="466"/>
                      </a:lnTo>
                      <a:lnTo>
                        <a:pt x="852" y="465"/>
                      </a:lnTo>
                      <a:lnTo>
                        <a:pt x="853" y="464"/>
                      </a:lnTo>
                      <a:lnTo>
                        <a:pt x="855" y="462"/>
                      </a:lnTo>
                      <a:lnTo>
                        <a:pt x="856" y="462"/>
                      </a:lnTo>
                      <a:lnTo>
                        <a:pt x="856" y="463"/>
                      </a:lnTo>
                      <a:lnTo>
                        <a:pt x="856" y="463"/>
                      </a:lnTo>
                      <a:lnTo>
                        <a:pt x="855" y="464"/>
                      </a:lnTo>
                      <a:lnTo>
                        <a:pt x="852" y="466"/>
                      </a:lnTo>
                      <a:lnTo>
                        <a:pt x="851" y="468"/>
                      </a:lnTo>
                      <a:lnTo>
                        <a:pt x="851" y="468"/>
                      </a:lnTo>
                      <a:close/>
                      <a:moveTo>
                        <a:pt x="861" y="461"/>
                      </a:moveTo>
                      <a:lnTo>
                        <a:pt x="857" y="462"/>
                      </a:lnTo>
                      <a:lnTo>
                        <a:pt x="858" y="459"/>
                      </a:lnTo>
                      <a:lnTo>
                        <a:pt x="861" y="461"/>
                      </a:lnTo>
                      <a:lnTo>
                        <a:pt x="861" y="461"/>
                      </a:lnTo>
                      <a:close/>
                      <a:moveTo>
                        <a:pt x="842" y="466"/>
                      </a:moveTo>
                      <a:lnTo>
                        <a:pt x="838" y="468"/>
                      </a:lnTo>
                      <a:lnTo>
                        <a:pt x="849" y="457"/>
                      </a:lnTo>
                      <a:lnTo>
                        <a:pt x="859" y="456"/>
                      </a:lnTo>
                      <a:lnTo>
                        <a:pt x="850" y="465"/>
                      </a:lnTo>
                      <a:lnTo>
                        <a:pt x="850" y="463"/>
                      </a:lnTo>
                      <a:lnTo>
                        <a:pt x="842" y="466"/>
                      </a:lnTo>
                      <a:lnTo>
                        <a:pt x="842" y="466"/>
                      </a:lnTo>
                      <a:close/>
                      <a:moveTo>
                        <a:pt x="845" y="451"/>
                      </a:moveTo>
                      <a:lnTo>
                        <a:pt x="843" y="451"/>
                      </a:lnTo>
                      <a:lnTo>
                        <a:pt x="842" y="451"/>
                      </a:lnTo>
                      <a:lnTo>
                        <a:pt x="843" y="450"/>
                      </a:lnTo>
                      <a:lnTo>
                        <a:pt x="843" y="450"/>
                      </a:lnTo>
                      <a:lnTo>
                        <a:pt x="844" y="449"/>
                      </a:lnTo>
                      <a:lnTo>
                        <a:pt x="846" y="449"/>
                      </a:lnTo>
                      <a:lnTo>
                        <a:pt x="848" y="448"/>
                      </a:lnTo>
                      <a:lnTo>
                        <a:pt x="849" y="449"/>
                      </a:lnTo>
                      <a:lnTo>
                        <a:pt x="853" y="445"/>
                      </a:lnTo>
                      <a:lnTo>
                        <a:pt x="852" y="446"/>
                      </a:lnTo>
                      <a:lnTo>
                        <a:pt x="848" y="450"/>
                      </a:lnTo>
                      <a:lnTo>
                        <a:pt x="848" y="450"/>
                      </a:lnTo>
                      <a:lnTo>
                        <a:pt x="845" y="451"/>
                      </a:lnTo>
                      <a:lnTo>
                        <a:pt x="845" y="451"/>
                      </a:lnTo>
                      <a:close/>
                      <a:moveTo>
                        <a:pt x="492" y="458"/>
                      </a:moveTo>
                      <a:lnTo>
                        <a:pt x="495" y="456"/>
                      </a:lnTo>
                      <a:lnTo>
                        <a:pt x="496" y="456"/>
                      </a:lnTo>
                      <a:lnTo>
                        <a:pt x="497" y="457"/>
                      </a:lnTo>
                      <a:lnTo>
                        <a:pt x="498" y="457"/>
                      </a:lnTo>
                      <a:lnTo>
                        <a:pt x="501" y="455"/>
                      </a:lnTo>
                      <a:lnTo>
                        <a:pt x="506" y="452"/>
                      </a:lnTo>
                      <a:lnTo>
                        <a:pt x="508" y="452"/>
                      </a:lnTo>
                      <a:lnTo>
                        <a:pt x="509" y="451"/>
                      </a:lnTo>
                      <a:lnTo>
                        <a:pt x="511" y="450"/>
                      </a:lnTo>
                      <a:lnTo>
                        <a:pt x="514" y="448"/>
                      </a:lnTo>
                      <a:lnTo>
                        <a:pt x="517" y="446"/>
                      </a:lnTo>
                      <a:lnTo>
                        <a:pt x="523" y="439"/>
                      </a:lnTo>
                      <a:lnTo>
                        <a:pt x="523" y="437"/>
                      </a:lnTo>
                      <a:lnTo>
                        <a:pt x="526" y="435"/>
                      </a:lnTo>
                      <a:lnTo>
                        <a:pt x="528" y="435"/>
                      </a:lnTo>
                      <a:lnTo>
                        <a:pt x="531" y="433"/>
                      </a:lnTo>
                      <a:lnTo>
                        <a:pt x="539" y="428"/>
                      </a:lnTo>
                      <a:lnTo>
                        <a:pt x="537" y="428"/>
                      </a:lnTo>
                      <a:lnTo>
                        <a:pt x="537" y="428"/>
                      </a:lnTo>
                      <a:lnTo>
                        <a:pt x="535" y="429"/>
                      </a:lnTo>
                      <a:lnTo>
                        <a:pt x="534" y="429"/>
                      </a:lnTo>
                      <a:lnTo>
                        <a:pt x="537" y="425"/>
                      </a:lnTo>
                      <a:lnTo>
                        <a:pt x="537" y="425"/>
                      </a:lnTo>
                      <a:lnTo>
                        <a:pt x="535" y="425"/>
                      </a:lnTo>
                      <a:lnTo>
                        <a:pt x="534" y="426"/>
                      </a:lnTo>
                      <a:lnTo>
                        <a:pt x="536" y="423"/>
                      </a:lnTo>
                      <a:lnTo>
                        <a:pt x="535" y="423"/>
                      </a:lnTo>
                      <a:lnTo>
                        <a:pt x="532" y="425"/>
                      </a:lnTo>
                      <a:lnTo>
                        <a:pt x="532" y="425"/>
                      </a:lnTo>
                      <a:lnTo>
                        <a:pt x="531" y="426"/>
                      </a:lnTo>
                      <a:lnTo>
                        <a:pt x="530" y="428"/>
                      </a:lnTo>
                      <a:lnTo>
                        <a:pt x="528" y="429"/>
                      </a:lnTo>
                      <a:lnTo>
                        <a:pt x="528" y="428"/>
                      </a:lnTo>
                      <a:lnTo>
                        <a:pt x="525" y="429"/>
                      </a:lnTo>
                      <a:lnTo>
                        <a:pt x="522" y="431"/>
                      </a:lnTo>
                      <a:lnTo>
                        <a:pt x="519" y="431"/>
                      </a:lnTo>
                      <a:lnTo>
                        <a:pt x="518" y="432"/>
                      </a:lnTo>
                      <a:lnTo>
                        <a:pt x="519" y="432"/>
                      </a:lnTo>
                      <a:lnTo>
                        <a:pt x="517" y="433"/>
                      </a:lnTo>
                      <a:lnTo>
                        <a:pt x="514" y="436"/>
                      </a:lnTo>
                      <a:lnTo>
                        <a:pt x="511" y="439"/>
                      </a:lnTo>
                      <a:lnTo>
                        <a:pt x="514" y="438"/>
                      </a:lnTo>
                      <a:lnTo>
                        <a:pt x="511" y="439"/>
                      </a:lnTo>
                      <a:lnTo>
                        <a:pt x="515" y="439"/>
                      </a:lnTo>
                      <a:lnTo>
                        <a:pt x="512" y="441"/>
                      </a:lnTo>
                      <a:lnTo>
                        <a:pt x="512" y="442"/>
                      </a:lnTo>
                      <a:lnTo>
                        <a:pt x="512" y="442"/>
                      </a:lnTo>
                      <a:lnTo>
                        <a:pt x="512" y="444"/>
                      </a:lnTo>
                      <a:lnTo>
                        <a:pt x="511" y="446"/>
                      </a:lnTo>
                      <a:lnTo>
                        <a:pt x="508" y="449"/>
                      </a:lnTo>
                      <a:lnTo>
                        <a:pt x="503" y="452"/>
                      </a:lnTo>
                      <a:lnTo>
                        <a:pt x="497" y="455"/>
                      </a:lnTo>
                      <a:lnTo>
                        <a:pt x="502" y="450"/>
                      </a:lnTo>
                      <a:lnTo>
                        <a:pt x="501" y="450"/>
                      </a:lnTo>
                      <a:lnTo>
                        <a:pt x="501" y="450"/>
                      </a:lnTo>
                      <a:lnTo>
                        <a:pt x="497" y="453"/>
                      </a:lnTo>
                      <a:lnTo>
                        <a:pt x="496" y="453"/>
                      </a:lnTo>
                      <a:lnTo>
                        <a:pt x="496" y="452"/>
                      </a:lnTo>
                      <a:lnTo>
                        <a:pt x="496" y="452"/>
                      </a:lnTo>
                      <a:lnTo>
                        <a:pt x="496" y="452"/>
                      </a:lnTo>
                      <a:lnTo>
                        <a:pt x="495" y="453"/>
                      </a:lnTo>
                      <a:lnTo>
                        <a:pt x="496" y="455"/>
                      </a:lnTo>
                      <a:lnTo>
                        <a:pt x="492" y="458"/>
                      </a:lnTo>
                      <a:lnTo>
                        <a:pt x="492" y="458"/>
                      </a:lnTo>
                      <a:lnTo>
                        <a:pt x="492" y="458"/>
                      </a:lnTo>
                      <a:lnTo>
                        <a:pt x="492" y="458"/>
                      </a:lnTo>
                      <a:close/>
                      <a:moveTo>
                        <a:pt x="411" y="413"/>
                      </a:moveTo>
                      <a:lnTo>
                        <a:pt x="415" y="413"/>
                      </a:lnTo>
                      <a:lnTo>
                        <a:pt x="415" y="413"/>
                      </a:lnTo>
                      <a:lnTo>
                        <a:pt x="418" y="412"/>
                      </a:lnTo>
                      <a:lnTo>
                        <a:pt x="419" y="411"/>
                      </a:lnTo>
                      <a:lnTo>
                        <a:pt x="421" y="410"/>
                      </a:lnTo>
                      <a:lnTo>
                        <a:pt x="424" y="409"/>
                      </a:lnTo>
                      <a:lnTo>
                        <a:pt x="425" y="408"/>
                      </a:lnTo>
                      <a:lnTo>
                        <a:pt x="428" y="408"/>
                      </a:lnTo>
                      <a:lnTo>
                        <a:pt x="431" y="406"/>
                      </a:lnTo>
                      <a:lnTo>
                        <a:pt x="435" y="405"/>
                      </a:lnTo>
                      <a:lnTo>
                        <a:pt x="438" y="404"/>
                      </a:lnTo>
                      <a:lnTo>
                        <a:pt x="443" y="403"/>
                      </a:lnTo>
                      <a:lnTo>
                        <a:pt x="444" y="404"/>
                      </a:lnTo>
                      <a:lnTo>
                        <a:pt x="445" y="404"/>
                      </a:lnTo>
                      <a:lnTo>
                        <a:pt x="448" y="404"/>
                      </a:lnTo>
                      <a:lnTo>
                        <a:pt x="449" y="404"/>
                      </a:lnTo>
                      <a:lnTo>
                        <a:pt x="466" y="402"/>
                      </a:lnTo>
                      <a:lnTo>
                        <a:pt x="469" y="399"/>
                      </a:lnTo>
                      <a:lnTo>
                        <a:pt x="470" y="399"/>
                      </a:lnTo>
                      <a:lnTo>
                        <a:pt x="471" y="401"/>
                      </a:lnTo>
                      <a:lnTo>
                        <a:pt x="478" y="401"/>
                      </a:lnTo>
                      <a:lnTo>
                        <a:pt x="481" y="402"/>
                      </a:lnTo>
                      <a:lnTo>
                        <a:pt x="491" y="402"/>
                      </a:lnTo>
                      <a:lnTo>
                        <a:pt x="492" y="401"/>
                      </a:lnTo>
                      <a:lnTo>
                        <a:pt x="474" y="398"/>
                      </a:lnTo>
                      <a:lnTo>
                        <a:pt x="472" y="397"/>
                      </a:lnTo>
                      <a:lnTo>
                        <a:pt x="470" y="397"/>
                      </a:lnTo>
                      <a:lnTo>
                        <a:pt x="465" y="397"/>
                      </a:lnTo>
                      <a:lnTo>
                        <a:pt x="463" y="397"/>
                      </a:lnTo>
                      <a:lnTo>
                        <a:pt x="458" y="398"/>
                      </a:lnTo>
                      <a:lnTo>
                        <a:pt x="454" y="399"/>
                      </a:lnTo>
                      <a:lnTo>
                        <a:pt x="452" y="399"/>
                      </a:lnTo>
                      <a:lnTo>
                        <a:pt x="452" y="398"/>
                      </a:lnTo>
                      <a:lnTo>
                        <a:pt x="456" y="397"/>
                      </a:lnTo>
                      <a:lnTo>
                        <a:pt x="457" y="396"/>
                      </a:lnTo>
                      <a:lnTo>
                        <a:pt x="456" y="396"/>
                      </a:lnTo>
                      <a:lnTo>
                        <a:pt x="452" y="397"/>
                      </a:lnTo>
                      <a:lnTo>
                        <a:pt x="451" y="396"/>
                      </a:lnTo>
                      <a:lnTo>
                        <a:pt x="452" y="395"/>
                      </a:lnTo>
                      <a:lnTo>
                        <a:pt x="449" y="395"/>
                      </a:lnTo>
                      <a:lnTo>
                        <a:pt x="446" y="395"/>
                      </a:lnTo>
                      <a:lnTo>
                        <a:pt x="442" y="396"/>
                      </a:lnTo>
                      <a:lnTo>
                        <a:pt x="438" y="399"/>
                      </a:lnTo>
                      <a:lnTo>
                        <a:pt x="436" y="401"/>
                      </a:lnTo>
                      <a:lnTo>
                        <a:pt x="432" y="401"/>
                      </a:lnTo>
                      <a:lnTo>
                        <a:pt x="427" y="404"/>
                      </a:lnTo>
                      <a:lnTo>
                        <a:pt x="424" y="404"/>
                      </a:lnTo>
                      <a:lnTo>
                        <a:pt x="422" y="405"/>
                      </a:lnTo>
                      <a:lnTo>
                        <a:pt x="419" y="408"/>
                      </a:lnTo>
                      <a:lnTo>
                        <a:pt x="415" y="410"/>
                      </a:lnTo>
                      <a:lnTo>
                        <a:pt x="410" y="411"/>
                      </a:lnTo>
                      <a:lnTo>
                        <a:pt x="410" y="411"/>
                      </a:lnTo>
                      <a:lnTo>
                        <a:pt x="410" y="410"/>
                      </a:lnTo>
                      <a:lnTo>
                        <a:pt x="410" y="410"/>
                      </a:lnTo>
                      <a:lnTo>
                        <a:pt x="408" y="410"/>
                      </a:lnTo>
                      <a:lnTo>
                        <a:pt x="408" y="411"/>
                      </a:lnTo>
                      <a:lnTo>
                        <a:pt x="408" y="412"/>
                      </a:lnTo>
                      <a:lnTo>
                        <a:pt x="409" y="412"/>
                      </a:lnTo>
                      <a:lnTo>
                        <a:pt x="410" y="412"/>
                      </a:lnTo>
                      <a:lnTo>
                        <a:pt x="411" y="413"/>
                      </a:lnTo>
                      <a:lnTo>
                        <a:pt x="411" y="413"/>
                      </a:lnTo>
                      <a:close/>
                      <a:moveTo>
                        <a:pt x="1062" y="381"/>
                      </a:moveTo>
                      <a:lnTo>
                        <a:pt x="1055" y="382"/>
                      </a:lnTo>
                      <a:lnTo>
                        <a:pt x="1053" y="381"/>
                      </a:lnTo>
                      <a:lnTo>
                        <a:pt x="1060" y="376"/>
                      </a:lnTo>
                      <a:lnTo>
                        <a:pt x="1062" y="376"/>
                      </a:lnTo>
                      <a:lnTo>
                        <a:pt x="1064" y="378"/>
                      </a:lnTo>
                      <a:lnTo>
                        <a:pt x="1062" y="381"/>
                      </a:lnTo>
                      <a:lnTo>
                        <a:pt x="1062" y="381"/>
                      </a:lnTo>
                      <a:close/>
                      <a:moveTo>
                        <a:pt x="1116" y="361"/>
                      </a:moveTo>
                      <a:lnTo>
                        <a:pt x="1115" y="362"/>
                      </a:lnTo>
                      <a:lnTo>
                        <a:pt x="1113" y="361"/>
                      </a:lnTo>
                      <a:lnTo>
                        <a:pt x="1115" y="361"/>
                      </a:lnTo>
                      <a:lnTo>
                        <a:pt x="1112" y="361"/>
                      </a:lnTo>
                      <a:lnTo>
                        <a:pt x="1112" y="359"/>
                      </a:lnTo>
                      <a:lnTo>
                        <a:pt x="1112" y="359"/>
                      </a:lnTo>
                      <a:lnTo>
                        <a:pt x="1111" y="358"/>
                      </a:lnTo>
                      <a:lnTo>
                        <a:pt x="1109" y="358"/>
                      </a:lnTo>
                      <a:lnTo>
                        <a:pt x="1109" y="357"/>
                      </a:lnTo>
                      <a:lnTo>
                        <a:pt x="1109" y="356"/>
                      </a:lnTo>
                      <a:lnTo>
                        <a:pt x="1109" y="356"/>
                      </a:lnTo>
                      <a:lnTo>
                        <a:pt x="1110" y="356"/>
                      </a:lnTo>
                      <a:lnTo>
                        <a:pt x="1115" y="356"/>
                      </a:lnTo>
                      <a:lnTo>
                        <a:pt x="1116" y="356"/>
                      </a:lnTo>
                      <a:lnTo>
                        <a:pt x="1119" y="356"/>
                      </a:lnTo>
                      <a:lnTo>
                        <a:pt x="1119" y="356"/>
                      </a:lnTo>
                      <a:lnTo>
                        <a:pt x="1120" y="357"/>
                      </a:lnTo>
                      <a:lnTo>
                        <a:pt x="1119" y="357"/>
                      </a:lnTo>
                      <a:lnTo>
                        <a:pt x="1118" y="358"/>
                      </a:lnTo>
                      <a:lnTo>
                        <a:pt x="1118" y="358"/>
                      </a:lnTo>
                      <a:lnTo>
                        <a:pt x="1118" y="358"/>
                      </a:lnTo>
                      <a:lnTo>
                        <a:pt x="1118" y="358"/>
                      </a:lnTo>
                      <a:lnTo>
                        <a:pt x="1117" y="359"/>
                      </a:lnTo>
                      <a:lnTo>
                        <a:pt x="1117" y="359"/>
                      </a:lnTo>
                      <a:lnTo>
                        <a:pt x="1116" y="361"/>
                      </a:lnTo>
                      <a:lnTo>
                        <a:pt x="1116" y="361"/>
                      </a:lnTo>
                      <a:lnTo>
                        <a:pt x="1116" y="361"/>
                      </a:lnTo>
                      <a:close/>
                      <a:moveTo>
                        <a:pt x="904" y="357"/>
                      </a:moveTo>
                      <a:lnTo>
                        <a:pt x="903" y="357"/>
                      </a:lnTo>
                      <a:lnTo>
                        <a:pt x="902" y="357"/>
                      </a:lnTo>
                      <a:lnTo>
                        <a:pt x="902" y="356"/>
                      </a:lnTo>
                      <a:lnTo>
                        <a:pt x="902" y="356"/>
                      </a:lnTo>
                      <a:lnTo>
                        <a:pt x="902" y="355"/>
                      </a:lnTo>
                      <a:lnTo>
                        <a:pt x="900" y="354"/>
                      </a:lnTo>
                      <a:lnTo>
                        <a:pt x="899" y="354"/>
                      </a:lnTo>
                      <a:lnTo>
                        <a:pt x="899" y="352"/>
                      </a:lnTo>
                      <a:lnTo>
                        <a:pt x="899" y="351"/>
                      </a:lnTo>
                      <a:lnTo>
                        <a:pt x="900" y="350"/>
                      </a:lnTo>
                      <a:lnTo>
                        <a:pt x="902" y="346"/>
                      </a:lnTo>
                      <a:lnTo>
                        <a:pt x="904" y="345"/>
                      </a:lnTo>
                      <a:lnTo>
                        <a:pt x="904" y="345"/>
                      </a:lnTo>
                      <a:lnTo>
                        <a:pt x="905" y="345"/>
                      </a:lnTo>
                      <a:lnTo>
                        <a:pt x="906" y="344"/>
                      </a:lnTo>
                      <a:lnTo>
                        <a:pt x="908" y="343"/>
                      </a:lnTo>
                      <a:lnTo>
                        <a:pt x="908" y="343"/>
                      </a:lnTo>
                      <a:lnTo>
                        <a:pt x="909" y="343"/>
                      </a:lnTo>
                      <a:lnTo>
                        <a:pt x="910" y="342"/>
                      </a:lnTo>
                      <a:lnTo>
                        <a:pt x="913" y="342"/>
                      </a:lnTo>
                      <a:lnTo>
                        <a:pt x="915" y="342"/>
                      </a:lnTo>
                      <a:lnTo>
                        <a:pt x="917" y="342"/>
                      </a:lnTo>
                      <a:lnTo>
                        <a:pt x="917" y="343"/>
                      </a:lnTo>
                      <a:lnTo>
                        <a:pt x="917" y="344"/>
                      </a:lnTo>
                      <a:lnTo>
                        <a:pt x="917" y="344"/>
                      </a:lnTo>
                      <a:lnTo>
                        <a:pt x="916" y="346"/>
                      </a:lnTo>
                      <a:lnTo>
                        <a:pt x="915" y="348"/>
                      </a:lnTo>
                      <a:lnTo>
                        <a:pt x="913" y="349"/>
                      </a:lnTo>
                      <a:lnTo>
                        <a:pt x="913" y="350"/>
                      </a:lnTo>
                      <a:lnTo>
                        <a:pt x="912" y="350"/>
                      </a:lnTo>
                      <a:lnTo>
                        <a:pt x="909" y="354"/>
                      </a:lnTo>
                      <a:lnTo>
                        <a:pt x="906" y="354"/>
                      </a:lnTo>
                      <a:lnTo>
                        <a:pt x="905" y="355"/>
                      </a:lnTo>
                      <a:lnTo>
                        <a:pt x="904" y="357"/>
                      </a:lnTo>
                      <a:lnTo>
                        <a:pt x="904" y="357"/>
                      </a:lnTo>
                      <a:close/>
                      <a:moveTo>
                        <a:pt x="374" y="373"/>
                      </a:moveTo>
                      <a:lnTo>
                        <a:pt x="385" y="372"/>
                      </a:lnTo>
                      <a:lnTo>
                        <a:pt x="404" y="370"/>
                      </a:lnTo>
                      <a:lnTo>
                        <a:pt x="408" y="369"/>
                      </a:lnTo>
                      <a:lnTo>
                        <a:pt x="417" y="362"/>
                      </a:lnTo>
                      <a:lnTo>
                        <a:pt x="423" y="362"/>
                      </a:lnTo>
                      <a:lnTo>
                        <a:pt x="427" y="363"/>
                      </a:lnTo>
                      <a:lnTo>
                        <a:pt x="454" y="351"/>
                      </a:lnTo>
                      <a:lnTo>
                        <a:pt x="463" y="346"/>
                      </a:lnTo>
                      <a:lnTo>
                        <a:pt x="478" y="343"/>
                      </a:lnTo>
                      <a:lnTo>
                        <a:pt x="483" y="342"/>
                      </a:lnTo>
                      <a:lnTo>
                        <a:pt x="472" y="342"/>
                      </a:lnTo>
                      <a:lnTo>
                        <a:pt x="488" y="338"/>
                      </a:lnTo>
                      <a:lnTo>
                        <a:pt x="482" y="337"/>
                      </a:lnTo>
                      <a:lnTo>
                        <a:pt x="466" y="341"/>
                      </a:lnTo>
                      <a:lnTo>
                        <a:pt x="458" y="344"/>
                      </a:lnTo>
                      <a:lnTo>
                        <a:pt x="464" y="339"/>
                      </a:lnTo>
                      <a:lnTo>
                        <a:pt x="484" y="336"/>
                      </a:lnTo>
                      <a:lnTo>
                        <a:pt x="495" y="339"/>
                      </a:lnTo>
                      <a:lnTo>
                        <a:pt x="495" y="341"/>
                      </a:lnTo>
                      <a:lnTo>
                        <a:pt x="501" y="337"/>
                      </a:lnTo>
                      <a:lnTo>
                        <a:pt x="502" y="336"/>
                      </a:lnTo>
                      <a:lnTo>
                        <a:pt x="491" y="334"/>
                      </a:lnTo>
                      <a:lnTo>
                        <a:pt x="482" y="334"/>
                      </a:lnTo>
                      <a:lnTo>
                        <a:pt x="465" y="337"/>
                      </a:lnTo>
                      <a:lnTo>
                        <a:pt x="457" y="344"/>
                      </a:lnTo>
                      <a:lnTo>
                        <a:pt x="446" y="348"/>
                      </a:lnTo>
                      <a:lnTo>
                        <a:pt x="436" y="350"/>
                      </a:lnTo>
                      <a:lnTo>
                        <a:pt x="425" y="349"/>
                      </a:lnTo>
                      <a:lnTo>
                        <a:pt x="418" y="343"/>
                      </a:lnTo>
                      <a:lnTo>
                        <a:pt x="412" y="343"/>
                      </a:lnTo>
                      <a:lnTo>
                        <a:pt x="405" y="336"/>
                      </a:lnTo>
                      <a:lnTo>
                        <a:pt x="405" y="332"/>
                      </a:lnTo>
                      <a:lnTo>
                        <a:pt x="401" y="332"/>
                      </a:lnTo>
                      <a:lnTo>
                        <a:pt x="401" y="335"/>
                      </a:lnTo>
                      <a:lnTo>
                        <a:pt x="404" y="342"/>
                      </a:lnTo>
                      <a:lnTo>
                        <a:pt x="408" y="343"/>
                      </a:lnTo>
                      <a:lnTo>
                        <a:pt x="409" y="354"/>
                      </a:lnTo>
                      <a:lnTo>
                        <a:pt x="404" y="356"/>
                      </a:lnTo>
                      <a:lnTo>
                        <a:pt x="398" y="356"/>
                      </a:lnTo>
                      <a:lnTo>
                        <a:pt x="397" y="355"/>
                      </a:lnTo>
                      <a:lnTo>
                        <a:pt x="394" y="356"/>
                      </a:lnTo>
                      <a:lnTo>
                        <a:pt x="387" y="361"/>
                      </a:lnTo>
                      <a:lnTo>
                        <a:pt x="381" y="363"/>
                      </a:lnTo>
                      <a:lnTo>
                        <a:pt x="378" y="365"/>
                      </a:lnTo>
                      <a:lnTo>
                        <a:pt x="372" y="364"/>
                      </a:lnTo>
                      <a:lnTo>
                        <a:pt x="369" y="364"/>
                      </a:lnTo>
                      <a:lnTo>
                        <a:pt x="367" y="365"/>
                      </a:lnTo>
                      <a:lnTo>
                        <a:pt x="358" y="365"/>
                      </a:lnTo>
                      <a:lnTo>
                        <a:pt x="359" y="369"/>
                      </a:lnTo>
                      <a:lnTo>
                        <a:pt x="367" y="369"/>
                      </a:lnTo>
                      <a:lnTo>
                        <a:pt x="374" y="373"/>
                      </a:lnTo>
                      <a:lnTo>
                        <a:pt x="374" y="373"/>
                      </a:lnTo>
                      <a:close/>
                      <a:moveTo>
                        <a:pt x="1105" y="351"/>
                      </a:moveTo>
                      <a:lnTo>
                        <a:pt x="1102" y="351"/>
                      </a:lnTo>
                      <a:lnTo>
                        <a:pt x="1099" y="349"/>
                      </a:lnTo>
                      <a:lnTo>
                        <a:pt x="1092" y="346"/>
                      </a:lnTo>
                      <a:lnTo>
                        <a:pt x="1090" y="345"/>
                      </a:lnTo>
                      <a:lnTo>
                        <a:pt x="1078" y="344"/>
                      </a:lnTo>
                      <a:lnTo>
                        <a:pt x="1068" y="341"/>
                      </a:lnTo>
                      <a:lnTo>
                        <a:pt x="1063" y="338"/>
                      </a:lnTo>
                      <a:lnTo>
                        <a:pt x="1064" y="337"/>
                      </a:lnTo>
                      <a:lnTo>
                        <a:pt x="1065" y="335"/>
                      </a:lnTo>
                      <a:lnTo>
                        <a:pt x="1060" y="334"/>
                      </a:lnTo>
                      <a:lnTo>
                        <a:pt x="1056" y="335"/>
                      </a:lnTo>
                      <a:lnTo>
                        <a:pt x="1052" y="332"/>
                      </a:lnTo>
                      <a:lnTo>
                        <a:pt x="1039" y="328"/>
                      </a:lnTo>
                      <a:lnTo>
                        <a:pt x="1039" y="326"/>
                      </a:lnTo>
                      <a:lnTo>
                        <a:pt x="1038" y="322"/>
                      </a:lnTo>
                      <a:lnTo>
                        <a:pt x="1043" y="322"/>
                      </a:lnTo>
                      <a:lnTo>
                        <a:pt x="1048" y="321"/>
                      </a:lnTo>
                      <a:lnTo>
                        <a:pt x="1048" y="319"/>
                      </a:lnTo>
                      <a:lnTo>
                        <a:pt x="1045" y="318"/>
                      </a:lnTo>
                      <a:lnTo>
                        <a:pt x="1042" y="315"/>
                      </a:lnTo>
                      <a:lnTo>
                        <a:pt x="1039" y="317"/>
                      </a:lnTo>
                      <a:lnTo>
                        <a:pt x="1037" y="316"/>
                      </a:lnTo>
                      <a:lnTo>
                        <a:pt x="1039" y="311"/>
                      </a:lnTo>
                      <a:lnTo>
                        <a:pt x="1038" y="311"/>
                      </a:lnTo>
                      <a:lnTo>
                        <a:pt x="1037" y="314"/>
                      </a:lnTo>
                      <a:lnTo>
                        <a:pt x="1035" y="316"/>
                      </a:lnTo>
                      <a:lnTo>
                        <a:pt x="1033" y="312"/>
                      </a:lnTo>
                      <a:lnTo>
                        <a:pt x="1031" y="310"/>
                      </a:lnTo>
                      <a:lnTo>
                        <a:pt x="1032" y="309"/>
                      </a:lnTo>
                      <a:lnTo>
                        <a:pt x="1030" y="309"/>
                      </a:lnTo>
                      <a:lnTo>
                        <a:pt x="1030" y="306"/>
                      </a:lnTo>
                      <a:lnTo>
                        <a:pt x="1029" y="305"/>
                      </a:lnTo>
                      <a:lnTo>
                        <a:pt x="1028" y="306"/>
                      </a:lnTo>
                      <a:lnTo>
                        <a:pt x="1028" y="304"/>
                      </a:lnTo>
                      <a:lnTo>
                        <a:pt x="1033" y="301"/>
                      </a:lnTo>
                      <a:lnTo>
                        <a:pt x="1032" y="299"/>
                      </a:lnTo>
                      <a:lnTo>
                        <a:pt x="1024" y="304"/>
                      </a:lnTo>
                      <a:lnTo>
                        <a:pt x="1026" y="301"/>
                      </a:lnTo>
                      <a:lnTo>
                        <a:pt x="1029" y="301"/>
                      </a:lnTo>
                      <a:lnTo>
                        <a:pt x="1025" y="301"/>
                      </a:lnTo>
                      <a:lnTo>
                        <a:pt x="1024" y="301"/>
                      </a:lnTo>
                      <a:lnTo>
                        <a:pt x="1023" y="301"/>
                      </a:lnTo>
                      <a:lnTo>
                        <a:pt x="1018" y="305"/>
                      </a:lnTo>
                      <a:lnTo>
                        <a:pt x="1017" y="305"/>
                      </a:lnTo>
                      <a:lnTo>
                        <a:pt x="1023" y="299"/>
                      </a:lnTo>
                      <a:lnTo>
                        <a:pt x="1022" y="298"/>
                      </a:lnTo>
                      <a:lnTo>
                        <a:pt x="1017" y="301"/>
                      </a:lnTo>
                      <a:lnTo>
                        <a:pt x="1015" y="299"/>
                      </a:lnTo>
                      <a:lnTo>
                        <a:pt x="1015" y="298"/>
                      </a:lnTo>
                      <a:lnTo>
                        <a:pt x="1016" y="297"/>
                      </a:lnTo>
                      <a:lnTo>
                        <a:pt x="1015" y="297"/>
                      </a:lnTo>
                      <a:lnTo>
                        <a:pt x="1012" y="297"/>
                      </a:lnTo>
                      <a:lnTo>
                        <a:pt x="1010" y="298"/>
                      </a:lnTo>
                      <a:lnTo>
                        <a:pt x="1013" y="301"/>
                      </a:lnTo>
                      <a:lnTo>
                        <a:pt x="1010" y="304"/>
                      </a:lnTo>
                      <a:lnTo>
                        <a:pt x="1003" y="303"/>
                      </a:lnTo>
                      <a:lnTo>
                        <a:pt x="1003" y="302"/>
                      </a:lnTo>
                      <a:lnTo>
                        <a:pt x="997" y="301"/>
                      </a:lnTo>
                      <a:lnTo>
                        <a:pt x="996" y="303"/>
                      </a:lnTo>
                      <a:lnTo>
                        <a:pt x="996" y="303"/>
                      </a:lnTo>
                      <a:lnTo>
                        <a:pt x="995" y="303"/>
                      </a:lnTo>
                      <a:lnTo>
                        <a:pt x="995" y="304"/>
                      </a:lnTo>
                      <a:lnTo>
                        <a:pt x="991" y="304"/>
                      </a:lnTo>
                      <a:lnTo>
                        <a:pt x="986" y="305"/>
                      </a:lnTo>
                      <a:lnTo>
                        <a:pt x="988" y="305"/>
                      </a:lnTo>
                      <a:lnTo>
                        <a:pt x="985" y="306"/>
                      </a:lnTo>
                      <a:lnTo>
                        <a:pt x="982" y="305"/>
                      </a:lnTo>
                      <a:lnTo>
                        <a:pt x="979" y="308"/>
                      </a:lnTo>
                      <a:lnTo>
                        <a:pt x="970" y="306"/>
                      </a:lnTo>
                      <a:lnTo>
                        <a:pt x="971" y="305"/>
                      </a:lnTo>
                      <a:lnTo>
                        <a:pt x="968" y="304"/>
                      </a:lnTo>
                      <a:lnTo>
                        <a:pt x="966" y="305"/>
                      </a:lnTo>
                      <a:lnTo>
                        <a:pt x="965" y="304"/>
                      </a:lnTo>
                      <a:lnTo>
                        <a:pt x="963" y="301"/>
                      </a:lnTo>
                      <a:lnTo>
                        <a:pt x="964" y="298"/>
                      </a:lnTo>
                      <a:lnTo>
                        <a:pt x="966" y="297"/>
                      </a:lnTo>
                      <a:lnTo>
                        <a:pt x="968" y="294"/>
                      </a:lnTo>
                      <a:lnTo>
                        <a:pt x="971" y="292"/>
                      </a:lnTo>
                      <a:lnTo>
                        <a:pt x="982" y="290"/>
                      </a:lnTo>
                      <a:lnTo>
                        <a:pt x="982" y="289"/>
                      </a:lnTo>
                      <a:lnTo>
                        <a:pt x="980" y="288"/>
                      </a:lnTo>
                      <a:lnTo>
                        <a:pt x="982" y="286"/>
                      </a:lnTo>
                      <a:lnTo>
                        <a:pt x="985" y="286"/>
                      </a:lnTo>
                      <a:lnTo>
                        <a:pt x="984" y="285"/>
                      </a:lnTo>
                      <a:lnTo>
                        <a:pt x="984" y="284"/>
                      </a:lnTo>
                      <a:lnTo>
                        <a:pt x="1002" y="288"/>
                      </a:lnTo>
                      <a:lnTo>
                        <a:pt x="1003" y="288"/>
                      </a:lnTo>
                      <a:lnTo>
                        <a:pt x="1005" y="288"/>
                      </a:lnTo>
                      <a:lnTo>
                        <a:pt x="1009" y="288"/>
                      </a:lnTo>
                      <a:lnTo>
                        <a:pt x="1013" y="288"/>
                      </a:lnTo>
                      <a:lnTo>
                        <a:pt x="1015" y="286"/>
                      </a:lnTo>
                      <a:lnTo>
                        <a:pt x="1017" y="286"/>
                      </a:lnTo>
                      <a:lnTo>
                        <a:pt x="1018" y="286"/>
                      </a:lnTo>
                      <a:lnTo>
                        <a:pt x="1024" y="286"/>
                      </a:lnTo>
                      <a:lnTo>
                        <a:pt x="1029" y="284"/>
                      </a:lnTo>
                      <a:lnTo>
                        <a:pt x="1036" y="285"/>
                      </a:lnTo>
                      <a:lnTo>
                        <a:pt x="1038" y="283"/>
                      </a:lnTo>
                      <a:lnTo>
                        <a:pt x="1037" y="281"/>
                      </a:lnTo>
                      <a:lnTo>
                        <a:pt x="1037" y="279"/>
                      </a:lnTo>
                      <a:lnTo>
                        <a:pt x="1033" y="276"/>
                      </a:lnTo>
                      <a:lnTo>
                        <a:pt x="1032" y="274"/>
                      </a:lnTo>
                      <a:lnTo>
                        <a:pt x="1036" y="271"/>
                      </a:lnTo>
                      <a:lnTo>
                        <a:pt x="1050" y="265"/>
                      </a:lnTo>
                      <a:lnTo>
                        <a:pt x="1053" y="264"/>
                      </a:lnTo>
                      <a:lnTo>
                        <a:pt x="1059" y="262"/>
                      </a:lnTo>
                      <a:lnTo>
                        <a:pt x="1064" y="257"/>
                      </a:lnTo>
                      <a:lnTo>
                        <a:pt x="1068" y="256"/>
                      </a:lnTo>
                      <a:lnTo>
                        <a:pt x="1071" y="256"/>
                      </a:lnTo>
                      <a:lnTo>
                        <a:pt x="1072" y="254"/>
                      </a:lnTo>
                      <a:lnTo>
                        <a:pt x="1075" y="246"/>
                      </a:lnTo>
                      <a:lnTo>
                        <a:pt x="1073" y="246"/>
                      </a:lnTo>
                      <a:lnTo>
                        <a:pt x="1076" y="243"/>
                      </a:lnTo>
                      <a:lnTo>
                        <a:pt x="1073" y="242"/>
                      </a:lnTo>
                      <a:lnTo>
                        <a:pt x="1075" y="237"/>
                      </a:lnTo>
                      <a:lnTo>
                        <a:pt x="1072" y="235"/>
                      </a:lnTo>
                      <a:lnTo>
                        <a:pt x="1065" y="234"/>
                      </a:lnTo>
                      <a:lnTo>
                        <a:pt x="1066" y="232"/>
                      </a:lnTo>
                      <a:lnTo>
                        <a:pt x="1071" y="231"/>
                      </a:lnTo>
                      <a:lnTo>
                        <a:pt x="1066" y="231"/>
                      </a:lnTo>
                      <a:lnTo>
                        <a:pt x="1069" y="230"/>
                      </a:lnTo>
                      <a:lnTo>
                        <a:pt x="1069" y="228"/>
                      </a:lnTo>
                      <a:lnTo>
                        <a:pt x="1066" y="226"/>
                      </a:lnTo>
                      <a:lnTo>
                        <a:pt x="1065" y="228"/>
                      </a:lnTo>
                      <a:lnTo>
                        <a:pt x="1066" y="229"/>
                      </a:lnTo>
                      <a:lnTo>
                        <a:pt x="1065" y="230"/>
                      </a:lnTo>
                      <a:lnTo>
                        <a:pt x="1059" y="229"/>
                      </a:lnTo>
                      <a:lnTo>
                        <a:pt x="1058" y="225"/>
                      </a:lnTo>
                      <a:lnTo>
                        <a:pt x="1057" y="225"/>
                      </a:lnTo>
                      <a:lnTo>
                        <a:pt x="1060" y="223"/>
                      </a:lnTo>
                      <a:lnTo>
                        <a:pt x="1059" y="223"/>
                      </a:lnTo>
                      <a:lnTo>
                        <a:pt x="1066" y="222"/>
                      </a:lnTo>
                      <a:lnTo>
                        <a:pt x="1063" y="222"/>
                      </a:lnTo>
                      <a:lnTo>
                        <a:pt x="1057" y="223"/>
                      </a:lnTo>
                      <a:lnTo>
                        <a:pt x="1059" y="222"/>
                      </a:lnTo>
                      <a:lnTo>
                        <a:pt x="1062" y="222"/>
                      </a:lnTo>
                      <a:lnTo>
                        <a:pt x="1059" y="221"/>
                      </a:lnTo>
                      <a:lnTo>
                        <a:pt x="1055" y="223"/>
                      </a:lnTo>
                      <a:lnTo>
                        <a:pt x="1050" y="222"/>
                      </a:lnTo>
                      <a:lnTo>
                        <a:pt x="1045" y="225"/>
                      </a:lnTo>
                      <a:lnTo>
                        <a:pt x="1036" y="228"/>
                      </a:lnTo>
                      <a:lnTo>
                        <a:pt x="1032" y="226"/>
                      </a:lnTo>
                      <a:lnTo>
                        <a:pt x="1036" y="224"/>
                      </a:lnTo>
                      <a:lnTo>
                        <a:pt x="1035" y="224"/>
                      </a:lnTo>
                      <a:lnTo>
                        <a:pt x="1035" y="223"/>
                      </a:lnTo>
                      <a:lnTo>
                        <a:pt x="1038" y="222"/>
                      </a:lnTo>
                      <a:lnTo>
                        <a:pt x="1043" y="222"/>
                      </a:lnTo>
                      <a:lnTo>
                        <a:pt x="1046" y="222"/>
                      </a:lnTo>
                      <a:lnTo>
                        <a:pt x="1050" y="221"/>
                      </a:lnTo>
                      <a:lnTo>
                        <a:pt x="1051" y="218"/>
                      </a:lnTo>
                      <a:lnTo>
                        <a:pt x="1048" y="216"/>
                      </a:lnTo>
                      <a:lnTo>
                        <a:pt x="1044" y="215"/>
                      </a:lnTo>
                      <a:lnTo>
                        <a:pt x="1042" y="212"/>
                      </a:lnTo>
                      <a:lnTo>
                        <a:pt x="1036" y="211"/>
                      </a:lnTo>
                      <a:lnTo>
                        <a:pt x="1040" y="210"/>
                      </a:lnTo>
                      <a:lnTo>
                        <a:pt x="1042" y="210"/>
                      </a:lnTo>
                      <a:lnTo>
                        <a:pt x="1040" y="208"/>
                      </a:lnTo>
                      <a:lnTo>
                        <a:pt x="1035" y="208"/>
                      </a:lnTo>
                      <a:lnTo>
                        <a:pt x="1032" y="210"/>
                      </a:lnTo>
                      <a:lnTo>
                        <a:pt x="1031" y="209"/>
                      </a:lnTo>
                      <a:lnTo>
                        <a:pt x="1037" y="201"/>
                      </a:lnTo>
                      <a:lnTo>
                        <a:pt x="1029" y="202"/>
                      </a:lnTo>
                      <a:lnTo>
                        <a:pt x="1028" y="201"/>
                      </a:lnTo>
                      <a:lnTo>
                        <a:pt x="1024" y="197"/>
                      </a:lnTo>
                      <a:lnTo>
                        <a:pt x="1020" y="196"/>
                      </a:lnTo>
                      <a:lnTo>
                        <a:pt x="1018" y="197"/>
                      </a:lnTo>
                      <a:lnTo>
                        <a:pt x="1016" y="196"/>
                      </a:lnTo>
                      <a:lnTo>
                        <a:pt x="1013" y="198"/>
                      </a:lnTo>
                      <a:lnTo>
                        <a:pt x="1019" y="199"/>
                      </a:lnTo>
                      <a:lnTo>
                        <a:pt x="1022" y="199"/>
                      </a:lnTo>
                      <a:lnTo>
                        <a:pt x="1020" y="205"/>
                      </a:lnTo>
                      <a:lnTo>
                        <a:pt x="1017" y="207"/>
                      </a:lnTo>
                      <a:lnTo>
                        <a:pt x="1005" y="207"/>
                      </a:lnTo>
                      <a:lnTo>
                        <a:pt x="1004" y="204"/>
                      </a:lnTo>
                      <a:lnTo>
                        <a:pt x="999" y="205"/>
                      </a:lnTo>
                      <a:lnTo>
                        <a:pt x="997" y="204"/>
                      </a:lnTo>
                      <a:lnTo>
                        <a:pt x="982" y="203"/>
                      </a:lnTo>
                      <a:lnTo>
                        <a:pt x="984" y="204"/>
                      </a:lnTo>
                      <a:lnTo>
                        <a:pt x="986" y="204"/>
                      </a:lnTo>
                      <a:lnTo>
                        <a:pt x="990" y="208"/>
                      </a:lnTo>
                      <a:lnTo>
                        <a:pt x="988" y="210"/>
                      </a:lnTo>
                      <a:lnTo>
                        <a:pt x="983" y="207"/>
                      </a:lnTo>
                      <a:lnTo>
                        <a:pt x="973" y="202"/>
                      </a:lnTo>
                      <a:lnTo>
                        <a:pt x="972" y="202"/>
                      </a:lnTo>
                      <a:lnTo>
                        <a:pt x="979" y="207"/>
                      </a:lnTo>
                      <a:lnTo>
                        <a:pt x="977" y="208"/>
                      </a:lnTo>
                      <a:lnTo>
                        <a:pt x="975" y="207"/>
                      </a:lnTo>
                      <a:lnTo>
                        <a:pt x="972" y="208"/>
                      </a:lnTo>
                      <a:lnTo>
                        <a:pt x="971" y="208"/>
                      </a:lnTo>
                      <a:lnTo>
                        <a:pt x="971" y="208"/>
                      </a:lnTo>
                      <a:lnTo>
                        <a:pt x="963" y="204"/>
                      </a:lnTo>
                      <a:lnTo>
                        <a:pt x="955" y="205"/>
                      </a:lnTo>
                      <a:lnTo>
                        <a:pt x="940" y="204"/>
                      </a:lnTo>
                      <a:lnTo>
                        <a:pt x="942" y="203"/>
                      </a:lnTo>
                      <a:lnTo>
                        <a:pt x="928" y="203"/>
                      </a:lnTo>
                      <a:lnTo>
                        <a:pt x="928" y="204"/>
                      </a:lnTo>
                      <a:lnTo>
                        <a:pt x="931" y="204"/>
                      </a:lnTo>
                      <a:lnTo>
                        <a:pt x="935" y="205"/>
                      </a:lnTo>
                      <a:lnTo>
                        <a:pt x="928" y="205"/>
                      </a:lnTo>
                      <a:lnTo>
                        <a:pt x="923" y="203"/>
                      </a:lnTo>
                      <a:lnTo>
                        <a:pt x="920" y="202"/>
                      </a:lnTo>
                      <a:lnTo>
                        <a:pt x="923" y="198"/>
                      </a:lnTo>
                      <a:lnTo>
                        <a:pt x="928" y="197"/>
                      </a:lnTo>
                      <a:lnTo>
                        <a:pt x="923" y="198"/>
                      </a:lnTo>
                      <a:lnTo>
                        <a:pt x="920" y="199"/>
                      </a:lnTo>
                      <a:lnTo>
                        <a:pt x="918" y="199"/>
                      </a:lnTo>
                      <a:lnTo>
                        <a:pt x="918" y="197"/>
                      </a:lnTo>
                      <a:lnTo>
                        <a:pt x="917" y="197"/>
                      </a:lnTo>
                      <a:lnTo>
                        <a:pt x="915" y="198"/>
                      </a:lnTo>
                      <a:lnTo>
                        <a:pt x="916" y="198"/>
                      </a:lnTo>
                      <a:lnTo>
                        <a:pt x="915" y="201"/>
                      </a:lnTo>
                      <a:lnTo>
                        <a:pt x="905" y="199"/>
                      </a:lnTo>
                      <a:lnTo>
                        <a:pt x="906" y="201"/>
                      </a:lnTo>
                      <a:lnTo>
                        <a:pt x="904" y="201"/>
                      </a:lnTo>
                      <a:lnTo>
                        <a:pt x="899" y="199"/>
                      </a:lnTo>
                      <a:lnTo>
                        <a:pt x="904" y="199"/>
                      </a:lnTo>
                      <a:lnTo>
                        <a:pt x="900" y="198"/>
                      </a:lnTo>
                      <a:lnTo>
                        <a:pt x="897" y="197"/>
                      </a:lnTo>
                      <a:lnTo>
                        <a:pt x="895" y="194"/>
                      </a:lnTo>
                      <a:lnTo>
                        <a:pt x="892" y="191"/>
                      </a:lnTo>
                      <a:lnTo>
                        <a:pt x="893" y="189"/>
                      </a:lnTo>
                      <a:lnTo>
                        <a:pt x="897" y="189"/>
                      </a:lnTo>
                      <a:lnTo>
                        <a:pt x="895" y="188"/>
                      </a:lnTo>
                      <a:lnTo>
                        <a:pt x="895" y="187"/>
                      </a:lnTo>
                      <a:lnTo>
                        <a:pt x="897" y="188"/>
                      </a:lnTo>
                      <a:lnTo>
                        <a:pt x="906" y="188"/>
                      </a:lnTo>
                      <a:lnTo>
                        <a:pt x="908" y="189"/>
                      </a:lnTo>
                      <a:lnTo>
                        <a:pt x="924" y="188"/>
                      </a:lnTo>
                      <a:lnTo>
                        <a:pt x="918" y="185"/>
                      </a:lnTo>
                      <a:lnTo>
                        <a:pt x="918" y="184"/>
                      </a:lnTo>
                      <a:lnTo>
                        <a:pt x="915" y="184"/>
                      </a:lnTo>
                      <a:lnTo>
                        <a:pt x="893" y="182"/>
                      </a:lnTo>
                      <a:lnTo>
                        <a:pt x="893" y="181"/>
                      </a:lnTo>
                      <a:lnTo>
                        <a:pt x="896" y="177"/>
                      </a:lnTo>
                      <a:lnTo>
                        <a:pt x="899" y="176"/>
                      </a:lnTo>
                      <a:lnTo>
                        <a:pt x="898" y="172"/>
                      </a:lnTo>
                      <a:lnTo>
                        <a:pt x="902" y="171"/>
                      </a:lnTo>
                      <a:lnTo>
                        <a:pt x="902" y="169"/>
                      </a:lnTo>
                      <a:lnTo>
                        <a:pt x="909" y="168"/>
                      </a:lnTo>
                      <a:lnTo>
                        <a:pt x="905" y="168"/>
                      </a:lnTo>
                      <a:lnTo>
                        <a:pt x="915" y="159"/>
                      </a:lnTo>
                      <a:lnTo>
                        <a:pt x="917" y="159"/>
                      </a:lnTo>
                      <a:lnTo>
                        <a:pt x="919" y="157"/>
                      </a:lnTo>
                      <a:lnTo>
                        <a:pt x="920" y="157"/>
                      </a:lnTo>
                      <a:lnTo>
                        <a:pt x="925" y="154"/>
                      </a:lnTo>
                      <a:lnTo>
                        <a:pt x="935" y="149"/>
                      </a:lnTo>
                      <a:lnTo>
                        <a:pt x="943" y="144"/>
                      </a:lnTo>
                      <a:lnTo>
                        <a:pt x="951" y="143"/>
                      </a:lnTo>
                      <a:lnTo>
                        <a:pt x="958" y="143"/>
                      </a:lnTo>
                      <a:lnTo>
                        <a:pt x="965" y="141"/>
                      </a:lnTo>
                      <a:lnTo>
                        <a:pt x="969" y="139"/>
                      </a:lnTo>
                      <a:lnTo>
                        <a:pt x="973" y="141"/>
                      </a:lnTo>
                      <a:lnTo>
                        <a:pt x="978" y="137"/>
                      </a:lnTo>
                      <a:lnTo>
                        <a:pt x="983" y="137"/>
                      </a:lnTo>
                      <a:lnTo>
                        <a:pt x="988" y="137"/>
                      </a:lnTo>
                      <a:lnTo>
                        <a:pt x="992" y="141"/>
                      </a:lnTo>
                      <a:lnTo>
                        <a:pt x="993" y="139"/>
                      </a:lnTo>
                      <a:lnTo>
                        <a:pt x="991" y="138"/>
                      </a:lnTo>
                      <a:lnTo>
                        <a:pt x="989" y="141"/>
                      </a:lnTo>
                      <a:lnTo>
                        <a:pt x="991" y="142"/>
                      </a:lnTo>
                      <a:lnTo>
                        <a:pt x="988" y="143"/>
                      </a:lnTo>
                      <a:lnTo>
                        <a:pt x="976" y="147"/>
                      </a:lnTo>
                      <a:lnTo>
                        <a:pt x="956" y="156"/>
                      </a:lnTo>
                      <a:lnTo>
                        <a:pt x="953" y="158"/>
                      </a:lnTo>
                      <a:lnTo>
                        <a:pt x="955" y="163"/>
                      </a:lnTo>
                      <a:lnTo>
                        <a:pt x="951" y="165"/>
                      </a:lnTo>
                      <a:lnTo>
                        <a:pt x="948" y="170"/>
                      </a:lnTo>
                      <a:lnTo>
                        <a:pt x="948" y="174"/>
                      </a:lnTo>
                      <a:lnTo>
                        <a:pt x="952" y="179"/>
                      </a:lnTo>
                      <a:lnTo>
                        <a:pt x="959" y="181"/>
                      </a:lnTo>
                      <a:lnTo>
                        <a:pt x="963" y="181"/>
                      </a:lnTo>
                      <a:lnTo>
                        <a:pt x="965" y="176"/>
                      </a:lnTo>
                      <a:lnTo>
                        <a:pt x="963" y="176"/>
                      </a:lnTo>
                      <a:lnTo>
                        <a:pt x="962" y="177"/>
                      </a:lnTo>
                      <a:lnTo>
                        <a:pt x="957" y="176"/>
                      </a:lnTo>
                      <a:lnTo>
                        <a:pt x="956" y="175"/>
                      </a:lnTo>
                      <a:lnTo>
                        <a:pt x="956" y="172"/>
                      </a:lnTo>
                      <a:lnTo>
                        <a:pt x="951" y="171"/>
                      </a:lnTo>
                      <a:lnTo>
                        <a:pt x="953" y="170"/>
                      </a:lnTo>
                      <a:lnTo>
                        <a:pt x="958" y="169"/>
                      </a:lnTo>
                      <a:lnTo>
                        <a:pt x="962" y="167"/>
                      </a:lnTo>
                      <a:lnTo>
                        <a:pt x="969" y="167"/>
                      </a:lnTo>
                      <a:lnTo>
                        <a:pt x="971" y="164"/>
                      </a:lnTo>
                      <a:lnTo>
                        <a:pt x="968" y="164"/>
                      </a:lnTo>
                      <a:lnTo>
                        <a:pt x="965" y="163"/>
                      </a:lnTo>
                      <a:lnTo>
                        <a:pt x="968" y="156"/>
                      </a:lnTo>
                      <a:lnTo>
                        <a:pt x="971" y="155"/>
                      </a:lnTo>
                      <a:lnTo>
                        <a:pt x="973" y="155"/>
                      </a:lnTo>
                      <a:lnTo>
                        <a:pt x="986" y="158"/>
                      </a:lnTo>
                      <a:lnTo>
                        <a:pt x="988" y="157"/>
                      </a:lnTo>
                      <a:lnTo>
                        <a:pt x="973" y="154"/>
                      </a:lnTo>
                      <a:lnTo>
                        <a:pt x="976" y="152"/>
                      </a:lnTo>
                      <a:lnTo>
                        <a:pt x="985" y="154"/>
                      </a:lnTo>
                      <a:lnTo>
                        <a:pt x="995" y="154"/>
                      </a:lnTo>
                      <a:lnTo>
                        <a:pt x="985" y="151"/>
                      </a:lnTo>
                      <a:lnTo>
                        <a:pt x="980" y="150"/>
                      </a:lnTo>
                      <a:lnTo>
                        <a:pt x="985" y="148"/>
                      </a:lnTo>
                      <a:lnTo>
                        <a:pt x="988" y="148"/>
                      </a:lnTo>
                      <a:lnTo>
                        <a:pt x="989" y="150"/>
                      </a:lnTo>
                      <a:lnTo>
                        <a:pt x="990" y="150"/>
                      </a:lnTo>
                      <a:lnTo>
                        <a:pt x="991" y="147"/>
                      </a:lnTo>
                      <a:lnTo>
                        <a:pt x="996" y="147"/>
                      </a:lnTo>
                      <a:lnTo>
                        <a:pt x="1000" y="144"/>
                      </a:lnTo>
                      <a:lnTo>
                        <a:pt x="1006" y="144"/>
                      </a:lnTo>
                      <a:lnTo>
                        <a:pt x="1010" y="143"/>
                      </a:lnTo>
                      <a:lnTo>
                        <a:pt x="1018" y="141"/>
                      </a:lnTo>
                      <a:lnTo>
                        <a:pt x="1017" y="142"/>
                      </a:lnTo>
                      <a:lnTo>
                        <a:pt x="1023" y="139"/>
                      </a:lnTo>
                      <a:lnTo>
                        <a:pt x="1028" y="141"/>
                      </a:lnTo>
                      <a:lnTo>
                        <a:pt x="1029" y="141"/>
                      </a:lnTo>
                      <a:lnTo>
                        <a:pt x="1033" y="143"/>
                      </a:lnTo>
                      <a:lnTo>
                        <a:pt x="1033" y="145"/>
                      </a:lnTo>
                      <a:lnTo>
                        <a:pt x="1031" y="150"/>
                      </a:lnTo>
                      <a:lnTo>
                        <a:pt x="1036" y="152"/>
                      </a:lnTo>
                      <a:lnTo>
                        <a:pt x="1032" y="157"/>
                      </a:lnTo>
                      <a:lnTo>
                        <a:pt x="1035" y="158"/>
                      </a:lnTo>
                      <a:lnTo>
                        <a:pt x="1028" y="162"/>
                      </a:lnTo>
                      <a:lnTo>
                        <a:pt x="1024" y="164"/>
                      </a:lnTo>
                      <a:lnTo>
                        <a:pt x="1016" y="170"/>
                      </a:lnTo>
                      <a:lnTo>
                        <a:pt x="1016" y="172"/>
                      </a:lnTo>
                      <a:lnTo>
                        <a:pt x="1023" y="170"/>
                      </a:lnTo>
                      <a:lnTo>
                        <a:pt x="1025" y="168"/>
                      </a:lnTo>
                      <a:lnTo>
                        <a:pt x="1036" y="163"/>
                      </a:lnTo>
                      <a:lnTo>
                        <a:pt x="1038" y="164"/>
                      </a:lnTo>
                      <a:lnTo>
                        <a:pt x="1043" y="165"/>
                      </a:lnTo>
                      <a:lnTo>
                        <a:pt x="1053" y="165"/>
                      </a:lnTo>
                      <a:lnTo>
                        <a:pt x="1055" y="164"/>
                      </a:lnTo>
                      <a:lnTo>
                        <a:pt x="1053" y="163"/>
                      </a:lnTo>
                      <a:lnTo>
                        <a:pt x="1057" y="161"/>
                      </a:lnTo>
                      <a:lnTo>
                        <a:pt x="1064" y="159"/>
                      </a:lnTo>
                      <a:lnTo>
                        <a:pt x="1070" y="158"/>
                      </a:lnTo>
                      <a:lnTo>
                        <a:pt x="1077" y="158"/>
                      </a:lnTo>
                      <a:lnTo>
                        <a:pt x="1085" y="161"/>
                      </a:lnTo>
                      <a:lnTo>
                        <a:pt x="1086" y="163"/>
                      </a:lnTo>
                      <a:lnTo>
                        <a:pt x="1090" y="163"/>
                      </a:lnTo>
                      <a:lnTo>
                        <a:pt x="1090" y="161"/>
                      </a:lnTo>
                      <a:lnTo>
                        <a:pt x="1095" y="162"/>
                      </a:lnTo>
                      <a:lnTo>
                        <a:pt x="1097" y="163"/>
                      </a:lnTo>
                      <a:lnTo>
                        <a:pt x="1097" y="167"/>
                      </a:lnTo>
                      <a:lnTo>
                        <a:pt x="1092" y="169"/>
                      </a:lnTo>
                      <a:lnTo>
                        <a:pt x="1090" y="170"/>
                      </a:lnTo>
                      <a:lnTo>
                        <a:pt x="1096" y="169"/>
                      </a:lnTo>
                      <a:lnTo>
                        <a:pt x="1103" y="170"/>
                      </a:lnTo>
                      <a:lnTo>
                        <a:pt x="1100" y="172"/>
                      </a:lnTo>
                      <a:lnTo>
                        <a:pt x="1097" y="174"/>
                      </a:lnTo>
                      <a:lnTo>
                        <a:pt x="1093" y="176"/>
                      </a:lnTo>
                      <a:lnTo>
                        <a:pt x="1096" y="176"/>
                      </a:lnTo>
                      <a:lnTo>
                        <a:pt x="1099" y="175"/>
                      </a:lnTo>
                      <a:lnTo>
                        <a:pt x="1100" y="176"/>
                      </a:lnTo>
                      <a:lnTo>
                        <a:pt x="1105" y="175"/>
                      </a:lnTo>
                      <a:lnTo>
                        <a:pt x="1108" y="175"/>
                      </a:lnTo>
                      <a:lnTo>
                        <a:pt x="1104" y="176"/>
                      </a:lnTo>
                      <a:lnTo>
                        <a:pt x="1104" y="178"/>
                      </a:lnTo>
                      <a:lnTo>
                        <a:pt x="1105" y="178"/>
                      </a:lnTo>
                      <a:lnTo>
                        <a:pt x="1104" y="181"/>
                      </a:lnTo>
                      <a:lnTo>
                        <a:pt x="1106" y="182"/>
                      </a:lnTo>
                      <a:lnTo>
                        <a:pt x="1110" y="183"/>
                      </a:lnTo>
                      <a:lnTo>
                        <a:pt x="1111" y="182"/>
                      </a:lnTo>
                      <a:lnTo>
                        <a:pt x="1115" y="179"/>
                      </a:lnTo>
                      <a:lnTo>
                        <a:pt x="1120" y="176"/>
                      </a:lnTo>
                      <a:lnTo>
                        <a:pt x="1124" y="175"/>
                      </a:lnTo>
                      <a:lnTo>
                        <a:pt x="1126" y="176"/>
                      </a:lnTo>
                      <a:lnTo>
                        <a:pt x="1129" y="176"/>
                      </a:lnTo>
                      <a:lnTo>
                        <a:pt x="1131" y="177"/>
                      </a:lnTo>
                      <a:lnTo>
                        <a:pt x="1133" y="179"/>
                      </a:lnTo>
                      <a:lnTo>
                        <a:pt x="1136" y="181"/>
                      </a:lnTo>
                      <a:lnTo>
                        <a:pt x="1136" y="183"/>
                      </a:lnTo>
                      <a:lnTo>
                        <a:pt x="1129" y="188"/>
                      </a:lnTo>
                      <a:lnTo>
                        <a:pt x="1127" y="189"/>
                      </a:lnTo>
                      <a:lnTo>
                        <a:pt x="1129" y="189"/>
                      </a:lnTo>
                      <a:lnTo>
                        <a:pt x="1137" y="187"/>
                      </a:lnTo>
                      <a:lnTo>
                        <a:pt x="1138" y="189"/>
                      </a:lnTo>
                      <a:lnTo>
                        <a:pt x="1130" y="194"/>
                      </a:lnTo>
                      <a:lnTo>
                        <a:pt x="1132" y="194"/>
                      </a:lnTo>
                      <a:lnTo>
                        <a:pt x="1140" y="190"/>
                      </a:lnTo>
                      <a:lnTo>
                        <a:pt x="1144" y="190"/>
                      </a:lnTo>
                      <a:lnTo>
                        <a:pt x="1137" y="195"/>
                      </a:lnTo>
                      <a:lnTo>
                        <a:pt x="1140" y="195"/>
                      </a:lnTo>
                      <a:lnTo>
                        <a:pt x="1145" y="194"/>
                      </a:lnTo>
                      <a:lnTo>
                        <a:pt x="1146" y="191"/>
                      </a:lnTo>
                      <a:lnTo>
                        <a:pt x="1149" y="189"/>
                      </a:lnTo>
                      <a:lnTo>
                        <a:pt x="1152" y="190"/>
                      </a:lnTo>
                      <a:lnTo>
                        <a:pt x="1155" y="190"/>
                      </a:lnTo>
                      <a:lnTo>
                        <a:pt x="1157" y="191"/>
                      </a:lnTo>
                      <a:lnTo>
                        <a:pt x="1159" y="191"/>
                      </a:lnTo>
                      <a:lnTo>
                        <a:pt x="1158" y="195"/>
                      </a:lnTo>
                      <a:lnTo>
                        <a:pt x="1157" y="196"/>
                      </a:lnTo>
                      <a:lnTo>
                        <a:pt x="1155" y="199"/>
                      </a:lnTo>
                      <a:lnTo>
                        <a:pt x="1147" y="199"/>
                      </a:lnTo>
                      <a:lnTo>
                        <a:pt x="1143" y="202"/>
                      </a:lnTo>
                      <a:lnTo>
                        <a:pt x="1153" y="202"/>
                      </a:lnTo>
                      <a:lnTo>
                        <a:pt x="1149" y="205"/>
                      </a:lnTo>
                      <a:lnTo>
                        <a:pt x="1151" y="205"/>
                      </a:lnTo>
                      <a:lnTo>
                        <a:pt x="1158" y="203"/>
                      </a:lnTo>
                      <a:lnTo>
                        <a:pt x="1158" y="202"/>
                      </a:lnTo>
                      <a:lnTo>
                        <a:pt x="1160" y="198"/>
                      </a:lnTo>
                      <a:lnTo>
                        <a:pt x="1163" y="197"/>
                      </a:lnTo>
                      <a:lnTo>
                        <a:pt x="1165" y="197"/>
                      </a:lnTo>
                      <a:lnTo>
                        <a:pt x="1167" y="202"/>
                      </a:lnTo>
                      <a:lnTo>
                        <a:pt x="1167" y="204"/>
                      </a:lnTo>
                      <a:lnTo>
                        <a:pt x="1167" y="205"/>
                      </a:lnTo>
                      <a:lnTo>
                        <a:pt x="1167" y="208"/>
                      </a:lnTo>
                      <a:lnTo>
                        <a:pt x="1166" y="209"/>
                      </a:lnTo>
                      <a:lnTo>
                        <a:pt x="1160" y="209"/>
                      </a:lnTo>
                      <a:lnTo>
                        <a:pt x="1153" y="211"/>
                      </a:lnTo>
                      <a:lnTo>
                        <a:pt x="1147" y="212"/>
                      </a:lnTo>
                      <a:lnTo>
                        <a:pt x="1146" y="212"/>
                      </a:lnTo>
                      <a:lnTo>
                        <a:pt x="1156" y="214"/>
                      </a:lnTo>
                      <a:lnTo>
                        <a:pt x="1164" y="211"/>
                      </a:lnTo>
                      <a:lnTo>
                        <a:pt x="1169" y="212"/>
                      </a:lnTo>
                      <a:lnTo>
                        <a:pt x="1171" y="215"/>
                      </a:lnTo>
                      <a:lnTo>
                        <a:pt x="1170" y="217"/>
                      </a:lnTo>
                      <a:lnTo>
                        <a:pt x="1167" y="217"/>
                      </a:lnTo>
                      <a:lnTo>
                        <a:pt x="1164" y="217"/>
                      </a:lnTo>
                      <a:lnTo>
                        <a:pt x="1162" y="218"/>
                      </a:lnTo>
                      <a:lnTo>
                        <a:pt x="1157" y="219"/>
                      </a:lnTo>
                      <a:lnTo>
                        <a:pt x="1153" y="217"/>
                      </a:lnTo>
                      <a:lnTo>
                        <a:pt x="1147" y="217"/>
                      </a:lnTo>
                      <a:lnTo>
                        <a:pt x="1145" y="219"/>
                      </a:lnTo>
                      <a:lnTo>
                        <a:pt x="1151" y="222"/>
                      </a:lnTo>
                      <a:lnTo>
                        <a:pt x="1153" y="223"/>
                      </a:lnTo>
                      <a:lnTo>
                        <a:pt x="1147" y="224"/>
                      </a:lnTo>
                      <a:lnTo>
                        <a:pt x="1150" y="226"/>
                      </a:lnTo>
                      <a:lnTo>
                        <a:pt x="1150" y="226"/>
                      </a:lnTo>
                      <a:lnTo>
                        <a:pt x="1143" y="225"/>
                      </a:lnTo>
                      <a:lnTo>
                        <a:pt x="1139" y="228"/>
                      </a:lnTo>
                      <a:lnTo>
                        <a:pt x="1145" y="229"/>
                      </a:lnTo>
                      <a:lnTo>
                        <a:pt x="1144" y="229"/>
                      </a:lnTo>
                      <a:lnTo>
                        <a:pt x="1137" y="229"/>
                      </a:lnTo>
                      <a:lnTo>
                        <a:pt x="1145" y="230"/>
                      </a:lnTo>
                      <a:lnTo>
                        <a:pt x="1151" y="231"/>
                      </a:lnTo>
                      <a:lnTo>
                        <a:pt x="1152" y="232"/>
                      </a:lnTo>
                      <a:lnTo>
                        <a:pt x="1156" y="231"/>
                      </a:lnTo>
                      <a:lnTo>
                        <a:pt x="1151" y="235"/>
                      </a:lnTo>
                      <a:lnTo>
                        <a:pt x="1159" y="235"/>
                      </a:lnTo>
                      <a:lnTo>
                        <a:pt x="1157" y="236"/>
                      </a:lnTo>
                      <a:lnTo>
                        <a:pt x="1159" y="237"/>
                      </a:lnTo>
                      <a:lnTo>
                        <a:pt x="1160" y="235"/>
                      </a:lnTo>
                      <a:lnTo>
                        <a:pt x="1162" y="238"/>
                      </a:lnTo>
                      <a:lnTo>
                        <a:pt x="1164" y="237"/>
                      </a:lnTo>
                      <a:lnTo>
                        <a:pt x="1165" y="241"/>
                      </a:lnTo>
                      <a:lnTo>
                        <a:pt x="1164" y="241"/>
                      </a:lnTo>
                      <a:lnTo>
                        <a:pt x="1166" y="242"/>
                      </a:lnTo>
                      <a:lnTo>
                        <a:pt x="1167" y="241"/>
                      </a:lnTo>
                      <a:lnTo>
                        <a:pt x="1170" y="239"/>
                      </a:lnTo>
                      <a:lnTo>
                        <a:pt x="1172" y="241"/>
                      </a:lnTo>
                      <a:lnTo>
                        <a:pt x="1172" y="242"/>
                      </a:lnTo>
                      <a:lnTo>
                        <a:pt x="1179" y="239"/>
                      </a:lnTo>
                      <a:lnTo>
                        <a:pt x="1180" y="241"/>
                      </a:lnTo>
                      <a:lnTo>
                        <a:pt x="1177" y="242"/>
                      </a:lnTo>
                      <a:lnTo>
                        <a:pt x="1173" y="245"/>
                      </a:lnTo>
                      <a:lnTo>
                        <a:pt x="1175" y="243"/>
                      </a:lnTo>
                      <a:lnTo>
                        <a:pt x="1177" y="244"/>
                      </a:lnTo>
                      <a:lnTo>
                        <a:pt x="1180" y="243"/>
                      </a:lnTo>
                      <a:lnTo>
                        <a:pt x="1186" y="242"/>
                      </a:lnTo>
                      <a:lnTo>
                        <a:pt x="1185" y="246"/>
                      </a:lnTo>
                      <a:lnTo>
                        <a:pt x="1185" y="248"/>
                      </a:lnTo>
                      <a:lnTo>
                        <a:pt x="1184" y="249"/>
                      </a:lnTo>
                      <a:lnTo>
                        <a:pt x="1186" y="250"/>
                      </a:lnTo>
                      <a:lnTo>
                        <a:pt x="1185" y="252"/>
                      </a:lnTo>
                      <a:lnTo>
                        <a:pt x="1187" y="254"/>
                      </a:lnTo>
                      <a:lnTo>
                        <a:pt x="1191" y="254"/>
                      </a:lnTo>
                      <a:lnTo>
                        <a:pt x="1192" y="251"/>
                      </a:lnTo>
                      <a:lnTo>
                        <a:pt x="1195" y="251"/>
                      </a:lnTo>
                      <a:lnTo>
                        <a:pt x="1197" y="252"/>
                      </a:lnTo>
                      <a:lnTo>
                        <a:pt x="1198" y="254"/>
                      </a:lnTo>
                      <a:lnTo>
                        <a:pt x="1192" y="257"/>
                      </a:lnTo>
                      <a:lnTo>
                        <a:pt x="1197" y="257"/>
                      </a:lnTo>
                      <a:lnTo>
                        <a:pt x="1200" y="257"/>
                      </a:lnTo>
                      <a:lnTo>
                        <a:pt x="1204" y="256"/>
                      </a:lnTo>
                      <a:lnTo>
                        <a:pt x="1207" y="258"/>
                      </a:lnTo>
                      <a:lnTo>
                        <a:pt x="1210" y="257"/>
                      </a:lnTo>
                      <a:lnTo>
                        <a:pt x="1212" y="257"/>
                      </a:lnTo>
                      <a:lnTo>
                        <a:pt x="1215" y="259"/>
                      </a:lnTo>
                      <a:lnTo>
                        <a:pt x="1215" y="263"/>
                      </a:lnTo>
                      <a:lnTo>
                        <a:pt x="1215" y="265"/>
                      </a:lnTo>
                      <a:lnTo>
                        <a:pt x="1210" y="266"/>
                      </a:lnTo>
                      <a:lnTo>
                        <a:pt x="1207" y="268"/>
                      </a:lnTo>
                      <a:lnTo>
                        <a:pt x="1203" y="266"/>
                      </a:lnTo>
                      <a:lnTo>
                        <a:pt x="1205" y="270"/>
                      </a:lnTo>
                      <a:lnTo>
                        <a:pt x="1200" y="270"/>
                      </a:lnTo>
                      <a:lnTo>
                        <a:pt x="1196" y="271"/>
                      </a:lnTo>
                      <a:lnTo>
                        <a:pt x="1197" y="272"/>
                      </a:lnTo>
                      <a:lnTo>
                        <a:pt x="1195" y="276"/>
                      </a:lnTo>
                      <a:lnTo>
                        <a:pt x="1192" y="278"/>
                      </a:lnTo>
                      <a:lnTo>
                        <a:pt x="1189" y="279"/>
                      </a:lnTo>
                      <a:lnTo>
                        <a:pt x="1189" y="282"/>
                      </a:lnTo>
                      <a:lnTo>
                        <a:pt x="1187" y="283"/>
                      </a:lnTo>
                      <a:lnTo>
                        <a:pt x="1183" y="283"/>
                      </a:lnTo>
                      <a:lnTo>
                        <a:pt x="1177" y="281"/>
                      </a:lnTo>
                      <a:lnTo>
                        <a:pt x="1175" y="282"/>
                      </a:lnTo>
                      <a:lnTo>
                        <a:pt x="1176" y="283"/>
                      </a:lnTo>
                      <a:lnTo>
                        <a:pt x="1175" y="285"/>
                      </a:lnTo>
                      <a:lnTo>
                        <a:pt x="1170" y="285"/>
                      </a:lnTo>
                      <a:lnTo>
                        <a:pt x="1170" y="290"/>
                      </a:lnTo>
                      <a:lnTo>
                        <a:pt x="1169" y="295"/>
                      </a:lnTo>
                      <a:lnTo>
                        <a:pt x="1165" y="295"/>
                      </a:lnTo>
                      <a:lnTo>
                        <a:pt x="1164" y="292"/>
                      </a:lnTo>
                      <a:lnTo>
                        <a:pt x="1160" y="291"/>
                      </a:lnTo>
                      <a:lnTo>
                        <a:pt x="1158" y="290"/>
                      </a:lnTo>
                      <a:lnTo>
                        <a:pt x="1156" y="291"/>
                      </a:lnTo>
                      <a:lnTo>
                        <a:pt x="1152" y="290"/>
                      </a:lnTo>
                      <a:lnTo>
                        <a:pt x="1149" y="284"/>
                      </a:lnTo>
                      <a:lnTo>
                        <a:pt x="1147" y="279"/>
                      </a:lnTo>
                      <a:lnTo>
                        <a:pt x="1159" y="276"/>
                      </a:lnTo>
                      <a:lnTo>
                        <a:pt x="1162" y="274"/>
                      </a:lnTo>
                      <a:lnTo>
                        <a:pt x="1155" y="274"/>
                      </a:lnTo>
                      <a:lnTo>
                        <a:pt x="1151" y="276"/>
                      </a:lnTo>
                      <a:lnTo>
                        <a:pt x="1146" y="276"/>
                      </a:lnTo>
                      <a:lnTo>
                        <a:pt x="1147" y="274"/>
                      </a:lnTo>
                      <a:lnTo>
                        <a:pt x="1144" y="272"/>
                      </a:lnTo>
                      <a:lnTo>
                        <a:pt x="1139" y="269"/>
                      </a:lnTo>
                      <a:lnTo>
                        <a:pt x="1139" y="266"/>
                      </a:lnTo>
                      <a:lnTo>
                        <a:pt x="1136" y="266"/>
                      </a:lnTo>
                      <a:lnTo>
                        <a:pt x="1133" y="269"/>
                      </a:lnTo>
                      <a:lnTo>
                        <a:pt x="1131" y="270"/>
                      </a:lnTo>
                      <a:lnTo>
                        <a:pt x="1129" y="268"/>
                      </a:lnTo>
                      <a:lnTo>
                        <a:pt x="1126" y="266"/>
                      </a:lnTo>
                      <a:lnTo>
                        <a:pt x="1124" y="266"/>
                      </a:lnTo>
                      <a:lnTo>
                        <a:pt x="1123" y="268"/>
                      </a:lnTo>
                      <a:lnTo>
                        <a:pt x="1124" y="272"/>
                      </a:lnTo>
                      <a:lnTo>
                        <a:pt x="1127" y="274"/>
                      </a:lnTo>
                      <a:lnTo>
                        <a:pt x="1127" y="276"/>
                      </a:lnTo>
                      <a:lnTo>
                        <a:pt x="1124" y="277"/>
                      </a:lnTo>
                      <a:lnTo>
                        <a:pt x="1120" y="277"/>
                      </a:lnTo>
                      <a:lnTo>
                        <a:pt x="1119" y="277"/>
                      </a:lnTo>
                      <a:lnTo>
                        <a:pt x="1118" y="272"/>
                      </a:lnTo>
                      <a:lnTo>
                        <a:pt x="1113" y="272"/>
                      </a:lnTo>
                      <a:lnTo>
                        <a:pt x="1113" y="272"/>
                      </a:lnTo>
                      <a:lnTo>
                        <a:pt x="1115" y="274"/>
                      </a:lnTo>
                      <a:lnTo>
                        <a:pt x="1113" y="279"/>
                      </a:lnTo>
                      <a:lnTo>
                        <a:pt x="1117" y="279"/>
                      </a:lnTo>
                      <a:lnTo>
                        <a:pt x="1113" y="283"/>
                      </a:lnTo>
                      <a:lnTo>
                        <a:pt x="1120" y="282"/>
                      </a:lnTo>
                      <a:lnTo>
                        <a:pt x="1123" y="282"/>
                      </a:lnTo>
                      <a:lnTo>
                        <a:pt x="1122" y="284"/>
                      </a:lnTo>
                      <a:lnTo>
                        <a:pt x="1124" y="286"/>
                      </a:lnTo>
                      <a:lnTo>
                        <a:pt x="1122" y="288"/>
                      </a:lnTo>
                      <a:lnTo>
                        <a:pt x="1122" y="289"/>
                      </a:lnTo>
                      <a:lnTo>
                        <a:pt x="1124" y="290"/>
                      </a:lnTo>
                      <a:lnTo>
                        <a:pt x="1123" y="291"/>
                      </a:lnTo>
                      <a:lnTo>
                        <a:pt x="1125" y="295"/>
                      </a:lnTo>
                      <a:lnTo>
                        <a:pt x="1126" y="295"/>
                      </a:lnTo>
                      <a:lnTo>
                        <a:pt x="1131" y="296"/>
                      </a:lnTo>
                      <a:lnTo>
                        <a:pt x="1131" y="298"/>
                      </a:lnTo>
                      <a:lnTo>
                        <a:pt x="1135" y="298"/>
                      </a:lnTo>
                      <a:lnTo>
                        <a:pt x="1136" y="296"/>
                      </a:lnTo>
                      <a:lnTo>
                        <a:pt x="1139" y="298"/>
                      </a:lnTo>
                      <a:lnTo>
                        <a:pt x="1139" y="299"/>
                      </a:lnTo>
                      <a:lnTo>
                        <a:pt x="1135" y="303"/>
                      </a:lnTo>
                      <a:lnTo>
                        <a:pt x="1140" y="303"/>
                      </a:lnTo>
                      <a:lnTo>
                        <a:pt x="1139" y="306"/>
                      </a:lnTo>
                      <a:lnTo>
                        <a:pt x="1136" y="306"/>
                      </a:lnTo>
                      <a:lnTo>
                        <a:pt x="1138" y="308"/>
                      </a:lnTo>
                      <a:lnTo>
                        <a:pt x="1139" y="311"/>
                      </a:lnTo>
                      <a:lnTo>
                        <a:pt x="1142" y="312"/>
                      </a:lnTo>
                      <a:lnTo>
                        <a:pt x="1144" y="312"/>
                      </a:lnTo>
                      <a:lnTo>
                        <a:pt x="1140" y="316"/>
                      </a:lnTo>
                      <a:lnTo>
                        <a:pt x="1143" y="316"/>
                      </a:lnTo>
                      <a:lnTo>
                        <a:pt x="1144" y="319"/>
                      </a:lnTo>
                      <a:lnTo>
                        <a:pt x="1140" y="325"/>
                      </a:lnTo>
                      <a:lnTo>
                        <a:pt x="1139" y="325"/>
                      </a:lnTo>
                      <a:lnTo>
                        <a:pt x="1137" y="318"/>
                      </a:lnTo>
                      <a:lnTo>
                        <a:pt x="1135" y="322"/>
                      </a:lnTo>
                      <a:lnTo>
                        <a:pt x="1135" y="326"/>
                      </a:lnTo>
                      <a:lnTo>
                        <a:pt x="1136" y="331"/>
                      </a:lnTo>
                      <a:lnTo>
                        <a:pt x="1133" y="332"/>
                      </a:lnTo>
                      <a:lnTo>
                        <a:pt x="1131" y="331"/>
                      </a:lnTo>
                      <a:lnTo>
                        <a:pt x="1129" y="330"/>
                      </a:lnTo>
                      <a:lnTo>
                        <a:pt x="1129" y="332"/>
                      </a:lnTo>
                      <a:lnTo>
                        <a:pt x="1130" y="336"/>
                      </a:lnTo>
                      <a:lnTo>
                        <a:pt x="1130" y="337"/>
                      </a:lnTo>
                      <a:lnTo>
                        <a:pt x="1127" y="341"/>
                      </a:lnTo>
                      <a:lnTo>
                        <a:pt x="1123" y="338"/>
                      </a:lnTo>
                      <a:lnTo>
                        <a:pt x="1126" y="334"/>
                      </a:lnTo>
                      <a:lnTo>
                        <a:pt x="1125" y="332"/>
                      </a:lnTo>
                      <a:lnTo>
                        <a:pt x="1123" y="334"/>
                      </a:lnTo>
                      <a:lnTo>
                        <a:pt x="1118" y="330"/>
                      </a:lnTo>
                      <a:lnTo>
                        <a:pt x="1116" y="329"/>
                      </a:lnTo>
                      <a:lnTo>
                        <a:pt x="1116" y="330"/>
                      </a:lnTo>
                      <a:lnTo>
                        <a:pt x="1111" y="331"/>
                      </a:lnTo>
                      <a:lnTo>
                        <a:pt x="1106" y="330"/>
                      </a:lnTo>
                      <a:lnTo>
                        <a:pt x="1103" y="330"/>
                      </a:lnTo>
                      <a:lnTo>
                        <a:pt x="1103" y="328"/>
                      </a:lnTo>
                      <a:lnTo>
                        <a:pt x="1100" y="326"/>
                      </a:lnTo>
                      <a:lnTo>
                        <a:pt x="1100" y="323"/>
                      </a:lnTo>
                      <a:lnTo>
                        <a:pt x="1100" y="317"/>
                      </a:lnTo>
                      <a:lnTo>
                        <a:pt x="1098" y="324"/>
                      </a:lnTo>
                      <a:lnTo>
                        <a:pt x="1096" y="323"/>
                      </a:lnTo>
                      <a:lnTo>
                        <a:pt x="1091" y="323"/>
                      </a:lnTo>
                      <a:lnTo>
                        <a:pt x="1090" y="319"/>
                      </a:lnTo>
                      <a:lnTo>
                        <a:pt x="1086" y="317"/>
                      </a:lnTo>
                      <a:lnTo>
                        <a:pt x="1083" y="316"/>
                      </a:lnTo>
                      <a:lnTo>
                        <a:pt x="1083" y="317"/>
                      </a:lnTo>
                      <a:lnTo>
                        <a:pt x="1083" y="319"/>
                      </a:lnTo>
                      <a:lnTo>
                        <a:pt x="1083" y="323"/>
                      </a:lnTo>
                      <a:lnTo>
                        <a:pt x="1086" y="324"/>
                      </a:lnTo>
                      <a:lnTo>
                        <a:pt x="1089" y="326"/>
                      </a:lnTo>
                      <a:lnTo>
                        <a:pt x="1089" y="329"/>
                      </a:lnTo>
                      <a:lnTo>
                        <a:pt x="1093" y="330"/>
                      </a:lnTo>
                      <a:lnTo>
                        <a:pt x="1091" y="330"/>
                      </a:lnTo>
                      <a:lnTo>
                        <a:pt x="1096" y="330"/>
                      </a:lnTo>
                      <a:lnTo>
                        <a:pt x="1093" y="331"/>
                      </a:lnTo>
                      <a:lnTo>
                        <a:pt x="1098" y="336"/>
                      </a:lnTo>
                      <a:lnTo>
                        <a:pt x="1102" y="336"/>
                      </a:lnTo>
                      <a:lnTo>
                        <a:pt x="1102" y="341"/>
                      </a:lnTo>
                      <a:lnTo>
                        <a:pt x="1106" y="342"/>
                      </a:lnTo>
                      <a:lnTo>
                        <a:pt x="1105" y="343"/>
                      </a:lnTo>
                      <a:lnTo>
                        <a:pt x="1103" y="344"/>
                      </a:lnTo>
                      <a:lnTo>
                        <a:pt x="1105" y="346"/>
                      </a:lnTo>
                      <a:lnTo>
                        <a:pt x="1108" y="350"/>
                      </a:lnTo>
                      <a:lnTo>
                        <a:pt x="1105" y="351"/>
                      </a:lnTo>
                      <a:lnTo>
                        <a:pt x="1105" y="351"/>
                      </a:lnTo>
                      <a:close/>
                      <a:moveTo>
                        <a:pt x="855" y="346"/>
                      </a:moveTo>
                      <a:lnTo>
                        <a:pt x="853" y="346"/>
                      </a:lnTo>
                      <a:lnTo>
                        <a:pt x="853" y="344"/>
                      </a:lnTo>
                      <a:lnTo>
                        <a:pt x="853" y="342"/>
                      </a:lnTo>
                      <a:lnTo>
                        <a:pt x="855" y="339"/>
                      </a:lnTo>
                      <a:lnTo>
                        <a:pt x="859" y="337"/>
                      </a:lnTo>
                      <a:lnTo>
                        <a:pt x="865" y="334"/>
                      </a:lnTo>
                      <a:lnTo>
                        <a:pt x="868" y="332"/>
                      </a:lnTo>
                      <a:lnTo>
                        <a:pt x="869" y="332"/>
                      </a:lnTo>
                      <a:lnTo>
                        <a:pt x="870" y="334"/>
                      </a:lnTo>
                      <a:lnTo>
                        <a:pt x="873" y="332"/>
                      </a:lnTo>
                      <a:lnTo>
                        <a:pt x="877" y="331"/>
                      </a:lnTo>
                      <a:lnTo>
                        <a:pt x="881" y="331"/>
                      </a:lnTo>
                      <a:lnTo>
                        <a:pt x="883" y="331"/>
                      </a:lnTo>
                      <a:lnTo>
                        <a:pt x="888" y="332"/>
                      </a:lnTo>
                      <a:lnTo>
                        <a:pt x="884" y="336"/>
                      </a:lnTo>
                      <a:lnTo>
                        <a:pt x="882" y="337"/>
                      </a:lnTo>
                      <a:lnTo>
                        <a:pt x="881" y="338"/>
                      </a:lnTo>
                      <a:lnTo>
                        <a:pt x="877" y="338"/>
                      </a:lnTo>
                      <a:lnTo>
                        <a:pt x="873" y="341"/>
                      </a:lnTo>
                      <a:lnTo>
                        <a:pt x="870" y="343"/>
                      </a:lnTo>
                      <a:lnTo>
                        <a:pt x="865" y="345"/>
                      </a:lnTo>
                      <a:lnTo>
                        <a:pt x="862" y="346"/>
                      </a:lnTo>
                      <a:lnTo>
                        <a:pt x="859" y="344"/>
                      </a:lnTo>
                      <a:lnTo>
                        <a:pt x="858" y="344"/>
                      </a:lnTo>
                      <a:lnTo>
                        <a:pt x="855" y="346"/>
                      </a:lnTo>
                      <a:lnTo>
                        <a:pt x="855" y="346"/>
                      </a:lnTo>
                      <a:close/>
                      <a:moveTo>
                        <a:pt x="952" y="328"/>
                      </a:moveTo>
                      <a:lnTo>
                        <a:pt x="946" y="329"/>
                      </a:lnTo>
                      <a:lnTo>
                        <a:pt x="945" y="329"/>
                      </a:lnTo>
                      <a:lnTo>
                        <a:pt x="942" y="323"/>
                      </a:lnTo>
                      <a:lnTo>
                        <a:pt x="946" y="322"/>
                      </a:lnTo>
                      <a:lnTo>
                        <a:pt x="953" y="323"/>
                      </a:lnTo>
                      <a:lnTo>
                        <a:pt x="952" y="328"/>
                      </a:lnTo>
                      <a:lnTo>
                        <a:pt x="952" y="328"/>
                      </a:lnTo>
                      <a:close/>
                      <a:moveTo>
                        <a:pt x="853" y="325"/>
                      </a:moveTo>
                      <a:lnTo>
                        <a:pt x="839" y="329"/>
                      </a:lnTo>
                      <a:lnTo>
                        <a:pt x="843" y="318"/>
                      </a:lnTo>
                      <a:lnTo>
                        <a:pt x="828" y="319"/>
                      </a:lnTo>
                      <a:lnTo>
                        <a:pt x="821" y="319"/>
                      </a:lnTo>
                      <a:lnTo>
                        <a:pt x="824" y="316"/>
                      </a:lnTo>
                      <a:lnTo>
                        <a:pt x="831" y="314"/>
                      </a:lnTo>
                      <a:lnTo>
                        <a:pt x="842" y="311"/>
                      </a:lnTo>
                      <a:lnTo>
                        <a:pt x="845" y="302"/>
                      </a:lnTo>
                      <a:lnTo>
                        <a:pt x="865" y="282"/>
                      </a:lnTo>
                      <a:lnTo>
                        <a:pt x="875" y="278"/>
                      </a:lnTo>
                      <a:lnTo>
                        <a:pt x="877" y="281"/>
                      </a:lnTo>
                      <a:lnTo>
                        <a:pt x="876" y="284"/>
                      </a:lnTo>
                      <a:lnTo>
                        <a:pt x="872" y="284"/>
                      </a:lnTo>
                      <a:lnTo>
                        <a:pt x="875" y="286"/>
                      </a:lnTo>
                      <a:lnTo>
                        <a:pt x="876" y="290"/>
                      </a:lnTo>
                      <a:lnTo>
                        <a:pt x="882" y="286"/>
                      </a:lnTo>
                      <a:lnTo>
                        <a:pt x="885" y="289"/>
                      </a:lnTo>
                      <a:lnTo>
                        <a:pt x="884" y="290"/>
                      </a:lnTo>
                      <a:lnTo>
                        <a:pt x="893" y="292"/>
                      </a:lnTo>
                      <a:lnTo>
                        <a:pt x="895" y="296"/>
                      </a:lnTo>
                      <a:lnTo>
                        <a:pt x="908" y="302"/>
                      </a:lnTo>
                      <a:lnTo>
                        <a:pt x="906" y="311"/>
                      </a:lnTo>
                      <a:lnTo>
                        <a:pt x="899" y="312"/>
                      </a:lnTo>
                      <a:lnTo>
                        <a:pt x="912" y="314"/>
                      </a:lnTo>
                      <a:lnTo>
                        <a:pt x="915" y="314"/>
                      </a:lnTo>
                      <a:lnTo>
                        <a:pt x="916" y="311"/>
                      </a:lnTo>
                      <a:lnTo>
                        <a:pt x="919" y="314"/>
                      </a:lnTo>
                      <a:lnTo>
                        <a:pt x="918" y="315"/>
                      </a:lnTo>
                      <a:lnTo>
                        <a:pt x="922" y="316"/>
                      </a:lnTo>
                      <a:lnTo>
                        <a:pt x="906" y="322"/>
                      </a:lnTo>
                      <a:lnTo>
                        <a:pt x="895" y="318"/>
                      </a:lnTo>
                      <a:lnTo>
                        <a:pt x="889" y="318"/>
                      </a:lnTo>
                      <a:lnTo>
                        <a:pt x="889" y="317"/>
                      </a:lnTo>
                      <a:lnTo>
                        <a:pt x="892" y="314"/>
                      </a:lnTo>
                      <a:lnTo>
                        <a:pt x="883" y="312"/>
                      </a:lnTo>
                      <a:lnTo>
                        <a:pt x="883" y="310"/>
                      </a:lnTo>
                      <a:lnTo>
                        <a:pt x="878" y="311"/>
                      </a:lnTo>
                      <a:lnTo>
                        <a:pt x="873" y="316"/>
                      </a:lnTo>
                      <a:lnTo>
                        <a:pt x="865" y="319"/>
                      </a:lnTo>
                      <a:lnTo>
                        <a:pt x="861" y="321"/>
                      </a:lnTo>
                      <a:lnTo>
                        <a:pt x="853" y="325"/>
                      </a:lnTo>
                      <a:lnTo>
                        <a:pt x="853" y="325"/>
                      </a:lnTo>
                      <a:close/>
                      <a:moveTo>
                        <a:pt x="969" y="323"/>
                      </a:moveTo>
                      <a:lnTo>
                        <a:pt x="966" y="324"/>
                      </a:lnTo>
                      <a:lnTo>
                        <a:pt x="959" y="321"/>
                      </a:lnTo>
                      <a:lnTo>
                        <a:pt x="959" y="319"/>
                      </a:lnTo>
                      <a:lnTo>
                        <a:pt x="959" y="318"/>
                      </a:lnTo>
                      <a:lnTo>
                        <a:pt x="963" y="318"/>
                      </a:lnTo>
                      <a:lnTo>
                        <a:pt x="969" y="322"/>
                      </a:lnTo>
                      <a:lnTo>
                        <a:pt x="968" y="323"/>
                      </a:lnTo>
                      <a:lnTo>
                        <a:pt x="969" y="323"/>
                      </a:lnTo>
                      <a:lnTo>
                        <a:pt x="969" y="323"/>
                      </a:lnTo>
                      <a:close/>
                      <a:moveTo>
                        <a:pt x="365" y="301"/>
                      </a:moveTo>
                      <a:lnTo>
                        <a:pt x="395" y="290"/>
                      </a:lnTo>
                      <a:lnTo>
                        <a:pt x="399" y="290"/>
                      </a:lnTo>
                      <a:lnTo>
                        <a:pt x="396" y="286"/>
                      </a:lnTo>
                      <a:lnTo>
                        <a:pt x="403" y="284"/>
                      </a:lnTo>
                      <a:lnTo>
                        <a:pt x="404" y="283"/>
                      </a:lnTo>
                      <a:lnTo>
                        <a:pt x="414" y="282"/>
                      </a:lnTo>
                      <a:lnTo>
                        <a:pt x="417" y="284"/>
                      </a:lnTo>
                      <a:lnTo>
                        <a:pt x="424" y="284"/>
                      </a:lnTo>
                      <a:lnTo>
                        <a:pt x="431" y="281"/>
                      </a:lnTo>
                      <a:lnTo>
                        <a:pt x="427" y="282"/>
                      </a:lnTo>
                      <a:lnTo>
                        <a:pt x="427" y="279"/>
                      </a:lnTo>
                      <a:lnTo>
                        <a:pt x="430" y="278"/>
                      </a:lnTo>
                      <a:lnTo>
                        <a:pt x="436" y="276"/>
                      </a:lnTo>
                      <a:lnTo>
                        <a:pt x="444" y="270"/>
                      </a:lnTo>
                      <a:lnTo>
                        <a:pt x="441" y="271"/>
                      </a:lnTo>
                      <a:lnTo>
                        <a:pt x="446" y="268"/>
                      </a:lnTo>
                      <a:lnTo>
                        <a:pt x="439" y="269"/>
                      </a:lnTo>
                      <a:lnTo>
                        <a:pt x="437" y="271"/>
                      </a:lnTo>
                      <a:lnTo>
                        <a:pt x="428" y="272"/>
                      </a:lnTo>
                      <a:lnTo>
                        <a:pt x="405" y="272"/>
                      </a:lnTo>
                      <a:lnTo>
                        <a:pt x="405" y="271"/>
                      </a:lnTo>
                      <a:lnTo>
                        <a:pt x="411" y="269"/>
                      </a:lnTo>
                      <a:lnTo>
                        <a:pt x="432" y="263"/>
                      </a:lnTo>
                      <a:lnTo>
                        <a:pt x="432" y="262"/>
                      </a:lnTo>
                      <a:lnTo>
                        <a:pt x="427" y="262"/>
                      </a:lnTo>
                      <a:lnTo>
                        <a:pt x="424" y="261"/>
                      </a:lnTo>
                      <a:lnTo>
                        <a:pt x="415" y="261"/>
                      </a:lnTo>
                      <a:lnTo>
                        <a:pt x="390" y="266"/>
                      </a:lnTo>
                      <a:lnTo>
                        <a:pt x="354" y="272"/>
                      </a:lnTo>
                      <a:lnTo>
                        <a:pt x="351" y="272"/>
                      </a:lnTo>
                      <a:lnTo>
                        <a:pt x="348" y="274"/>
                      </a:lnTo>
                      <a:lnTo>
                        <a:pt x="337" y="275"/>
                      </a:lnTo>
                      <a:lnTo>
                        <a:pt x="336" y="279"/>
                      </a:lnTo>
                      <a:lnTo>
                        <a:pt x="339" y="278"/>
                      </a:lnTo>
                      <a:lnTo>
                        <a:pt x="342" y="277"/>
                      </a:lnTo>
                      <a:lnTo>
                        <a:pt x="348" y="276"/>
                      </a:lnTo>
                      <a:lnTo>
                        <a:pt x="351" y="277"/>
                      </a:lnTo>
                      <a:lnTo>
                        <a:pt x="361" y="276"/>
                      </a:lnTo>
                      <a:lnTo>
                        <a:pt x="362" y="277"/>
                      </a:lnTo>
                      <a:lnTo>
                        <a:pt x="365" y="276"/>
                      </a:lnTo>
                      <a:lnTo>
                        <a:pt x="367" y="275"/>
                      </a:lnTo>
                      <a:lnTo>
                        <a:pt x="381" y="274"/>
                      </a:lnTo>
                      <a:lnTo>
                        <a:pt x="384" y="277"/>
                      </a:lnTo>
                      <a:lnTo>
                        <a:pt x="388" y="278"/>
                      </a:lnTo>
                      <a:lnTo>
                        <a:pt x="384" y="279"/>
                      </a:lnTo>
                      <a:lnTo>
                        <a:pt x="378" y="279"/>
                      </a:lnTo>
                      <a:lnTo>
                        <a:pt x="371" y="278"/>
                      </a:lnTo>
                      <a:lnTo>
                        <a:pt x="368" y="279"/>
                      </a:lnTo>
                      <a:lnTo>
                        <a:pt x="371" y="282"/>
                      </a:lnTo>
                      <a:lnTo>
                        <a:pt x="358" y="286"/>
                      </a:lnTo>
                      <a:lnTo>
                        <a:pt x="356" y="288"/>
                      </a:lnTo>
                      <a:lnTo>
                        <a:pt x="352" y="290"/>
                      </a:lnTo>
                      <a:lnTo>
                        <a:pt x="341" y="294"/>
                      </a:lnTo>
                      <a:lnTo>
                        <a:pt x="341" y="295"/>
                      </a:lnTo>
                      <a:lnTo>
                        <a:pt x="349" y="297"/>
                      </a:lnTo>
                      <a:lnTo>
                        <a:pt x="354" y="296"/>
                      </a:lnTo>
                      <a:lnTo>
                        <a:pt x="356" y="297"/>
                      </a:lnTo>
                      <a:lnTo>
                        <a:pt x="364" y="295"/>
                      </a:lnTo>
                      <a:lnTo>
                        <a:pt x="370" y="290"/>
                      </a:lnTo>
                      <a:lnTo>
                        <a:pt x="382" y="286"/>
                      </a:lnTo>
                      <a:lnTo>
                        <a:pt x="389" y="286"/>
                      </a:lnTo>
                      <a:lnTo>
                        <a:pt x="389" y="289"/>
                      </a:lnTo>
                      <a:lnTo>
                        <a:pt x="372" y="296"/>
                      </a:lnTo>
                      <a:lnTo>
                        <a:pt x="363" y="298"/>
                      </a:lnTo>
                      <a:lnTo>
                        <a:pt x="363" y="299"/>
                      </a:lnTo>
                      <a:lnTo>
                        <a:pt x="365" y="301"/>
                      </a:lnTo>
                      <a:lnTo>
                        <a:pt x="365" y="301"/>
                      </a:lnTo>
                      <a:close/>
                      <a:moveTo>
                        <a:pt x="902" y="283"/>
                      </a:moveTo>
                      <a:lnTo>
                        <a:pt x="899" y="283"/>
                      </a:lnTo>
                      <a:lnTo>
                        <a:pt x="899" y="283"/>
                      </a:lnTo>
                      <a:lnTo>
                        <a:pt x="898" y="282"/>
                      </a:lnTo>
                      <a:lnTo>
                        <a:pt x="896" y="282"/>
                      </a:lnTo>
                      <a:lnTo>
                        <a:pt x="895" y="282"/>
                      </a:lnTo>
                      <a:lnTo>
                        <a:pt x="895" y="282"/>
                      </a:lnTo>
                      <a:lnTo>
                        <a:pt x="895" y="282"/>
                      </a:lnTo>
                      <a:lnTo>
                        <a:pt x="896" y="281"/>
                      </a:lnTo>
                      <a:lnTo>
                        <a:pt x="895" y="281"/>
                      </a:lnTo>
                      <a:lnTo>
                        <a:pt x="893" y="281"/>
                      </a:lnTo>
                      <a:lnTo>
                        <a:pt x="892" y="281"/>
                      </a:lnTo>
                      <a:lnTo>
                        <a:pt x="892" y="279"/>
                      </a:lnTo>
                      <a:lnTo>
                        <a:pt x="892" y="278"/>
                      </a:lnTo>
                      <a:lnTo>
                        <a:pt x="892" y="278"/>
                      </a:lnTo>
                      <a:lnTo>
                        <a:pt x="892" y="278"/>
                      </a:lnTo>
                      <a:lnTo>
                        <a:pt x="892" y="277"/>
                      </a:lnTo>
                      <a:lnTo>
                        <a:pt x="892" y="277"/>
                      </a:lnTo>
                      <a:lnTo>
                        <a:pt x="891" y="276"/>
                      </a:lnTo>
                      <a:lnTo>
                        <a:pt x="890" y="275"/>
                      </a:lnTo>
                      <a:lnTo>
                        <a:pt x="891" y="274"/>
                      </a:lnTo>
                      <a:lnTo>
                        <a:pt x="893" y="275"/>
                      </a:lnTo>
                      <a:lnTo>
                        <a:pt x="895" y="275"/>
                      </a:lnTo>
                      <a:lnTo>
                        <a:pt x="897" y="275"/>
                      </a:lnTo>
                      <a:lnTo>
                        <a:pt x="897" y="276"/>
                      </a:lnTo>
                      <a:lnTo>
                        <a:pt x="898" y="277"/>
                      </a:lnTo>
                      <a:lnTo>
                        <a:pt x="899" y="278"/>
                      </a:lnTo>
                      <a:lnTo>
                        <a:pt x="898" y="279"/>
                      </a:lnTo>
                      <a:lnTo>
                        <a:pt x="897" y="279"/>
                      </a:lnTo>
                      <a:lnTo>
                        <a:pt x="897" y="281"/>
                      </a:lnTo>
                      <a:lnTo>
                        <a:pt x="899" y="281"/>
                      </a:lnTo>
                      <a:lnTo>
                        <a:pt x="903" y="282"/>
                      </a:lnTo>
                      <a:lnTo>
                        <a:pt x="902" y="283"/>
                      </a:lnTo>
                      <a:lnTo>
                        <a:pt x="902" y="283"/>
                      </a:lnTo>
                      <a:close/>
                      <a:moveTo>
                        <a:pt x="883" y="283"/>
                      </a:moveTo>
                      <a:lnTo>
                        <a:pt x="879" y="284"/>
                      </a:lnTo>
                      <a:lnTo>
                        <a:pt x="877" y="281"/>
                      </a:lnTo>
                      <a:lnTo>
                        <a:pt x="879" y="276"/>
                      </a:lnTo>
                      <a:lnTo>
                        <a:pt x="884" y="276"/>
                      </a:lnTo>
                      <a:lnTo>
                        <a:pt x="883" y="278"/>
                      </a:lnTo>
                      <a:lnTo>
                        <a:pt x="884" y="278"/>
                      </a:lnTo>
                      <a:lnTo>
                        <a:pt x="883" y="283"/>
                      </a:lnTo>
                      <a:lnTo>
                        <a:pt x="883" y="283"/>
                      </a:lnTo>
                      <a:close/>
                      <a:moveTo>
                        <a:pt x="1059" y="243"/>
                      </a:moveTo>
                      <a:lnTo>
                        <a:pt x="1058" y="243"/>
                      </a:lnTo>
                      <a:lnTo>
                        <a:pt x="1053" y="243"/>
                      </a:lnTo>
                      <a:lnTo>
                        <a:pt x="1050" y="243"/>
                      </a:lnTo>
                      <a:lnTo>
                        <a:pt x="1048" y="243"/>
                      </a:lnTo>
                      <a:lnTo>
                        <a:pt x="1046" y="242"/>
                      </a:lnTo>
                      <a:lnTo>
                        <a:pt x="1046" y="242"/>
                      </a:lnTo>
                      <a:lnTo>
                        <a:pt x="1045" y="239"/>
                      </a:lnTo>
                      <a:lnTo>
                        <a:pt x="1045" y="238"/>
                      </a:lnTo>
                      <a:lnTo>
                        <a:pt x="1046" y="238"/>
                      </a:lnTo>
                      <a:lnTo>
                        <a:pt x="1046" y="237"/>
                      </a:lnTo>
                      <a:lnTo>
                        <a:pt x="1048" y="237"/>
                      </a:lnTo>
                      <a:lnTo>
                        <a:pt x="1050" y="237"/>
                      </a:lnTo>
                      <a:lnTo>
                        <a:pt x="1051" y="237"/>
                      </a:lnTo>
                      <a:lnTo>
                        <a:pt x="1051" y="237"/>
                      </a:lnTo>
                      <a:lnTo>
                        <a:pt x="1052" y="237"/>
                      </a:lnTo>
                      <a:lnTo>
                        <a:pt x="1053" y="236"/>
                      </a:lnTo>
                      <a:lnTo>
                        <a:pt x="1053" y="236"/>
                      </a:lnTo>
                      <a:lnTo>
                        <a:pt x="1053" y="237"/>
                      </a:lnTo>
                      <a:lnTo>
                        <a:pt x="1055" y="237"/>
                      </a:lnTo>
                      <a:lnTo>
                        <a:pt x="1053" y="237"/>
                      </a:lnTo>
                      <a:lnTo>
                        <a:pt x="1053" y="238"/>
                      </a:lnTo>
                      <a:lnTo>
                        <a:pt x="1062" y="241"/>
                      </a:lnTo>
                      <a:lnTo>
                        <a:pt x="1062" y="241"/>
                      </a:lnTo>
                      <a:lnTo>
                        <a:pt x="1060" y="241"/>
                      </a:lnTo>
                      <a:lnTo>
                        <a:pt x="1060" y="242"/>
                      </a:lnTo>
                      <a:lnTo>
                        <a:pt x="1059" y="243"/>
                      </a:lnTo>
                      <a:lnTo>
                        <a:pt x="1059" y="243"/>
                      </a:lnTo>
                      <a:close/>
                      <a:moveTo>
                        <a:pt x="889" y="239"/>
                      </a:moveTo>
                      <a:lnTo>
                        <a:pt x="884" y="244"/>
                      </a:lnTo>
                      <a:lnTo>
                        <a:pt x="881" y="244"/>
                      </a:lnTo>
                      <a:lnTo>
                        <a:pt x="881" y="242"/>
                      </a:lnTo>
                      <a:lnTo>
                        <a:pt x="888" y="235"/>
                      </a:lnTo>
                      <a:lnTo>
                        <a:pt x="890" y="235"/>
                      </a:lnTo>
                      <a:lnTo>
                        <a:pt x="889" y="239"/>
                      </a:lnTo>
                      <a:lnTo>
                        <a:pt x="889" y="239"/>
                      </a:lnTo>
                      <a:close/>
                      <a:moveTo>
                        <a:pt x="1015" y="251"/>
                      </a:moveTo>
                      <a:lnTo>
                        <a:pt x="1010" y="251"/>
                      </a:lnTo>
                      <a:lnTo>
                        <a:pt x="1006" y="251"/>
                      </a:lnTo>
                      <a:lnTo>
                        <a:pt x="1005" y="251"/>
                      </a:lnTo>
                      <a:lnTo>
                        <a:pt x="1005" y="250"/>
                      </a:lnTo>
                      <a:lnTo>
                        <a:pt x="1005" y="249"/>
                      </a:lnTo>
                      <a:lnTo>
                        <a:pt x="1005" y="248"/>
                      </a:lnTo>
                      <a:lnTo>
                        <a:pt x="1009" y="243"/>
                      </a:lnTo>
                      <a:lnTo>
                        <a:pt x="1012" y="239"/>
                      </a:lnTo>
                      <a:lnTo>
                        <a:pt x="1016" y="237"/>
                      </a:lnTo>
                      <a:lnTo>
                        <a:pt x="1022" y="234"/>
                      </a:lnTo>
                      <a:lnTo>
                        <a:pt x="1024" y="234"/>
                      </a:lnTo>
                      <a:lnTo>
                        <a:pt x="1026" y="232"/>
                      </a:lnTo>
                      <a:lnTo>
                        <a:pt x="1028" y="232"/>
                      </a:lnTo>
                      <a:lnTo>
                        <a:pt x="1029" y="232"/>
                      </a:lnTo>
                      <a:lnTo>
                        <a:pt x="1030" y="232"/>
                      </a:lnTo>
                      <a:lnTo>
                        <a:pt x="1032" y="232"/>
                      </a:lnTo>
                      <a:lnTo>
                        <a:pt x="1033" y="232"/>
                      </a:lnTo>
                      <a:lnTo>
                        <a:pt x="1042" y="234"/>
                      </a:lnTo>
                      <a:lnTo>
                        <a:pt x="1043" y="235"/>
                      </a:lnTo>
                      <a:lnTo>
                        <a:pt x="1043" y="235"/>
                      </a:lnTo>
                      <a:lnTo>
                        <a:pt x="1038" y="239"/>
                      </a:lnTo>
                      <a:lnTo>
                        <a:pt x="1038" y="241"/>
                      </a:lnTo>
                      <a:lnTo>
                        <a:pt x="1037" y="244"/>
                      </a:lnTo>
                      <a:lnTo>
                        <a:pt x="1036" y="245"/>
                      </a:lnTo>
                      <a:lnTo>
                        <a:pt x="1031" y="248"/>
                      </a:lnTo>
                      <a:lnTo>
                        <a:pt x="1030" y="249"/>
                      </a:lnTo>
                      <a:lnTo>
                        <a:pt x="1028" y="250"/>
                      </a:lnTo>
                      <a:lnTo>
                        <a:pt x="1026" y="250"/>
                      </a:lnTo>
                      <a:lnTo>
                        <a:pt x="1025" y="250"/>
                      </a:lnTo>
                      <a:lnTo>
                        <a:pt x="1025" y="250"/>
                      </a:lnTo>
                      <a:lnTo>
                        <a:pt x="1024" y="250"/>
                      </a:lnTo>
                      <a:lnTo>
                        <a:pt x="1020" y="251"/>
                      </a:lnTo>
                      <a:lnTo>
                        <a:pt x="1015" y="251"/>
                      </a:lnTo>
                      <a:lnTo>
                        <a:pt x="1015" y="251"/>
                      </a:lnTo>
                      <a:lnTo>
                        <a:pt x="1015" y="251"/>
                      </a:lnTo>
                      <a:close/>
                      <a:moveTo>
                        <a:pt x="770" y="230"/>
                      </a:moveTo>
                      <a:lnTo>
                        <a:pt x="762" y="232"/>
                      </a:lnTo>
                      <a:lnTo>
                        <a:pt x="756" y="230"/>
                      </a:lnTo>
                      <a:lnTo>
                        <a:pt x="753" y="231"/>
                      </a:lnTo>
                      <a:lnTo>
                        <a:pt x="742" y="225"/>
                      </a:lnTo>
                      <a:lnTo>
                        <a:pt x="730" y="225"/>
                      </a:lnTo>
                      <a:lnTo>
                        <a:pt x="737" y="219"/>
                      </a:lnTo>
                      <a:lnTo>
                        <a:pt x="744" y="219"/>
                      </a:lnTo>
                      <a:lnTo>
                        <a:pt x="751" y="215"/>
                      </a:lnTo>
                      <a:lnTo>
                        <a:pt x="751" y="212"/>
                      </a:lnTo>
                      <a:lnTo>
                        <a:pt x="756" y="214"/>
                      </a:lnTo>
                      <a:lnTo>
                        <a:pt x="764" y="208"/>
                      </a:lnTo>
                      <a:lnTo>
                        <a:pt x="768" y="212"/>
                      </a:lnTo>
                      <a:lnTo>
                        <a:pt x="770" y="211"/>
                      </a:lnTo>
                      <a:lnTo>
                        <a:pt x="776" y="214"/>
                      </a:lnTo>
                      <a:lnTo>
                        <a:pt x="782" y="212"/>
                      </a:lnTo>
                      <a:lnTo>
                        <a:pt x="785" y="214"/>
                      </a:lnTo>
                      <a:lnTo>
                        <a:pt x="793" y="215"/>
                      </a:lnTo>
                      <a:lnTo>
                        <a:pt x="788" y="216"/>
                      </a:lnTo>
                      <a:lnTo>
                        <a:pt x="781" y="218"/>
                      </a:lnTo>
                      <a:lnTo>
                        <a:pt x="778" y="219"/>
                      </a:lnTo>
                      <a:lnTo>
                        <a:pt x="778" y="225"/>
                      </a:lnTo>
                      <a:lnTo>
                        <a:pt x="784" y="225"/>
                      </a:lnTo>
                      <a:lnTo>
                        <a:pt x="778" y="228"/>
                      </a:lnTo>
                      <a:lnTo>
                        <a:pt x="778" y="226"/>
                      </a:lnTo>
                      <a:lnTo>
                        <a:pt x="770" y="230"/>
                      </a:lnTo>
                      <a:lnTo>
                        <a:pt x="770" y="230"/>
                      </a:lnTo>
                      <a:close/>
                      <a:moveTo>
                        <a:pt x="1049" y="234"/>
                      </a:moveTo>
                      <a:lnTo>
                        <a:pt x="1048" y="234"/>
                      </a:lnTo>
                      <a:lnTo>
                        <a:pt x="1048" y="234"/>
                      </a:lnTo>
                      <a:lnTo>
                        <a:pt x="1046" y="232"/>
                      </a:lnTo>
                      <a:lnTo>
                        <a:pt x="1046" y="232"/>
                      </a:lnTo>
                      <a:lnTo>
                        <a:pt x="1048" y="232"/>
                      </a:lnTo>
                      <a:lnTo>
                        <a:pt x="1048" y="231"/>
                      </a:lnTo>
                      <a:lnTo>
                        <a:pt x="1045" y="231"/>
                      </a:lnTo>
                      <a:lnTo>
                        <a:pt x="1045" y="230"/>
                      </a:lnTo>
                      <a:lnTo>
                        <a:pt x="1045" y="230"/>
                      </a:lnTo>
                      <a:lnTo>
                        <a:pt x="1045" y="229"/>
                      </a:lnTo>
                      <a:lnTo>
                        <a:pt x="1045" y="229"/>
                      </a:lnTo>
                      <a:lnTo>
                        <a:pt x="1045" y="228"/>
                      </a:lnTo>
                      <a:lnTo>
                        <a:pt x="1049" y="226"/>
                      </a:lnTo>
                      <a:lnTo>
                        <a:pt x="1049" y="226"/>
                      </a:lnTo>
                      <a:lnTo>
                        <a:pt x="1049" y="226"/>
                      </a:lnTo>
                      <a:lnTo>
                        <a:pt x="1052" y="228"/>
                      </a:lnTo>
                      <a:lnTo>
                        <a:pt x="1051" y="229"/>
                      </a:lnTo>
                      <a:lnTo>
                        <a:pt x="1052" y="230"/>
                      </a:lnTo>
                      <a:lnTo>
                        <a:pt x="1050" y="231"/>
                      </a:lnTo>
                      <a:lnTo>
                        <a:pt x="1051" y="232"/>
                      </a:lnTo>
                      <a:lnTo>
                        <a:pt x="1050" y="232"/>
                      </a:lnTo>
                      <a:lnTo>
                        <a:pt x="1049" y="234"/>
                      </a:lnTo>
                      <a:lnTo>
                        <a:pt x="1049" y="234"/>
                      </a:lnTo>
                      <a:close/>
                      <a:moveTo>
                        <a:pt x="572" y="231"/>
                      </a:moveTo>
                      <a:lnTo>
                        <a:pt x="545" y="232"/>
                      </a:lnTo>
                      <a:lnTo>
                        <a:pt x="549" y="231"/>
                      </a:lnTo>
                      <a:lnTo>
                        <a:pt x="546" y="230"/>
                      </a:lnTo>
                      <a:lnTo>
                        <a:pt x="545" y="226"/>
                      </a:lnTo>
                      <a:lnTo>
                        <a:pt x="551" y="219"/>
                      </a:lnTo>
                      <a:lnTo>
                        <a:pt x="552" y="219"/>
                      </a:lnTo>
                      <a:lnTo>
                        <a:pt x="545" y="218"/>
                      </a:lnTo>
                      <a:lnTo>
                        <a:pt x="529" y="218"/>
                      </a:lnTo>
                      <a:lnTo>
                        <a:pt x="522" y="217"/>
                      </a:lnTo>
                      <a:lnTo>
                        <a:pt x="517" y="215"/>
                      </a:lnTo>
                      <a:lnTo>
                        <a:pt x="519" y="215"/>
                      </a:lnTo>
                      <a:lnTo>
                        <a:pt x="519" y="214"/>
                      </a:lnTo>
                      <a:lnTo>
                        <a:pt x="516" y="212"/>
                      </a:lnTo>
                      <a:lnTo>
                        <a:pt x="517" y="212"/>
                      </a:lnTo>
                      <a:lnTo>
                        <a:pt x="515" y="211"/>
                      </a:lnTo>
                      <a:lnTo>
                        <a:pt x="517" y="205"/>
                      </a:lnTo>
                      <a:lnTo>
                        <a:pt x="519" y="204"/>
                      </a:lnTo>
                      <a:lnTo>
                        <a:pt x="561" y="201"/>
                      </a:lnTo>
                      <a:lnTo>
                        <a:pt x="575" y="201"/>
                      </a:lnTo>
                      <a:lnTo>
                        <a:pt x="584" y="202"/>
                      </a:lnTo>
                      <a:lnTo>
                        <a:pt x="584" y="202"/>
                      </a:lnTo>
                      <a:lnTo>
                        <a:pt x="588" y="202"/>
                      </a:lnTo>
                      <a:lnTo>
                        <a:pt x="591" y="201"/>
                      </a:lnTo>
                      <a:lnTo>
                        <a:pt x="601" y="201"/>
                      </a:lnTo>
                      <a:lnTo>
                        <a:pt x="598" y="201"/>
                      </a:lnTo>
                      <a:lnTo>
                        <a:pt x="601" y="201"/>
                      </a:lnTo>
                      <a:lnTo>
                        <a:pt x="596" y="199"/>
                      </a:lnTo>
                      <a:lnTo>
                        <a:pt x="595" y="198"/>
                      </a:lnTo>
                      <a:lnTo>
                        <a:pt x="595" y="197"/>
                      </a:lnTo>
                      <a:lnTo>
                        <a:pt x="585" y="196"/>
                      </a:lnTo>
                      <a:lnTo>
                        <a:pt x="582" y="195"/>
                      </a:lnTo>
                      <a:lnTo>
                        <a:pt x="578" y="195"/>
                      </a:lnTo>
                      <a:lnTo>
                        <a:pt x="575" y="194"/>
                      </a:lnTo>
                      <a:lnTo>
                        <a:pt x="566" y="195"/>
                      </a:lnTo>
                      <a:lnTo>
                        <a:pt x="543" y="196"/>
                      </a:lnTo>
                      <a:lnTo>
                        <a:pt x="545" y="195"/>
                      </a:lnTo>
                      <a:lnTo>
                        <a:pt x="531" y="195"/>
                      </a:lnTo>
                      <a:lnTo>
                        <a:pt x="526" y="196"/>
                      </a:lnTo>
                      <a:lnTo>
                        <a:pt x="528" y="195"/>
                      </a:lnTo>
                      <a:lnTo>
                        <a:pt x="525" y="195"/>
                      </a:lnTo>
                      <a:lnTo>
                        <a:pt x="525" y="194"/>
                      </a:lnTo>
                      <a:lnTo>
                        <a:pt x="522" y="191"/>
                      </a:lnTo>
                      <a:lnTo>
                        <a:pt x="522" y="189"/>
                      </a:lnTo>
                      <a:lnTo>
                        <a:pt x="534" y="185"/>
                      </a:lnTo>
                      <a:lnTo>
                        <a:pt x="548" y="184"/>
                      </a:lnTo>
                      <a:lnTo>
                        <a:pt x="549" y="184"/>
                      </a:lnTo>
                      <a:lnTo>
                        <a:pt x="564" y="182"/>
                      </a:lnTo>
                      <a:lnTo>
                        <a:pt x="559" y="182"/>
                      </a:lnTo>
                      <a:lnTo>
                        <a:pt x="568" y="181"/>
                      </a:lnTo>
                      <a:lnTo>
                        <a:pt x="570" y="179"/>
                      </a:lnTo>
                      <a:lnTo>
                        <a:pt x="569" y="179"/>
                      </a:lnTo>
                      <a:lnTo>
                        <a:pt x="543" y="182"/>
                      </a:lnTo>
                      <a:lnTo>
                        <a:pt x="544" y="181"/>
                      </a:lnTo>
                      <a:lnTo>
                        <a:pt x="543" y="181"/>
                      </a:lnTo>
                      <a:lnTo>
                        <a:pt x="541" y="181"/>
                      </a:lnTo>
                      <a:lnTo>
                        <a:pt x="542" y="182"/>
                      </a:lnTo>
                      <a:lnTo>
                        <a:pt x="541" y="182"/>
                      </a:lnTo>
                      <a:lnTo>
                        <a:pt x="532" y="182"/>
                      </a:lnTo>
                      <a:lnTo>
                        <a:pt x="532" y="181"/>
                      </a:lnTo>
                      <a:lnTo>
                        <a:pt x="534" y="181"/>
                      </a:lnTo>
                      <a:lnTo>
                        <a:pt x="541" y="179"/>
                      </a:lnTo>
                      <a:lnTo>
                        <a:pt x="541" y="178"/>
                      </a:lnTo>
                      <a:lnTo>
                        <a:pt x="539" y="178"/>
                      </a:lnTo>
                      <a:lnTo>
                        <a:pt x="543" y="178"/>
                      </a:lnTo>
                      <a:lnTo>
                        <a:pt x="542" y="177"/>
                      </a:lnTo>
                      <a:lnTo>
                        <a:pt x="537" y="178"/>
                      </a:lnTo>
                      <a:lnTo>
                        <a:pt x="534" y="179"/>
                      </a:lnTo>
                      <a:lnTo>
                        <a:pt x="534" y="178"/>
                      </a:lnTo>
                      <a:lnTo>
                        <a:pt x="529" y="178"/>
                      </a:lnTo>
                      <a:lnTo>
                        <a:pt x="526" y="178"/>
                      </a:lnTo>
                      <a:lnTo>
                        <a:pt x="526" y="178"/>
                      </a:lnTo>
                      <a:lnTo>
                        <a:pt x="530" y="175"/>
                      </a:lnTo>
                      <a:lnTo>
                        <a:pt x="538" y="171"/>
                      </a:lnTo>
                      <a:lnTo>
                        <a:pt x="541" y="170"/>
                      </a:lnTo>
                      <a:lnTo>
                        <a:pt x="549" y="168"/>
                      </a:lnTo>
                      <a:lnTo>
                        <a:pt x="550" y="167"/>
                      </a:lnTo>
                      <a:lnTo>
                        <a:pt x="545" y="167"/>
                      </a:lnTo>
                      <a:lnTo>
                        <a:pt x="546" y="164"/>
                      </a:lnTo>
                      <a:lnTo>
                        <a:pt x="551" y="163"/>
                      </a:lnTo>
                      <a:lnTo>
                        <a:pt x="563" y="159"/>
                      </a:lnTo>
                      <a:lnTo>
                        <a:pt x="572" y="157"/>
                      </a:lnTo>
                      <a:lnTo>
                        <a:pt x="614" y="150"/>
                      </a:lnTo>
                      <a:lnTo>
                        <a:pt x="618" y="150"/>
                      </a:lnTo>
                      <a:lnTo>
                        <a:pt x="618" y="152"/>
                      </a:lnTo>
                      <a:lnTo>
                        <a:pt x="611" y="158"/>
                      </a:lnTo>
                      <a:lnTo>
                        <a:pt x="608" y="159"/>
                      </a:lnTo>
                      <a:lnTo>
                        <a:pt x="608" y="161"/>
                      </a:lnTo>
                      <a:lnTo>
                        <a:pt x="601" y="162"/>
                      </a:lnTo>
                      <a:lnTo>
                        <a:pt x="602" y="163"/>
                      </a:lnTo>
                      <a:lnTo>
                        <a:pt x="614" y="161"/>
                      </a:lnTo>
                      <a:lnTo>
                        <a:pt x="612" y="162"/>
                      </a:lnTo>
                      <a:lnTo>
                        <a:pt x="615" y="161"/>
                      </a:lnTo>
                      <a:lnTo>
                        <a:pt x="617" y="159"/>
                      </a:lnTo>
                      <a:lnTo>
                        <a:pt x="616" y="159"/>
                      </a:lnTo>
                      <a:lnTo>
                        <a:pt x="623" y="156"/>
                      </a:lnTo>
                      <a:lnTo>
                        <a:pt x="626" y="155"/>
                      </a:lnTo>
                      <a:lnTo>
                        <a:pt x="631" y="156"/>
                      </a:lnTo>
                      <a:lnTo>
                        <a:pt x="644" y="159"/>
                      </a:lnTo>
                      <a:lnTo>
                        <a:pt x="644" y="162"/>
                      </a:lnTo>
                      <a:lnTo>
                        <a:pt x="637" y="164"/>
                      </a:lnTo>
                      <a:lnTo>
                        <a:pt x="628" y="168"/>
                      </a:lnTo>
                      <a:lnTo>
                        <a:pt x="635" y="167"/>
                      </a:lnTo>
                      <a:lnTo>
                        <a:pt x="635" y="165"/>
                      </a:lnTo>
                      <a:lnTo>
                        <a:pt x="641" y="164"/>
                      </a:lnTo>
                      <a:lnTo>
                        <a:pt x="638" y="165"/>
                      </a:lnTo>
                      <a:lnTo>
                        <a:pt x="641" y="167"/>
                      </a:lnTo>
                      <a:lnTo>
                        <a:pt x="644" y="164"/>
                      </a:lnTo>
                      <a:lnTo>
                        <a:pt x="651" y="163"/>
                      </a:lnTo>
                      <a:lnTo>
                        <a:pt x="656" y="164"/>
                      </a:lnTo>
                      <a:lnTo>
                        <a:pt x="656" y="163"/>
                      </a:lnTo>
                      <a:lnTo>
                        <a:pt x="658" y="163"/>
                      </a:lnTo>
                      <a:lnTo>
                        <a:pt x="658" y="163"/>
                      </a:lnTo>
                      <a:lnTo>
                        <a:pt x="658" y="162"/>
                      </a:lnTo>
                      <a:lnTo>
                        <a:pt x="656" y="161"/>
                      </a:lnTo>
                      <a:lnTo>
                        <a:pt x="658" y="161"/>
                      </a:lnTo>
                      <a:lnTo>
                        <a:pt x="662" y="161"/>
                      </a:lnTo>
                      <a:lnTo>
                        <a:pt x="662" y="161"/>
                      </a:lnTo>
                      <a:lnTo>
                        <a:pt x="664" y="159"/>
                      </a:lnTo>
                      <a:lnTo>
                        <a:pt x="663" y="159"/>
                      </a:lnTo>
                      <a:lnTo>
                        <a:pt x="657" y="158"/>
                      </a:lnTo>
                      <a:lnTo>
                        <a:pt x="657" y="156"/>
                      </a:lnTo>
                      <a:lnTo>
                        <a:pt x="661" y="155"/>
                      </a:lnTo>
                      <a:lnTo>
                        <a:pt x="666" y="156"/>
                      </a:lnTo>
                      <a:lnTo>
                        <a:pt x="669" y="156"/>
                      </a:lnTo>
                      <a:lnTo>
                        <a:pt x="672" y="159"/>
                      </a:lnTo>
                      <a:lnTo>
                        <a:pt x="673" y="161"/>
                      </a:lnTo>
                      <a:lnTo>
                        <a:pt x="671" y="162"/>
                      </a:lnTo>
                      <a:lnTo>
                        <a:pt x="671" y="162"/>
                      </a:lnTo>
                      <a:lnTo>
                        <a:pt x="675" y="162"/>
                      </a:lnTo>
                      <a:lnTo>
                        <a:pt x="670" y="171"/>
                      </a:lnTo>
                      <a:lnTo>
                        <a:pt x="670" y="172"/>
                      </a:lnTo>
                      <a:lnTo>
                        <a:pt x="668" y="176"/>
                      </a:lnTo>
                      <a:lnTo>
                        <a:pt x="669" y="176"/>
                      </a:lnTo>
                      <a:lnTo>
                        <a:pt x="669" y="178"/>
                      </a:lnTo>
                      <a:lnTo>
                        <a:pt x="670" y="178"/>
                      </a:lnTo>
                      <a:lnTo>
                        <a:pt x="672" y="176"/>
                      </a:lnTo>
                      <a:lnTo>
                        <a:pt x="673" y="177"/>
                      </a:lnTo>
                      <a:lnTo>
                        <a:pt x="677" y="175"/>
                      </a:lnTo>
                      <a:lnTo>
                        <a:pt x="681" y="175"/>
                      </a:lnTo>
                      <a:lnTo>
                        <a:pt x="679" y="174"/>
                      </a:lnTo>
                      <a:lnTo>
                        <a:pt x="683" y="174"/>
                      </a:lnTo>
                      <a:lnTo>
                        <a:pt x="682" y="172"/>
                      </a:lnTo>
                      <a:lnTo>
                        <a:pt x="679" y="171"/>
                      </a:lnTo>
                      <a:lnTo>
                        <a:pt x="691" y="152"/>
                      </a:lnTo>
                      <a:lnTo>
                        <a:pt x="695" y="152"/>
                      </a:lnTo>
                      <a:lnTo>
                        <a:pt x="697" y="150"/>
                      </a:lnTo>
                      <a:lnTo>
                        <a:pt x="702" y="150"/>
                      </a:lnTo>
                      <a:lnTo>
                        <a:pt x="704" y="152"/>
                      </a:lnTo>
                      <a:lnTo>
                        <a:pt x="706" y="152"/>
                      </a:lnTo>
                      <a:lnTo>
                        <a:pt x="708" y="150"/>
                      </a:lnTo>
                      <a:lnTo>
                        <a:pt x="711" y="150"/>
                      </a:lnTo>
                      <a:lnTo>
                        <a:pt x="711" y="151"/>
                      </a:lnTo>
                      <a:lnTo>
                        <a:pt x="713" y="151"/>
                      </a:lnTo>
                      <a:lnTo>
                        <a:pt x="715" y="154"/>
                      </a:lnTo>
                      <a:lnTo>
                        <a:pt x="718" y="155"/>
                      </a:lnTo>
                      <a:lnTo>
                        <a:pt x="721" y="158"/>
                      </a:lnTo>
                      <a:lnTo>
                        <a:pt x="715" y="170"/>
                      </a:lnTo>
                      <a:lnTo>
                        <a:pt x="713" y="177"/>
                      </a:lnTo>
                      <a:lnTo>
                        <a:pt x="711" y="183"/>
                      </a:lnTo>
                      <a:lnTo>
                        <a:pt x="710" y="182"/>
                      </a:lnTo>
                      <a:lnTo>
                        <a:pt x="706" y="185"/>
                      </a:lnTo>
                      <a:lnTo>
                        <a:pt x="703" y="187"/>
                      </a:lnTo>
                      <a:lnTo>
                        <a:pt x="703" y="188"/>
                      </a:lnTo>
                      <a:lnTo>
                        <a:pt x="704" y="189"/>
                      </a:lnTo>
                      <a:lnTo>
                        <a:pt x="705" y="192"/>
                      </a:lnTo>
                      <a:lnTo>
                        <a:pt x="708" y="194"/>
                      </a:lnTo>
                      <a:lnTo>
                        <a:pt x="708" y="196"/>
                      </a:lnTo>
                      <a:lnTo>
                        <a:pt x="711" y="196"/>
                      </a:lnTo>
                      <a:lnTo>
                        <a:pt x="712" y="197"/>
                      </a:lnTo>
                      <a:lnTo>
                        <a:pt x="713" y="197"/>
                      </a:lnTo>
                      <a:lnTo>
                        <a:pt x="715" y="195"/>
                      </a:lnTo>
                      <a:lnTo>
                        <a:pt x="716" y="194"/>
                      </a:lnTo>
                      <a:lnTo>
                        <a:pt x="717" y="195"/>
                      </a:lnTo>
                      <a:lnTo>
                        <a:pt x="716" y="197"/>
                      </a:lnTo>
                      <a:lnTo>
                        <a:pt x="721" y="199"/>
                      </a:lnTo>
                      <a:lnTo>
                        <a:pt x="722" y="199"/>
                      </a:lnTo>
                      <a:lnTo>
                        <a:pt x="724" y="202"/>
                      </a:lnTo>
                      <a:lnTo>
                        <a:pt x="728" y="201"/>
                      </a:lnTo>
                      <a:lnTo>
                        <a:pt x="729" y="202"/>
                      </a:lnTo>
                      <a:lnTo>
                        <a:pt x="726" y="203"/>
                      </a:lnTo>
                      <a:lnTo>
                        <a:pt x="728" y="203"/>
                      </a:lnTo>
                      <a:lnTo>
                        <a:pt x="730" y="203"/>
                      </a:lnTo>
                      <a:lnTo>
                        <a:pt x="731" y="203"/>
                      </a:lnTo>
                      <a:lnTo>
                        <a:pt x="733" y="202"/>
                      </a:lnTo>
                      <a:lnTo>
                        <a:pt x="731" y="208"/>
                      </a:lnTo>
                      <a:lnTo>
                        <a:pt x="728" y="211"/>
                      </a:lnTo>
                      <a:lnTo>
                        <a:pt x="722" y="211"/>
                      </a:lnTo>
                      <a:lnTo>
                        <a:pt x="722" y="210"/>
                      </a:lnTo>
                      <a:lnTo>
                        <a:pt x="724" y="208"/>
                      </a:lnTo>
                      <a:lnTo>
                        <a:pt x="718" y="211"/>
                      </a:lnTo>
                      <a:lnTo>
                        <a:pt x="717" y="211"/>
                      </a:lnTo>
                      <a:lnTo>
                        <a:pt x="716" y="210"/>
                      </a:lnTo>
                      <a:lnTo>
                        <a:pt x="716" y="208"/>
                      </a:lnTo>
                      <a:lnTo>
                        <a:pt x="715" y="209"/>
                      </a:lnTo>
                      <a:lnTo>
                        <a:pt x="715" y="208"/>
                      </a:lnTo>
                      <a:lnTo>
                        <a:pt x="713" y="208"/>
                      </a:lnTo>
                      <a:lnTo>
                        <a:pt x="711" y="209"/>
                      </a:lnTo>
                      <a:lnTo>
                        <a:pt x="710" y="210"/>
                      </a:lnTo>
                      <a:lnTo>
                        <a:pt x="710" y="209"/>
                      </a:lnTo>
                      <a:lnTo>
                        <a:pt x="708" y="210"/>
                      </a:lnTo>
                      <a:lnTo>
                        <a:pt x="705" y="210"/>
                      </a:lnTo>
                      <a:lnTo>
                        <a:pt x="706" y="211"/>
                      </a:lnTo>
                      <a:lnTo>
                        <a:pt x="704" y="214"/>
                      </a:lnTo>
                      <a:lnTo>
                        <a:pt x="699" y="214"/>
                      </a:lnTo>
                      <a:lnTo>
                        <a:pt x="696" y="211"/>
                      </a:lnTo>
                      <a:lnTo>
                        <a:pt x="693" y="211"/>
                      </a:lnTo>
                      <a:lnTo>
                        <a:pt x="692" y="212"/>
                      </a:lnTo>
                      <a:lnTo>
                        <a:pt x="696" y="212"/>
                      </a:lnTo>
                      <a:lnTo>
                        <a:pt x="695" y="215"/>
                      </a:lnTo>
                      <a:lnTo>
                        <a:pt x="697" y="214"/>
                      </a:lnTo>
                      <a:lnTo>
                        <a:pt x="693" y="218"/>
                      </a:lnTo>
                      <a:lnTo>
                        <a:pt x="690" y="219"/>
                      </a:lnTo>
                      <a:lnTo>
                        <a:pt x="689" y="221"/>
                      </a:lnTo>
                      <a:lnTo>
                        <a:pt x="696" y="217"/>
                      </a:lnTo>
                      <a:lnTo>
                        <a:pt x="697" y="217"/>
                      </a:lnTo>
                      <a:lnTo>
                        <a:pt x="702" y="216"/>
                      </a:lnTo>
                      <a:lnTo>
                        <a:pt x="704" y="215"/>
                      </a:lnTo>
                      <a:lnTo>
                        <a:pt x="710" y="215"/>
                      </a:lnTo>
                      <a:lnTo>
                        <a:pt x="710" y="216"/>
                      </a:lnTo>
                      <a:lnTo>
                        <a:pt x="708" y="217"/>
                      </a:lnTo>
                      <a:lnTo>
                        <a:pt x="705" y="218"/>
                      </a:lnTo>
                      <a:lnTo>
                        <a:pt x="704" y="219"/>
                      </a:lnTo>
                      <a:lnTo>
                        <a:pt x="708" y="218"/>
                      </a:lnTo>
                      <a:lnTo>
                        <a:pt x="709" y="219"/>
                      </a:lnTo>
                      <a:lnTo>
                        <a:pt x="705" y="223"/>
                      </a:lnTo>
                      <a:lnTo>
                        <a:pt x="703" y="224"/>
                      </a:lnTo>
                      <a:lnTo>
                        <a:pt x="702" y="223"/>
                      </a:lnTo>
                      <a:lnTo>
                        <a:pt x="701" y="224"/>
                      </a:lnTo>
                      <a:lnTo>
                        <a:pt x="697" y="224"/>
                      </a:lnTo>
                      <a:lnTo>
                        <a:pt x="695" y="225"/>
                      </a:lnTo>
                      <a:lnTo>
                        <a:pt x="691" y="225"/>
                      </a:lnTo>
                      <a:lnTo>
                        <a:pt x="690" y="226"/>
                      </a:lnTo>
                      <a:lnTo>
                        <a:pt x="688" y="226"/>
                      </a:lnTo>
                      <a:lnTo>
                        <a:pt x="685" y="226"/>
                      </a:lnTo>
                      <a:lnTo>
                        <a:pt x="682" y="226"/>
                      </a:lnTo>
                      <a:lnTo>
                        <a:pt x="682" y="226"/>
                      </a:lnTo>
                      <a:lnTo>
                        <a:pt x="679" y="226"/>
                      </a:lnTo>
                      <a:lnTo>
                        <a:pt x="672" y="225"/>
                      </a:lnTo>
                      <a:lnTo>
                        <a:pt x="670" y="224"/>
                      </a:lnTo>
                      <a:lnTo>
                        <a:pt x="668" y="225"/>
                      </a:lnTo>
                      <a:lnTo>
                        <a:pt x="659" y="225"/>
                      </a:lnTo>
                      <a:lnTo>
                        <a:pt x="659" y="224"/>
                      </a:lnTo>
                      <a:lnTo>
                        <a:pt x="665" y="222"/>
                      </a:lnTo>
                      <a:lnTo>
                        <a:pt x="664" y="222"/>
                      </a:lnTo>
                      <a:lnTo>
                        <a:pt x="663" y="222"/>
                      </a:lnTo>
                      <a:lnTo>
                        <a:pt x="658" y="222"/>
                      </a:lnTo>
                      <a:lnTo>
                        <a:pt x="657" y="221"/>
                      </a:lnTo>
                      <a:lnTo>
                        <a:pt x="654" y="219"/>
                      </a:lnTo>
                      <a:lnTo>
                        <a:pt x="652" y="221"/>
                      </a:lnTo>
                      <a:lnTo>
                        <a:pt x="648" y="219"/>
                      </a:lnTo>
                      <a:lnTo>
                        <a:pt x="648" y="218"/>
                      </a:lnTo>
                      <a:lnTo>
                        <a:pt x="651" y="218"/>
                      </a:lnTo>
                      <a:lnTo>
                        <a:pt x="651" y="216"/>
                      </a:lnTo>
                      <a:lnTo>
                        <a:pt x="649" y="215"/>
                      </a:lnTo>
                      <a:lnTo>
                        <a:pt x="645" y="216"/>
                      </a:lnTo>
                      <a:lnTo>
                        <a:pt x="643" y="217"/>
                      </a:lnTo>
                      <a:lnTo>
                        <a:pt x="642" y="219"/>
                      </a:lnTo>
                      <a:lnTo>
                        <a:pt x="634" y="223"/>
                      </a:lnTo>
                      <a:lnTo>
                        <a:pt x="630" y="224"/>
                      </a:lnTo>
                      <a:lnTo>
                        <a:pt x="615" y="224"/>
                      </a:lnTo>
                      <a:lnTo>
                        <a:pt x="615" y="225"/>
                      </a:lnTo>
                      <a:lnTo>
                        <a:pt x="608" y="228"/>
                      </a:lnTo>
                      <a:lnTo>
                        <a:pt x="596" y="229"/>
                      </a:lnTo>
                      <a:lnTo>
                        <a:pt x="588" y="229"/>
                      </a:lnTo>
                      <a:lnTo>
                        <a:pt x="585" y="230"/>
                      </a:lnTo>
                      <a:lnTo>
                        <a:pt x="576" y="231"/>
                      </a:lnTo>
                      <a:lnTo>
                        <a:pt x="577" y="230"/>
                      </a:lnTo>
                      <a:lnTo>
                        <a:pt x="571" y="230"/>
                      </a:lnTo>
                      <a:lnTo>
                        <a:pt x="572" y="230"/>
                      </a:lnTo>
                      <a:lnTo>
                        <a:pt x="572" y="231"/>
                      </a:lnTo>
                      <a:lnTo>
                        <a:pt x="572" y="231"/>
                      </a:lnTo>
                      <a:close/>
                      <a:moveTo>
                        <a:pt x="997" y="223"/>
                      </a:moveTo>
                      <a:lnTo>
                        <a:pt x="993" y="224"/>
                      </a:lnTo>
                      <a:lnTo>
                        <a:pt x="992" y="223"/>
                      </a:lnTo>
                      <a:lnTo>
                        <a:pt x="997" y="219"/>
                      </a:lnTo>
                      <a:lnTo>
                        <a:pt x="998" y="219"/>
                      </a:lnTo>
                      <a:lnTo>
                        <a:pt x="1002" y="218"/>
                      </a:lnTo>
                      <a:lnTo>
                        <a:pt x="1006" y="216"/>
                      </a:lnTo>
                      <a:lnTo>
                        <a:pt x="1008" y="216"/>
                      </a:lnTo>
                      <a:lnTo>
                        <a:pt x="1010" y="215"/>
                      </a:lnTo>
                      <a:lnTo>
                        <a:pt x="1012" y="215"/>
                      </a:lnTo>
                      <a:lnTo>
                        <a:pt x="1013" y="215"/>
                      </a:lnTo>
                      <a:lnTo>
                        <a:pt x="1012" y="216"/>
                      </a:lnTo>
                      <a:lnTo>
                        <a:pt x="1010" y="217"/>
                      </a:lnTo>
                      <a:lnTo>
                        <a:pt x="1009" y="218"/>
                      </a:lnTo>
                      <a:lnTo>
                        <a:pt x="1008" y="218"/>
                      </a:lnTo>
                      <a:lnTo>
                        <a:pt x="1008" y="218"/>
                      </a:lnTo>
                      <a:lnTo>
                        <a:pt x="1002" y="222"/>
                      </a:lnTo>
                      <a:lnTo>
                        <a:pt x="997" y="223"/>
                      </a:lnTo>
                      <a:lnTo>
                        <a:pt x="997" y="223"/>
                      </a:lnTo>
                      <a:close/>
                      <a:moveTo>
                        <a:pt x="1030" y="218"/>
                      </a:moveTo>
                      <a:lnTo>
                        <a:pt x="1029" y="219"/>
                      </a:lnTo>
                      <a:lnTo>
                        <a:pt x="1024" y="219"/>
                      </a:lnTo>
                      <a:lnTo>
                        <a:pt x="1024" y="217"/>
                      </a:lnTo>
                      <a:lnTo>
                        <a:pt x="1026" y="215"/>
                      </a:lnTo>
                      <a:lnTo>
                        <a:pt x="1029" y="214"/>
                      </a:lnTo>
                      <a:lnTo>
                        <a:pt x="1032" y="215"/>
                      </a:lnTo>
                      <a:lnTo>
                        <a:pt x="1035" y="215"/>
                      </a:lnTo>
                      <a:lnTo>
                        <a:pt x="1036" y="215"/>
                      </a:lnTo>
                      <a:lnTo>
                        <a:pt x="1030" y="218"/>
                      </a:lnTo>
                      <a:lnTo>
                        <a:pt x="1030" y="218"/>
                      </a:lnTo>
                      <a:close/>
                      <a:moveTo>
                        <a:pt x="263" y="223"/>
                      </a:moveTo>
                      <a:lnTo>
                        <a:pt x="256" y="225"/>
                      </a:lnTo>
                      <a:lnTo>
                        <a:pt x="255" y="224"/>
                      </a:lnTo>
                      <a:lnTo>
                        <a:pt x="249" y="223"/>
                      </a:lnTo>
                      <a:lnTo>
                        <a:pt x="249" y="221"/>
                      </a:lnTo>
                      <a:lnTo>
                        <a:pt x="254" y="219"/>
                      </a:lnTo>
                      <a:lnTo>
                        <a:pt x="269" y="216"/>
                      </a:lnTo>
                      <a:lnTo>
                        <a:pt x="272" y="215"/>
                      </a:lnTo>
                      <a:lnTo>
                        <a:pt x="279" y="211"/>
                      </a:lnTo>
                      <a:lnTo>
                        <a:pt x="282" y="211"/>
                      </a:lnTo>
                      <a:lnTo>
                        <a:pt x="281" y="215"/>
                      </a:lnTo>
                      <a:lnTo>
                        <a:pt x="285" y="215"/>
                      </a:lnTo>
                      <a:lnTo>
                        <a:pt x="263" y="223"/>
                      </a:lnTo>
                      <a:lnTo>
                        <a:pt x="263" y="223"/>
                      </a:lnTo>
                      <a:close/>
                      <a:moveTo>
                        <a:pt x="1012" y="212"/>
                      </a:moveTo>
                      <a:lnTo>
                        <a:pt x="1012" y="212"/>
                      </a:lnTo>
                      <a:lnTo>
                        <a:pt x="1011" y="212"/>
                      </a:lnTo>
                      <a:lnTo>
                        <a:pt x="1011" y="212"/>
                      </a:lnTo>
                      <a:lnTo>
                        <a:pt x="1017" y="210"/>
                      </a:lnTo>
                      <a:lnTo>
                        <a:pt x="1018" y="210"/>
                      </a:lnTo>
                      <a:lnTo>
                        <a:pt x="1019" y="209"/>
                      </a:lnTo>
                      <a:lnTo>
                        <a:pt x="1020" y="209"/>
                      </a:lnTo>
                      <a:lnTo>
                        <a:pt x="1022" y="208"/>
                      </a:lnTo>
                      <a:lnTo>
                        <a:pt x="1023" y="208"/>
                      </a:lnTo>
                      <a:lnTo>
                        <a:pt x="1024" y="209"/>
                      </a:lnTo>
                      <a:lnTo>
                        <a:pt x="1024" y="209"/>
                      </a:lnTo>
                      <a:lnTo>
                        <a:pt x="1024" y="210"/>
                      </a:lnTo>
                      <a:lnTo>
                        <a:pt x="1023" y="210"/>
                      </a:lnTo>
                      <a:lnTo>
                        <a:pt x="1022" y="211"/>
                      </a:lnTo>
                      <a:lnTo>
                        <a:pt x="1020" y="211"/>
                      </a:lnTo>
                      <a:lnTo>
                        <a:pt x="1017" y="211"/>
                      </a:lnTo>
                      <a:lnTo>
                        <a:pt x="1013" y="212"/>
                      </a:lnTo>
                      <a:lnTo>
                        <a:pt x="1012" y="212"/>
                      </a:lnTo>
                      <a:lnTo>
                        <a:pt x="1012" y="212"/>
                      </a:lnTo>
                      <a:close/>
                      <a:moveTo>
                        <a:pt x="793" y="182"/>
                      </a:moveTo>
                      <a:lnTo>
                        <a:pt x="781" y="185"/>
                      </a:lnTo>
                      <a:lnTo>
                        <a:pt x="779" y="184"/>
                      </a:lnTo>
                      <a:lnTo>
                        <a:pt x="776" y="184"/>
                      </a:lnTo>
                      <a:lnTo>
                        <a:pt x="776" y="175"/>
                      </a:lnTo>
                      <a:lnTo>
                        <a:pt x="771" y="170"/>
                      </a:lnTo>
                      <a:lnTo>
                        <a:pt x="768" y="170"/>
                      </a:lnTo>
                      <a:lnTo>
                        <a:pt x="758" y="169"/>
                      </a:lnTo>
                      <a:lnTo>
                        <a:pt x="752" y="163"/>
                      </a:lnTo>
                      <a:lnTo>
                        <a:pt x="759" y="156"/>
                      </a:lnTo>
                      <a:lnTo>
                        <a:pt x="765" y="155"/>
                      </a:lnTo>
                      <a:lnTo>
                        <a:pt x="772" y="161"/>
                      </a:lnTo>
                      <a:lnTo>
                        <a:pt x="784" y="159"/>
                      </a:lnTo>
                      <a:lnTo>
                        <a:pt x="791" y="154"/>
                      </a:lnTo>
                      <a:lnTo>
                        <a:pt x="795" y="151"/>
                      </a:lnTo>
                      <a:lnTo>
                        <a:pt x="798" y="151"/>
                      </a:lnTo>
                      <a:lnTo>
                        <a:pt x="793" y="149"/>
                      </a:lnTo>
                      <a:lnTo>
                        <a:pt x="786" y="150"/>
                      </a:lnTo>
                      <a:lnTo>
                        <a:pt x="788" y="145"/>
                      </a:lnTo>
                      <a:lnTo>
                        <a:pt x="795" y="147"/>
                      </a:lnTo>
                      <a:lnTo>
                        <a:pt x="789" y="142"/>
                      </a:lnTo>
                      <a:lnTo>
                        <a:pt x="792" y="141"/>
                      </a:lnTo>
                      <a:lnTo>
                        <a:pt x="805" y="141"/>
                      </a:lnTo>
                      <a:lnTo>
                        <a:pt x="808" y="139"/>
                      </a:lnTo>
                      <a:lnTo>
                        <a:pt x="816" y="142"/>
                      </a:lnTo>
                      <a:lnTo>
                        <a:pt x="839" y="138"/>
                      </a:lnTo>
                      <a:lnTo>
                        <a:pt x="845" y="138"/>
                      </a:lnTo>
                      <a:lnTo>
                        <a:pt x="843" y="143"/>
                      </a:lnTo>
                      <a:lnTo>
                        <a:pt x="832" y="144"/>
                      </a:lnTo>
                      <a:lnTo>
                        <a:pt x="832" y="147"/>
                      </a:lnTo>
                      <a:lnTo>
                        <a:pt x="838" y="147"/>
                      </a:lnTo>
                      <a:lnTo>
                        <a:pt x="837" y="148"/>
                      </a:lnTo>
                      <a:lnTo>
                        <a:pt x="815" y="154"/>
                      </a:lnTo>
                      <a:lnTo>
                        <a:pt x="813" y="156"/>
                      </a:lnTo>
                      <a:lnTo>
                        <a:pt x="821" y="154"/>
                      </a:lnTo>
                      <a:lnTo>
                        <a:pt x="829" y="155"/>
                      </a:lnTo>
                      <a:lnTo>
                        <a:pt x="825" y="162"/>
                      </a:lnTo>
                      <a:lnTo>
                        <a:pt x="835" y="159"/>
                      </a:lnTo>
                      <a:lnTo>
                        <a:pt x="819" y="174"/>
                      </a:lnTo>
                      <a:lnTo>
                        <a:pt x="823" y="174"/>
                      </a:lnTo>
                      <a:lnTo>
                        <a:pt x="815" y="176"/>
                      </a:lnTo>
                      <a:lnTo>
                        <a:pt x="805" y="179"/>
                      </a:lnTo>
                      <a:lnTo>
                        <a:pt x="795" y="178"/>
                      </a:lnTo>
                      <a:lnTo>
                        <a:pt x="793" y="182"/>
                      </a:lnTo>
                      <a:lnTo>
                        <a:pt x="793" y="182"/>
                      </a:lnTo>
                      <a:close/>
                      <a:moveTo>
                        <a:pt x="1049" y="157"/>
                      </a:moveTo>
                      <a:lnTo>
                        <a:pt x="1045" y="157"/>
                      </a:lnTo>
                      <a:lnTo>
                        <a:pt x="1042" y="156"/>
                      </a:lnTo>
                      <a:lnTo>
                        <a:pt x="1039" y="155"/>
                      </a:lnTo>
                      <a:lnTo>
                        <a:pt x="1039" y="152"/>
                      </a:lnTo>
                      <a:lnTo>
                        <a:pt x="1042" y="149"/>
                      </a:lnTo>
                      <a:lnTo>
                        <a:pt x="1042" y="149"/>
                      </a:lnTo>
                      <a:lnTo>
                        <a:pt x="1037" y="149"/>
                      </a:lnTo>
                      <a:lnTo>
                        <a:pt x="1036" y="148"/>
                      </a:lnTo>
                      <a:lnTo>
                        <a:pt x="1035" y="147"/>
                      </a:lnTo>
                      <a:lnTo>
                        <a:pt x="1039" y="142"/>
                      </a:lnTo>
                      <a:lnTo>
                        <a:pt x="1043" y="141"/>
                      </a:lnTo>
                      <a:lnTo>
                        <a:pt x="1048" y="141"/>
                      </a:lnTo>
                      <a:lnTo>
                        <a:pt x="1049" y="141"/>
                      </a:lnTo>
                      <a:lnTo>
                        <a:pt x="1052" y="141"/>
                      </a:lnTo>
                      <a:lnTo>
                        <a:pt x="1051" y="141"/>
                      </a:lnTo>
                      <a:lnTo>
                        <a:pt x="1056" y="142"/>
                      </a:lnTo>
                      <a:lnTo>
                        <a:pt x="1058" y="143"/>
                      </a:lnTo>
                      <a:lnTo>
                        <a:pt x="1065" y="142"/>
                      </a:lnTo>
                      <a:lnTo>
                        <a:pt x="1072" y="142"/>
                      </a:lnTo>
                      <a:lnTo>
                        <a:pt x="1080" y="144"/>
                      </a:lnTo>
                      <a:lnTo>
                        <a:pt x="1083" y="145"/>
                      </a:lnTo>
                      <a:lnTo>
                        <a:pt x="1083" y="147"/>
                      </a:lnTo>
                      <a:lnTo>
                        <a:pt x="1086" y="148"/>
                      </a:lnTo>
                      <a:lnTo>
                        <a:pt x="1086" y="149"/>
                      </a:lnTo>
                      <a:lnTo>
                        <a:pt x="1088" y="149"/>
                      </a:lnTo>
                      <a:lnTo>
                        <a:pt x="1085" y="150"/>
                      </a:lnTo>
                      <a:lnTo>
                        <a:pt x="1089" y="151"/>
                      </a:lnTo>
                      <a:lnTo>
                        <a:pt x="1086" y="154"/>
                      </a:lnTo>
                      <a:lnTo>
                        <a:pt x="1089" y="154"/>
                      </a:lnTo>
                      <a:lnTo>
                        <a:pt x="1088" y="155"/>
                      </a:lnTo>
                      <a:lnTo>
                        <a:pt x="1077" y="155"/>
                      </a:lnTo>
                      <a:lnTo>
                        <a:pt x="1065" y="154"/>
                      </a:lnTo>
                      <a:lnTo>
                        <a:pt x="1057" y="155"/>
                      </a:lnTo>
                      <a:lnTo>
                        <a:pt x="1053" y="156"/>
                      </a:lnTo>
                      <a:lnTo>
                        <a:pt x="1049" y="157"/>
                      </a:lnTo>
                      <a:lnTo>
                        <a:pt x="1049" y="157"/>
                      </a:lnTo>
                      <a:close/>
                      <a:moveTo>
                        <a:pt x="728" y="156"/>
                      </a:moveTo>
                      <a:lnTo>
                        <a:pt x="725" y="157"/>
                      </a:lnTo>
                      <a:lnTo>
                        <a:pt x="724" y="157"/>
                      </a:lnTo>
                      <a:lnTo>
                        <a:pt x="722" y="151"/>
                      </a:lnTo>
                      <a:lnTo>
                        <a:pt x="721" y="151"/>
                      </a:lnTo>
                      <a:lnTo>
                        <a:pt x="719" y="149"/>
                      </a:lnTo>
                      <a:lnTo>
                        <a:pt x="716" y="148"/>
                      </a:lnTo>
                      <a:lnTo>
                        <a:pt x="712" y="147"/>
                      </a:lnTo>
                      <a:lnTo>
                        <a:pt x="721" y="143"/>
                      </a:lnTo>
                      <a:lnTo>
                        <a:pt x="738" y="142"/>
                      </a:lnTo>
                      <a:lnTo>
                        <a:pt x="742" y="142"/>
                      </a:lnTo>
                      <a:lnTo>
                        <a:pt x="743" y="143"/>
                      </a:lnTo>
                      <a:lnTo>
                        <a:pt x="745" y="144"/>
                      </a:lnTo>
                      <a:lnTo>
                        <a:pt x="746" y="144"/>
                      </a:lnTo>
                      <a:lnTo>
                        <a:pt x="742" y="149"/>
                      </a:lnTo>
                      <a:lnTo>
                        <a:pt x="733" y="152"/>
                      </a:lnTo>
                      <a:lnTo>
                        <a:pt x="731" y="155"/>
                      </a:lnTo>
                      <a:lnTo>
                        <a:pt x="728" y="156"/>
                      </a:lnTo>
                      <a:lnTo>
                        <a:pt x="728" y="156"/>
                      </a:lnTo>
                      <a:close/>
                      <a:moveTo>
                        <a:pt x="859" y="167"/>
                      </a:moveTo>
                      <a:lnTo>
                        <a:pt x="852" y="170"/>
                      </a:lnTo>
                      <a:lnTo>
                        <a:pt x="839" y="169"/>
                      </a:lnTo>
                      <a:lnTo>
                        <a:pt x="844" y="157"/>
                      </a:lnTo>
                      <a:lnTo>
                        <a:pt x="862" y="142"/>
                      </a:lnTo>
                      <a:lnTo>
                        <a:pt x="868" y="143"/>
                      </a:lnTo>
                      <a:lnTo>
                        <a:pt x="868" y="137"/>
                      </a:lnTo>
                      <a:lnTo>
                        <a:pt x="893" y="135"/>
                      </a:lnTo>
                      <a:lnTo>
                        <a:pt x="906" y="138"/>
                      </a:lnTo>
                      <a:lnTo>
                        <a:pt x="928" y="139"/>
                      </a:lnTo>
                      <a:lnTo>
                        <a:pt x="904" y="150"/>
                      </a:lnTo>
                      <a:lnTo>
                        <a:pt x="886" y="159"/>
                      </a:lnTo>
                      <a:lnTo>
                        <a:pt x="866" y="158"/>
                      </a:lnTo>
                      <a:lnTo>
                        <a:pt x="859" y="167"/>
                      </a:lnTo>
                      <a:lnTo>
                        <a:pt x="859" y="167"/>
                      </a:lnTo>
                      <a:close/>
                      <a:moveTo>
                        <a:pt x="470" y="189"/>
                      </a:moveTo>
                      <a:lnTo>
                        <a:pt x="464" y="189"/>
                      </a:lnTo>
                      <a:lnTo>
                        <a:pt x="465" y="179"/>
                      </a:lnTo>
                      <a:lnTo>
                        <a:pt x="456" y="175"/>
                      </a:lnTo>
                      <a:lnTo>
                        <a:pt x="449" y="174"/>
                      </a:lnTo>
                      <a:lnTo>
                        <a:pt x="451" y="172"/>
                      </a:lnTo>
                      <a:lnTo>
                        <a:pt x="471" y="164"/>
                      </a:lnTo>
                      <a:lnTo>
                        <a:pt x="476" y="159"/>
                      </a:lnTo>
                      <a:lnTo>
                        <a:pt x="484" y="157"/>
                      </a:lnTo>
                      <a:lnTo>
                        <a:pt x="482" y="156"/>
                      </a:lnTo>
                      <a:lnTo>
                        <a:pt x="509" y="144"/>
                      </a:lnTo>
                      <a:lnTo>
                        <a:pt x="510" y="136"/>
                      </a:lnTo>
                      <a:lnTo>
                        <a:pt x="555" y="132"/>
                      </a:lnTo>
                      <a:lnTo>
                        <a:pt x="569" y="137"/>
                      </a:lnTo>
                      <a:lnTo>
                        <a:pt x="564" y="141"/>
                      </a:lnTo>
                      <a:lnTo>
                        <a:pt x="571" y="137"/>
                      </a:lnTo>
                      <a:lnTo>
                        <a:pt x="575" y="137"/>
                      </a:lnTo>
                      <a:lnTo>
                        <a:pt x="571" y="141"/>
                      </a:lnTo>
                      <a:lnTo>
                        <a:pt x="581" y="137"/>
                      </a:lnTo>
                      <a:lnTo>
                        <a:pt x="595" y="137"/>
                      </a:lnTo>
                      <a:lnTo>
                        <a:pt x="602" y="139"/>
                      </a:lnTo>
                      <a:lnTo>
                        <a:pt x="608" y="150"/>
                      </a:lnTo>
                      <a:lnTo>
                        <a:pt x="546" y="163"/>
                      </a:lnTo>
                      <a:lnTo>
                        <a:pt x="532" y="169"/>
                      </a:lnTo>
                      <a:lnTo>
                        <a:pt x="524" y="170"/>
                      </a:lnTo>
                      <a:lnTo>
                        <a:pt x="522" y="172"/>
                      </a:lnTo>
                      <a:lnTo>
                        <a:pt x="517" y="174"/>
                      </a:lnTo>
                      <a:lnTo>
                        <a:pt x="508" y="181"/>
                      </a:lnTo>
                      <a:lnTo>
                        <a:pt x="492" y="184"/>
                      </a:lnTo>
                      <a:lnTo>
                        <a:pt x="491" y="183"/>
                      </a:lnTo>
                      <a:lnTo>
                        <a:pt x="470" y="189"/>
                      </a:lnTo>
                      <a:lnTo>
                        <a:pt x="470" y="189"/>
                      </a:lnTo>
                      <a:close/>
                      <a:moveTo>
                        <a:pt x="986" y="127"/>
                      </a:moveTo>
                      <a:lnTo>
                        <a:pt x="985" y="129"/>
                      </a:lnTo>
                      <a:lnTo>
                        <a:pt x="977" y="128"/>
                      </a:lnTo>
                      <a:lnTo>
                        <a:pt x="973" y="129"/>
                      </a:lnTo>
                      <a:lnTo>
                        <a:pt x="964" y="128"/>
                      </a:lnTo>
                      <a:lnTo>
                        <a:pt x="969" y="122"/>
                      </a:lnTo>
                      <a:lnTo>
                        <a:pt x="962" y="125"/>
                      </a:lnTo>
                      <a:lnTo>
                        <a:pt x="962" y="123"/>
                      </a:lnTo>
                      <a:lnTo>
                        <a:pt x="958" y="124"/>
                      </a:lnTo>
                      <a:lnTo>
                        <a:pt x="955" y="128"/>
                      </a:lnTo>
                      <a:lnTo>
                        <a:pt x="948" y="128"/>
                      </a:lnTo>
                      <a:lnTo>
                        <a:pt x="939" y="127"/>
                      </a:lnTo>
                      <a:lnTo>
                        <a:pt x="937" y="124"/>
                      </a:lnTo>
                      <a:lnTo>
                        <a:pt x="939" y="122"/>
                      </a:lnTo>
                      <a:lnTo>
                        <a:pt x="931" y="127"/>
                      </a:lnTo>
                      <a:lnTo>
                        <a:pt x="924" y="125"/>
                      </a:lnTo>
                      <a:lnTo>
                        <a:pt x="929" y="118"/>
                      </a:lnTo>
                      <a:lnTo>
                        <a:pt x="926" y="117"/>
                      </a:lnTo>
                      <a:lnTo>
                        <a:pt x="940" y="107"/>
                      </a:lnTo>
                      <a:lnTo>
                        <a:pt x="937" y="104"/>
                      </a:lnTo>
                      <a:lnTo>
                        <a:pt x="938" y="99"/>
                      </a:lnTo>
                      <a:lnTo>
                        <a:pt x="929" y="99"/>
                      </a:lnTo>
                      <a:lnTo>
                        <a:pt x="928" y="101"/>
                      </a:lnTo>
                      <a:lnTo>
                        <a:pt x="917" y="99"/>
                      </a:lnTo>
                      <a:lnTo>
                        <a:pt x="908" y="102"/>
                      </a:lnTo>
                      <a:lnTo>
                        <a:pt x="908" y="101"/>
                      </a:lnTo>
                      <a:lnTo>
                        <a:pt x="913" y="99"/>
                      </a:lnTo>
                      <a:lnTo>
                        <a:pt x="905" y="98"/>
                      </a:lnTo>
                      <a:lnTo>
                        <a:pt x="904" y="97"/>
                      </a:lnTo>
                      <a:lnTo>
                        <a:pt x="910" y="96"/>
                      </a:lnTo>
                      <a:lnTo>
                        <a:pt x="911" y="96"/>
                      </a:lnTo>
                      <a:lnTo>
                        <a:pt x="906" y="96"/>
                      </a:lnTo>
                      <a:lnTo>
                        <a:pt x="897" y="94"/>
                      </a:lnTo>
                      <a:lnTo>
                        <a:pt x="899" y="92"/>
                      </a:lnTo>
                      <a:lnTo>
                        <a:pt x="903" y="92"/>
                      </a:lnTo>
                      <a:lnTo>
                        <a:pt x="904" y="90"/>
                      </a:lnTo>
                      <a:lnTo>
                        <a:pt x="917" y="88"/>
                      </a:lnTo>
                      <a:lnTo>
                        <a:pt x="929" y="90"/>
                      </a:lnTo>
                      <a:lnTo>
                        <a:pt x="938" y="91"/>
                      </a:lnTo>
                      <a:lnTo>
                        <a:pt x="939" y="94"/>
                      </a:lnTo>
                      <a:lnTo>
                        <a:pt x="932" y="98"/>
                      </a:lnTo>
                      <a:lnTo>
                        <a:pt x="940" y="95"/>
                      </a:lnTo>
                      <a:lnTo>
                        <a:pt x="962" y="94"/>
                      </a:lnTo>
                      <a:lnTo>
                        <a:pt x="969" y="95"/>
                      </a:lnTo>
                      <a:lnTo>
                        <a:pt x="970" y="97"/>
                      </a:lnTo>
                      <a:lnTo>
                        <a:pt x="958" y="97"/>
                      </a:lnTo>
                      <a:lnTo>
                        <a:pt x="982" y="102"/>
                      </a:lnTo>
                      <a:lnTo>
                        <a:pt x="962" y="102"/>
                      </a:lnTo>
                      <a:lnTo>
                        <a:pt x="955" y="101"/>
                      </a:lnTo>
                      <a:lnTo>
                        <a:pt x="953" y="102"/>
                      </a:lnTo>
                      <a:lnTo>
                        <a:pt x="966" y="103"/>
                      </a:lnTo>
                      <a:lnTo>
                        <a:pt x="956" y="104"/>
                      </a:lnTo>
                      <a:lnTo>
                        <a:pt x="952" y="107"/>
                      </a:lnTo>
                      <a:lnTo>
                        <a:pt x="959" y="105"/>
                      </a:lnTo>
                      <a:lnTo>
                        <a:pt x="970" y="105"/>
                      </a:lnTo>
                      <a:lnTo>
                        <a:pt x="968" y="108"/>
                      </a:lnTo>
                      <a:lnTo>
                        <a:pt x="972" y="107"/>
                      </a:lnTo>
                      <a:lnTo>
                        <a:pt x="972" y="110"/>
                      </a:lnTo>
                      <a:lnTo>
                        <a:pt x="966" y="110"/>
                      </a:lnTo>
                      <a:lnTo>
                        <a:pt x="971" y="111"/>
                      </a:lnTo>
                      <a:lnTo>
                        <a:pt x="975" y="114"/>
                      </a:lnTo>
                      <a:lnTo>
                        <a:pt x="980" y="110"/>
                      </a:lnTo>
                      <a:lnTo>
                        <a:pt x="983" y="112"/>
                      </a:lnTo>
                      <a:lnTo>
                        <a:pt x="990" y="111"/>
                      </a:lnTo>
                      <a:lnTo>
                        <a:pt x="990" y="112"/>
                      </a:lnTo>
                      <a:lnTo>
                        <a:pt x="997" y="110"/>
                      </a:lnTo>
                      <a:lnTo>
                        <a:pt x="1003" y="114"/>
                      </a:lnTo>
                      <a:lnTo>
                        <a:pt x="1000" y="115"/>
                      </a:lnTo>
                      <a:lnTo>
                        <a:pt x="1013" y="114"/>
                      </a:lnTo>
                      <a:lnTo>
                        <a:pt x="1009" y="112"/>
                      </a:lnTo>
                      <a:lnTo>
                        <a:pt x="1025" y="110"/>
                      </a:lnTo>
                      <a:lnTo>
                        <a:pt x="1031" y="110"/>
                      </a:lnTo>
                      <a:lnTo>
                        <a:pt x="1042" y="107"/>
                      </a:lnTo>
                      <a:lnTo>
                        <a:pt x="1050" y="108"/>
                      </a:lnTo>
                      <a:lnTo>
                        <a:pt x="1060" y="107"/>
                      </a:lnTo>
                      <a:lnTo>
                        <a:pt x="1075" y="109"/>
                      </a:lnTo>
                      <a:lnTo>
                        <a:pt x="1071" y="110"/>
                      </a:lnTo>
                      <a:lnTo>
                        <a:pt x="1083" y="110"/>
                      </a:lnTo>
                      <a:lnTo>
                        <a:pt x="1085" y="112"/>
                      </a:lnTo>
                      <a:lnTo>
                        <a:pt x="1078" y="114"/>
                      </a:lnTo>
                      <a:lnTo>
                        <a:pt x="1088" y="112"/>
                      </a:lnTo>
                      <a:lnTo>
                        <a:pt x="1085" y="117"/>
                      </a:lnTo>
                      <a:lnTo>
                        <a:pt x="1073" y="119"/>
                      </a:lnTo>
                      <a:lnTo>
                        <a:pt x="1082" y="121"/>
                      </a:lnTo>
                      <a:lnTo>
                        <a:pt x="1083" y="123"/>
                      </a:lnTo>
                      <a:lnTo>
                        <a:pt x="1076" y="123"/>
                      </a:lnTo>
                      <a:lnTo>
                        <a:pt x="1070" y="123"/>
                      </a:lnTo>
                      <a:lnTo>
                        <a:pt x="1068" y="128"/>
                      </a:lnTo>
                      <a:lnTo>
                        <a:pt x="1057" y="128"/>
                      </a:lnTo>
                      <a:lnTo>
                        <a:pt x="1042" y="129"/>
                      </a:lnTo>
                      <a:lnTo>
                        <a:pt x="1033" y="127"/>
                      </a:lnTo>
                      <a:lnTo>
                        <a:pt x="1035" y="124"/>
                      </a:lnTo>
                      <a:lnTo>
                        <a:pt x="1030" y="122"/>
                      </a:lnTo>
                      <a:lnTo>
                        <a:pt x="1031" y="124"/>
                      </a:lnTo>
                      <a:lnTo>
                        <a:pt x="1026" y="128"/>
                      </a:lnTo>
                      <a:lnTo>
                        <a:pt x="1009" y="129"/>
                      </a:lnTo>
                      <a:lnTo>
                        <a:pt x="1009" y="127"/>
                      </a:lnTo>
                      <a:lnTo>
                        <a:pt x="1003" y="128"/>
                      </a:lnTo>
                      <a:lnTo>
                        <a:pt x="1004" y="125"/>
                      </a:lnTo>
                      <a:lnTo>
                        <a:pt x="999" y="129"/>
                      </a:lnTo>
                      <a:lnTo>
                        <a:pt x="995" y="129"/>
                      </a:lnTo>
                      <a:lnTo>
                        <a:pt x="993" y="127"/>
                      </a:lnTo>
                      <a:lnTo>
                        <a:pt x="990" y="129"/>
                      </a:lnTo>
                      <a:lnTo>
                        <a:pt x="986" y="127"/>
                      </a:lnTo>
                      <a:lnTo>
                        <a:pt x="986" y="127"/>
                      </a:lnTo>
                      <a:close/>
                      <a:moveTo>
                        <a:pt x="898" y="127"/>
                      </a:moveTo>
                      <a:lnTo>
                        <a:pt x="895" y="128"/>
                      </a:lnTo>
                      <a:lnTo>
                        <a:pt x="891" y="128"/>
                      </a:lnTo>
                      <a:lnTo>
                        <a:pt x="886" y="127"/>
                      </a:lnTo>
                      <a:lnTo>
                        <a:pt x="881" y="125"/>
                      </a:lnTo>
                      <a:lnTo>
                        <a:pt x="881" y="125"/>
                      </a:lnTo>
                      <a:lnTo>
                        <a:pt x="879" y="124"/>
                      </a:lnTo>
                      <a:lnTo>
                        <a:pt x="876" y="124"/>
                      </a:lnTo>
                      <a:lnTo>
                        <a:pt x="876" y="124"/>
                      </a:lnTo>
                      <a:lnTo>
                        <a:pt x="875" y="124"/>
                      </a:lnTo>
                      <a:lnTo>
                        <a:pt x="871" y="122"/>
                      </a:lnTo>
                      <a:lnTo>
                        <a:pt x="869" y="122"/>
                      </a:lnTo>
                      <a:lnTo>
                        <a:pt x="869" y="121"/>
                      </a:lnTo>
                      <a:lnTo>
                        <a:pt x="866" y="121"/>
                      </a:lnTo>
                      <a:lnTo>
                        <a:pt x="868" y="119"/>
                      </a:lnTo>
                      <a:lnTo>
                        <a:pt x="870" y="118"/>
                      </a:lnTo>
                      <a:lnTo>
                        <a:pt x="877" y="116"/>
                      </a:lnTo>
                      <a:lnTo>
                        <a:pt x="881" y="115"/>
                      </a:lnTo>
                      <a:lnTo>
                        <a:pt x="878" y="115"/>
                      </a:lnTo>
                      <a:lnTo>
                        <a:pt x="879" y="114"/>
                      </a:lnTo>
                      <a:lnTo>
                        <a:pt x="884" y="114"/>
                      </a:lnTo>
                      <a:lnTo>
                        <a:pt x="885" y="112"/>
                      </a:lnTo>
                      <a:lnTo>
                        <a:pt x="888" y="112"/>
                      </a:lnTo>
                      <a:lnTo>
                        <a:pt x="893" y="111"/>
                      </a:lnTo>
                      <a:lnTo>
                        <a:pt x="893" y="111"/>
                      </a:lnTo>
                      <a:lnTo>
                        <a:pt x="899" y="110"/>
                      </a:lnTo>
                      <a:lnTo>
                        <a:pt x="903" y="108"/>
                      </a:lnTo>
                      <a:lnTo>
                        <a:pt x="904" y="104"/>
                      </a:lnTo>
                      <a:lnTo>
                        <a:pt x="908" y="105"/>
                      </a:lnTo>
                      <a:lnTo>
                        <a:pt x="912" y="105"/>
                      </a:lnTo>
                      <a:lnTo>
                        <a:pt x="912" y="108"/>
                      </a:lnTo>
                      <a:lnTo>
                        <a:pt x="910" y="110"/>
                      </a:lnTo>
                      <a:lnTo>
                        <a:pt x="906" y="111"/>
                      </a:lnTo>
                      <a:lnTo>
                        <a:pt x="909" y="114"/>
                      </a:lnTo>
                      <a:lnTo>
                        <a:pt x="909" y="116"/>
                      </a:lnTo>
                      <a:lnTo>
                        <a:pt x="908" y="117"/>
                      </a:lnTo>
                      <a:lnTo>
                        <a:pt x="906" y="119"/>
                      </a:lnTo>
                      <a:lnTo>
                        <a:pt x="905" y="119"/>
                      </a:lnTo>
                      <a:lnTo>
                        <a:pt x="905" y="119"/>
                      </a:lnTo>
                      <a:lnTo>
                        <a:pt x="903" y="124"/>
                      </a:lnTo>
                      <a:lnTo>
                        <a:pt x="900" y="125"/>
                      </a:lnTo>
                      <a:lnTo>
                        <a:pt x="898" y="127"/>
                      </a:lnTo>
                      <a:lnTo>
                        <a:pt x="898" y="127"/>
                      </a:lnTo>
                      <a:close/>
                      <a:moveTo>
                        <a:pt x="697" y="128"/>
                      </a:moveTo>
                      <a:lnTo>
                        <a:pt x="691" y="130"/>
                      </a:lnTo>
                      <a:lnTo>
                        <a:pt x="684" y="131"/>
                      </a:lnTo>
                      <a:lnTo>
                        <a:pt x="672" y="132"/>
                      </a:lnTo>
                      <a:lnTo>
                        <a:pt x="668" y="136"/>
                      </a:lnTo>
                      <a:lnTo>
                        <a:pt x="661" y="134"/>
                      </a:lnTo>
                      <a:lnTo>
                        <a:pt x="655" y="135"/>
                      </a:lnTo>
                      <a:lnTo>
                        <a:pt x="648" y="135"/>
                      </a:lnTo>
                      <a:lnTo>
                        <a:pt x="645" y="130"/>
                      </a:lnTo>
                      <a:lnTo>
                        <a:pt x="643" y="130"/>
                      </a:lnTo>
                      <a:lnTo>
                        <a:pt x="645" y="132"/>
                      </a:lnTo>
                      <a:lnTo>
                        <a:pt x="650" y="130"/>
                      </a:lnTo>
                      <a:lnTo>
                        <a:pt x="650" y="128"/>
                      </a:lnTo>
                      <a:lnTo>
                        <a:pt x="661" y="127"/>
                      </a:lnTo>
                      <a:lnTo>
                        <a:pt x="668" y="127"/>
                      </a:lnTo>
                      <a:lnTo>
                        <a:pt x="676" y="124"/>
                      </a:lnTo>
                      <a:lnTo>
                        <a:pt x="683" y="123"/>
                      </a:lnTo>
                      <a:lnTo>
                        <a:pt x="699" y="121"/>
                      </a:lnTo>
                      <a:lnTo>
                        <a:pt x="703" y="119"/>
                      </a:lnTo>
                      <a:lnTo>
                        <a:pt x="701" y="118"/>
                      </a:lnTo>
                      <a:lnTo>
                        <a:pt x="697" y="121"/>
                      </a:lnTo>
                      <a:lnTo>
                        <a:pt x="685" y="121"/>
                      </a:lnTo>
                      <a:lnTo>
                        <a:pt x="686" y="119"/>
                      </a:lnTo>
                      <a:lnTo>
                        <a:pt x="684" y="119"/>
                      </a:lnTo>
                      <a:lnTo>
                        <a:pt x="684" y="118"/>
                      </a:lnTo>
                      <a:lnTo>
                        <a:pt x="682" y="121"/>
                      </a:lnTo>
                      <a:lnTo>
                        <a:pt x="673" y="122"/>
                      </a:lnTo>
                      <a:lnTo>
                        <a:pt x="665" y="122"/>
                      </a:lnTo>
                      <a:lnTo>
                        <a:pt x="672" y="117"/>
                      </a:lnTo>
                      <a:lnTo>
                        <a:pt x="677" y="116"/>
                      </a:lnTo>
                      <a:lnTo>
                        <a:pt x="671" y="117"/>
                      </a:lnTo>
                      <a:lnTo>
                        <a:pt x="671" y="116"/>
                      </a:lnTo>
                      <a:lnTo>
                        <a:pt x="664" y="119"/>
                      </a:lnTo>
                      <a:lnTo>
                        <a:pt x="661" y="118"/>
                      </a:lnTo>
                      <a:lnTo>
                        <a:pt x="662" y="121"/>
                      </a:lnTo>
                      <a:lnTo>
                        <a:pt x="658" y="122"/>
                      </a:lnTo>
                      <a:lnTo>
                        <a:pt x="648" y="123"/>
                      </a:lnTo>
                      <a:lnTo>
                        <a:pt x="651" y="121"/>
                      </a:lnTo>
                      <a:lnTo>
                        <a:pt x="644" y="121"/>
                      </a:lnTo>
                      <a:lnTo>
                        <a:pt x="644" y="123"/>
                      </a:lnTo>
                      <a:lnTo>
                        <a:pt x="636" y="124"/>
                      </a:lnTo>
                      <a:lnTo>
                        <a:pt x="630" y="124"/>
                      </a:lnTo>
                      <a:lnTo>
                        <a:pt x="624" y="122"/>
                      </a:lnTo>
                      <a:lnTo>
                        <a:pt x="621" y="121"/>
                      </a:lnTo>
                      <a:lnTo>
                        <a:pt x="623" y="118"/>
                      </a:lnTo>
                      <a:lnTo>
                        <a:pt x="630" y="118"/>
                      </a:lnTo>
                      <a:lnTo>
                        <a:pt x="645" y="115"/>
                      </a:lnTo>
                      <a:lnTo>
                        <a:pt x="663" y="111"/>
                      </a:lnTo>
                      <a:lnTo>
                        <a:pt x="636" y="114"/>
                      </a:lnTo>
                      <a:lnTo>
                        <a:pt x="643" y="110"/>
                      </a:lnTo>
                      <a:lnTo>
                        <a:pt x="662" y="108"/>
                      </a:lnTo>
                      <a:lnTo>
                        <a:pt x="646" y="109"/>
                      </a:lnTo>
                      <a:lnTo>
                        <a:pt x="651" y="107"/>
                      </a:lnTo>
                      <a:lnTo>
                        <a:pt x="654" y="104"/>
                      </a:lnTo>
                      <a:lnTo>
                        <a:pt x="662" y="103"/>
                      </a:lnTo>
                      <a:lnTo>
                        <a:pt x="676" y="103"/>
                      </a:lnTo>
                      <a:lnTo>
                        <a:pt x="665" y="103"/>
                      </a:lnTo>
                      <a:lnTo>
                        <a:pt x="664" y="102"/>
                      </a:lnTo>
                      <a:lnTo>
                        <a:pt x="669" y="99"/>
                      </a:lnTo>
                      <a:lnTo>
                        <a:pt x="686" y="98"/>
                      </a:lnTo>
                      <a:lnTo>
                        <a:pt x="689" y="99"/>
                      </a:lnTo>
                      <a:lnTo>
                        <a:pt x="690" y="103"/>
                      </a:lnTo>
                      <a:lnTo>
                        <a:pt x="699" y="102"/>
                      </a:lnTo>
                      <a:lnTo>
                        <a:pt x="705" y="103"/>
                      </a:lnTo>
                      <a:lnTo>
                        <a:pt x="703" y="104"/>
                      </a:lnTo>
                      <a:lnTo>
                        <a:pt x="708" y="108"/>
                      </a:lnTo>
                      <a:lnTo>
                        <a:pt x="709" y="109"/>
                      </a:lnTo>
                      <a:lnTo>
                        <a:pt x="705" y="114"/>
                      </a:lnTo>
                      <a:lnTo>
                        <a:pt x="709" y="115"/>
                      </a:lnTo>
                      <a:lnTo>
                        <a:pt x="716" y="112"/>
                      </a:lnTo>
                      <a:lnTo>
                        <a:pt x="723" y="114"/>
                      </a:lnTo>
                      <a:lnTo>
                        <a:pt x="726" y="115"/>
                      </a:lnTo>
                      <a:lnTo>
                        <a:pt x="729" y="115"/>
                      </a:lnTo>
                      <a:lnTo>
                        <a:pt x="732" y="115"/>
                      </a:lnTo>
                      <a:lnTo>
                        <a:pt x="738" y="112"/>
                      </a:lnTo>
                      <a:lnTo>
                        <a:pt x="733" y="111"/>
                      </a:lnTo>
                      <a:lnTo>
                        <a:pt x="730" y="108"/>
                      </a:lnTo>
                      <a:lnTo>
                        <a:pt x="732" y="107"/>
                      </a:lnTo>
                      <a:lnTo>
                        <a:pt x="742" y="104"/>
                      </a:lnTo>
                      <a:lnTo>
                        <a:pt x="737" y="103"/>
                      </a:lnTo>
                      <a:lnTo>
                        <a:pt x="731" y="101"/>
                      </a:lnTo>
                      <a:lnTo>
                        <a:pt x="736" y="99"/>
                      </a:lnTo>
                      <a:lnTo>
                        <a:pt x="737" y="98"/>
                      </a:lnTo>
                      <a:lnTo>
                        <a:pt x="742" y="98"/>
                      </a:lnTo>
                      <a:lnTo>
                        <a:pt x="744" y="98"/>
                      </a:lnTo>
                      <a:lnTo>
                        <a:pt x="753" y="94"/>
                      </a:lnTo>
                      <a:lnTo>
                        <a:pt x="764" y="94"/>
                      </a:lnTo>
                      <a:lnTo>
                        <a:pt x="764" y="95"/>
                      </a:lnTo>
                      <a:lnTo>
                        <a:pt x="759" y="96"/>
                      </a:lnTo>
                      <a:lnTo>
                        <a:pt x="755" y="98"/>
                      </a:lnTo>
                      <a:lnTo>
                        <a:pt x="758" y="103"/>
                      </a:lnTo>
                      <a:lnTo>
                        <a:pt x="753" y="104"/>
                      </a:lnTo>
                      <a:lnTo>
                        <a:pt x="750" y="105"/>
                      </a:lnTo>
                      <a:lnTo>
                        <a:pt x="755" y="105"/>
                      </a:lnTo>
                      <a:lnTo>
                        <a:pt x="758" y="107"/>
                      </a:lnTo>
                      <a:lnTo>
                        <a:pt x="751" y="109"/>
                      </a:lnTo>
                      <a:lnTo>
                        <a:pt x="751" y="110"/>
                      </a:lnTo>
                      <a:lnTo>
                        <a:pt x="755" y="109"/>
                      </a:lnTo>
                      <a:lnTo>
                        <a:pt x="763" y="108"/>
                      </a:lnTo>
                      <a:lnTo>
                        <a:pt x="766" y="109"/>
                      </a:lnTo>
                      <a:lnTo>
                        <a:pt x="769" y="107"/>
                      </a:lnTo>
                      <a:lnTo>
                        <a:pt x="773" y="105"/>
                      </a:lnTo>
                      <a:lnTo>
                        <a:pt x="782" y="107"/>
                      </a:lnTo>
                      <a:lnTo>
                        <a:pt x="778" y="109"/>
                      </a:lnTo>
                      <a:lnTo>
                        <a:pt x="779" y="114"/>
                      </a:lnTo>
                      <a:lnTo>
                        <a:pt x="769" y="115"/>
                      </a:lnTo>
                      <a:lnTo>
                        <a:pt x="765" y="118"/>
                      </a:lnTo>
                      <a:lnTo>
                        <a:pt x="761" y="122"/>
                      </a:lnTo>
                      <a:lnTo>
                        <a:pt x="752" y="122"/>
                      </a:lnTo>
                      <a:lnTo>
                        <a:pt x="742" y="124"/>
                      </a:lnTo>
                      <a:lnTo>
                        <a:pt x="738" y="124"/>
                      </a:lnTo>
                      <a:lnTo>
                        <a:pt x="732" y="124"/>
                      </a:lnTo>
                      <a:lnTo>
                        <a:pt x="729" y="124"/>
                      </a:lnTo>
                      <a:lnTo>
                        <a:pt x="724" y="125"/>
                      </a:lnTo>
                      <a:lnTo>
                        <a:pt x="719" y="124"/>
                      </a:lnTo>
                      <a:lnTo>
                        <a:pt x="711" y="125"/>
                      </a:lnTo>
                      <a:lnTo>
                        <a:pt x="710" y="125"/>
                      </a:lnTo>
                      <a:lnTo>
                        <a:pt x="702" y="128"/>
                      </a:lnTo>
                      <a:lnTo>
                        <a:pt x="697" y="128"/>
                      </a:lnTo>
                      <a:lnTo>
                        <a:pt x="697" y="128"/>
                      </a:lnTo>
                      <a:close/>
                      <a:moveTo>
                        <a:pt x="786" y="119"/>
                      </a:moveTo>
                      <a:lnTo>
                        <a:pt x="773" y="122"/>
                      </a:lnTo>
                      <a:lnTo>
                        <a:pt x="770" y="119"/>
                      </a:lnTo>
                      <a:lnTo>
                        <a:pt x="776" y="117"/>
                      </a:lnTo>
                      <a:lnTo>
                        <a:pt x="783" y="115"/>
                      </a:lnTo>
                      <a:lnTo>
                        <a:pt x="785" y="116"/>
                      </a:lnTo>
                      <a:lnTo>
                        <a:pt x="786" y="115"/>
                      </a:lnTo>
                      <a:lnTo>
                        <a:pt x="788" y="119"/>
                      </a:lnTo>
                      <a:lnTo>
                        <a:pt x="786" y="119"/>
                      </a:lnTo>
                      <a:lnTo>
                        <a:pt x="786" y="119"/>
                      </a:lnTo>
                      <a:close/>
                      <a:moveTo>
                        <a:pt x="852" y="117"/>
                      </a:moveTo>
                      <a:lnTo>
                        <a:pt x="852" y="121"/>
                      </a:lnTo>
                      <a:lnTo>
                        <a:pt x="824" y="117"/>
                      </a:lnTo>
                      <a:lnTo>
                        <a:pt x="830" y="117"/>
                      </a:lnTo>
                      <a:lnTo>
                        <a:pt x="829" y="116"/>
                      </a:lnTo>
                      <a:lnTo>
                        <a:pt x="823" y="115"/>
                      </a:lnTo>
                      <a:lnTo>
                        <a:pt x="826" y="115"/>
                      </a:lnTo>
                      <a:lnTo>
                        <a:pt x="825" y="114"/>
                      </a:lnTo>
                      <a:lnTo>
                        <a:pt x="835" y="112"/>
                      </a:lnTo>
                      <a:lnTo>
                        <a:pt x="842" y="109"/>
                      </a:lnTo>
                      <a:lnTo>
                        <a:pt x="852" y="108"/>
                      </a:lnTo>
                      <a:lnTo>
                        <a:pt x="803" y="111"/>
                      </a:lnTo>
                      <a:lnTo>
                        <a:pt x="803" y="109"/>
                      </a:lnTo>
                      <a:lnTo>
                        <a:pt x="812" y="108"/>
                      </a:lnTo>
                      <a:lnTo>
                        <a:pt x="813" y="105"/>
                      </a:lnTo>
                      <a:lnTo>
                        <a:pt x="818" y="105"/>
                      </a:lnTo>
                      <a:lnTo>
                        <a:pt x="823" y="108"/>
                      </a:lnTo>
                      <a:lnTo>
                        <a:pt x="829" y="107"/>
                      </a:lnTo>
                      <a:lnTo>
                        <a:pt x="824" y="107"/>
                      </a:lnTo>
                      <a:lnTo>
                        <a:pt x="824" y="104"/>
                      </a:lnTo>
                      <a:lnTo>
                        <a:pt x="828" y="103"/>
                      </a:lnTo>
                      <a:lnTo>
                        <a:pt x="822" y="103"/>
                      </a:lnTo>
                      <a:lnTo>
                        <a:pt x="829" y="99"/>
                      </a:lnTo>
                      <a:lnTo>
                        <a:pt x="823" y="98"/>
                      </a:lnTo>
                      <a:lnTo>
                        <a:pt x="830" y="95"/>
                      </a:lnTo>
                      <a:lnTo>
                        <a:pt x="837" y="97"/>
                      </a:lnTo>
                      <a:lnTo>
                        <a:pt x="842" y="105"/>
                      </a:lnTo>
                      <a:lnTo>
                        <a:pt x="845" y="104"/>
                      </a:lnTo>
                      <a:lnTo>
                        <a:pt x="843" y="101"/>
                      </a:lnTo>
                      <a:lnTo>
                        <a:pt x="849" y="101"/>
                      </a:lnTo>
                      <a:lnTo>
                        <a:pt x="843" y="99"/>
                      </a:lnTo>
                      <a:lnTo>
                        <a:pt x="844" y="98"/>
                      </a:lnTo>
                      <a:lnTo>
                        <a:pt x="849" y="97"/>
                      </a:lnTo>
                      <a:lnTo>
                        <a:pt x="842" y="96"/>
                      </a:lnTo>
                      <a:lnTo>
                        <a:pt x="841" y="94"/>
                      </a:lnTo>
                      <a:lnTo>
                        <a:pt x="850" y="92"/>
                      </a:lnTo>
                      <a:lnTo>
                        <a:pt x="859" y="92"/>
                      </a:lnTo>
                      <a:lnTo>
                        <a:pt x="863" y="95"/>
                      </a:lnTo>
                      <a:lnTo>
                        <a:pt x="866" y="95"/>
                      </a:lnTo>
                      <a:lnTo>
                        <a:pt x="866" y="92"/>
                      </a:lnTo>
                      <a:lnTo>
                        <a:pt x="871" y="91"/>
                      </a:lnTo>
                      <a:lnTo>
                        <a:pt x="875" y="91"/>
                      </a:lnTo>
                      <a:lnTo>
                        <a:pt x="879" y="95"/>
                      </a:lnTo>
                      <a:lnTo>
                        <a:pt x="876" y="98"/>
                      </a:lnTo>
                      <a:lnTo>
                        <a:pt x="877" y="99"/>
                      </a:lnTo>
                      <a:lnTo>
                        <a:pt x="869" y="107"/>
                      </a:lnTo>
                      <a:lnTo>
                        <a:pt x="864" y="108"/>
                      </a:lnTo>
                      <a:lnTo>
                        <a:pt x="870" y="109"/>
                      </a:lnTo>
                      <a:lnTo>
                        <a:pt x="864" y="114"/>
                      </a:lnTo>
                      <a:lnTo>
                        <a:pt x="863" y="111"/>
                      </a:lnTo>
                      <a:lnTo>
                        <a:pt x="861" y="112"/>
                      </a:lnTo>
                      <a:lnTo>
                        <a:pt x="858" y="112"/>
                      </a:lnTo>
                      <a:lnTo>
                        <a:pt x="855" y="116"/>
                      </a:lnTo>
                      <a:lnTo>
                        <a:pt x="857" y="116"/>
                      </a:lnTo>
                      <a:lnTo>
                        <a:pt x="858" y="118"/>
                      </a:lnTo>
                      <a:lnTo>
                        <a:pt x="852" y="117"/>
                      </a:lnTo>
                      <a:lnTo>
                        <a:pt x="852" y="117"/>
                      </a:lnTo>
                      <a:close/>
                      <a:moveTo>
                        <a:pt x="802" y="110"/>
                      </a:moveTo>
                      <a:lnTo>
                        <a:pt x="796" y="111"/>
                      </a:lnTo>
                      <a:lnTo>
                        <a:pt x="791" y="111"/>
                      </a:lnTo>
                      <a:lnTo>
                        <a:pt x="792" y="110"/>
                      </a:lnTo>
                      <a:lnTo>
                        <a:pt x="796" y="110"/>
                      </a:lnTo>
                      <a:lnTo>
                        <a:pt x="796" y="109"/>
                      </a:lnTo>
                      <a:lnTo>
                        <a:pt x="809" y="108"/>
                      </a:lnTo>
                      <a:lnTo>
                        <a:pt x="811" y="108"/>
                      </a:lnTo>
                      <a:lnTo>
                        <a:pt x="811" y="108"/>
                      </a:lnTo>
                      <a:lnTo>
                        <a:pt x="806" y="109"/>
                      </a:lnTo>
                      <a:lnTo>
                        <a:pt x="802" y="110"/>
                      </a:lnTo>
                      <a:lnTo>
                        <a:pt x="802" y="110"/>
                      </a:lnTo>
                      <a:close/>
                      <a:moveTo>
                        <a:pt x="797" y="108"/>
                      </a:moveTo>
                      <a:lnTo>
                        <a:pt x="788" y="109"/>
                      </a:lnTo>
                      <a:lnTo>
                        <a:pt x="788" y="108"/>
                      </a:lnTo>
                      <a:lnTo>
                        <a:pt x="799" y="107"/>
                      </a:lnTo>
                      <a:lnTo>
                        <a:pt x="809" y="105"/>
                      </a:lnTo>
                      <a:lnTo>
                        <a:pt x="809" y="107"/>
                      </a:lnTo>
                      <a:lnTo>
                        <a:pt x="797" y="108"/>
                      </a:lnTo>
                      <a:lnTo>
                        <a:pt x="797" y="108"/>
                      </a:lnTo>
                      <a:close/>
                      <a:moveTo>
                        <a:pt x="612" y="114"/>
                      </a:moveTo>
                      <a:lnTo>
                        <a:pt x="605" y="115"/>
                      </a:lnTo>
                      <a:lnTo>
                        <a:pt x="601" y="115"/>
                      </a:lnTo>
                      <a:lnTo>
                        <a:pt x="602" y="114"/>
                      </a:lnTo>
                      <a:lnTo>
                        <a:pt x="597" y="114"/>
                      </a:lnTo>
                      <a:lnTo>
                        <a:pt x="617" y="108"/>
                      </a:lnTo>
                      <a:lnTo>
                        <a:pt x="622" y="108"/>
                      </a:lnTo>
                      <a:lnTo>
                        <a:pt x="630" y="105"/>
                      </a:lnTo>
                      <a:lnTo>
                        <a:pt x="631" y="107"/>
                      </a:lnTo>
                      <a:lnTo>
                        <a:pt x="630" y="107"/>
                      </a:lnTo>
                      <a:lnTo>
                        <a:pt x="624" y="109"/>
                      </a:lnTo>
                      <a:lnTo>
                        <a:pt x="619" y="110"/>
                      </a:lnTo>
                      <a:lnTo>
                        <a:pt x="616" y="112"/>
                      </a:lnTo>
                      <a:lnTo>
                        <a:pt x="612" y="114"/>
                      </a:lnTo>
                      <a:lnTo>
                        <a:pt x="612" y="114"/>
                      </a:lnTo>
                      <a:close/>
                      <a:moveTo>
                        <a:pt x="601" y="109"/>
                      </a:moveTo>
                      <a:lnTo>
                        <a:pt x="598" y="110"/>
                      </a:lnTo>
                      <a:lnTo>
                        <a:pt x="599" y="104"/>
                      </a:lnTo>
                      <a:lnTo>
                        <a:pt x="594" y="107"/>
                      </a:lnTo>
                      <a:lnTo>
                        <a:pt x="589" y="108"/>
                      </a:lnTo>
                      <a:lnTo>
                        <a:pt x="585" y="107"/>
                      </a:lnTo>
                      <a:lnTo>
                        <a:pt x="581" y="108"/>
                      </a:lnTo>
                      <a:lnTo>
                        <a:pt x="578" y="107"/>
                      </a:lnTo>
                      <a:lnTo>
                        <a:pt x="575" y="109"/>
                      </a:lnTo>
                      <a:lnTo>
                        <a:pt x="572" y="108"/>
                      </a:lnTo>
                      <a:lnTo>
                        <a:pt x="577" y="105"/>
                      </a:lnTo>
                      <a:lnTo>
                        <a:pt x="576" y="104"/>
                      </a:lnTo>
                      <a:lnTo>
                        <a:pt x="583" y="102"/>
                      </a:lnTo>
                      <a:lnTo>
                        <a:pt x="592" y="101"/>
                      </a:lnTo>
                      <a:lnTo>
                        <a:pt x="596" y="99"/>
                      </a:lnTo>
                      <a:lnTo>
                        <a:pt x="601" y="98"/>
                      </a:lnTo>
                      <a:lnTo>
                        <a:pt x="605" y="97"/>
                      </a:lnTo>
                      <a:lnTo>
                        <a:pt x="597" y="98"/>
                      </a:lnTo>
                      <a:lnTo>
                        <a:pt x="617" y="95"/>
                      </a:lnTo>
                      <a:lnTo>
                        <a:pt x="629" y="91"/>
                      </a:lnTo>
                      <a:lnTo>
                        <a:pt x="637" y="90"/>
                      </a:lnTo>
                      <a:lnTo>
                        <a:pt x="645" y="89"/>
                      </a:lnTo>
                      <a:lnTo>
                        <a:pt x="650" y="87"/>
                      </a:lnTo>
                      <a:lnTo>
                        <a:pt x="659" y="85"/>
                      </a:lnTo>
                      <a:lnTo>
                        <a:pt x="672" y="87"/>
                      </a:lnTo>
                      <a:lnTo>
                        <a:pt x="670" y="84"/>
                      </a:lnTo>
                      <a:lnTo>
                        <a:pt x="676" y="83"/>
                      </a:lnTo>
                      <a:lnTo>
                        <a:pt x="682" y="83"/>
                      </a:lnTo>
                      <a:lnTo>
                        <a:pt x="688" y="84"/>
                      </a:lnTo>
                      <a:lnTo>
                        <a:pt x="689" y="84"/>
                      </a:lnTo>
                      <a:lnTo>
                        <a:pt x="688" y="87"/>
                      </a:lnTo>
                      <a:lnTo>
                        <a:pt x="681" y="88"/>
                      </a:lnTo>
                      <a:lnTo>
                        <a:pt x="676" y="90"/>
                      </a:lnTo>
                      <a:lnTo>
                        <a:pt x="672" y="90"/>
                      </a:lnTo>
                      <a:lnTo>
                        <a:pt x="673" y="94"/>
                      </a:lnTo>
                      <a:lnTo>
                        <a:pt x="669" y="92"/>
                      </a:lnTo>
                      <a:lnTo>
                        <a:pt x="668" y="96"/>
                      </a:lnTo>
                      <a:lnTo>
                        <a:pt x="652" y="98"/>
                      </a:lnTo>
                      <a:lnTo>
                        <a:pt x="649" y="102"/>
                      </a:lnTo>
                      <a:lnTo>
                        <a:pt x="639" y="103"/>
                      </a:lnTo>
                      <a:lnTo>
                        <a:pt x="639" y="101"/>
                      </a:lnTo>
                      <a:lnTo>
                        <a:pt x="651" y="95"/>
                      </a:lnTo>
                      <a:lnTo>
                        <a:pt x="639" y="96"/>
                      </a:lnTo>
                      <a:lnTo>
                        <a:pt x="637" y="98"/>
                      </a:lnTo>
                      <a:lnTo>
                        <a:pt x="630" y="98"/>
                      </a:lnTo>
                      <a:lnTo>
                        <a:pt x="626" y="103"/>
                      </a:lnTo>
                      <a:lnTo>
                        <a:pt x="624" y="103"/>
                      </a:lnTo>
                      <a:lnTo>
                        <a:pt x="617" y="105"/>
                      </a:lnTo>
                      <a:lnTo>
                        <a:pt x="616" y="102"/>
                      </a:lnTo>
                      <a:lnTo>
                        <a:pt x="611" y="105"/>
                      </a:lnTo>
                      <a:lnTo>
                        <a:pt x="612" y="107"/>
                      </a:lnTo>
                      <a:lnTo>
                        <a:pt x="601" y="109"/>
                      </a:lnTo>
                      <a:lnTo>
                        <a:pt x="601" y="109"/>
                      </a:lnTo>
                      <a:close/>
                      <a:moveTo>
                        <a:pt x="816" y="101"/>
                      </a:moveTo>
                      <a:lnTo>
                        <a:pt x="810" y="103"/>
                      </a:lnTo>
                      <a:lnTo>
                        <a:pt x="797" y="103"/>
                      </a:lnTo>
                      <a:lnTo>
                        <a:pt x="798" y="97"/>
                      </a:lnTo>
                      <a:lnTo>
                        <a:pt x="819" y="91"/>
                      </a:lnTo>
                      <a:lnTo>
                        <a:pt x="819" y="97"/>
                      </a:lnTo>
                      <a:lnTo>
                        <a:pt x="816" y="101"/>
                      </a:lnTo>
                      <a:lnTo>
                        <a:pt x="816" y="101"/>
                      </a:lnTo>
                      <a:close/>
                      <a:moveTo>
                        <a:pt x="722" y="104"/>
                      </a:moveTo>
                      <a:lnTo>
                        <a:pt x="721" y="104"/>
                      </a:lnTo>
                      <a:lnTo>
                        <a:pt x="718" y="101"/>
                      </a:lnTo>
                      <a:lnTo>
                        <a:pt x="728" y="99"/>
                      </a:lnTo>
                      <a:lnTo>
                        <a:pt x="722" y="104"/>
                      </a:lnTo>
                      <a:lnTo>
                        <a:pt x="722" y="104"/>
                      </a:lnTo>
                      <a:close/>
                      <a:moveTo>
                        <a:pt x="1096" y="102"/>
                      </a:moveTo>
                      <a:lnTo>
                        <a:pt x="1070" y="104"/>
                      </a:lnTo>
                      <a:lnTo>
                        <a:pt x="1079" y="99"/>
                      </a:lnTo>
                      <a:lnTo>
                        <a:pt x="1065" y="97"/>
                      </a:lnTo>
                      <a:lnTo>
                        <a:pt x="1062" y="95"/>
                      </a:lnTo>
                      <a:lnTo>
                        <a:pt x="1060" y="99"/>
                      </a:lnTo>
                      <a:lnTo>
                        <a:pt x="1052" y="101"/>
                      </a:lnTo>
                      <a:lnTo>
                        <a:pt x="1052" y="94"/>
                      </a:lnTo>
                      <a:lnTo>
                        <a:pt x="1048" y="99"/>
                      </a:lnTo>
                      <a:lnTo>
                        <a:pt x="1045" y="99"/>
                      </a:lnTo>
                      <a:lnTo>
                        <a:pt x="1040" y="97"/>
                      </a:lnTo>
                      <a:lnTo>
                        <a:pt x="1040" y="96"/>
                      </a:lnTo>
                      <a:lnTo>
                        <a:pt x="1038" y="96"/>
                      </a:lnTo>
                      <a:lnTo>
                        <a:pt x="1033" y="99"/>
                      </a:lnTo>
                      <a:lnTo>
                        <a:pt x="1031" y="99"/>
                      </a:lnTo>
                      <a:lnTo>
                        <a:pt x="1030" y="97"/>
                      </a:lnTo>
                      <a:lnTo>
                        <a:pt x="1026" y="97"/>
                      </a:lnTo>
                      <a:lnTo>
                        <a:pt x="1030" y="101"/>
                      </a:lnTo>
                      <a:lnTo>
                        <a:pt x="1020" y="102"/>
                      </a:lnTo>
                      <a:lnTo>
                        <a:pt x="1009" y="99"/>
                      </a:lnTo>
                      <a:lnTo>
                        <a:pt x="1010" y="98"/>
                      </a:lnTo>
                      <a:lnTo>
                        <a:pt x="1004" y="99"/>
                      </a:lnTo>
                      <a:lnTo>
                        <a:pt x="999" y="99"/>
                      </a:lnTo>
                      <a:lnTo>
                        <a:pt x="997" y="96"/>
                      </a:lnTo>
                      <a:lnTo>
                        <a:pt x="993" y="101"/>
                      </a:lnTo>
                      <a:lnTo>
                        <a:pt x="984" y="99"/>
                      </a:lnTo>
                      <a:lnTo>
                        <a:pt x="985" y="97"/>
                      </a:lnTo>
                      <a:lnTo>
                        <a:pt x="980" y="99"/>
                      </a:lnTo>
                      <a:lnTo>
                        <a:pt x="979" y="98"/>
                      </a:lnTo>
                      <a:lnTo>
                        <a:pt x="978" y="99"/>
                      </a:lnTo>
                      <a:lnTo>
                        <a:pt x="973" y="99"/>
                      </a:lnTo>
                      <a:lnTo>
                        <a:pt x="971" y="97"/>
                      </a:lnTo>
                      <a:lnTo>
                        <a:pt x="979" y="91"/>
                      </a:lnTo>
                      <a:lnTo>
                        <a:pt x="996" y="88"/>
                      </a:lnTo>
                      <a:lnTo>
                        <a:pt x="1012" y="87"/>
                      </a:lnTo>
                      <a:lnTo>
                        <a:pt x="1015" y="84"/>
                      </a:lnTo>
                      <a:lnTo>
                        <a:pt x="1009" y="83"/>
                      </a:lnTo>
                      <a:lnTo>
                        <a:pt x="1012" y="81"/>
                      </a:lnTo>
                      <a:lnTo>
                        <a:pt x="1009" y="79"/>
                      </a:lnTo>
                      <a:lnTo>
                        <a:pt x="1012" y="76"/>
                      </a:lnTo>
                      <a:lnTo>
                        <a:pt x="1020" y="75"/>
                      </a:lnTo>
                      <a:lnTo>
                        <a:pt x="1030" y="76"/>
                      </a:lnTo>
                      <a:lnTo>
                        <a:pt x="1036" y="77"/>
                      </a:lnTo>
                      <a:lnTo>
                        <a:pt x="1032" y="83"/>
                      </a:lnTo>
                      <a:lnTo>
                        <a:pt x="1044" y="84"/>
                      </a:lnTo>
                      <a:lnTo>
                        <a:pt x="1056" y="83"/>
                      </a:lnTo>
                      <a:lnTo>
                        <a:pt x="1077" y="77"/>
                      </a:lnTo>
                      <a:lnTo>
                        <a:pt x="1080" y="74"/>
                      </a:lnTo>
                      <a:lnTo>
                        <a:pt x="1062" y="82"/>
                      </a:lnTo>
                      <a:lnTo>
                        <a:pt x="1049" y="82"/>
                      </a:lnTo>
                      <a:lnTo>
                        <a:pt x="1050" y="79"/>
                      </a:lnTo>
                      <a:lnTo>
                        <a:pt x="1044" y="79"/>
                      </a:lnTo>
                      <a:lnTo>
                        <a:pt x="1046" y="77"/>
                      </a:lnTo>
                      <a:lnTo>
                        <a:pt x="1043" y="77"/>
                      </a:lnTo>
                      <a:lnTo>
                        <a:pt x="1046" y="76"/>
                      </a:lnTo>
                      <a:lnTo>
                        <a:pt x="1042" y="75"/>
                      </a:lnTo>
                      <a:lnTo>
                        <a:pt x="1056" y="72"/>
                      </a:lnTo>
                      <a:lnTo>
                        <a:pt x="1055" y="71"/>
                      </a:lnTo>
                      <a:lnTo>
                        <a:pt x="1058" y="71"/>
                      </a:lnTo>
                      <a:lnTo>
                        <a:pt x="1060" y="69"/>
                      </a:lnTo>
                      <a:lnTo>
                        <a:pt x="1058" y="69"/>
                      </a:lnTo>
                      <a:lnTo>
                        <a:pt x="1048" y="72"/>
                      </a:lnTo>
                      <a:lnTo>
                        <a:pt x="1038" y="72"/>
                      </a:lnTo>
                      <a:lnTo>
                        <a:pt x="1043" y="70"/>
                      </a:lnTo>
                      <a:lnTo>
                        <a:pt x="1031" y="72"/>
                      </a:lnTo>
                      <a:lnTo>
                        <a:pt x="1025" y="71"/>
                      </a:lnTo>
                      <a:lnTo>
                        <a:pt x="1029" y="70"/>
                      </a:lnTo>
                      <a:lnTo>
                        <a:pt x="1025" y="70"/>
                      </a:lnTo>
                      <a:lnTo>
                        <a:pt x="1048" y="61"/>
                      </a:lnTo>
                      <a:lnTo>
                        <a:pt x="1068" y="58"/>
                      </a:lnTo>
                      <a:lnTo>
                        <a:pt x="1070" y="61"/>
                      </a:lnTo>
                      <a:lnTo>
                        <a:pt x="1082" y="61"/>
                      </a:lnTo>
                      <a:lnTo>
                        <a:pt x="1091" y="63"/>
                      </a:lnTo>
                      <a:lnTo>
                        <a:pt x="1095" y="62"/>
                      </a:lnTo>
                      <a:lnTo>
                        <a:pt x="1089" y="61"/>
                      </a:lnTo>
                      <a:lnTo>
                        <a:pt x="1106" y="60"/>
                      </a:lnTo>
                      <a:lnTo>
                        <a:pt x="1109" y="57"/>
                      </a:lnTo>
                      <a:lnTo>
                        <a:pt x="1105" y="58"/>
                      </a:lnTo>
                      <a:lnTo>
                        <a:pt x="1077" y="58"/>
                      </a:lnTo>
                      <a:lnTo>
                        <a:pt x="1073" y="56"/>
                      </a:lnTo>
                      <a:lnTo>
                        <a:pt x="1077" y="55"/>
                      </a:lnTo>
                      <a:lnTo>
                        <a:pt x="1088" y="57"/>
                      </a:lnTo>
                      <a:lnTo>
                        <a:pt x="1091" y="56"/>
                      </a:lnTo>
                      <a:lnTo>
                        <a:pt x="1082" y="55"/>
                      </a:lnTo>
                      <a:lnTo>
                        <a:pt x="1078" y="48"/>
                      </a:lnTo>
                      <a:lnTo>
                        <a:pt x="1064" y="44"/>
                      </a:lnTo>
                      <a:lnTo>
                        <a:pt x="1068" y="42"/>
                      </a:lnTo>
                      <a:lnTo>
                        <a:pt x="1075" y="42"/>
                      </a:lnTo>
                      <a:lnTo>
                        <a:pt x="1068" y="40"/>
                      </a:lnTo>
                      <a:lnTo>
                        <a:pt x="1073" y="37"/>
                      </a:lnTo>
                      <a:lnTo>
                        <a:pt x="1080" y="37"/>
                      </a:lnTo>
                      <a:lnTo>
                        <a:pt x="1088" y="38"/>
                      </a:lnTo>
                      <a:lnTo>
                        <a:pt x="1104" y="38"/>
                      </a:lnTo>
                      <a:lnTo>
                        <a:pt x="1116" y="42"/>
                      </a:lnTo>
                      <a:lnTo>
                        <a:pt x="1120" y="48"/>
                      </a:lnTo>
                      <a:lnTo>
                        <a:pt x="1125" y="48"/>
                      </a:lnTo>
                      <a:lnTo>
                        <a:pt x="1129" y="47"/>
                      </a:lnTo>
                      <a:lnTo>
                        <a:pt x="1122" y="45"/>
                      </a:lnTo>
                      <a:lnTo>
                        <a:pt x="1125" y="42"/>
                      </a:lnTo>
                      <a:lnTo>
                        <a:pt x="1118" y="41"/>
                      </a:lnTo>
                      <a:lnTo>
                        <a:pt x="1113" y="37"/>
                      </a:lnTo>
                      <a:lnTo>
                        <a:pt x="1146" y="35"/>
                      </a:lnTo>
                      <a:lnTo>
                        <a:pt x="1151" y="34"/>
                      </a:lnTo>
                      <a:lnTo>
                        <a:pt x="1176" y="32"/>
                      </a:lnTo>
                      <a:lnTo>
                        <a:pt x="1155" y="32"/>
                      </a:lnTo>
                      <a:lnTo>
                        <a:pt x="1178" y="30"/>
                      </a:lnTo>
                      <a:lnTo>
                        <a:pt x="1197" y="29"/>
                      </a:lnTo>
                      <a:lnTo>
                        <a:pt x="1171" y="29"/>
                      </a:lnTo>
                      <a:lnTo>
                        <a:pt x="1183" y="24"/>
                      </a:lnTo>
                      <a:lnTo>
                        <a:pt x="1197" y="22"/>
                      </a:lnTo>
                      <a:lnTo>
                        <a:pt x="1173" y="25"/>
                      </a:lnTo>
                      <a:lnTo>
                        <a:pt x="1163" y="29"/>
                      </a:lnTo>
                      <a:lnTo>
                        <a:pt x="1144" y="31"/>
                      </a:lnTo>
                      <a:lnTo>
                        <a:pt x="1118" y="34"/>
                      </a:lnTo>
                      <a:lnTo>
                        <a:pt x="1120" y="32"/>
                      </a:lnTo>
                      <a:lnTo>
                        <a:pt x="1137" y="30"/>
                      </a:lnTo>
                      <a:lnTo>
                        <a:pt x="1116" y="31"/>
                      </a:lnTo>
                      <a:lnTo>
                        <a:pt x="1117" y="30"/>
                      </a:lnTo>
                      <a:lnTo>
                        <a:pt x="1112" y="32"/>
                      </a:lnTo>
                      <a:lnTo>
                        <a:pt x="1105" y="34"/>
                      </a:lnTo>
                      <a:lnTo>
                        <a:pt x="1076" y="32"/>
                      </a:lnTo>
                      <a:lnTo>
                        <a:pt x="1100" y="27"/>
                      </a:lnTo>
                      <a:lnTo>
                        <a:pt x="1132" y="25"/>
                      </a:lnTo>
                      <a:lnTo>
                        <a:pt x="1091" y="27"/>
                      </a:lnTo>
                      <a:lnTo>
                        <a:pt x="1070" y="32"/>
                      </a:lnTo>
                      <a:lnTo>
                        <a:pt x="1053" y="30"/>
                      </a:lnTo>
                      <a:lnTo>
                        <a:pt x="1052" y="28"/>
                      </a:lnTo>
                      <a:lnTo>
                        <a:pt x="1093" y="27"/>
                      </a:lnTo>
                      <a:lnTo>
                        <a:pt x="1110" y="23"/>
                      </a:lnTo>
                      <a:lnTo>
                        <a:pt x="1077" y="25"/>
                      </a:lnTo>
                      <a:lnTo>
                        <a:pt x="1048" y="27"/>
                      </a:lnTo>
                      <a:lnTo>
                        <a:pt x="1043" y="25"/>
                      </a:lnTo>
                      <a:lnTo>
                        <a:pt x="1044" y="24"/>
                      </a:lnTo>
                      <a:lnTo>
                        <a:pt x="1058" y="23"/>
                      </a:lnTo>
                      <a:lnTo>
                        <a:pt x="1051" y="22"/>
                      </a:lnTo>
                      <a:lnTo>
                        <a:pt x="1065" y="21"/>
                      </a:lnTo>
                      <a:lnTo>
                        <a:pt x="1076" y="20"/>
                      </a:lnTo>
                      <a:lnTo>
                        <a:pt x="1072" y="18"/>
                      </a:lnTo>
                      <a:lnTo>
                        <a:pt x="1045" y="22"/>
                      </a:lnTo>
                      <a:lnTo>
                        <a:pt x="1044" y="21"/>
                      </a:lnTo>
                      <a:lnTo>
                        <a:pt x="1059" y="18"/>
                      </a:lnTo>
                      <a:lnTo>
                        <a:pt x="1044" y="18"/>
                      </a:lnTo>
                      <a:lnTo>
                        <a:pt x="1039" y="20"/>
                      </a:lnTo>
                      <a:lnTo>
                        <a:pt x="1033" y="18"/>
                      </a:lnTo>
                      <a:lnTo>
                        <a:pt x="1051" y="15"/>
                      </a:lnTo>
                      <a:lnTo>
                        <a:pt x="1063" y="15"/>
                      </a:lnTo>
                      <a:lnTo>
                        <a:pt x="1065" y="16"/>
                      </a:lnTo>
                      <a:lnTo>
                        <a:pt x="1077" y="12"/>
                      </a:lnTo>
                      <a:lnTo>
                        <a:pt x="1083" y="12"/>
                      </a:lnTo>
                      <a:lnTo>
                        <a:pt x="1092" y="14"/>
                      </a:lnTo>
                      <a:lnTo>
                        <a:pt x="1090" y="14"/>
                      </a:lnTo>
                      <a:lnTo>
                        <a:pt x="1102" y="12"/>
                      </a:lnTo>
                      <a:lnTo>
                        <a:pt x="1111" y="14"/>
                      </a:lnTo>
                      <a:lnTo>
                        <a:pt x="1115" y="14"/>
                      </a:lnTo>
                      <a:lnTo>
                        <a:pt x="1100" y="12"/>
                      </a:lnTo>
                      <a:lnTo>
                        <a:pt x="1099" y="10"/>
                      </a:lnTo>
                      <a:lnTo>
                        <a:pt x="1116" y="10"/>
                      </a:lnTo>
                      <a:lnTo>
                        <a:pt x="1116" y="8"/>
                      </a:lnTo>
                      <a:lnTo>
                        <a:pt x="1113" y="8"/>
                      </a:lnTo>
                      <a:lnTo>
                        <a:pt x="1137" y="9"/>
                      </a:lnTo>
                      <a:lnTo>
                        <a:pt x="1139" y="10"/>
                      </a:lnTo>
                      <a:lnTo>
                        <a:pt x="1151" y="9"/>
                      </a:lnTo>
                      <a:lnTo>
                        <a:pt x="1156" y="7"/>
                      </a:lnTo>
                      <a:lnTo>
                        <a:pt x="1165" y="7"/>
                      </a:lnTo>
                      <a:lnTo>
                        <a:pt x="1159" y="7"/>
                      </a:lnTo>
                      <a:lnTo>
                        <a:pt x="1159" y="5"/>
                      </a:lnTo>
                      <a:lnTo>
                        <a:pt x="1176" y="5"/>
                      </a:lnTo>
                      <a:lnTo>
                        <a:pt x="1170" y="3"/>
                      </a:lnTo>
                      <a:lnTo>
                        <a:pt x="1183" y="4"/>
                      </a:lnTo>
                      <a:lnTo>
                        <a:pt x="1189" y="3"/>
                      </a:lnTo>
                      <a:lnTo>
                        <a:pt x="1182" y="3"/>
                      </a:lnTo>
                      <a:lnTo>
                        <a:pt x="1186" y="2"/>
                      </a:lnTo>
                      <a:lnTo>
                        <a:pt x="1196" y="1"/>
                      </a:lnTo>
                      <a:lnTo>
                        <a:pt x="1198" y="2"/>
                      </a:lnTo>
                      <a:lnTo>
                        <a:pt x="1202" y="2"/>
                      </a:lnTo>
                      <a:lnTo>
                        <a:pt x="1200" y="3"/>
                      </a:lnTo>
                      <a:lnTo>
                        <a:pt x="1205" y="3"/>
                      </a:lnTo>
                      <a:lnTo>
                        <a:pt x="1216" y="2"/>
                      </a:lnTo>
                      <a:lnTo>
                        <a:pt x="1216" y="1"/>
                      </a:lnTo>
                      <a:lnTo>
                        <a:pt x="1224" y="0"/>
                      </a:lnTo>
                      <a:lnTo>
                        <a:pt x="1258" y="2"/>
                      </a:lnTo>
                      <a:lnTo>
                        <a:pt x="1267" y="0"/>
                      </a:lnTo>
                      <a:lnTo>
                        <a:pt x="1280" y="0"/>
                      </a:lnTo>
                      <a:lnTo>
                        <a:pt x="1279" y="1"/>
                      </a:lnTo>
                      <a:lnTo>
                        <a:pt x="1291" y="0"/>
                      </a:lnTo>
                      <a:lnTo>
                        <a:pt x="1302" y="0"/>
                      </a:lnTo>
                      <a:lnTo>
                        <a:pt x="1300" y="1"/>
                      </a:lnTo>
                      <a:lnTo>
                        <a:pt x="1307" y="1"/>
                      </a:lnTo>
                      <a:lnTo>
                        <a:pt x="1310" y="2"/>
                      </a:lnTo>
                      <a:lnTo>
                        <a:pt x="1312" y="1"/>
                      </a:lnTo>
                      <a:lnTo>
                        <a:pt x="1339" y="2"/>
                      </a:lnTo>
                      <a:lnTo>
                        <a:pt x="1311" y="5"/>
                      </a:lnTo>
                      <a:lnTo>
                        <a:pt x="1323" y="5"/>
                      </a:lnTo>
                      <a:lnTo>
                        <a:pt x="1345" y="2"/>
                      </a:lnTo>
                      <a:lnTo>
                        <a:pt x="1346" y="3"/>
                      </a:lnTo>
                      <a:lnTo>
                        <a:pt x="1356" y="2"/>
                      </a:lnTo>
                      <a:lnTo>
                        <a:pt x="1358" y="3"/>
                      </a:lnTo>
                      <a:lnTo>
                        <a:pt x="1367" y="2"/>
                      </a:lnTo>
                      <a:lnTo>
                        <a:pt x="1367" y="4"/>
                      </a:lnTo>
                      <a:lnTo>
                        <a:pt x="1363" y="4"/>
                      </a:lnTo>
                      <a:lnTo>
                        <a:pt x="1372" y="5"/>
                      </a:lnTo>
                      <a:lnTo>
                        <a:pt x="1371" y="8"/>
                      </a:lnTo>
                      <a:lnTo>
                        <a:pt x="1376" y="7"/>
                      </a:lnTo>
                      <a:lnTo>
                        <a:pt x="1391" y="8"/>
                      </a:lnTo>
                      <a:lnTo>
                        <a:pt x="1390" y="10"/>
                      </a:lnTo>
                      <a:lnTo>
                        <a:pt x="1347" y="17"/>
                      </a:lnTo>
                      <a:lnTo>
                        <a:pt x="1329" y="17"/>
                      </a:lnTo>
                      <a:lnTo>
                        <a:pt x="1336" y="18"/>
                      </a:lnTo>
                      <a:lnTo>
                        <a:pt x="1303" y="20"/>
                      </a:lnTo>
                      <a:lnTo>
                        <a:pt x="1295" y="18"/>
                      </a:lnTo>
                      <a:lnTo>
                        <a:pt x="1298" y="20"/>
                      </a:lnTo>
                      <a:lnTo>
                        <a:pt x="1319" y="20"/>
                      </a:lnTo>
                      <a:lnTo>
                        <a:pt x="1280" y="25"/>
                      </a:lnTo>
                      <a:lnTo>
                        <a:pt x="1299" y="24"/>
                      </a:lnTo>
                      <a:lnTo>
                        <a:pt x="1344" y="20"/>
                      </a:lnTo>
                      <a:lnTo>
                        <a:pt x="1338" y="23"/>
                      </a:lnTo>
                      <a:lnTo>
                        <a:pt x="1325" y="24"/>
                      </a:lnTo>
                      <a:lnTo>
                        <a:pt x="1275" y="36"/>
                      </a:lnTo>
                      <a:lnTo>
                        <a:pt x="1265" y="37"/>
                      </a:lnTo>
                      <a:lnTo>
                        <a:pt x="1262" y="36"/>
                      </a:lnTo>
                      <a:lnTo>
                        <a:pt x="1265" y="37"/>
                      </a:lnTo>
                      <a:lnTo>
                        <a:pt x="1263" y="40"/>
                      </a:lnTo>
                      <a:lnTo>
                        <a:pt x="1236" y="41"/>
                      </a:lnTo>
                      <a:lnTo>
                        <a:pt x="1240" y="41"/>
                      </a:lnTo>
                      <a:lnTo>
                        <a:pt x="1256" y="41"/>
                      </a:lnTo>
                      <a:lnTo>
                        <a:pt x="1240" y="45"/>
                      </a:lnTo>
                      <a:lnTo>
                        <a:pt x="1224" y="47"/>
                      </a:lnTo>
                      <a:lnTo>
                        <a:pt x="1224" y="44"/>
                      </a:lnTo>
                      <a:lnTo>
                        <a:pt x="1211" y="43"/>
                      </a:lnTo>
                      <a:lnTo>
                        <a:pt x="1204" y="44"/>
                      </a:lnTo>
                      <a:lnTo>
                        <a:pt x="1205" y="45"/>
                      </a:lnTo>
                      <a:lnTo>
                        <a:pt x="1219" y="45"/>
                      </a:lnTo>
                      <a:lnTo>
                        <a:pt x="1218" y="49"/>
                      </a:lnTo>
                      <a:lnTo>
                        <a:pt x="1211" y="50"/>
                      </a:lnTo>
                      <a:lnTo>
                        <a:pt x="1210" y="49"/>
                      </a:lnTo>
                      <a:lnTo>
                        <a:pt x="1206" y="50"/>
                      </a:lnTo>
                      <a:lnTo>
                        <a:pt x="1198" y="50"/>
                      </a:lnTo>
                      <a:lnTo>
                        <a:pt x="1197" y="50"/>
                      </a:lnTo>
                      <a:lnTo>
                        <a:pt x="1195" y="52"/>
                      </a:lnTo>
                      <a:lnTo>
                        <a:pt x="1183" y="51"/>
                      </a:lnTo>
                      <a:lnTo>
                        <a:pt x="1179" y="52"/>
                      </a:lnTo>
                      <a:lnTo>
                        <a:pt x="1165" y="52"/>
                      </a:lnTo>
                      <a:lnTo>
                        <a:pt x="1191" y="55"/>
                      </a:lnTo>
                      <a:lnTo>
                        <a:pt x="1196" y="57"/>
                      </a:lnTo>
                      <a:lnTo>
                        <a:pt x="1182" y="57"/>
                      </a:lnTo>
                      <a:lnTo>
                        <a:pt x="1178" y="55"/>
                      </a:lnTo>
                      <a:lnTo>
                        <a:pt x="1165" y="55"/>
                      </a:lnTo>
                      <a:lnTo>
                        <a:pt x="1176" y="56"/>
                      </a:lnTo>
                      <a:lnTo>
                        <a:pt x="1151" y="58"/>
                      </a:lnTo>
                      <a:lnTo>
                        <a:pt x="1178" y="58"/>
                      </a:lnTo>
                      <a:lnTo>
                        <a:pt x="1169" y="61"/>
                      </a:lnTo>
                      <a:lnTo>
                        <a:pt x="1182" y="60"/>
                      </a:lnTo>
                      <a:lnTo>
                        <a:pt x="1187" y="61"/>
                      </a:lnTo>
                      <a:lnTo>
                        <a:pt x="1182" y="65"/>
                      </a:lnTo>
                      <a:lnTo>
                        <a:pt x="1173" y="65"/>
                      </a:lnTo>
                      <a:lnTo>
                        <a:pt x="1165" y="65"/>
                      </a:lnTo>
                      <a:lnTo>
                        <a:pt x="1177" y="69"/>
                      </a:lnTo>
                      <a:lnTo>
                        <a:pt x="1170" y="70"/>
                      </a:lnTo>
                      <a:lnTo>
                        <a:pt x="1157" y="70"/>
                      </a:lnTo>
                      <a:lnTo>
                        <a:pt x="1153" y="71"/>
                      </a:lnTo>
                      <a:lnTo>
                        <a:pt x="1167" y="72"/>
                      </a:lnTo>
                      <a:lnTo>
                        <a:pt x="1162" y="75"/>
                      </a:lnTo>
                      <a:lnTo>
                        <a:pt x="1158" y="74"/>
                      </a:lnTo>
                      <a:lnTo>
                        <a:pt x="1149" y="76"/>
                      </a:lnTo>
                      <a:lnTo>
                        <a:pt x="1132" y="75"/>
                      </a:lnTo>
                      <a:lnTo>
                        <a:pt x="1131" y="78"/>
                      </a:lnTo>
                      <a:lnTo>
                        <a:pt x="1135" y="79"/>
                      </a:lnTo>
                      <a:lnTo>
                        <a:pt x="1123" y="84"/>
                      </a:lnTo>
                      <a:lnTo>
                        <a:pt x="1118" y="84"/>
                      </a:lnTo>
                      <a:lnTo>
                        <a:pt x="1117" y="84"/>
                      </a:lnTo>
                      <a:lnTo>
                        <a:pt x="1110" y="85"/>
                      </a:lnTo>
                      <a:lnTo>
                        <a:pt x="1095" y="85"/>
                      </a:lnTo>
                      <a:lnTo>
                        <a:pt x="1083" y="82"/>
                      </a:lnTo>
                      <a:lnTo>
                        <a:pt x="1083" y="83"/>
                      </a:lnTo>
                      <a:lnTo>
                        <a:pt x="1086" y="85"/>
                      </a:lnTo>
                      <a:lnTo>
                        <a:pt x="1076" y="85"/>
                      </a:lnTo>
                      <a:lnTo>
                        <a:pt x="1077" y="88"/>
                      </a:lnTo>
                      <a:lnTo>
                        <a:pt x="1086" y="85"/>
                      </a:lnTo>
                      <a:lnTo>
                        <a:pt x="1097" y="87"/>
                      </a:lnTo>
                      <a:lnTo>
                        <a:pt x="1096" y="88"/>
                      </a:lnTo>
                      <a:lnTo>
                        <a:pt x="1103" y="85"/>
                      </a:lnTo>
                      <a:lnTo>
                        <a:pt x="1110" y="87"/>
                      </a:lnTo>
                      <a:lnTo>
                        <a:pt x="1111" y="88"/>
                      </a:lnTo>
                      <a:lnTo>
                        <a:pt x="1105" y="90"/>
                      </a:lnTo>
                      <a:lnTo>
                        <a:pt x="1110" y="91"/>
                      </a:lnTo>
                      <a:lnTo>
                        <a:pt x="1110" y="92"/>
                      </a:lnTo>
                      <a:lnTo>
                        <a:pt x="1119" y="89"/>
                      </a:lnTo>
                      <a:lnTo>
                        <a:pt x="1122" y="92"/>
                      </a:lnTo>
                      <a:lnTo>
                        <a:pt x="1108" y="98"/>
                      </a:lnTo>
                      <a:lnTo>
                        <a:pt x="1105" y="98"/>
                      </a:lnTo>
                      <a:lnTo>
                        <a:pt x="1096" y="102"/>
                      </a:lnTo>
                      <a:lnTo>
                        <a:pt x="1096" y="102"/>
                      </a:lnTo>
                      <a:close/>
                      <a:moveTo>
                        <a:pt x="957" y="82"/>
                      </a:moveTo>
                      <a:lnTo>
                        <a:pt x="953" y="83"/>
                      </a:lnTo>
                      <a:lnTo>
                        <a:pt x="948" y="82"/>
                      </a:lnTo>
                      <a:lnTo>
                        <a:pt x="946" y="82"/>
                      </a:lnTo>
                      <a:lnTo>
                        <a:pt x="943" y="82"/>
                      </a:lnTo>
                      <a:lnTo>
                        <a:pt x="939" y="82"/>
                      </a:lnTo>
                      <a:lnTo>
                        <a:pt x="936" y="82"/>
                      </a:lnTo>
                      <a:lnTo>
                        <a:pt x="928" y="82"/>
                      </a:lnTo>
                      <a:lnTo>
                        <a:pt x="924" y="81"/>
                      </a:lnTo>
                      <a:lnTo>
                        <a:pt x="926" y="78"/>
                      </a:lnTo>
                      <a:lnTo>
                        <a:pt x="930" y="77"/>
                      </a:lnTo>
                      <a:lnTo>
                        <a:pt x="937" y="77"/>
                      </a:lnTo>
                      <a:lnTo>
                        <a:pt x="938" y="77"/>
                      </a:lnTo>
                      <a:lnTo>
                        <a:pt x="939" y="77"/>
                      </a:lnTo>
                      <a:lnTo>
                        <a:pt x="943" y="77"/>
                      </a:lnTo>
                      <a:lnTo>
                        <a:pt x="945" y="77"/>
                      </a:lnTo>
                      <a:lnTo>
                        <a:pt x="948" y="77"/>
                      </a:lnTo>
                      <a:lnTo>
                        <a:pt x="949" y="77"/>
                      </a:lnTo>
                      <a:lnTo>
                        <a:pt x="950" y="77"/>
                      </a:lnTo>
                      <a:lnTo>
                        <a:pt x="952" y="77"/>
                      </a:lnTo>
                      <a:lnTo>
                        <a:pt x="957" y="78"/>
                      </a:lnTo>
                      <a:lnTo>
                        <a:pt x="959" y="77"/>
                      </a:lnTo>
                      <a:lnTo>
                        <a:pt x="962" y="77"/>
                      </a:lnTo>
                      <a:lnTo>
                        <a:pt x="963" y="77"/>
                      </a:lnTo>
                      <a:lnTo>
                        <a:pt x="964" y="78"/>
                      </a:lnTo>
                      <a:lnTo>
                        <a:pt x="963" y="79"/>
                      </a:lnTo>
                      <a:lnTo>
                        <a:pt x="960" y="79"/>
                      </a:lnTo>
                      <a:lnTo>
                        <a:pt x="959" y="81"/>
                      </a:lnTo>
                      <a:lnTo>
                        <a:pt x="959" y="79"/>
                      </a:lnTo>
                      <a:lnTo>
                        <a:pt x="957" y="82"/>
                      </a:lnTo>
                      <a:lnTo>
                        <a:pt x="957" y="82"/>
                      </a:lnTo>
                      <a:close/>
                      <a:moveTo>
                        <a:pt x="818" y="88"/>
                      </a:moveTo>
                      <a:lnTo>
                        <a:pt x="813" y="88"/>
                      </a:lnTo>
                      <a:lnTo>
                        <a:pt x="806" y="88"/>
                      </a:lnTo>
                      <a:lnTo>
                        <a:pt x="806" y="84"/>
                      </a:lnTo>
                      <a:lnTo>
                        <a:pt x="809" y="82"/>
                      </a:lnTo>
                      <a:lnTo>
                        <a:pt x="810" y="78"/>
                      </a:lnTo>
                      <a:lnTo>
                        <a:pt x="811" y="78"/>
                      </a:lnTo>
                      <a:lnTo>
                        <a:pt x="816" y="79"/>
                      </a:lnTo>
                      <a:lnTo>
                        <a:pt x="818" y="83"/>
                      </a:lnTo>
                      <a:lnTo>
                        <a:pt x="817" y="83"/>
                      </a:lnTo>
                      <a:lnTo>
                        <a:pt x="816" y="84"/>
                      </a:lnTo>
                      <a:lnTo>
                        <a:pt x="818" y="84"/>
                      </a:lnTo>
                      <a:lnTo>
                        <a:pt x="821" y="85"/>
                      </a:lnTo>
                      <a:lnTo>
                        <a:pt x="818" y="88"/>
                      </a:lnTo>
                      <a:lnTo>
                        <a:pt x="818" y="88"/>
                      </a:lnTo>
                      <a:close/>
                      <a:moveTo>
                        <a:pt x="744" y="85"/>
                      </a:moveTo>
                      <a:lnTo>
                        <a:pt x="729" y="85"/>
                      </a:lnTo>
                      <a:lnTo>
                        <a:pt x="728" y="84"/>
                      </a:lnTo>
                      <a:lnTo>
                        <a:pt x="724" y="84"/>
                      </a:lnTo>
                      <a:lnTo>
                        <a:pt x="723" y="83"/>
                      </a:lnTo>
                      <a:lnTo>
                        <a:pt x="725" y="81"/>
                      </a:lnTo>
                      <a:lnTo>
                        <a:pt x="728" y="81"/>
                      </a:lnTo>
                      <a:lnTo>
                        <a:pt x="726" y="79"/>
                      </a:lnTo>
                      <a:lnTo>
                        <a:pt x="731" y="77"/>
                      </a:lnTo>
                      <a:lnTo>
                        <a:pt x="735" y="77"/>
                      </a:lnTo>
                      <a:lnTo>
                        <a:pt x="750" y="75"/>
                      </a:lnTo>
                      <a:lnTo>
                        <a:pt x="763" y="75"/>
                      </a:lnTo>
                      <a:lnTo>
                        <a:pt x="765" y="75"/>
                      </a:lnTo>
                      <a:lnTo>
                        <a:pt x="771" y="74"/>
                      </a:lnTo>
                      <a:lnTo>
                        <a:pt x="775" y="75"/>
                      </a:lnTo>
                      <a:lnTo>
                        <a:pt x="776" y="75"/>
                      </a:lnTo>
                      <a:lnTo>
                        <a:pt x="776" y="76"/>
                      </a:lnTo>
                      <a:lnTo>
                        <a:pt x="772" y="77"/>
                      </a:lnTo>
                      <a:lnTo>
                        <a:pt x="771" y="77"/>
                      </a:lnTo>
                      <a:lnTo>
                        <a:pt x="758" y="77"/>
                      </a:lnTo>
                      <a:lnTo>
                        <a:pt x="757" y="78"/>
                      </a:lnTo>
                      <a:lnTo>
                        <a:pt x="757" y="79"/>
                      </a:lnTo>
                      <a:lnTo>
                        <a:pt x="765" y="79"/>
                      </a:lnTo>
                      <a:lnTo>
                        <a:pt x="759" y="83"/>
                      </a:lnTo>
                      <a:lnTo>
                        <a:pt x="748" y="85"/>
                      </a:lnTo>
                      <a:lnTo>
                        <a:pt x="744" y="85"/>
                      </a:lnTo>
                      <a:lnTo>
                        <a:pt x="744" y="85"/>
                      </a:lnTo>
                      <a:close/>
                      <a:moveTo>
                        <a:pt x="701" y="96"/>
                      </a:moveTo>
                      <a:lnTo>
                        <a:pt x="691" y="97"/>
                      </a:lnTo>
                      <a:lnTo>
                        <a:pt x="688" y="94"/>
                      </a:lnTo>
                      <a:lnTo>
                        <a:pt x="692" y="92"/>
                      </a:lnTo>
                      <a:lnTo>
                        <a:pt x="698" y="91"/>
                      </a:lnTo>
                      <a:lnTo>
                        <a:pt x="703" y="95"/>
                      </a:lnTo>
                      <a:lnTo>
                        <a:pt x="701" y="96"/>
                      </a:lnTo>
                      <a:lnTo>
                        <a:pt x="701" y="96"/>
                      </a:lnTo>
                      <a:close/>
                      <a:moveTo>
                        <a:pt x="897" y="72"/>
                      </a:moveTo>
                      <a:lnTo>
                        <a:pt x="888" y="76"/>
                      </a:lnTo>
                      <a:lnTo>
                        <a:pt x="876" y="72"/>
                      </a:lnTo>
                      <a:lnTo>
                        <a:pt x="869" y="69"/>
                      </a:lnTo>
                      <a:lnTo>
                        <a:pt x="858" y="70"/>
                      </a:lnTo>
                      <a:lnTo>
                        <a:pt x="858" y="68"/>
                      </a:lnTo>
                      <a:lnTo>
                        <a:pt x="842" y="70"/>
                      </a:lnTo>
                      <a:lnTo>
                        <a:pt x="836" y="69"/>
                      </a:lnTo>
                      <a:lnTo>
                        <a:pt x="836" y="65"/>
                      </a:lnTo>
                      <a:lnTo>
                        <a:pt x="841" y="65"/>
                      </a:lnTo>
                      <a:lnTo>
                        <a:pt x="851" y="65"/>
                      </a:lnTo>
                      <a:lnTo>
                        <a:pt x="855" y="64"/>
                      </a:lnTo>
                      <a:lnTo>
                        <a:pt x="851" y="64"/>
                      </a:lnTo>
                      <a:lnTo>
                        <a:pt x="855" y="64"/>
                      </a:lnTo>
                      <a:lnTo>
                        <a:pt x="858" y="62"/>
                      </a:lnTo>
                      <a:lnTo>
                        <a:pt x="848" y="62"/>
                      </a:lnTo>
                      <a:lnTo>
                        <a:pt x="856" y="60"/>
                      </a:lnTo>
                      <a:lnTo>
                        <a:pt x="852" y="60"/>
                      </a:lnTo>
                      <a:lnTo>
                        <a:pt x="845" y="62"/>
                      </a:lnTo>
                      <a:lnTo>
                        <a:pt x="842" y="62"/>
                      </a:lnTo>
                      <a:lnTo>
                        <a:pt x="848" y="58"/>
                      </a:lnTo>
                      <a:lnTo>
                        <a:pt x="838" y="58"/>
                      </a:lnTo>
                      <a:lnTo>
                        <a:pt x="845" y="55"/>
                      </a:lnTo>
                      <a:lnTo>
                        <a:pt x="865" y="54"/>
                      </a:lnTo>
                      <a:lnTo>
                        <a:pt x="873" y="55"/>
                      </a:lnTo>
                      <a:lnTo>
                        <a:pt x="870" y="61"/>
                      </a:lnTo>
                      <a:lnTo>
                        <a:pt x="883" y="57"/>
                      </a:lnTo>
                      <a:lnTo>
                        <a:pt x="890" y="60"/>
                      </a:lnTo>
                      <a:lnTo>
                        <a:pt x="885" y="62"/>
                      </a:lnTo>
                      <a:lnTo>
                        <a:pt x="888" y="62"/>
                      </a:lnTo>
                      <a:lnTo>
                        <a:pt x="896" y="61"/>
                      </a:lnTo>
                      <a:lnTo>
                        <a:pt x="898" y="63"/>
                      </a:lnTo>
                      <a:lnTo>
                        <a:pt x="896" y="64"/>
                      </a:lnTo>
                      <a:lnTo>
                        <a:pt x="900" y="64"/>
                      </a:lnTo>
                      <a:lnTo>
                        <a:pt x="892" y="69"/>
                      </a:lnTo>
                      <a:lnTo>
                        <a:pt x="897" y="72"/>
                      </a:lnTo>
                      <a:lnTo>
                        <a:pt x="897" y="72"/>
                      </a:lnTo>
                      <a:close/>
                      <a:moveTo>
                        <a:pt x="765" y="70"/>
                      </a:moveTo>
                      <a:lnTo>
                        <a:pt x="762" y="71"/>
                      </a:lnTo>
                      <a:lnTo>
                        <a:pt x="759" y="71"/>
                      </a:lnTo>
                      <a:lnTo>
                        <a:pt x="759" y="71"/>
                      </a:lnTo>
                      <a:lnTo>
                        <a:pt x="752" y="70"/>
                      </a:lnTo>
                      <a:lnTo>
                        <a:pt x="742" y="71"/>
                      </a:lnTo>
                      <a:lnTo>
                        <a:pt x="745" y="70"/>
                      </a:lnTo>
                      <a:lnTo>
                        <a:pt x="750" y="69"/>
                      </a:lnTo>
                      <a:lnTo>
                        <a:pt x="758" y="68"/>
                      </a:lnTo>
                      <a:lnTo>
                        <a:pt x="763" y="67"/>
                      </a:lnTo>
                      <a:lnTo>
                        <a:pt x="770" y="67"/>
                      </a:lnTo>
                      <a:lnTo>
                        <a:pt x="772" y="65"/>
                      </a:lnTo>
                      <a:lnTo>
                        <a:pt x="779" y="64"/>
                      </a:lnTo>
                      <a:lnTo>
                        <a:pt x="785" y="64"/>
                      </a:lnTo>
                      <a:lnTo>
                        <a:pt x="789" y="67"/>
                      </a:lnTo>
                      <a:lnTo>
                        <a:pt x="792" y="68"/>
                      </a:lnTo>
                      <a:lnTo>
                        <a:pt x="788" y="70"/>
                      </a:lnTo>
                      <a:lnTo>
                        <a:pt x="782" y="71"/>
                      </a:lnTo>
                      <a:lnTo>
                        <a:pt x="782" y="71"/>
                      </a:lnTo>
                      <a:lnTo>
                        <a:pt x="781" y="71"/>
                      </a:lnTo>
                      <a:lnTo>
                        <a:pt x="775" y="71"/>
                      </a:lnTo>
                      <a:lnTo>
                        <a:pt x="768" y="70"/>
                      </a:lnTo>
                      <a:lnTo>
                        <a:pt x="766" y="70"/>
                      </a:lnTo>
                      <a:lnTo>
                        <a:pt x="765" y="70"/>
                      </a:lnTo>
                      <a:lnTo>
                        <a:pt x="765" y="70"/>
                      </a:lnTo>
                      <a:close/>
                      <a:moveTo>
                        <a:pt x="920" y="76"/>
                      </a:moveTo>
                      <a:lnTo>
                        <a:pt x="918" y="77"/>
                      </a:lnTo>
                      <a:lnTo>
                        <a:pt x="916" y="77"/>
                      </a:lnTo>
                      <a:lnTo>
                        <a:pt x="918" y="75"/>
                      </a:lnTo>
                      <a:lnTo>
                        <a:pt x="917" y="74"/>
                      </a:lnTo>
                      <a:lnTo>
                        <a:pt x="912" y="74"/>
                      </a:lnTo>
                      <a:lnTo>
                        <a:pt x="913" y="72"/>
                      </a:lnTo>
                      <a:lnTo>
                        <a:pt x="924" y="72"/>
                      </a:lnTo>
                      <a:lnTo>
                        <a:pt x="920" y="71"/>
                      </a:lnTo>
                      <a:lnTo>
                        <a:pt x="916" y="70"/>
                      </a:lnTo>
                      <a:lnTo>
                        <a:pt x="917" y="70"/>
                      </a:lnTo>
                      <a:lnTo>
                        <a:pt x="915" y="67"/>
                      </a:lnTo>
                      <a:lnTo>
                        <a:pt x="917" y="65"/>
                      </a:lnTo>
                      <a:lnTo>
                        <a:pt x="919" y="65"/>
                      </a:lnTo>
                      <a:lnTo>
                        <a:pt x="919" y="63"/>
                      </a:lnTo>
                      <a:lnTo>
                        <a:pt x="923" y="62"/>
                      </a:lnTo>
                      <a:lnTo>
                        <a:pt x="924" y="62"/>
                      </a:lnTo>
                      <a:lnTo>
                        <a:pt x="942" y="64"/>
                      </a:lnTo>
                      <a:lnTo>
                        <a:pt x="940" y="67"/>
                      </a:lnTo>
                      <a:lnTo>
                        <a:pt x="948" y="65"/>
                      </a:lnTo>
                      <a:lnTo>
                        <a:pt x="950" y="67"/>
                      </a:lnTo>
                      <a:lnTo>
                        <a:pt x="953" y="68"/>
                      </a:lnTo>
                      <a:lnTo>
                        <a:pt x="952" y="69"/>
                      </a:lnTo>
                      <a:lnTo>
                        <a:pt x="945" y="70"/>
                      </a:lnTo>
                      <a:lnTo>
                        <a:pt x="948" y="72"/>
                      </a:lnTo>
                      <a:lnTo>
                        <a:pt x="940" y="75"/>
                      </a:lnTo>
                      <a:lnTo>
                        <a:pt x="939" y="75"/>
                      </a:lnTo>
                      <a:lnTo>
                        <a:pt x="926" y="76"/>
                      </a:lnTo>
                      <a:lnTo>
                        <a:pt x="925" y="76"/>
                      </a:lnTo>
                      <a:lnTo>
                        <a:pt x="922" y="76"/>
                      </a:lnTo>
                      <a:lnTo>
                        <a:pt x="923" y="76"/>
                      </a:lnTo>
                      <a:lnTo>
                        <a:pt x="920" y="76"/>
                      </a:lnTo>
                      <a:lnTo>
                        <a:pt x="920" y="76"/>
                      </a:lnTo>
                      <a:close/>
                      <a:moveTo>
                        <a:pt x="998" y="68"/>
                      </a:moveTo>
                      <a:lnTo>
                        <a:pt x="998" y="70"/>
                      </a:lnTo>
                      <a:lnTo>
                        <a:pt x="982" y="69"/>
                      </a:lnTo>
                      <a:lnTo>
                        <a:pt x="976" y="64"/>
                      </a:lnTo>
                      <a:lnTo>
                        <a:pt x="993" y="64"/>
                      </a:lnTo>
                      <a:lnTo>
                        <a:pt x="972" y="63"/>
                      </a:lnTo>
                      <a:lnTo>
                        <a:pt x="972" y="60"/>
                      </a:lnTo>
                      <a:lnTo>
                        <a:pt x="978" y="61"/>
                      </a:lnTo>
                      <a:lnTo>
                        <a:pt x="971" y="60"/>
                      </a:lnTo>
                      <a:lnTo>
                        <a:pt x="971" y="56"/>
                      </a:lnTo>
                      <a:lnTo>
                        <a:pt x="1015" y="54"/>
                      </a:lnTo>
                      <a:lnTo>
                        <a:pt x="996" y="54"/>
                      </a:lnTo>
                      <a:lnTo>
                        <a:pt x="993" y="52"/>
                      </a:lnTo>
                      <a:lnTo>
                        <a:pt x="1013" y="51"/>
                      </a:lnTo>
                      <a:lnTo>
                        <a:pt x="996" y="51"/>
                      </a:lnTo>
                      <a:lnTo>
                        <a:pt x="998" y="50"/>
                      </a:lnTo>
                      <a:lnTo>
                        <a:pt x="992" y="50"/>
                      </a:lnTo>
                      <a:lnTo>
                        <a:pt x="988" y="51"/>
                      </a:lnTo>
                      <a:lnTo>
                        <a:pt x="988" y="50"/>
                      </a:lnTo>
                      <a:lnTo>
                        <a:pt x="977" y="52"/>
                      </a:lnTo>
                      <a:lnTo>
                        <a:pt x="979" y="51"/>
                      </a:lnTo>
                      <a:lnTo>
                        <a:pt x="975" y="50"/>
                      </a:lnTo>
                      <a:lnTo>
                        <a:pt x="970" y="52"/>
                      </a:lnTo>
                      <a:lnTo>
                        <a:pt x="964" y="52"/>
                      </a:lnTo>
                      <a:lnTo>
                        <a:pt x="964" y="51"/>
                      </a:lnTo>
                      <a:lnTo>
                        <a:pt x="959" y="50"/>
                      </a:lnTo>
                      <a:lnTo>
                        <a:pt x="962" y="49"/>
                      </a:lnTo>
                      <a:lnTo>
                        <a:pt x="980" y="47"/>
                      </a:lnTo>
                      <a:lnTo>
                        <a:pt x="982" y="45"/>
                      </a:lnTo>
                      <a:lnTo>
                        <a:pt x="964" y="48"/>
                      </a:lnTo>
                      <a:lnTo>
                        <a:pt x="960" y="43"/>
                      </a:lnTo>
                      <a:lnTo>
                        <a:pt x="964" y="41"/>
                      </a:lnTo>
                      <a:lnTo>
                        <a:pt x="977" y="42"/>
                      </a:lnTo>
                      <a:lnTo>
                        <a:pt x="986" y="42"/>
                      </a:lnTo>
                      <a:lnTo>
                        <a:pt x="984" y="41"/>
                      </a:lnTo>
                      <a:lnTo>
                        <a:pt x="992" y="40"/>
                      </a:lnTo>
                      <a:lnTo>
                        <a:pt x="989" y="40"/>
                      </a:lnTo>
                      <a:lnTo>
                        <a:pt x="980" y="41"/>
                      </a:lnTo>
                      <a:lnTo>
                        <a:pt x="977" y="41"/>
                      </a:lnTo>
                      <a:lnTo>
                        <a:pt x="980" y="40"/>
                      </a:lnTo>
                      <a:lnTo>
                        <a:pt x="969" y="38"/>
                      </a:lnTo>
                      <a:lnTo>
                        <a:pt x="972" y="37"/>
                      </a:lnTo>
                      <a:lnTo>
                        <a:pt x="980" y="37"/>
                      </a:lnTo>
                      <a:lnTo>
                        <a:pt x="976" y="36"/>
                      </a:lnTo>
                      <a:lnTo>
                        <a:pt x="979" y="34"/>
                      </a:lnTo>
                      <a:lnTo>
                        <a:pt x="1003" y="35"/>
                      </a:lnTo>
                      <a:lnTo>
                        <a:pt x="995" y="34"/>
                      </a:lnTo>
                      <a:lnTo>
                        <a:pt x="997" y="32"/>
                      </a:lnTo>
                      <a:lnTo>
                        <a:pt x="1000" y="32"/>
                      </a:lnTo>
                      <a:lnTo>
                        <a:pt x="995" y="32"/>
                      </a:lnTo>
                      <a:lnTo>
                        <a:pt x="989" y="31"/>
                      </a:lnTo>
                      <a:lnTo>
                        <a:pt x="998" y="28"/>
                      </a:lnTo>
                      <a:lnTo>
                        <a:pt x="1009" y="28"/>
                      </a:lnTo>
                      <a:lnTo>
                        <a:pt x="1010" y="28"/>
                      </a:lnTo>
                      <a:lnTo>
                        <a:pt x="1016" y="28"/>
                      </a:lnTo>
                      <a:lnTo>
                        <a:pt x="1017" y="27"/>
                      </a:lnTo>
                      <a:lnTo>
                        <a:pt x="1008" y="25"/>
                      </a:lnTo>
                      <a:lnTo>
                        <a:pt x="1012" y="24"/>
                      </a:lnTo>
                      <a:lnTo>
                        <a:pt x="1018" y="25"/>
                      </a:lnTo>
                      <a:lnTo>
                        <a:pt x="1018" y="24"/>
                      </a:lnTo>
                      <a:lnTo>
                        <a:pt x="1032" y="25"/>
                      </a:lnTo>
                      <a:lnTo>
                        <a:pt x="1042" y="32"/>
                      </a:lnTo>
                      <a:lnTo>
                        <a:pt x="1042" y="35"/>
                      </a:lnTo>
                      <a:lnTo>
                        <a:pt x="1046" y="35"/>
                      </a:lnTo>
                      <a:lnTo>
                        <a:pt x="1048" y="36"/>
                      </a:lnTo>
                      <a:lnTo>
                        <a:pt x="1049" y="35"/>
                      </a:lnTo>
                      <a:lnTo>
                        <a:pt x="1055" y="35"/>
                      </a:lnTo>
                      <a:lnTo>
                        <a:pt x="1051" y="38"/>
                      </a:lnTo>
                      <a:lnTo>
                        <a:pt x="1057" y="41"/>
                      </a:lnTo>
                      <a:lnTo>
                        <a:pt x="1064" y="36"/>
                      </a:lnTo>
                      <a:lnTo>
                        <a:pt x="1072" y="36"/>
                      </a:lnTo>
                      <a:lnTo>
                        <a:pt x="1062" y="41"/>
                      </a:lnTo>
                      <a:lnTo>
                        <a:pt x="1070" y="41"/>
                      </a:lnTo>
                      <a:lnTo>
                        <a:pt x="1066" y="44"/>
                      </a:lnTo>
                      <a:lnTo>
                        <a:pt x="1071" y="43"/>
                      </a:lnTo>
                      <a:lnTo>
                        <a:pt x="1065" y="47"/>
                      </a:lnTo>
                      <a:lnTo>
                        <a:pt x="1065" y="49"/>
                      </a:lnTo>
                      <a:lnTo>
                        <a:pt x="1070" y="48"/>
                      </a:lnTo>
                      <a:lnTo>
                        <a:pt x="1075" y="48"/>
                      </a:lnTo>
                      <a:lnTo>
                        <a:pt x="1072" y="50"/>
                      </a:lnTo>
                      <a:lnTo>
                        <a:pt x="1079" y="48"/>
                      </a:lnTo>
                      <a:lnTo>
                        <a:pt x="1083" y="52"/>
                      </a:lnTo>
                      <a:lnTo>
                        <a:pt x="1076" y="54"/>
                      </a:lnTo>
                      <a:lnTo>
                        <a:pt x="1060" y="56"/>
                      </a:lnTo>
                      <a:lnTo>
                        <a:pt x="1058" y="57"/>
                      </a:lnTo>
                      <a:lnTo>
                        <a:pt x="1055" y="57"/>
                      </a:lnTo>
                      <a:lnTo>
                        <a:pt x="1042" y="62"/>
                      </a:lnTo>
                      <a:lnTo>
                        <a:pt x="1038" y="60"/>
                      </a:lnTo>
                      <a:lnTo>
                        <a:pt x="1044" y="56"/>
                      </a:lnTo>
                      <a:lnTo>
                        <a:pt x="1039" y="57"/>
                      </a:lnTo>
                      <a:lnTo>
                        <a:pt x="1032" y="65"/>
                      </a:lnTo>
                      <a:lnTo>
                        <a:pt x="1030" y="65"/>
                      </a:lnTo>
                      <a:lnTo>
                        <a:pt x="1026" y="63"/>
                      </a:lnTo>
                      <a:lnTo>
                        <a:pt x="1017" y="70"/>
                      </a:lnTo>
                      <a:lnTo>
                        <a:pt x="1011" y="63"/>
                      </a:lnTo>
                      <a:lnTo>
                        <a:pt x="1008" y="64"/>
                      </a:lnTo>
                      <a:lnTo>
                        <a:pt x="1006" y="69"/>
                      </a:lnTo>
                      <a:lnTo>
                        <a:pt x="1004" y="67"/>
                      </a:lnTo>
                      <a:lnTo>
                        <a:pt x="998" y="68"/>
                      </a:lnTo>
                      <a:lnTo>
                        <a:pt x="998" y="68"/>
                      </a:lnTo>
                      <a:close/>
                      <a:moveTo>
                        <a:pt x="936" y="47"/>
                      </a:moveTo>
                      <a:lnTo>
                        <a:pt x="933" y="47"/>
                      </a:lnTo>
                      <a:lnTo>
                        <a:pt x="929" y="45"/>
                      </a:lnTo>
                      <a:lnTo>
                        <a:pt x="930" y="44"/>
                      </a:lnTo>
                      <a:lnTo>
                        <a:pt x="920" y="44"/>
                      </a:lnTo>
                      <a:lnTo>
                        <a:pt x="925" y="41"/>
                      </a:lnTo>
                      <a:lnTo>
                        <a:pt x="932" y="41"/>
                      </a:lnTo>
                      <a:lnTo>
                        <a:pt x="935" y="41"/>
                      </a:lnTo>
                      <a:lnTo>
                        <a:pt x="937" y="41"/>
                      </a:lnTo>
                      <a:lnTo>
                        <a:pt x="940" y="42"/>
                      </a:lnTo>
                      <a:lnTo>
                        <a:pt x="936" y="47"/>
                      </a:lnTo>
                      <a:lnTo>
                        <a:pt x="936" y="47"/>
                      </a:lnTo>
                      <a:close/>
                      <a:moveTo>
                        <a:pt x="1025" y="663"/>
                      </a:moveTo>
                      <a:lnTo>
                        <a:pt x="1024" y="663"/>
                      </a:lnTo>
                      <a:lnTo>
                        <a:pt x="1023" y="663"/>
                      </a:lnTo>
                      <a:lnTo>
                        <a:pt x="1022" y="660"/>
                      </a:lnTo>
                      <a:lnTo>
                        <a:pt x="1022" y="660"/>
                      </a:lnTo>
                      <a:lnTo>
                        <a:pt x="1022" y="660"/>
                      </a:lnTo>
                      <a:lnTo>
                        <a:pt x="1023" y="659"/>
                      </a:lnTo>
                      <a:lnTo>
                        <a:pt x="1023" y="659"/>
                      </a:lnTo>
                      <a:lnTo>
                        <a:pt x="1023" y="659"/>
                      </a:lnTo>
                      <a:lnTo>
                        <a:pt x="1023" y="659"/>
                      </a:lnTo>
                      <a:lnTo>
                        <a:pt x="1020" y="658"/>
                      </a:lnTo>
                      <a:lnTo>
                        <a:pt x="1020" y="658"/>
                      </a:lnTo>
                      <a:lnTo>
                        <a:pt x="1020" y="658"/>
                      </a:lnTo>
                      <a:lnTo>
                        <a:pt x="1019" y="659"/>
                      </a:lnTo>
                      <a:lnTo>
                        <a:pt x="1018" y="659"/>
                      </a:lnTo>
                      <a:lnTo>
                        <a:pt x="1012" y="658"/>
                      </a:lnTo>
                      <a:lnTo>
                        <a:pt x="1011" y="657"/>
                      </a:lnTo>
                      <a:lnTo>
                        <a:pt x="1011" y="656"/>
                      </a:lnTo>
                      <a:lnTo>
                        <a:pt x="1010" y="656"/>
                      </a:lnTo>
                      <a:lnTo>
                        <a:pt x="1011" y="655"/>
                      </a:lnTo>
                      <a:lnTo>
                        <a:pt x="1011" y="655"/>
                      </a:lnTo>
                      <a:lnTo>
                        <a:pt x="1011" y="655"/>
                      </a:lnTo>
                      <a:lnTo>
                        <a:pt x="1009" y="653"/>
                      </a:lnTo>
                      <a:lnTo>
                        <a:pt x="1009" y="653"/>
                      </a:lnTo>
                      <a:lnTo>
                        <a:pt x="1008" y="655"/>
                      </a:lnTo>
                      <a:lnTo>
                        <a:pt x="1005" y="655"/>
                      </a:lnTo>
                      <a:lnTo>
                        <a:pt x="1005" y="653"/>
                      </a:lnTo>
                      <a:lnTo>
                        <a:pt x="1006" y="652"/>
                      </a:lnTo>
                      <a:lnTo>
                        <a:pt x="1006" y="651"/>
                      </a:lnTo>
                      <a:lnTo>
                        <a:pt x="1008" y="650"/>
                      </a:lnTo>
                      <a:lnTo>
                        <a:pt x="1006" y="650"/>
                      </a:lnTo>
                      <a:lnTo>
                        <a:pt x="1005" y="650"/>
                      </a:lnTo>
                      <a:lnTo>
                        <a:pt x="1004" y="650"/>
                      </a:lnTo>
                      <a:lnTo>
                        <a:pt x="1004" y="650"/>
                      </a:lnTo>
                      <a:lnTo>
                        <a:pt x="1004" y="650"/>
                      </a:lnTo>
                      <a:lnTo>
                        <a:pt x="1003" y="650"/>
                      </a:lnTo>
                      <a:lnTo>
                        <a:pt x="1002" y="650"/>
                      </a:lnTo>
                      <a:lnTo>
                        <a:pt x="1002" y="649"/>
                      </a:lnTo>
                      <a:lnTo>
                        <a:pt x="1003" y="648"/>
                      </a:lnTo>
                      <a:lnTo>
                        <a:pt x="1006" y="645"/>
                      </a:lnTo>
                      <a:lnTo>
                        <a:pt x="1008" y="643"/>
                      </a:lnTo>
                      <a:lnTo>
                        <a:pt x="1010" y="642"/>
                      </a:lnTo>
                      <a:lnTo>
                        <a:pt x="1011" y="640"/>
                      </a:lnTo>
                      <a:lnTo>
                        <a:pt x="1012" y="640"/>
                      </a:lnTo>
                      <a:lnTo>
                        <a:pt x="1011" y="642"/>
                      </a:lnTo>
                      <a:lnTo>
                        <a:pt x="1011" y="643"/>
                      </a:lnTo>
                      <a:lnTo>
                        <a:pt x="1011" y="644"/>
                      </a:lnTo>
                      <a:lnTo>
                        <a:pt x="1011" y="644"/>
                      </a:lnTo>
                      <a:lnTo>
                        <a:pt x="1009" y="646"/>
                      </a:lnTo>
                      <a:lnTo>
                        <a:pt x="1008" y="648"/>
                      </a:lnTo>
                      <a:lnTo>
                        <a:pt x="1009" y="648"/>
                      </a:lnTo>
                      <a:lnTo>
                        <a:pt x="1009" y="648"/>
                      </a:lnTo>
                      <a:lnTo>
                        <a:pt x="1010" y="649"/>
                      </a:lnTo>
                      <a:lnTo>
                        <a:pt x="1010" y="650"/>
                      </a:lnTo>
                      <a:lnTo>
                        <a:pt x="1011" y="650"/>
                      </a:lnTo>
                      <a:lnTo>
                        <a:pt x="1010" y="651"/>
                      </a:lnTo>
                      <a:lnTo>
                        <a:pt x="1010" y="652"/>
                      </a:lnTo>
                      <a:lnTo>
                        <a:pt x="1010" y="652"/>
                      </a:lnTo>
                      <a:lnTo>
                        <a:pt x="1012" y="653"/>
                      </a:lnTo>
                      <a:lnTo>
                        <a:pt x="1012" y="653"/>
                      </a:lnTo>
                      <a:lnTo>
                        <a:pt x="1012" y="652"/>
                      </a:lnTo>
                      <a:lnTo>
                        <a:pt x="1012" y="652"/>
                      </a:lnTo>
                      <a:lnTo>
                        <a:pt x="1012" y="651"/>
                      </a:lnTo>
                      <a:lnTo>
                        <a:pt x="1013" y="651"/>
                      </a:lnTo>
                      <a:lnTo>
                        <a:pt x="1015" y="651"/>
                      </a:lnTo>
                      <a:lnTo>
                        <a:pt x="1017" y="652"/>
                      </a:lnTo>
                      <a:lnTo>
                        <a:pt x="1018" y="652"/>
                      </a:lnTo>
                      <a:lnTo>
                        <a:pt x="1019" y="652"/>
                      </a:lnTo>
                      <a:lnTo>
                        <a:pt x="1019" y="653"/>
                      </a:lnTo>
                      <a:lnTo>
                        <a:pt x="1020" y="653"/>
                      </a:lnTo>
                      <a:lnTo>
                        <a:pt x="1022" y="653"/>
                      </a:lnTo>
                      <a:lnTo>
                        <a:pt x="1023" y="653"/>
                      </a:lnTo>
                      <a:lnTo>
                        <a:pt x="1024" y="653"/>
                      </a:lnTo>
                      <a:lnTo>
                        <a:pt x="1026" y="653"/>
                      </a:lnTo>
                      <a:lnTo>
                        <a:pt x="1026" y="653"/>
                      </a:lnTo>
                      <a:lnTo>
                        <a:pt x="1028" y="653"/>
                      </a:lnTo>
                      <a:lnTo>
                        <a:pt x="1030" y="652"/>
                      </a:lnTo>
                      <a:lnTo>
                        <a:pt x="1035" y="652"/>
                      </a:lnTo>
                      <a:lnTo>
                        <a:pt x="1037" y="652"/>
                      </a:lnTo>
                      <a:lnTo>
                        <a:pt x="1039" y="652"/>
                      </a:lnTo>
                      <a:lnTo>
                        <a:pt x="1039" y="653"/>
                      </a:lnTo>
                      <a:lnTo>
                        <a:pt x="1039" y="653"/>
                      </a:lnTo>
                      <a:lnTo>
                        <a:pt x="1039" y="653"/>
                      </a:lnTo>
                      <a:lnTo>
                        <a:pt x="1038" y="653"/>
                      </a:lnTo>
                      <a:lnTo>
                        <a:pt x="1036" y="655"/>
                      </a:lnTo>
                      <a:lnTo>
                        <a:pt x="1035" y="655"/>
                      </a:lnTo>
                      <a:lnTo>
                        <a:pt x="1033" y="655"/>
                      </a:lnTo>
                      <a:lnTo>
                        <a:pt x="1032" y="657"/>
                      </a:lnTo>
                      <a:lnTo>
                        <a:pt x="1031" y="658"/>
                      </a:lnTo>
                      <a:lnTo>
                        <a:pt x="1030" y="658"/>
                      </a:lnTo>
                      <a:lnTo>
                        <a:pt x="1030" y="659"/>
                      </a:lnTo>
                      <a:lnTo>
                        <a:pt x="1030" y="659"/>
                      </a:lnTo>
                      <a:lnTo>
                        <a:pt x="1031" y="659"/>
                      </a:lnTo>
                      <a:lnTo>
                        <a:pt x="1030" y="660"/>
                      </a:lnTo>
                      <a:lnTo>
                        <a:pt x="1030" y="662"/>
                      </a:lnTo>
                      <a:lnTo>
                        <a:pt x="1030" y="662"/>
                      </a:lnTo>
                      <a:lnTo>
                        <a:pt x="1030" y="662"/>
                      </a:lnTo>
                      <a:lnTo>
                        <a:pt x="1030" y="662"/>
                      </a:lnTo>
                      <a:lnTo>
                        <a:pt x="1029" y="663"/>
                      </a:lnTo>
                      <a:lnTo>
                        <a:pt x="1025" y="663"/>
                      </a:lnTo>
                      <a:lnTo>
                        <a:pt x="1025" y="663"/>
                      </a:lnTo>
                      <a:close/>
                      <a:moveTo>
                        <a:pt x="863" y="77"/>
                      </a:moveTo>
                      <a:lnTo>
                        <a:pt x="861" y="78"/>
                      </a:lnTo>
                      <a:lnTo>
                        <a:pt x="857" y="77"/>
                      </a:lnTo>
                      <a:lnTo>
                        <a:pt x="857" y="76"/>
                      </a:lnTo>
                      <a:lnTo>
                        <a:pt x="850" y="76"/>
                      </a:lnTo>
                      <a:lnTo>
                        <a:pt x="853" y="74"/>
                      </a:lnTo>
                      <a:lnTo>
                        <a:pt x="859" y="74"/>
                      </a:lnTo>
                      <a:lnTo>
                        <a:pt x="862" y="74"/>
                      </a:lnTo>
                      <a:lnTo>
                        <a:pt x="864" y="74"/>
                      </a:lnTo>
                      <a:lnTo>
                        <a:pt x="866" y="75"/>
                      </a:lnTo>
                      <a:lnTo>
                        <a:pt x="863" y="77"/>
                      </a:lnTo>
                      <a:lnTo>
                        <a:pt x="863" y="77"/>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563" name="Cambodia">
                  <a:extLst>
                    <a:ext uri="{FF2B5EF4-FFF2-40B4-BE49-F238E27FC236}">
                      <a16:creationId xmlns:a16="http://schemas.microsoft.com/office/drawing/2014/main" id="{FA481DD6-A250-1242-A6A0-F7EF12AB1A67}"/>
                    </a:ext>
                  </a:extLst>
                </p:cNvPr>
                <p:cNvSpPr>
                  <a:spLocks noEditPoints="1"/>
                </p:cNvSpPr>
                <p:nvPr/>
              </p:nvSpPr>
              <p:spPr bwMode="auto">
                <a:xfrm>
                  <a:off x="9047872" y="3549146"/>
                  <a:ext cx="141421" cy="138505"/>
                </a:xfrm>
                <a:custGeom>
                  <a:avLst/>
                  <a:gdLst>
                    <a:gd name="T0" fmla="*/ 35 w 97"/>
                    <a:gd name="T1" fmla="*/ 86 h 95"/>
                    <a:gd name="T2" fmla="*/ 37 w 97"/>
                    <a:gd name="T3" fmla="*/ 88 h 95"/>
                    <a:gd name="T4" fmla="*/ 35 w 97"/>
                    <a:gd name="T5" fmla="*/ 95 h 95"/>
                    <a:gd name="T6" fmla="*/ 32 w 97"/>
                    <a:gd name="T7" fmla="*/ 87 h 95"/>
                    <a:gd name="T8" fmla="*/ 28 w 97"/>
                    <a:gd name="T9" fmla="*/ 78 h 95"/>
                    <a:gd name="T10" fmla="*/ 26 w 97"/>
                    <a:gd name="T11" fmla="*/ 75 h 95"/>
                    <a:gd name="T12" fmla="*/ 21 w 97"/>
                    <a:gd name="T13" fmla="*/ 75 h 95"/>
                    <a:gd name="T14" fmla="*/ 18 w 97"/>
                    <a:gd name="T15" fmla="*/ 71 h 95"/>
                    <a:gd name="T16" fmla="*/ 15 w 97"/>
                    <a:gd name="T17" fmla="*/ 66 h 95"/>
                    <a:gd name="T18" fmla="*/ 13 w 97"/>
                    <a:gd name="T19" fmla="*/ 53 h 95"/>
                    <a:gd name="T20" fmla="*/ 5 w 97"/>
                    <a:gd name="T21" fmla="*/ 39 h 95"/>
                    <a:gd name="T22" fmla="*/ 5 w 97"/>
                    <a:gd name="T23" fmla="*/ 34 h 95"/>
                    <a:gd name="T24" fmla="*/ 1 w 97"/>
                    <a:gd name="T25" fmla="*/ 27 h 95"/>
                    <a:gd name="T26" fmla="*/ 6 w 97"/>
                    <a:gd name="T27" fmla="*/ 21 h 95"/>
                    <a:gd name="T28" fmla="*/ 7 w 97"/>
                    <a:gd name="T29" fmla="*/ 14 h 95"/>
                    <a:gd name="T30" fmla="*/ 12 w 97"/>
                    <a:gd name="T31" fmla="*/ 7 h 95"/>
                    <a:gd name="T32" fmla="*/ 19 w 97"/>
                    <a:gd name="T33" fmla="*/ 6 h 95"/>
                    <a:gd name="T34" fmla="*/ 23 w 97"/>
                    <a:gd name="T35" fmla="*/ 3 h 95"/>
                    <a:gd name="T36" fmla="*/ 27 w 97"/>
                    <a:gd name="T37" fmla="*/ 6 h 95"/>
                    <a:gd name="T38" fmla="*/ 32 w 97"/>
                    <a:gd name="T39" fmla="*/ 4 h 95"/>
                    <a:gd name="T40" fmla="*/ 38 w 97"/>
                    <a:gd name="T41" fmla="*/ 6 h 95"/>
                    <a:gd name="T42" fmla="*/ 44 w 97"/>
                    <a:gd name="T43" fmla="*/ 4 h 95"/>
                    <a:gd name="T44" fmla="*/ 51 w 97"/>
                    <a:gd name="T45" fmla="*/ 7 h 95"/>
                    <a:gd name="T46" fmla="*/ 59 w 97"/>
                    <a:gd name="T47" fmla="*/ 11 h 95"/>
                    <a:gd name="T48" fmla="*/ 67 w 97"/>
                    <a:gd name="T49" fmla="*/ 14 h 95"/>
                    <a:gd name="T50" fmla="*/ 65 w 97"/>
                    <a:gd name="T51" fmla="*/ 8 h 95"/>
                    <a:gd name="T52" fmla="*/ 65 w 97"/>
                    <a:gd name="T53" fmla="*/ 4 h 95"/>
                    <a:gd name="T54" fmla="*/ 68 w 97"/>
                    <a:gd name="T55" fmla="*/ 4 h 95"/>
                    <a:gd name="T56" fmla="*/ 72 w 97"/>
                    <a:gd name="T57" fmla="*/ 2 h 95"/>
                    <a:gd name="T58" fmla="*/ 74 w 97"/>
                    <a:gd name="T59" fmla="*/ 2 h 95"/>
                    <a:gd name="T60" fmla="*/ 79 w 97"/>
                    <a:gd name="T61" fmla="*/ 7 h 95"/>
                    <a:gd name="T62" fmla="*/ 85 w 97"/>
                    <a:gd name="T63" fmla="*/ 4 h 95"/>
                    <a:gd name="T64" fmla="*/ 88 w 97"/>
                    <a:gd name="T65" fmla="*/ 1 h 95"/>
                    <a:gd name="T66" fmla="*/ 90 w 97"/>
                    <a:gd name="T67" fmla="*/ 4 h 95"/>
                    <a:gd name="T68" fmla="*/ 91 w 97"/>
                    <a:gd name="T69" fmla="*/ 13 h 95"/>
                    <a:gd name="T70" fmla="*/ 94 w 97"/>
                    <a:gd name="T71" fmla="*/ 20 h 95"/>
                    <a:gd name="T72" fmla="*/ 95 w 97"/>
                    <a:gd name="T73" fmla="*/ 36 h 95"/>
                    <a:gd name="T74" fmla="*/ 95 w 97"/>
                    <a:gd name="T75" fmla="*/ 47 h 95"/>
                    <a:gd name="T76" fmla="*/ 93 w 97"/>
                    <a:gd name="T77" fmla="*/ 47 h 95"/>
                    <a:gd name="T78" fmla="*/ 86 w 97"/>
                    <a:gd name="T79" fmla="*/ 53 h 95"/>
                    <a:gd name="T80" fmla="*/ 79 w 97"/>
                    <a:gd name="T81" fmla="*/ 56 h 95"/>
                    <a:gd name="T82" fmla="*/ 79 w 97"/>
                    <a:gd name="T83" fmla="*/ 61 h 95"/>
                    <a:gd name="T84" fmla="*/ 71 w 97"/>
                    <a:gd name="T85" fmla="*/ 59 h 95"/>
                    <a:gd name="T86" fmla="*/ 66 w 97"/>
                    <a:gd name="T87" fmla="*/ 60 h 95"/>
                    <a:gd name="T88" fmla="*/ 68 w 97"/>
                    <a:gd name="T89" fmla="*/ 68 h 95"/>
                    <a:gd name="T90" fmla="*/ 72 w 97"/>
                    <a:gd name="T91" fmla="*/ 71 h 95"/>
                    <a:gd name="T92" fmla="*/ 75 w 97"/>
                    <a:gd name="T93" fmla="*/ 75 h 95"/>
                    <a:gd name="T94" fmla="*/ 72 w 97"/>
                    <a:gd name="T95" fmla="*/ 77 h 95"/>
                    <a:gd name="T96" fmla="*/ 67 w 97"/>
                    <a:gd name="T97" fmla="*/ 74 h 95"/>
                    <a:gd name="T98" fmla="*/ 60 w 97"/>
                    <a:gd name="T99" fmla="*/ 77 h 95"/>
                    <a:gd name="T100" fmla="*/ 55 w 97"/>
                    <a:gd name="T101" fmla="*/ 80 h 95"/>
                    <a:gd name="T102" fmla="*/ 45 w 97"/>
                    <a:gd name="T103" fmla="*/ 86 h 95"/>
                    <a:gd name="T104" fmla="*/ 39 w 97"/>
                    <a:gd name="T105" fmla="*/ 83 h 95"/>
                    <a:gd name="T106" fmla="*/ 34 w 97"/>
                    <a:gd name="T107" fmla="*/ 82 h 95"/>
                    <a:gd name="T108" fmla="*/ 31 w 97"/>
                    <a:gd name="T109" fmla="*/ 82 h 95"/>
                    <a:gd name="T110" fmla="*/ 27 w 97"/>
                    <a:gd name="T111" fmla="*/ 82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97" h="95">
                      <a:moveTo>
                        <a:pt x="32" y="87"/>
                      </a:moveTo>
                      <a:lnTo>
                        <a:pt x="32" y="87"/>
                      </a:lnTo>
                      <a:lnTo>
                        <a:pt x="33" y="86"/>
                      </a:lnTo>
                      <a:lnTo>
                        <a:pt x="34" y="86"/>
                      </a:lnTo>
                      <a:lnTo>
                        <a:pt x="35" y="86"/>
                      </a:lnTo>
                      <a:lnTo>
                        <a:pt x="35" y="86"/>
                      </a:lnTo>
                      <a:lnTo>
                        <a:pt x="37" y="87"/>
                      </a:lnTo>
                      <a:lnTo>
                        <a:pt x="37" y="88"/>
                      </a:lnTo>
                      <a:lnTo>
                        <a:pt x="37" y="88"/>
                      </a:lnTo>
                      <a:lnTo>
                        <a:pt x="37" y="88"/>
                      </a:lnTo>
                      <a:lnTo>
                        <a:pt x="37" y="90"/>
                      </a:lnTo>
                      <a:lnTo>
                        <a:pt x="38" y="90"/>
                      </a:lnTo>
                      <a:lnTo>
                        <a:pt x="38" y="91"/>
                      </a:lnTo>
                      <a:lnTo>
                        <a:pt x="38" y="93"/>
                      </a:lnTo>
                      <a:lnTo>
                        <a:pt x="35" y="95"/>
                      </a:lnTo>
                      <a:lnTo>
                        <a:pt x="35" y="93"/>
                      </a:lnTo>
                      <a:lnTo>
                        <a:pt x="34" y="90"/>
                      </a:lnTo>
                      <a:lnTo>
                        <a:pt x="33" y="90"/>
                      </a:lnTo>
                      <a:lnTo>
                        <a:pt x="33" y="88"/>
                      </a:lnTo>
                      <a:lnTo>
                        <a:pt x="32" y="87"/>
                      </a:lnTo>
                      <a:lnTo>
                        <a:pt x="32" y="87"/>
                      </a:lnTo>
                      <a:close/>
                      <a:moveTo>
                        <a:pt x="27" y="82"/>
                      </a:moveTo>
                      <a:lnTo>
                        <a:pt x="27" y="80"/>
                      </a:lnTo>
                      <a:lnTo>
                        <a:pt x="27" y="80"/>
                      </a:lnTo>
                      <a:lnTo>
                        <a:pt x="28" y="78"/>
                      </a:lnTo>
                      <a:lnTo>
                        <a:pt x="28" y="77"/>
                      </a:lnTo>
                      <a:lnTo>
                        <a:pt x="27" y="75"/>
                      </a:lnTo>
                      <a:lnTo>
                        <a:pt x="27" y="76"/>
                      </a:lnTo>
                      <a:lnTo>
                        <a:pt x="27" y="77"/>
                      </a:lnTo>
                      <a:lnTo>
                        <a:pt x="26" y="75"/>
                      </a:lnTo>
                      <a:lnTo>
                        <a:pt x="25" y="74"/>
                      </a:lnTo>
                      <a:lnTo>
                        <a:pt x="25" y="75"/>
                      </a:lnTo>
                      <a:lnTo>
                        <a:pt x="24" y="75"/>
                      </a:lnTo>
                      <a:lnTo>
                        <a:pt x="23" y="75"/>
                      </a:lnTo>
                      <a:lnTo>
                        <a:pt x="21" y="75"/>
                      </a:lnTo>
                      <a:lnTo>
                        <a:pt x="20" y="76"/>
                      </a:lnTo>
                      <a:lnTo>
                        <a:pt x="20" y="75"/>
                      </a:lnTo>
                      <a:lnTo>
                        <a:pt x="18" y="74"/>
                      </a:lnTo>
                      <a:lnTo>
                        <a:pt x="20" y="73"/>
                      </a:lnTo>
                      <a:lnTo>
                        <a:pt x="18" y="71"/>
                      </a:lnTo>
                      <a:lnTo>
                        <a:pt x="18" y="69"/>
                      </a:lnTo>
                      <a:lnTo>
                        <a:pt x="18" y="68"/>
                      </a:lnTo>
                      <a:lnTo>
                        <a:pt x="18" y="68"/>
                      </a:lnTo>
                      <a:lnTo>
                        <a:pt x="17" y="67"/>
                      </a:lnTo>
                      <a:lnTo>
                        <a:pt x="15" y="66"/>
                      </a:lnTo>
                      <a:lnTo>
                        <a:pt x="15" y="64"/>
                      </a:lnTo>
                      <a:lnTo>
                        <a:pt x="15" y="63"/>
                      </a:lnTo>
                      <a:lnTo>
                        <a:pt x="15" y="63"/>
                      </a:lnTo>
                      <a:lnTo>
                        <a:pt x="15" y="62"/>
                      </a:lnTo>
                      <a:lnTo>
                        <a:pt x="13" y="53"/>
                      </a:lnTo>
                      <a:lnTo>
                        <a:pt x="12" y="47"/>
                      </a:lnTo>
                      <a:lnTo>
                        <a:pt x="12" y="46"/>
                      </a:lnTo>
                      <a:lnTo>
                        <a:pt x="6" y="40"/>
                      </a:lnTo>
                      <a:lnTo>
                        <a:pt x="5" y="41"/>
                      </a:lnTo>
                      <a:lnTo>
                        <a:pt x="5" y="39"/>
                      </a:lnTo>
                      <a:lnTo>
                        <a:pt x="6" y="39"/>
                      </a:lnTo>
                      <a:lnTo>
                        <a:pt x="5" y="36"/>
                      </a:lnTo>
                      <a:lnTo>
                        <a:pt x="5" y="36"/>
                      </a:lnTo>
                      <a:lnTo>
                        <a:pt x="5" y="35"/>
                      </a:lnTo>
                      <a:lnTo>
                        <a:pt x="5" y="34"/>
                      </a:lnTo>
                      <a:lnTo>
                        <a:pt x="6" y="33"/>
                      </a:lnTo>
                      <a:lnTo>
                        <a:pt x="4" y="33"/>
                      </a:lnTo>
                      <a:lnTo>
                        <a:pt x="4" y="31"/>
                      </a:lnTo>
                      <a:lnTo>
                        <a:pt x="1" y="30"/>
                      </a:lnTo>
                      <a:lnTo>
                        <a:pt x="1" y="27"/>
                      </a:lnTo>
                      <a:lnTo>
                        <a:pt x="1" y="23"/>
                      </a:lnTo>
                      <a:lnTo>
                        <a:pt x="0" y="22"/>
                      </a:lnTo>
                      <a:lnTo>
                        <a:pt x="1" y="22"/>
                      </a:lnTo>
                      <a:lnTo>
                        <a:pt x="4" y="22"/>
                      </a:lnTo>
                      <a:lnTo>
                        <a:pt x="6" y="21"/>
                      </a:lnTo>
                      <a:lnTo>
                        <a:pt x="7" y="21"/>
                      </a:lnTo>
                      <a:lnTo>
                        <a:pt x="4" y="20"/>
                      </a:lnTo>
                      <a:lnTo>
                        <a:pt x="3" y="19"/>
                      </a:lnTo>
                      <a:lnTo>
                        <a:pt x="6" y="17"/>
                      </a:lnTo>
                      <a:lnTo>
                        <a:pt x="7" y="14"/>
                      </a:lnTo>
                      <a:lnTo>
                        <a:pt x="10" y="11"/>
                      </a:lnTo>
                      <a:lnTo>
                        <a:pt x="10" y="10"/>
                      </a:lnTo>
                      <a:lnTo>
                        <a:pt x="10" y="9"/>
                      </a:lnTo>
                      <a:lnTo>
                        <a:pt x="11" y="8"/>
                      </a:lnTo>
                      <a:lnTo>
                        <a:pt x="12" y="7"/>
                      </a:lnTo>
                      <a:lnTo>
                        <a:pt x="13" y="7"/>
                      </a:lnTo>
                      <a:lnTo>
                        <a:pt x="15" y="6"/>
                      </a:lnTo>
                      <a:lnTo>
                        <a:pt x="18" y="6"/>
                      </a:lnTo>
                      <a:lnTo>
                        <a:pt x="18" y="4"/>
                      </a:lnTo>
                      <a:lnTo>
                        <a:pt x="19" y="6"/>
                      </a:lnTo>
                      <a:lnTo>
                        <a:pt x="20" y="3"/>
                      </a:lnTo>
                      <a:lnTo>
                        <a:pt x="20" y="4"/>
                      </a:lnTo>
                      <a:lnTo>
                        <a:pt x="21" y="4"/>
                      </a:lnTo>
                      <a:lnTo>
                        <a:pt x="21" y="3"/>
                      </a:lnTo>
                      <a:lnTo>
                        <a:pt x="23" y="3"/>
                      </a:lnTo>
                      <a:lnTo>
                        <a:pt x="24" y="6"/>
                      </a:lnTo>
                      <a:lnTo>
                        <a:pt x="25" y="6"/>
                      </a:lnTo>
                      <a:lnTo>
                        <a:pt x="25" y="4"/>
                      </a:lnTo>
                      <a:lnTo>
                        <a:pt x="27" y="7"/>
                      </a:lnTo>
                      <a:lnTo>
                        <a:pt x="27" y="6"/>
                      </a:lnTo>
                      <a:lnTo>
                        <a:pt x="30" y="6"/>
                      </a:lnTo>
                      <a:lnTo>
                        <a:pt x="31" y="4"/>
                      </a:lnTo>
                      <a:lnTo>
                        <a:pt x="31" y="6"/>
                      </a:lnTo>
                      <a:lnTo>
                        <a:pt x="31" y="6"/>
                      </a:lnTo>
                      <a:lnTo>
                        <a:pt x="32" y="4"/>
                      </a:lnTo>
                      <a:lnTo>
                        <a:pt x="34" y="4"/>
                      </a:lnTo>
                      <a:lnTo>
                        <a:pt x="35" y="6"/>
                      </a:lnTo>
                      <a:lnTo>
                        <a:pt x="37" y="6"/>
                      </a:lnTo>
                      <a:lnTo>
                        <a:pt x="37" y="4"/>
                      </a:lnTo>
                      <a:lnTo>
                        <a:pt x="38" y="6"/>
                      </a:lnTo>
                      <a:lnTo>
                        <a:pt x="39" y="6"/>
                      </a:lnTo>
                      <a:lnTo>
                        <a:pt x="39" y="3"/>
                      </a:lnTo>
                      <a:lnTo>
                        <a:pt x="40" y="4"/>
                      </a:lnTo>
                      <a:lnTo>
                        <a:pt x="43" y="3"/>
                      </a:lnTo>
                      <a:lnTo>
                        <a:pt x="44" y="4"/>
                      </a:lnTo>
                      <a:lnTo>
                        <a:pt x="45" y="4"/>
                      </a:lnTo>
                      <a:lnTo>
                        <a:pt x="46" y="7"/>
                      </a:lnTo>
                      <a:lnTo>
                        <a:pt x="47" y="9"/>
                      </a:lnTo>
                      <a:lnTo>
                        <a:pt x="48" y="8"/>
                      </a:lnTo>
                      <a:lnTo>
                        <a:pt x="51" y="7"/>
                      </a:lnTo>
                      <a:lnTo>
                        <a:pt x="53" y="10"/>
                      </a:lnTo>
                      <a:lnTo>
                        <a:pt x="55" y="10"/>
                      </a:lnTo>
                      <a:lnTo>
                        <a:pt x="57" y="9"/>
                      </a:lnTo>
                      <a:lnTo>
                        <a:pt x="58" y="10"/>
                      </a:lnTo>
                      <a:lnTo>
                        <a:pt x="59" y="11"/>
                      </a:lnTo>
                      <a:lnTo>
                        <a:pt x="60" y="10"/>
                      </a:lnTo>
                      <a:lnTo>
                        <a:pt x="61" y="11"/>
                      </a:lnTo>
                      <a:lnTo>
                        <a:pt x="61" y="11"/>
                      </a:lnTo>
                      <a:lnTo>
                        <a:pt x="63" y="14"/>
                      </a:lnTo>
                      <a:lnTo>
                        <a:pt x="67" y="14"/>
                      </a:lnTo>
                      <a:lnTo>
                        <a:pt x="67" y="13"/>
                      </a:lnTo>
                      <a:lnTo>
                        <a:pt x="68" y="11"/>
                      </a:lnTo>
                      <a:lnTo>
                        <a:pt x="68" y="10"/>
                      </a:lnTo>
                      <a:lnTo>
                        <a:pt x="66" y="9"/>
                      </a:lnTo>
                      <a:lnTo>
                        <a:pt x="65" y="8"/>
                      </a:lnTo>
                      <a:lnTo>
                        <a:pt x="65" y="7"/>
                      </a:lnTo>
                      <a:lnTo>
                        <a:pt x="64" y="6"/>
                      </a:lnTo>
                      <a:lnTo>
                        <a:pt x="64" y="6"/>
                      </a:lnTo>
                      <a:lnTo>
                        <a:pt x="66" y="6"/>
                      </a:lnTo>
                      <a:lnTo>
                        <a:pt x="65" y="4"/>
                      </a:lnTo>
                      <a:lnTo>
                        <a:pt x="67" y="7"/>
                      </a:lnTo>
                      <a:lnTo>
                        <a:pt x="67" y="6"/>
                      </a:lnTo>
                      <a:lnTo>
                        <a:pt x="68" y="6"/>
                      </a:lnTo>
                      <a:lnTo>
                        <a:pt x="68" y="4"/>
                      </a:lnTo>
                      <a:lnTo>
                        <a:pt x="68" y="4"/>
                      </a:lnTo>
                      <a:lnTo>
                        <a:pt x="68" y="2"/>
                      </a:lnTo>
                      <a:lnTo>
                        <a:pt x="70" y="2"/>
                      </a:lnTo>
                      <a:lnTo>
                        <a:pt x="70" y="3"/>
                      </a:lnTo>
                      <a:lnTo>
                        <a:pt x="72" y="3"/>
                      </a:lnTo>
                      <a:lnTo>
                        <a:pt x="72" y="2"/>
                      </a:lnTo>
                      <a:lnTo>
                        <a:pt x="73" y="2"/>
                      </a:lnTo>
                      <a:lnTo>
                        <a:pt x="73" y="1"/>
                      </a:lnTo>
                      <a:lnTo>
                        <a:pt x="73" y="0"/>
                      </a:lnTo>
                      <a:lnTo>
                        <a:pt x="74" y="2"/>
                      </a:lnTo>
                      <a:lnTo>
                        <a:pt x="74" y="2"/>
                      </a:lnTo>
                      <a:lnTo>
                        <a:pt x="77" y="3"/>
                      </a:lnTo>
                      <a:lnTo>
                        <a:pt x="78" y="4"/>
                      </a:lnTo>
                      <a:lnTo>
                        <a:pt x="78" y="3"/>
                      </a:lnTo>
                      <a:lnTo>
                        <a:pt x="78" y="6"/>
                      </a:lnTo>
                      <a:lnTo>
                        <a:pt x="79" y="7"/>
                      </a:lnTo>
                      <a:lnTo>
                        <a:pt x="80" y="6"/>
                      </a:lnTo>
                      <a:lnTo>
                        <a:pt x="81" y="7"/>
                      </a:lnTo>
                      <a:lnTo>
                        <a:pt x="83" y="4"/>
                      </a:lnTo>
                      <a:lnTo>
                        <a:pt x="83" y="3"/>
                      </a:lnTo>
                      <a:lnTo>
                        <a:pt x="85" y="4"/>
                      </a:lnTo>
                      <a:lnTo>
                        <a:pt x="85" y="3"/>
                      </a:lnTo>
                      <a:lnTo>
                        <a:pt x="86" y="2"/>
                      </a:lnTo>
                      <a:lnTo>
                        <a:pt x="86" y="1"/>
                      </a:lnTo>
                      <a:lnTo>
                        <a:pt x="87" y="0"/>
                      </a:lnTo>
                      <a:lnTo>
                        <a:pt x="88" y="1"/>
                      </a:lnTo>
                      <a:lnTo>
                        <a:pt x="91" y="2"/>
                      </a:lnTo>
                      <a:lnTo>
                        <a:pt x="92" y="3"/>
                      </a:lnTo>
                      <a:lnTo>
                        <a:pt x="91" y="3"/>
                      </a:lnTo>
                      <a:lnTo>
                        <a:pt x="91" y="4"/>
                      </a:lnTo>
                      <a:lnTo>
                        <a:pt x="90" y="4"/>
                      </a:lnTo>
                      <a:lnTo>
                        <a:pt x="88" y="4"/>
                      </a:lnTo>
                      <a:lnTo>
                        <a:pt x="90" y="6"/>
                      </a:lnTo>
                      <a:lnTo>
                        <a:pt x="90" y="8"/>
                      </a:lnTo>
                      <a:lnTo>
                        <a:pt x="88" y="10"/>
                      </a:lnTo>
                      <a:lnTo>
                        <a:pt x="91" y="13"/>
                      </a:lnTo>
                      <a:lnTo>
                        <a:pt x="92" y="13"/>
                      </a:lnTo>
                      <a:lnTo>
                        <a:pt x="92" y="15"/>
                      </a:lnTo>
                      <a:lnTo>
                        <a:pt x="93" y="16"/>
                      </a:lnTo>
                      <a:lnTo>
                        <a:pt x="93" y="19"/>
                      </a:lnTo>
                      <a:lnTo>
                        <a:pt x="94" y="20"/>
                      </a:lnTo>
                      <a:lnTo>
                        <a:pt x="95" y="22"/>
                      </a:lnTo>
                      <a:lnTo>
                        <a:pt x="95" y="27"/>
                      </a:lnTo>
                      <a:lnTo>
                        <a:pt x="94" y="33"/>
                      </a:lnTo>
                      <a:lnTo>
                        <a:pt x="94" y="35"/>
                      </a:lnTo>
                      <a:lnTo>
                        <a:pt x="95" y="36"/>
                      </a:lnTo>
                      <a:lnTo>
                        <a:pt x="95" y="39"/>
                      </a:lnTo>
                      <a:lnTo>
                        <a:pt x="97" y="41"/>
                      </a:lnTo>
                      <a:lnTo>
                        <a:pt x="97" y="44"/>
                      </a:lnTo>
                      <a:lnTo>
                        <a:pt x="97" y="46"/>
                      </a:lnTo>
                      <a:lnTo>
                        <a:pt x="95" y="47"/>
                      </a:lnTo>
                      <a:lnTo>
                        <a:pt x="95" y="48"/>
                      </a:lnTo>
                      <a:lnTo>
                        <a:pt x="95" y="49"/>
                      </a:lnTo>
                      <a:lnTo>
                        <a:pt x="94" y="49"/>
                      </a:lnTo>
                      <a:lnTo>
                        <a:pt x="93" y="47"/>
                      </a:lnTo>
                      <a:lnTo>
                        <a:pt x="93" y="47"/>
                      </a:lnTo>
                      <a:lnTo>
                        <a:pt x="91" y="48"/>
                      </a:lnTo>
                      <a:lnTo>
                        <a:pt x="88" y="50"/>
                      </a:lnTo>
                      <a:lnTo>
                        <a:pt x="87" y="50"/>
                      </a:lnTo>
                      <a:lnTo>
                        <a:pt x="87" y="51"/>
                      </a:lnTo>
                      <a:lnTo>
                        <a:pt x="86" y="53"/>
                      </a:lnTo>
                      <a:lnTo>
                        <a:pt x="84" y="53"/>
                      </a:lnTo>
                      <a:lnTo>
                        <a:pt x="81" y="54"/>
                      </a:lnTo>
                      <a:lnTo>
                        <a:pt x="78" y="54"/>
                      </a:lnTo>
                      <a:lnTo>
                        <a:pt x="77" y="54"/>
                      </a:lnTo>
                      <a:lnTo>
                        <a:pt x="79" y="56"/>
                      </a:lnTo>
                      <a:lnTo>
                        <a:pt x="77" y="56"/>
                      </a:lnTo>
                      <a:lnTo>
                        <a:pt x="78" y="57"/>
                      </a:lnTo>
                      <a:lnTo>
                        <a:pt x="77" y="59"/>
                      </a:lnTo>
                      <a:lnTo>
                        <a:pt x="79" y="60"/>
                      </a:lnTo>
                      <a:lnTo>
                        <a:pt x="79" y="61"/>
                      </a:lnTo>
                      <a:lnTo>
                        <a:pt x="77" y="60"/>
                      </a:lnTo>
                      <a:lnTo>
                        <a:pt x="75" y="60"/>
                      </a:lnTo>
                      <a:lnTo>
                        <a:pt x="75" y="60"/>
                      </a:lnTo>
                      <a:lnTo>
                        <a:pt x="73" y="60"/>
                      </a:lnTo>
                      <a:lnTo>
                        <a:pt x="71" y="59"/>
                      </a:lnTo>
                      <a:lnTo>
                        <a:pt x="70" y="59"/>
                      </a:lnTo>
                      <a:lnTo>
                        <a:pt x="71" y="60"/>
                      </a:lnTo>
                      <a:lnTo>
                        <a:pt x="70" y="61"/>
                      </a:lnTo>
                      <a:lnTo>
                        <a:pt x="67" y="61"/>
                      </a:lnTo>
                      <a:lnTo>
                        <a:pt x="66" y="60"/>
                      </a:lnTo>
                      <a:lnTo>
                        <a:pt x="67" y="62"/>
                      </a:lnTo>
                      <a:lnTo>
                        <a:pt x="67" y="63"/>
                      </a:lnTo>
                      <a:lnTo>
                        <a:pt x="68" y="63"/>
                      </a:lnTo>
                      <a:lnTo>
                        <a:pt x="68" y="66"/>
                      </a:lnTo>
                      <a:lnTo>
                        <a:pt x="68" y="68"/>
                      </a:lnTo>
                      <a:lnTo>
                        <a:pt x="68" y="68"/>
                      </a:lnTo>
                      <a:lnTo>
                        <a:pt x="70" y="69"/>
                      </a:lnTo>
                      <a:lnTo>
                        <a:pt x="71" y="69"/>
                      </a:lnTo>
                      <a:lnTo>
                        <a:pt x="71" y="70"/>
                      </a:lnTo>
                      <a:lnTo>
                        <a:pt x="72" y="71"/>
                      </a:lnTo>
                      <a:lnTo>
                        <a:pt x="73" y="73"/>
                      </a:lnTo>
                      <a:lnTo>
                        <a:pt x="74" y="73"/>
                      </a:lnTo>
                      <a:lnTo>
                        <a:pt x="74" y="73"/>
                      </a:lnTo>
                      <a:lnTo>
                        <a:pt x="74" y="74"/>
                      </a:lnTo>
                      <a:lnTo>
                        <a:pt x="75" y="75"/>
                      </a:lnTo>
                      <a:lnTo>
                        <a:pt x="74" y="75"/>
                      </a:lnTo>
                      <a:lnTo>
                        <a:pt x="74" y="76"/>
                      </a:lnTo>
                      <a:lnTo>
                        <a:pt x="75" y="78"/>
                      </a:lnTo>
                      <a:lnTo>
                        <a:pt x="73" y="78"/>
                      </a:lnTo>
                      <a:lnTo>
                        <a:pt x="72" y="77"/>
                      </a:lnTo>
                      <a:lnTo>
                        <a:pt x="71" y="76"/>
                      </a:lnTo>
                      <a:lnTo>
                        <a:pt x="71" y="77"/>
                      </a:lnTo>
                      <a:lnTo>
                        <a:pt x="70" y="77"/>
                      </a:lnTo>
                      <a:lnTo>
                        <a:pt x="70" y="75"/>
                      </a:lnTo>
                      <a:lnTo>
                        <a:pt x="67" y="74"/>
                      </a:lnTo>
                      <a:lnTo>
                        <a:pt x="64" y="75"/>
                      </a:lnTo>
                      <a:lnTo>
                        <a:pt x="61" y="75"/>
                      </a:lnTo>
                      <a:lnTo>
                        <a:pt x="61" y="75"/>
                      </a:lnTo>
                      <a:lnTo>
                        <a:pt x="60" y="76"/>
                      </a:lnTo>
                      <a:lnTo>
                        <a:pt x="60" y="77"/>
                      </a:lnTo>
                      <a:lnTo>
                        <a:pt x="59" y="77"/>
                      </a:lnTo>
                      <a:lnTo>
                        <a:pt x="55" y="76"/>
                      </a:lnTo>
                      <a:lnTo>
                        <a:pt x="54" y="77"/>
                      </a:lnTo>
                      <a:lnTo>
                        <a:pt x="57" y="78"/>
                      </a:lnTo>
                      <a:lnTo>
                        <a:pt x="55" y="80"/>
                      </a:lnTo>
                      <a:lnTo>
                        <a:pt x="53" y="82"/>
                      </a:lnTo>
                      <a:lnTo>
                        <a:pt x="52" y="84"/>
                      </a:lnTo>
                      <a:lnTo>
                        <a:pt x="48" y="84"/>
                      </a:lnTo>
                      <a:lnTo>
                        <a:pt x="47" y="84"/>
                      </a:lnTo>
                      <a:lnTo>
                        <a:pt x="45" y="86"/>
                      </a:lnTo>
                      <a:lnTo>
                        <a:pt x="43" y="86"/>
                      </a:lnTo>
                      <a:lnTo>
                        <a:pt x="41" y="86"/>
                      </a:lnTo>
                      <a:lnTo>
                        <a:pt x="40" y="86"/>
                      </a:lnTo>
                      <a:lnTo>
                        <a:pt x="40" y="84"/>
                      </a:lnTo>
                      <a:lnTo>
                        <a:pt x="39" y="83"/>
                      </a:lnTo>
                      <a:lnTo>
                        <a:pt x="39" y="83"/>
                      </a:lnTo>
                      <a:lnTo>
                        <a:pt x="39" y="83"/>
                      </a:lnTo>
                      <a:lnTo>
                        <a:pt x="38" y="82"/>
                      </a:lnTo>
                      <a:lnTo>
                        <a:pt x="37" y="82"/>
                      </a:lnTo>
                      <a:lnTo>
                        <a:pt x="34" y="82"/>
                      </a:lnTo>
                      <a:lnTo>
                        <a:pt x="33" y="82"/>
                      </a:lnTo>
                      <a:lnTo>
                        <a:pt x="32" y="82"/>
                      </a:lnTo>
                      <a:lnTo>
                        <a:pt x="32" y="80"/>
                      </a:lnTo>
                      <a:lnTo>
                        <a:pt x="31" y="82"/>
                      </a:lnTo>
                      <a:lnTo>
                        <a:pt x="31" y="82"/>
                      </a:lnTo>
                      <a:lnTo>
                        <a:pt x="31" y="83"/>
                      </a:lnTo>
                      <a:lnTo>
                        <a:pt x="30" y="83"/>
                      </a:lnTo>
                      <a:lnTo>
                        <a:pt x="30" y="83"/>
                      </a:lnTo>
                      <a:lnTo>
                        <a:pt x="27" y="82"/>
                      </a:lnTo>
                      <a:lnTo>
                        <a:pt x="27" y="82"/>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564" name="Botswana">
                  <a:extLst>
                    <a:ext uri="{FF2B5EF4-FFF2-40B4-BE49-F238E27FC236}">
                      <a16:creationId xmlns:a16="http://schemas.microsoft.com/office/drawing/2014/main" id="{1ADF637C-39BF-1240-89D6-BFA4B0B2B2D7}"/>
                    </a:ext>
                  </a:extLst>
                </p:cNvPr>
                <p:cNvSpPr>
                  <a:spLocks/>
                </p:cNvSpPr>
                <p:nvPr/>
              </p:nvSpPr>
              <p:spPr bwMode="auto">
                <a:xfrm>
                  <a:off x="6878444" y="4518683"/>
                  <a:ext cx="243478" cy="272637"/>
                </a:xfrm>
                <a:custGeom>
                  <a:avLst/>
                  <a:gdLst>
                    <a:gd name="T0" fmla="*/ 165 w 167"/>
                    <a:gd name="T1" fmla="*/ 89 h 187"/>
                    <a:gd name="T2" fmla="*/ 164 w 167"/>
                    <a:gd name="T3" fmla="*/ 84 h 187"/>
                    <a:gd name="T4" fmla="*/ 160 w 167"/>
                    <a:gd name="T5" fmla="*/ 83 h 187"/>
                    <a:gd name="T6" fmla="*/ 153 w 167"/>
                    <a:gd name="T7" fmla="*/ 80 h 187"/>
                    <a:gd name="T8" fmla="*/ 144 w 167"/>
                    <a:gd name="T9" fmla="*/ 77 h 187"/>
                    <a:gd name="T10" fmla="*/ 139 w 167"/>
                    <a:gd name="T11" fmla="*/ 69 h 187"/>
                    <a:gd name="T12" fmla="*/ 139 w 167"/>
                    <a:gd name="T13" fmla="*/ 64 h 187"/>
                    <a:gd name="T14" fmla="*/ 136 w 167"/>
                    <a:gd name="T15" fmla="*/ 56 h 187"/>
                    <a:gd name="T16" fmla="*/ 133 w 167"/>
                    <a:gd name="T17" fmla="*/ 51 h 187"/>
                    <a:gd name="T18" fmla="*/ 127 w 167"/>
                    <a:gd name="T19" fmla="*/ 46 h 187"/>
                    <a:gd name="T20" fmla="*/ 123 w 167"/>
                    <a:gd name="T21" fmla="*/ 45 h 187"/>
                    <a:gd name="T22" fmla="*/ 119 w 167"/>
                    <a:gd name="T23" fmla="*/ 41 h 187"/>
                    <a:gd name="T24" fmla="*/ 117 w 167"/>
                    <a:gd name="T25" fmla="*/ 39 h 187"/>
                    <a:gd name="T26" fmla="*/ 110 w 167"/>
                    <a:gd name="T27" fmla="*/ 27 h 187"/>
                    <a:gd name="T28" fmla="*/ 107 w 167"/>
                    <a:gd name="T29" fmla="*/ 18 h 187"/>
                    <a:gd name="T30" fmla="*/ 98 w 167"/>
                    <a:gd name="T31" fmla="*/ 1 h 187"/>
                    <a:gd name="T32" fmla="*/ 97 w 167"/>
                    <a:gd name="T33" fmla="*/ 1 h 187"/>
                    <a:gd name="T34" fmla="*/ 94 w 167"/>
                    <a:gd name="T35" fmla="*/ 0 h 187"/>
                    <a:gd name="T36" fmla="*/ 90 w 167"/>
                    <a:gd name="T37" fmla="*/ 3 h 187"/>
                    <a:gd name="T38" fmla="*/ 87 w 167"/>
                    <a:gd name="T39" fmla="*/ 5 h 187"/>
                    <a:gd name="T40" fmla="*/ 84 w 167"/>
                    <a:gd name="T41" fmla="*/ 4 h 187"/>
                    <a:gd name="T42" fmla="*/ 80 w 167"/>
                    <a:gd name="T43" fmla="*/ 5 h 187"/>
                    <a:gd name="T44" fmla="*/ 71 w 167"/>
                    <a:gd name="T45" fmla="*/ 13 h 187"/>
                    <a:gd name="T46" fmla="*/ 70 w 167"/>
                    <a:gd name="T47" fmla="*/ 16 h 187"/>
                    <a:gd name="T48" fmla="*/ 69 w 167"/>
                    <a:gd name="T49" fmla="*/ 12 h 187"/>
                    <a:gd name="T50" fmla="*/ 65 w 167"/>
                    <a:gd name="T51" fmla="*/ 10 h 187"/>
                    <a:gd name="T52" fmla="*/ 64 w 167"/>
                    <a:gd name="T53" fmla="*/ 5 h 187"/>
                    <a:gd name="T54" fmla="*/ 22 w 167"/>
                    <a:gd name="T55" fmla="*/ 11 h 187"/>
                    <a:gd name="T56" fmla="*/ 0 w 167"/>
                    <a:gd name="T57" fmla="*/ 145 h 187"/>
                    <a:gd name="T58" fmla="*/ 9 w 167"/>
                    <a:gd name="T59" fmla="*/ 153 h 187"/>
                    <a:gd name="T60" fmla="*/ 10 w 167"/>
                    <a:gd name="T61" fmla="*/ 157 h 187"/>
                    <a:gd name="T62" fmla="*/ 11 w 167"/>
                    <a:gd name="T63" fmla="*/ 161 h 187"/>
                    <a:gd name="T64" fmla="*/ 13 w 167"/>
                    <a:gd name="T65" fmla="*/ 166 h 187"/>
                    <a:gd name="T66" fmla="*/ 14 w 167"/>
                    <a:gd name="T67" fmla="*/ 171 h 187"/>
                    <a:gd name="T68" fmla="*/ 11 w 167"/>
                    <a:gd name="T69" fmla="*/ 178 h 187"/>
                    <a:gd name="T70" fmla="*/ 10 w 167"/>
                    <a:gd name="T71" fmla="*/ 181 h 187"/>
                    <a:gd name="T72" fmla="*/ 13 w 167"/>
                    <a:gd name="T73" fmla="*/ 186 h 187"/>
                    <a:gd name="T74" fmla="*/ 23 w 167"/>
                    <a:gd name="T75" fmla="*/ 186 h 187"/>
                    <a:gd name="T76" fmla="*/ 31 w 167"/>
                    <a:gd name="T77" fmla="*/ 186 h 187"/>
                    <a:gd name="T78" fmla="*/ 32 w 167"/>
                    <a:gd name="T79" fmla="*/ 183 h 187"/>
                    <a:gd name="T80" fmla="*/ 40 w 167"/>
                    <a:gd name="T81" fmla="*/ 174 h 187"/>
                    <a:gd name="T82" fmla="*/ 45 w 167"/>
                    <a:gd name="T83" fmla="*/ 172 h 187"/>
                    <a:gd name="T84" fmla="*/ 46 w 167"/>
                    <a:gd name="T85" fmla="*/ 168 h 187"/>
                    <a:gd name="T86" fmla="*/ 50 w 167"/>
                    <a:gd name="T87" fmla="*/ 160 h 187"/>
                    <a:gd name="T88" fmla="*/ 53 w 167"/>
                    <a:gd name="T89" fmla="*/ 154 h 187"/>
                    <a:gd name="T90" fmla="*/ 67 w 167"/>
                    <a:gd name="T91" fmla="*/ 159 h 187"/>
                    <a:gd name="T92" fmla="*/ 69 w 167"/>
                    <a:gd name="T93" fmla="*/ 163 h 187"/>
                    <a:gd name="T94" fmla="*/ 73 w 167"/>
                    <a:gd name="T95" fmla="*/ 163 h 187"/>
                    <a:gd name="T96" fmla="*/ 79 w 167"/>
                    <a:gd name="T97" fmla="*/ 164 h 187"/>
                    <a:gd name="T98" fmla="*/ 89 w 167"/>
                    <a:gd name="T99" fmla="*/ 164 h 187"/>
                    <a:gd name="T100" fmla="*/ 100 w 167"/>
                    <a:gd name="T101" fmla="*/ 154 h 187"/>
                    <a:gd name="T102" fmla="*/ 104 w 167"/>
                    <a:gd name="T103" fmla="*/ 144 h 187"/>
                    <a:gd name="T104" fmla="*/ 118 w 167"/>
                    <a:gd name="T105" fmla="*/ 136 h 187"/>
                    <a:gd name="T106" fmla="*/ 125 w 167"/>
                    <a:gd name="T107" fmla="*/ 121 h 187"/>
                    <a:gd name="T108" fmla="*/ 127 w 167"/>
                    <a:gd name="T109" fmla="*/ 120 h 187"/>
                    <a:gd name="T110" fmla="*/ 130 w 167"/>
                    <a:gd name="T111" fmla="*/ 119 h 187"/>
                    <a:gd name="T112" fmla="*/ 133 w 167"/>
                    <a:gd name="T113" fmla="*/ 116 h 187"/>
                    <a:gd name="T114" fmla="*/ 137 w 167"/>
                    <a:gd name="T115" fmla="*/ 111 h 187"/>
                    <a:gd name="T116" fmla="*/ 141 w 167"/>
                    <a:gd name="T117" fmla="*/ 106 h 187"/>
                    <a:gd name="T118" fmla="*/ 144 w 167"/>
                    <a:gd name="T119" fmla="*/ 104 h 187"/>
                    <a:gd name="T120" fmla="*/ 146 w 167"/>
                    <a:gd name="T121" fmla="*/ 101 h 187"/>
                    <a:gd name="T122" fmla="*/ 159 w 167"/>
                    <a:gd name="T123" fmla="*/ 97 h 187"/>
                    <a:gd name="T124" fmla="*/ 167 w 167"/>
                    <a:gd name="T125" fmla="*/ 91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67" h="187">
                      <a:moveTo>
                        <a:pt x="167" y="91"/>
                      </a:moveTo>
                      <a:lnTo>
                        <a:pt x="166" y="89"/>
                      </a:lnTo>
                      <a:lnTo>
                        <a:pt x="165" y="89"/>
                      </a:lnTo>
                      <a:lnTo>
                        <a:pt x="163" y="87"/>
                      </a:lnTo>
                      <a:lnTo>
                        <a:pt x="163" y="85"/>
                      </a:lnTo>
                      <a:lnTo>
                        <a:pt x="164" y="84"/>
                      </a:lnTo>
                      <a:lnTo>
                        <a:pt x="163" y="84"/>
                      </a:lnTo>
                      <a:lnTo>
                        <a:pt x="161" y="83"/>
                      </a:lnTo>
                      <a:lnTo>
                        <a:pt x="160" y="83"/>
                      </a:lnTo>
                      <a:lnTo>
                        <a:pt x="157" y="81"/>
                      </a:lnTo>
                      <a:lnTo>
                        <a:pt x="156" y="80"/>
                      </a:lnTo>
                      <a:lnTo>
                        <a:pt x="153" y="80"/>
                      </a:lnTo>
                      <a:lnTo>
                        <a:pt x="150" y="78"/>
                      </a:lnTo>
                      <a:lnTo>
                        <a:pt x="145" y="78"/>
                      </a:lnTo>
                      <a:lnTo>
                        <a:pt x="144" y="77"/>
                      </a:lnTo>
                      <a:lnTo>
                        <a:pt x="143" y="73"/>
                      </a:lnTo>
                      <a:lnTo>
                        <a:pt x="141" y="71"/>
                      </a:lnTo>
                      <a:lnTo>
                        <a:pt x="139" y="69"/>
                      </a:lnTo>
                      <a:lnTo>
                        <a:pt x="140" y="67"/>
                      </a:lnTo>
                      <a:lnTo>
                        <a:pt x="139" y="65"/>
                      </a:lnTo>
                      <a:lnTo>
                        <a:pt x="139" y="64"/>
                      </a:lnTo>
                      <a:lnTo>
                        <a:pt x="140" y="61"/>
                      </a:lnTo>
                      <a:lnTo>
                        <a:pt x="140" y="56"/>
                      </a:lnTo>
                      <a:lnTo>
                        <a:pt x="136" y="56"/>
                      </a:lnTo>
                      <a:lnTo>
                        <a:pt x="133" y="56"/>
                      </a:lnTo>
                      <a:lnTo>
                        <a:pt x="132" y="57"/>
                      </a:lnTo>
                      <a:lnTo>
                        <a:pt x="133" y="51"/>
                      </a:lnTo>
                      <a:lnTo>
                        <a:pt x="132" y="49"/>
                      </a:lnTo>
                      <a:lnTo>
                        <a:pt x="129" y="46"/>
                      </a:lnTo>
                      <a:lnTo>
                        <a:pt x="127" y="46"/>
                      </a:lnTo>
                      <a:lnTo>
                        <a:pt x="126" y="46"/>
                      </a:lnTo>
                      <a:lnTo>
                        <a:pt x="125" y="45"/>
                      </a:lnTo>
                      <a:lnTo>
                        <a:pt x="123" y="45"/>
                      </a:lnTo>
                      <a:lnTo>
                        <a:pt x="121" y="43"/>
                      </a:lnTo>
                      <a:lnTo>
                        <a:pt x="120" y="41"/>
                      </a:lnTo>
                      <a:lnTo>
                        <a:pt x="119" y="41"/>
                      </a:lnTo>
                      <a:lnTo>
                        <a:pt x="118" y="40"/>
                      </a:lnTo>
                      <a:lnTo>
                        <a:pt x="118" y="39"/>
                      </a:lnTo>
                      <a:lnTo>
                        <a:pt x="117" y="39"/>
                      </a:lnTo>
                      <a:lnTo>
                        <a:pt x="117" y="38"/>
                      </a:lnTo>
                      <a:lnTo>
                        <a:pt x="113" y="37"/>
                      </a:lnTo>
                      <a:lnTo>
                        <a:pt x="110" y="27"/>
                      </a:lnTo>
                      <a:lnTo>
                        <a:pt x="110" y="24"/>
                      </a:lnTo>
                      <a:lnTo>
                        <a:pt x="107" y="21"/>
                      </a:lnTo>
                      <a:lnTo>
                        <a:pt x="107" y="18"/>
                      </a:lnTo>
                      <a:lnTo>
                        <a:pt x="105" y="17"/>
                      </a:lnTo>
                      <a:lnTo>
                        <a:pt x="103" y="13"/>
                      </a:lnTo>
                      <a:lnTo>
                        <a:pt x="98" y="1"/>
                      </a:lnTo>
                      <a:lnTo>
                        <a:pt x="99" y="0"/>
                      </a:lnTo>
                      <a:lnTo>
                        <a:pt x="97" y="0"/>
                      </a:lnTo>
                      <a:lnTo>
                        <a:pt x="97" y="1"/>
                      </a:lnTo>
                      <a:lnTo>
                        <a:pt x="96" y="1"/>
                      </a:lnTo>
                      <a:lnTo>
                        <a:pt x="94" y="1"/>
                      </a:lnTo>
                      <a:lnTo>
                        <a:pt x="94" y="0"/>
                      </a:lnTo>
                      <a:lnTo>
                        <a:pt x="93" y="1"/>
                      </a:lnTo>
                      <a:lnTo>
                        <a:pt x="92" y="1"/>
                      </a:lnTo>
                      <a:lnTo>
                        <a:pt x="90" y="3"/>
                      </a:lnTo>
                      <a:lnTo>
                        <a:pt x="89" y="3"/>
                      </a:lnTo>
                      <a:lnTo>
                        <a:pt x="87" y="4"/>
                      </a:lnTo>
                      <a:lnTo>
                        <a:pt x="87" y="5"/>
                      </a:lnTo>
                      <a:lnTo>
                        <a:pt x="86" y="6"/>
                      </a:lnTo>
                      <a:lnTo>
                        <a:pt x="85" y="6"/>
                      </a:lnTo>
                      <a:lnTo>
                        <a:pt x="84" y="4"/>
                      </a:lnTo>
                      <a:lnTo>
                        <a:pt x="83" y="4"/>
                      </a:lnTo>
                      <a:lnTo>
                        <a:pt x="81" y="6"/>
                      </a:lnTo>
                      <a:lnTo>
                        <a:pt x="80" y="5"/>
                      </a:lnTo>
                      <a:lnTo>
                        <a:pt x="78" y="7"/>
                      </a:lnTo>
                      <a:lnTo>
                        <a:pt x="74" y="10"/>
                      </a:lnTo>
                      <a:lnTo>
                        <a:pt x="71" y="13"/>
                      </a:lnTo>
                      <a:lnTo>
                        <a:pt x="70" y="13"/>
                      </a:lnTo>
                      <a:lnTo>
                        <a:pt x="70" y="14"/>
                      </a:lnTo>
                      <a:lnTo>
                        <a:pt x="70" y="16"/>
                      </a:lnTo>
                      <a:lnTo>
                        <a:pt x="67" y="14"/>
                      </a:lnTo>
                      <a:lnTo>
                        <a:pt x="67" y="13"/>
                      </a:lnTo>
                      <a:lnTo>
                        <a:pt x="69" y="12"/>
                      </a:lnTo>
                      <a:lnTo>
                        <a:pt x="67" y="11"/>
                      </a:lnTo>
                      <a:lnTo>
                        <a:pt x="66" y="10"/>
                      </a:lnTo>
                      <a:lnTo>
                        <a:pt x="65" y="10"/>
                      </a:lnTo>
                      <a:lnTo>
                        <a:pt x="65" y="9"/>
                      </a:lnTo>
                      <a:lnTo>
                        <a:pt x="64" y="7"/>
                      </a:lnTo>
                      <a:lnTo>
                        <a:pt x="64" y="5"/>
                      </a:lnTo>
                      <a:lnTo>
                        <a:pt x="59" y="5"/>
                      </a:lnTo>
                      <a:lnTo>
                        <a:pt x="30" y="11"/>
                      </a:lnTo>
                      <a:lnTo>
                        <a:pt x="22" y="11"/>
                      </a:lnTo>
                      <a:lnTo>
                        <a:pt x="19" y="87"/>
                      </a:lnTo>
                      <a:lnTo>
                        <a:pt x="2" y="87"/>
                      </a:lnTo>
                      <a:lnTo>
                        <a:pt x="0" y="145"/>
                      </a:lnTo>
                      <a:lnTo>
                        <a:pt x="5" y="148"/>
                      </a:lnTo>
                      <a:lnTo>
                        <a:pt x="7" y="150"/>
                      </a:lnTo>
                      <a:lnTo>
                        <a:pt x="9" y="153"/>
                      </a:lnTo>
                      <a:lnTo>
                        <a:pt x="9" y="153"/>
                      </a:lnTo>
                      <a:lnTo>
                        <a:pt x="10" y="154"/>
                      </a:lnTo>
                      <a:lnTo>
                        <a:pt x="10" y="157"/>
                      </a:lnTo>
                      <a:lnTo>
                        <a:pt x="11" y="160"/>
                      </a:lnTo>
                      <a:lnTo>
                        <a:pt x="11" y="160"/>
                      </a:lnTo>
                      <a:lnTo>
                        <a:pt x="11" y="161"/>
                      </a:lnTo>
                      <a:lnTo>
                        <a:pt x="12" y="164"/>
                      </a:lnTo>
                      <a:lnTo>
                        <a:pt x="12" y="166"/>
                      </a:lnTo>
                      <a:lnTo>
                        <a:pt x="13" y="166"/>
                      </a:lnTo>
                      <a:lnTo>
                        <a:pt x="13" y="168"/>
                      </a:lnTo>
                      <a:lnTo>
                        <a:pt x="14" y="170"/>
                      </a:lnTo>
                      <a:lnTo>
                        <a:pt x="14" y="171"/>
                      </a:lnTo>
                      <a:lnTo>
                        <a:pt x="16" y="172"/>
                      </a:lnTo>
                      <a:lnTo>
                        <a:pt x="12" y="174"/>
                      </a:lnTo>
                      <a:lnTo>
                        <a:pt x="11" y="178"/>
                      </a:lnTo>
                      <a:lnTo>
                        <a:pt x="10" y="179"/>
                      </a:lnTo>
                      <a:lnTo>
                        <a:pt x="9" y="180"/>
                      </a:lnTo>
                      <a:lnTo>
                        <a:pt x="10" y="181"/>
                      </a:lnTo>
                      <a:lnTo>
                        <a:pt x="9" y="184"/>
                      </a:lnTo>
                      <a:lnTo>
                        <a:pt x="11" y="187"/>
                      </a:lnTo>
                      <a:lnTo>
                        <a:pt x="13" y="186"/>
                      </a:lnTo>
                      <a:lnTo>
                        <a:pt x="14" y="185"/>
                      </a:lnTo>
                      <a:lnTo>
                        <a:pt x="18" y="187"/>
                      </a:lnTo>
                      <a:lnTo>
                        <a:pt x="23" y="186"/>
                      </a:lnTo>
                      <a:lnTo>
                        <a:pt x="29" y="187"/>
                      </a:lnTo>
                      <a:lnTo>
                        <a:pt x="30" y="187"/>
                      </a:lnTo>
                      <a:lnTo>
                        <a:pt x="31" y="186"/>
                      </a:lnTo>
                      <a:lnTo>
                        <a:pt x="32" y="185"/>
                      </a:lnTo>
                      <a:lnTo>
                        <a:pt x="31" y="183"/>
                      </a:lnTo>
                      <a:lnTo>
                        <a:pt x="32" y="183"/>
                      </a:lnTo>
                      <a:lnTo>
                        <a:pt x="34" y="181"/>
                      </a:lnTo>
                      <a:lnTo>
                        <a:pt x="37" y="181"/>
                      </a:lnTo>
                      <a:lnTo>
                        <a:pt x="40" y="174"/>
                      </a:lnTo>
                      <a:lnTo>
                        <a:pt x="43" y="174"/>
                      </a:lnTo>
                      <a:lnTo>
                        <a:pt x="43" y="174"/>
                      </a:lnTo>
                      <a:lnTo>
                        <a:pt x="45" y="172"/>
                      </a:lnTo>
                      <a:lnTo>
                        <a:pt x="46" y="171"/>
                      </a:lnTo>
                      <a:lnTo>
                        <a:pt x="47" y="170"/>
                      </a:lnTo>
                      <a:lnTo>
                        <a:pt x="46" y="168"/>
                      </a:lnTo>
                      <a:lnTo>
                        <a:pt x="49" y="166"/>
                      </a:lnTo>
                      <a:lnTo>
                        <a:pt x="47" y="165"/>
                      </a:lnTo>
                      <a:lnTo>
                        <a:pt x="50" y="160"/>
                      </a:lnTo>
                      <a:lnTo>
                        <a:pt x="50" y="159"/>
                      </a:lnTo>
                      <a:lnTo>
                        <a:pt x="51" y="159"/>
                      </a:lnTo>
                      <a:lnTo>
                        <a:pt x="53" y="154"/>
                      </a:lnTo>
                      <a:lnTo>
                        <a:pt x="57" y="154"/>
                      </a:lnTo>
                      <a:lnTo>
                        <a:pt x="62" y="154"/>
                      </a:lnTo>
                      <a:lnTo>
                        <a:pt x="67" y="159"/>
                      </a:lnTo>
                      <a:lnTo>
                        <a:pt x="67" y="161"/>
                      </a:lnTo>
                      <a:lnTo>
                        <a:pt x="69" y="161"/>
                      </a:lnTo>
                      <a:lnTo>
                        <a:pt x="69" y="163"/>
                      </a:lnTo>
                      <a:lnTo>
                        <a:pt x="71" y="161"/>
                      </a:lnTo>
                      <a:lnTo>
                        <a:pt x="72" y="161"/>
                      </a:lnTo>
                      <a:lnTo>
                        <a:pt x="73" y="163"/>
                      </a:lnTo>
                      <a:lnTo>
                        <a:pt x="77" y="165"/>
                      </a:lnTo>
                      <a:lnTo>
                        <a:pt x="78" y="164"/>
                      </a:lnTo>
                      <a:lnTo>
                        <a:pt x="79" y="164"/>
                      </a:lnTo>
                      <a:lnTo>
                        <a:pt x="81" y="165"/>
                      </a:lnTo>
                      <a:lnTo>
                        <a:pt x="85" y="166"/>
                      </a:lnTo>
                      <a:lnTo>
                        <a:pt x="89" y="164"/>
                      </a:lnTo>
                      <a:lnTo>
                        <a:pt x="94" y="164"/>
                      </a:lnTo>
                      <a:lnTo>
                        <a:pt x="99" y="161"/>
                      </a:lnTo>
                      <a:lnTo>
                        <a:pt x="100" y="154"/>
                      </a:lnTo>
                      <a:lnTo>
                        <a:pt x="101" y="152"/>
                      </a:lnTo>
                      <a:lnTo>
                        <a:pt x="104" y="147"/>
                      </a:lnTo>
                      <a:lnTo>
                        <a:pt x="104" y="144"/>
                      </a:lnTo>
                      <a:lnTo>
                        <a:pt x="113" y="141"/>
                      </a:lnTo>
                      <a:lnTo>
                        <a:pt x="116" y="137"/>
                      </a:lnTo>
                      <a:lnTo>
                        <a:pt x="118" y="136"/>
                      </a:lnTo>
                      <a:lnTo>
                        <a:pt x="121" y="134"/>
                      </a:lnTo>
                      <a:lnTo>
                        <a:pt x="124" y="123"/>
                      </a:lnTo>
                      <a:lnTo>
                        <a:pt x="125" y="121"/>
                      </a:lnTo>
                      <a:lnTo>
                        <a:pt x="125" y="123"/>
                      </a:lnTo>
                      <a:lnTo>
                        <a:pt x="126" y="121"/>
                      </a:lnTo>
                      <a:lnTo>
                        <a:pt x="127" y="120"/>
                      </a:lnTo>
                      <a:lnTo>
                        <a:pt x="127" y="119"/>
                      </a:lnTo>
                      <a:lnTo>
                        <a:pt x="129" y="119"/>
                      </a:lnTo>
                      <a:lnTo>
                        <a:pt x="130" y="119"/>
                      </a:lnTo>
                      <a:lnTo>
                        <a:pt x="131" y="117"/>
                      </a:lnTo>
                      <a:lnTo>
                        <a:pt x="132" y="116"/>
                      </a:lnTo>
                      <a:lnTo>
                        <a:pt x="133" y="116"/>
                      </a:lnTo>
                      <a:lnTo>
                        <a:pt x="134" y="114"/>
                      </a:lnTo>
                      <a:lnTo>
                        <a:pt x="136" y="113"/>
                      </a:lnTo>
                      <a:lnTo>
                        <a:pt x="137" y="111"/>
                      </a:lnTo>
                      <a:lnTo>
                        <a:pt x="139" y="110"/>
                      </a:lnTo>
                      <a:lnTo>
                        <a:pt x="141" y="109"/>
                      </a:lnTo>
                      <a:lnTo>
                        <a:pt x="141" y="106"/>
                      </a:lnTo>
                      <a:lnTo>
                        <a:pt x="144" y="106"/>
                      </a:lnTo>
                      <a:lnTo>
                        <a:pt x="144" y="104"/>
                      </a:lnTo>
                      <a:lnTo>
                        <a:pt x="144" y="104"/>
                      </a:lnTo>
                      <a:lnTo>
                        <a:pt x="145" y="103"/>
                      </a:lnTo>
                      <a:lnTo>
                        <a:pt x="145" y="101"/>
                      </a:lnTo>
                      <a:lnTo>
                        <a:pt x="146" y="101"/>
                      </a:lnTo>
                      <a:lnTo>
                        <a:pt x="150" y="99"/>
                      </a:lnTo>
                      <a:lnTo>
                        <a:pt x="156" y="98"/>
                      </a:lnTo>
                      <a:lnTo>
                        <a:pt x="159" y="97"/>
                      </a:lnTo>
                      <a:lnTo>
                        <a:pt x="160" y="93"/>
                      </a:lnTo>
                      <a:lnTo>
                        <a:pt x="164" y="92"/>
                      </a:lnTo>
                      <a:lnTo>
                        <a:pt x="167" y="91"/>
                      </a:lnTo>
                      <a:lnTo>
                        <a:pt x="167" y="91"/>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565" name="Australia">
                  <a:extLst>
                    <a:ext uri="{FF2B5EF4-FFF2-40B4-BE49-F238E27FC236}">
                      <a16:creationId xmlns:a16="http://schemas.microsoft.com/office/drawing/2014/main" id="{5C838599-166D-544E-AACD-80D583C0F90F}"/>
                    </a:ext>
                  </a:extLst>
                </p:cNvPr>
                <p:cNvSpPr>
                  <a:spLocks noEditPoints="1"/>
                </p:cNvSpPr>
                <p:nvPr/>
              </p:nvSpPr>
              <p:spPr bwMode="auto">
                <a:xfrm>
                  <a:off x="9243238" y="4295617"/>
                  <a:ext cx="1049724" cy="1010359"/>
                </a:xfrm>
                <a:custGeom>
                  <a:avLst/>
                  <a:gdLst>
                    <a:gd name="T0" fmla="*/ 395 w 720"/>
                    <a:gd name="T1" fmla="*/ 524 h 693"/>
                    <a:gd name="T2" fmla="*/ 388 w 720"/>
                    <a:gd name="T3" fmla="*/ 516 h 693"/>
                    <a:gd name="T4" fmla="*/ 361 w 720"/>
                    <a:gd name="T5" fmla="*/ 517 h 693"/>
                    <a:gd name="T6" fmla="*/ 400 w 720"/>
                    <a:gd name="T7" fmla="*/ 464 h 693"/>
                    <a:gd name="T8" fmla="*/ 348 w 720"/>
                    <a:gd name="T9" fmla="*/ 511 h 693"/>
                    <a:gd name="T10" fmla="*/ 337 w 720"/>
                    <a:gd name="T11" fmla="*/ 474 h 693"/>
                    <a:gd name="T12" fmla="*/ 317 w 720"/>
                    <a:gd name="T13" fmla="*/ 448 h 693"/>
                    <a:gd name="T14" fmla="*/ 190 w 720"/>
                    <a:gd name="T15" fmla="*/ 461 h 693"/>
                    <a:gd name="T16" fmla="*/ 123 w 720"/>
                    <a:gd name="T17" fmla="*/ 488 h 693"/>
                    <a:gd name="T18" fmla="*/ 44 w 720"/>
                    <a:gd name="T19" fmla="*/ 513 h 693"/>
                    <a:gd name="T20" fmla="*/ 10 w 720"/>
                    <a:gd name="T21" fmla="*/ 484 h 693"/>
                    <a:gd name="T22" fmla="*/ 33 w 720"/>
                    <a:gd name="T23" fmla="*/ 393 h 693"/>
                    <a:gd name="T24" fmla="*/ 27 w 720"/>
                    <a:gd name="T25" fmla="*/ 331 h 693"/>
                    <a:gd name="T26" fmla="*/ 33 w 720"/>
                    <a:gd name="T27" fmla="*/ 286 h 693"/>
                    <a:gd name="T28" fmla="*/ 80 w 720"/>
                    <a:gd name="T29" fmla="*/ 233 h 693"/>
                    <a:gd name="T30" fmla="*/ 158 w 720"/>
                    <a:gd name="T31" fmla="*/ 205 h 693"/>
                    <a:gd name="T32" fmla="*/ 224 w 720"/>
                    <a:gd name="T33" fmla="*/ 137 h 693"/>
                    <a:gd name="T34" fmla="*/ 238 w 720"/>
                    <a:gd name="T35" fmla="*/ 132 h 693"/>
                    <a:gd name="T36" fmla="*/ 260 w 720"/>
                    <a:gd name="T37" fmla="*/ 118 h 693"/>
                    <a:gd name="T38" fmla="*/ 274 w 720"/>
                    <a:gd name="T39" fmla="*/ 104 h 693"/>
                    <a:gd name="T40" fmla="*/ 293 w 720"/>
                    <a:gd name="T41" fmla="*/ 83 h 693"/>
                    <a:gd name="T42" fmla="*/ 324 w 720"/>
                    <a:gd name="T43" fmla="*/ 107 h 693"/>
                    <a:gd name="T44" fmla="*/ 351 w 720"/>
                    <a:gd name="T45" fmla="*/ 102 h 693"/>
                    <a:gd name="T46" fmla="*/ 368 w 720"/>
                    <a:gd name="T47" fmla="*/ 60 h 693"/>
                    <a:gd name="T48" fmla="*/ 408 w 720"/>
                    <a:gd name="T49" fmla="*/ 45 h 693"/>
                    <a:gd name="T50" fmla="*/ 407 w 720"/>
                    <a:gd name="T51" fmla="*/ 23 h 693"/>
                    <a:gd name="T52" fmla="*/ 463 w 720"/>
                    <a:gd name="T53" fmla="*/ 43 h 693"/>
                    <a:gd name="T54" fmla="*/ 474 w 720"/>
                    <a:gd name="T55" fmla="*/ 50 h 693"/>
                    <a:gd name="T56" fmla="*/ 467 w 720"/>
                    <a:gd name="T57" fmla="*/ 67 h 693"/>
                    <a:gd name="T58" fmla="*/ 494 w 720"/>
                    <a:gd name="T59" fmla="*/ 133 h 693"/>
                    <a:gd name="T60" fmla="*/ 557 w 720"/>
                    <a:gd name="T61" fmla="*/ 124 h 693"/>
                    <a:gd name="T62" fmla="*/ 575 w 720"/>
                    <a:gd name="T63" fmla="*/ 56 h 693"/>
                    <a:gd name="T64" fmla="*/ 585 w 720"/>
                    <a:gd name="T65" fmla="*/ 17 h 693"/>
                    <a:gd name="T66" fmla="*/ 602 w 720"/>
                    <a:gd name="T67" fmla="*/ 52 h 693"/>
                    <a:gd name="T68" fmla="*/ 620 w 720"/>
                    <a:gd name="T69" fmla="*/ 89 h 693"/>
                    <a:gd name="T70" fmla="*/ 632 w 720"/>
                    <a:gd name="T71" fmla="*/ 163 h 693"/>
                    <a:gd name="T72" fmla="*/ 658 w 720"/>
                    <a:gd name="T73" fmla="*/ 205 h 693"/>
                    <a:gd name="T74" fmla="*/ 680 w 720"/>
                    <a:gd name="T75" fmla="*/ 258 h 693"/>
                    <a:gd name="T76" fmla="*/ 707 w 720"/>
                    <a:gd name="T77" fmla="*/ 367 h 693"/>
                    <a:gd name="T78" fmla="*/ 621 w 720"/>
                    <a:gd name="T79" fmla="*/ 483 h 693"/>
                    <a:gd name="T80" fmla="*/ 486 w 720"/>
                    <a:gd name="T81" fmla="*/ 588 h 693"/>
                    <a:gd name="T82" fmla="*/ 361 w 720"/>
                    <a:gd name="T83" fmla="*/ 528 h 693"/>
                    <a:gd name="T84" fmla="*/ 377 w 720"/>
                    <a:gd name="T85" fmla="*/ 501 h 693"/>
                    <a:gd name="T86" fmla="*/ 18 w 720"/>
                    <a:gd name="T87" fmla="*/ 319 h 693"/>
                    <a:gd name="T88" fmla="*/ 698 w 720"/>
                    <a:gd name="T89" fmla="*/ 281 h 693"/>
                    <a:gd name="T90" fmla="*/ 690 w 720"/>
                    <a:gd name="T91" fmla="*/ 240 h 693"/>
                    <a:gd name="T92" fmla="*/ 640 w 720"/>
                    <a:gd name="T93" fmla="*/ 187 h 693"/>
                    <a:gd name="T94" fmla="*/ 518 w 720"/>
                    <a:gd name="T95" fmla="*/ 137 h 693"/>
                    <a:gd name="T96" fmla="*/ 259 w 720"/>
                    <a:gd name="T97" fmla="*/ 107 h 693"/>
                    <a:gd name="T98" fmla="*/ 351 w 720"/>
                    <a:gd name="T99" fmla="*/ 100 h 693"/>
                    <a:gd name="T100" fmla="*/ 481 w 720"/>
                    <a:gd name="T101" fmla="*/ 85 h 693"/>
                    <a:gd name="T102" fmla="*/ 408 w 720"/>
                    <a:gd name="T103" fmla="*/ 43 h 693"/>
                    <a:gd name="T104" fmla="*/ 368 w 720"/>
                    <a:gd name="T105" fmla="*/ 35 h 693"/>
                    <a:gd name="T106" fmla="*/ 479 w 720"/>
                    <a:gd name="T107" fmla="*/ 32 h 693"/>
                    <a:gd name="T108" fmla="*/ 390 w 720"/>
                    <a:gd name="T109" fmla="*/ 36 h 693"/>
                    <a:gd name="T110" fmla="*/ 590 w 720"/>
                    <a:gd name="T111" fmla="*/ 11 h 693"/>
                    <a:gd name="T112" fmla="*/ 437 w 720"/>
                    <a:gd name="T113" fmla="*/ 611 h 693"/>
                    <a:gd name="T114" fmla="*/ 446 w 720"/>
                    <a:gd name="T115" fmla="*/ 626 h 693"/>
                    <a:gd name="T116" fmla="*/ 417 w 720"/>
                    <a:gd name="T117" fmla="*/ 679 h 693"/>
                    <a:gd name="T118" fmla="*/ 465 w 720"/>
                    <a:gd name="T119" fmla="*/ 639 h 693"/>
                    <a:gd name="T120" fmla="*/ 483 w 720"/>
                    <a:gd name="T121" fmla="*/ 653 h 693"/>
                    <a:gd name="T122" fmla="*/ 454 w 720"/>
                    <a:gd name="T123" fmla="*/ 680 h 693"/>
                    <a:gd name="T124" fmla="*/ 478 w 720"/>
                    <a:gd name="T125" fmla="*/ 666 h 6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20" h="693">
                      <a:moveTo>
                        <a:pt x="446" y="586"/>
                      </a:moveTo>
                      <a:lnTo>
                        <a:pt x="445" y="585"/>
                      </a:lnTo>
                      <a:lnTo>
                        <a:pt x="445" y="585"/>
                      </a:lnTo>
                      <a:lnTo>
                        <a:pt x="444" y="586"/>
                      </a:lnTo>
                      <a:lnTo>
                        <a:pt x="443" y="591"/>
                      </a:lnTo>
                      <a:lnTo>
                        <a:pt x="441" y="593"/>
                      </a:lnTo>
                      <a:lnTo>
                        <a:pt x="440" y="593"/>
                      </a:lnTo>
                      <a:lnTo>
                        <a:pt x="438" y="593"/>
                      </a:lnTo>
                      <a:lnTo>
                        <a:pt x="435" y="593"/>
                      </a:lnTo>
                      <a:lnTo>
                        <a:pt x="434" y="592"/>
                      </a:lnTo>
                      <a:lnTo>
                        <a:pt x="433" y="591"/>
                      </a:lnTo>
                      <a:lnTo>
                        <a:pt x="428" y="590"/>
                      </a:lnTo>
                      <a:lnTo>
                        <a:pt x="427" y="587"/>
                      </a:lnTo>
                      <a:lnTo>
                        <a:pt x="424" y="585"/>
                      </a:lnTo>
                      <a:lnTo>
                        <a:pt x="420" y="584"/>
                      </a:lnTo>
                      <a:lnTo>
                        <a:pt x="418" y="585"/>
                      </a:lnTo>
                      <a:lnTo>
                        <a:pt x="417" y="580"/>
                      </a:lnTo>
                      <a:lnTo>
                        <a:pt x="415" y="584"/>
                      </a:lnTo>
                      <a:lnTo>
                        <a:pt x="413" y="584"/>
                      </a:lnTo>
                      <a:lnTo>
                        <a:pt x="411" y="583"/>
                      </a:lnTo>
                      <a:lnTo>
                        <a:pt x="410" y="583"/>
                      </a:lnTo>
                      <a:lnTo>
                        <a:pt x="408" y="585"/>
                      </a:lnTo>
                      <a:lnTo>
                        <a:pt x="407" y="584"/>
                      </a:lnTo>
                      <a:lnTo>
                        <a:pt x="406" y="583"/>
                      </a:lnTo>
                      <a:lnTo>
                        <a:pt x="405" y="581"/>
                      </a:lnTo>
                      <a:lnTo>
                        <a:pt x="404" y="581"/>
                      </a:lnTo>
                      <a:lnTo>
                        <a:pt x="403" y="579"/>
                      </a:lnTo>
                      <a:lnTo>
                        <a:pt x="400" y="578"/>
                      </a:lnTo>
                      <a:lnTo>
                        <a:pt x="399" y="578"/>
                      </a:lnTo>
                      <a:lnTo>
                        <a:pt x="395" y="577"/>
                      </a:lnTo>
                      <a:lnTo>
                        <a:pt x="394" y="574"/>
                      </a:lnTo>
                      <a:lnTo>
                        <a:pt x="393" y="573"/>
                      </a:lnTo>
                      <a:lnTo>
                        <a:pt x="393" y="573"/>
                      </a:lnTo>
                      <a:lnTo>
                        <a:pt x="393" y="571"/>
                      </a:lnTo>
                      <a:lnTo>
                        <a:pt x="393" y="568"/>
                      </a:lnTo>
                      <a:lnTo>
                        <a:pt x="393" y="568"/>
                      </a:lnTo>
                      <a:lnTo>
                        <a:pt x="393" y="565"/>
                      </a:lnTo>
                      <a:lnTo>
                        <a:pt x="393" y="566"/>
                      </a:lnTo>
                      <a:lnTo>
                        <a:pt x="392" y="565"/>
                      </a:lnTo>
                      <a:lnTo>
                        <a:pt x="393" y="561"/>
                      </a:lnTo>
                      <a:lnTo>
                        <a:pt x="393" y="563"/>
                      </a:lnTo>
                      <a:lnTo>
                        <a:pt x="392" y="557"/>
                      </a:lnTo>
                      <a:lnTo>
                        <a:pt x="392" y="558"/>
                      </a:lnTo>
                      <a:lnTo>
                        <a:pt x="392" y="559"/>
                      </a:lnTo>
                      <a:lnTo>
                        <a:pt x="391" y="556"/>
                      </a:lnTo>
                      <a:lnTo>
                        <a:pt x="392" y="556"/>
                      </a:lnTo>
                      <a:lnTo>
                        <a:pt x="392" y="556"/>
                      </a:lnTo>
                      <a:lnTo>
                        <a:pt x="392" y="556"/>
                      </a:lnTo>
                      <a:lnTo>
                        <a:pt x="392" y="556"/>
                      </a:lnTo>
                      <a:lnTo>
                        <a:pt x="392" y="554"/>
                      </a:lnTo>
                      <a:lnTo>
                        <a:pt x="392" y="554"/>
                      </a:lnTo>
                      <a:lnTo>
                        <a:pt x="392" y="552"/>
                      </a:lnTo>
                      <a:lnTo>
                        <a:pt x="392" y="552"/>
                      </a:lnTo>
                      <a:lnTo>
                        <a:pt x="393" y="551"/>
                      </a:lnTo>
                      <a:lnTo>
                        <a:pt x="394" y="550"/>
                      </a:lnTo>
                      <a:lnTo>
                        <a:pt x="394" y="550"/>
                      </a:lnTo>
                      <a:lnTo>
                        <a:pt x="395" y="550"/>
                      </a:lnTo>
                      <a:lnTo>
                        <a:pt x="395" y="550"/>
                      </a:lnTo>
                      <a:lnTo>
                        <a:pt x="395" y="550"/>
                      </a:lnTo>
                      <a:lnTo>
                        <a:pt x="395" y="548"/>
                      </a:lnTo>
                      <a:lnTo>
                        <a:pt x="397" y="548"/>
                      </a:lnTo>
                      <a:lnTo>
                        <a:pt x="397" y="548"/>
                      </a:lnTo>
                      <a:lnTo>
                        <a:pt x="397" y="547"/>
                      </a:lnTo>
                      <a:lnTo>
                        <a:pt x="397" y="547"/>
                      </a:lnTo>
                      <a:lnTo>
                        <a:pt x="397" y="547"/>
                      </a:lnTo>
                      <a:lnTo>
                        <a:pt x="398" y="546"/>
                      </a:lnTo>
                      <a:lnTo>
                        <a:pt x="398" y="545"/>
                      </a:lnTo>
                      <a:lnTo>
                        <a:pt x="398" y="545"/>
                      </a:lnTo>
                      <a:lnTo>
                        <a:pt x="398" y="545"/>
                      </a:lnTo>
                      <a:lnTo>
                        <a:pt x="398" y="544"/>
                      </a:lnTo>
                      <a:lnTo>
                        <a:pt x="398" y="543"/>
                      </a:lnTo>
                      <a:lnTo>
                        <a:pt x="398" y="543"/>
                      </a:lnTo>
                      <a:lnTo>
                        <a:pt x="398" y="543"/>
                      </a:lnTo>
                      <a:lnTo>
                        <a:pt x="399" y="537"/>
                      </a:lnTo>
                      <a:lnTo>
                        <a:pt x="399" y="536"/>
                      </a:lnTo>
                      <a:lnTo>
                        <a:pt x="398" y="533"/>
                      </a:lnTo>
                      <a:lnTo>
                        <a:pt x="398" y="532"/>
                      </a:lnTo>
                      <a:lnTo>
                        <a:pt x="398" y="531"/>
                      </a:lnTo>
                      <a:lnTo>
                        <a:pt x="398" y="531"/>
                      </a:lnTo>
                      <a:lnTo>
                        <a:pt x="398" y="531"/>
                      </a:lnTo>
                      <a:lnTo>
                        <a:pt x="398" y="530"/>
                      </a:lnTo>
                      <a:lnTo>
                        <a:pt x="397" y="528"/>
                      </a:lnTo>
                      <a:lnTo>
                        <a:pt x="397" y="528"/>
                      </a:lnTo>
                      <a:lnTo>
                        <a:pt x="395" y="526"/>
                      </a:lnTo>
                      <a:lnTo>
                        <a:pt x="394" y="525"/>
                      </a:lnTo>
                      <a:lnTo>
                        <a:pt x="394" y="525"/>
                      </a:lnTo>
                      <a:lnTo>
                        <a:pt x="394" y="525"/>
                      </a:lnTo>
                      <a:lnTo>
                        <a:pt x="395" y="525"/>
                      </a:lnTo>
                      <a:lnTo>
                        <a:pt x="395" y="525"/>
                      </a:lnTo>
                      <a:lnTo>
                        <a:pt x="395" y="525"/>
                      </a:lnTo>
                      <a:lnTo>
                        <a:pt x="395" y="525"/>
                      </a:lnTo>
                      <a:lnTo>
                        <a:pt x="395" y="525"/>
                      </a:lnTo>
                      <a:lnTo>
                        <a:pt x="395" y="525"/>
                      </a:lnTo>
                      <a:lnTo>
                        <a:pt x="395" y="525"/>
                      </a:lnTo>
                      <a:lnTo>
                        <a:pt x="398" y="528"/>
                      </a:lnTo>
                      <a:lnTo>
                        <a:pt x="398" y="530"/>
                      </a:lnTo>
                      <a:lnTo>
                        <a:pt x="399" y="531"/>
                      </a:lnTo>
                      <a:lnTo>
                        <a:pt x="399" y="531"/>
                      </a:lnTo>
                      <a:lnTo>
                        <a:pt x="399" y="533"/>
                      </a:lnTo>
                      <a:lnTo>
                        <a:pt x="399" y="533"/>
                      </a:lnTo>
                      <a:lnTo>
                        <a:pt x="399" y="534"/>
                      </a:lnTo>
                      <a:lnTo>
                        <a:pt x="399" y="536"/>
                      </a:lnTo>
                      <a:lnTo>
                        <a:pt x="399" y="536"/>
                      </a:lnTo>
                      <a:lnTo>
                        <a:pt x="399" y="537"/>
                      </a:lnTo>
                      <a:lnTo>
                        <a:pt x="399" y="537"/>
                      </a:lnTo>
                      <a:lnTo>
                        <a:pt x="399" y="536"/>
                      </a:lnTo>
                      <a:lnTo>
                        <a:pt x="399" y="536"/>
                      </a:lnTo>
                      <a:lnTo>
                        <a:pt x="399" y="536"/>
                      </a:lnTo>
                      <a:lnTo>
                        <a:pt x="399" y="534"/>
                      </a:lnTo>
                      <a:lnTo>
                        <a:pt x="400" y="532"/>
                      </a:lnTo>
                      <a:lnTo>
                        <a:pt x="400" y="532"/>
                      </a:lnTo>
                      <a:lnTo>
                        <a:pt x="400" y="532"/>
                      </a:lnTo>
                      <a:lnTo>
                        <a:pt x="400" y="531"/>
                      </a:lnTo>
                      <a:lnTo>
                        <a:pt x="399" y="531"/>
                      </a:lnTo>
                      <a:lnTo>
                        <a:pt x="399" y="530"/>
                      </a:lnTo>
                      <a:lnTo>
                        <a:pt x="399" y="530"/>
                      </a:lnTo>
                      <a:lnTo>
                        <a:pt x="398" y="527"/>
                      </a:lnTo>
                      <a:lnTo>
                        <a:pt x="397" y="525"/>
                      </a:lnTo>
                      <a:lnTo>
                        <a:pt x="397" y="525"/>
                      </a:lnTo>
                      <a:lnTo>
                        <a:pt x="395" y="524"/>
                      </a:lnTo>
                      <a:lnTo>
                        <a:pt x="395" y="524"/>
                      </a:lnTo>
                      <a:lnTo>
                        <a:pt x="395" y="524"/>
                      </a:lnTo>
                      <a:lnTo>
                        <a:pt x="395" y="524"/>
                      </a:lnTo>
                      <a:lnTo>
                        <a:pt x="395" y="524"/>
                      </a:lnTo>
                      <a:lnTo>
                        <a:pt x="395" y="524"/>
                      </a:lnTo>
                      <a:lnTo>
                        <a:pt x="395" y="524"/>
                      </a:lnTo>
                      <a:lnTo>
                        <a:pt x="395" y="524"/>
                      </a:lnTo>
                      <a:lnTo>
                        <a:pt x="397" y="521"/>
                      </a:lnTo>
                      <a:lnTo>
                        <a:pt x="397" y="521"/>
                      </a:lnTo>
                      <a:lnTo>
                        <a:pt x="397" y="521"/>
                      </a:lnTo>
                      <a:lnTo>
                        <a:pt x="397" y="521"/>
                      </a:lnTo>
                      <a:lnTo>
                        <a:pt x="398" y="521"/>
                      </a:lnTo>
                      <a:lnTo>
                        <a:pt x="398" y="521"/>
                      </a:lnTo>
                      <a:lnTo>
                        <a:pt x="398" y="521"/>
                      </a:lnTo>
                      <a:lnTo>
                        <a:pt x="398" y="521"/>
                      </a:lnTo>
                      <a:lnTo>
                        <a:pt x="398" y="523"/>
                      </a:lnTo>
                      <a:lnTo>
                        <a:pt x="399" y="523"/>
                      </a:lnTo>
                      <a:lnTo>
                        <a:pt x="399" y="523"/>
                      </a:lnTo>
                      <a:lnTo>
                        <a:pt x="399" y="523"/>
                      </a:lnTo>
                      <a:lnTo>
                        <a:pt x="399" y="523"/>
                      </a:lnTo>
                      <a:lnTo>
                        <a:pt x="398" y="523"/>
                      </a:lnTo>
                      <a:lnTo>
                        <a:pt x="398" y="524"/>
                      </a:lnTo>
                      <a:lnTo>
                        <a:pt x="398" y="524"/>
                      </a:lnTo>
                      <a:lnTo>
                        <a:pt x="397" y="525"/>
                      </a:lnTo>
                      <a:lnTo>
                        <a:pt x="397" y="525"/>
                      </a:lnTo>
                      <a:lnTo>
                        <a:pt x="397" y="525"/>
                      </a:lnTo>
                      <a:lnTo>
                        <a:pt x="397" y="525"/>
                      </a:lnTo>
                      <a:lnTo>
                        <a:pt x="397" y="525"/>
                      </a:lnTo>
                      <a:lnTo>
                        <a:pt x="397" y="525"/>
                      </a:lnTo>
                      <a:lnTo>
                        <a:pt x="398" y="525"/>
                      </a:lnTo>
                      <a:lnTo>
                        <a:pt x="399" y="525"/>
                      </a:lnTo>
                      <a:lnTo>
                        <a:pt x="399" y="525"/>
                      </a:lnTo>
                      <a:lnTo>
                        <a:pt x="399" y="525"/>
                      </a:lnTo>
                      <a:lnTo>
                        <a:pt x="399" y="525"/>
                      </a:lnTo>
                      <a:lnTo>
                        <a:pt x="399" y="525"/>
                      </a:lnTo>
                      <a:lnTo>
                        <a:pt x="400" y="524"/>
                      </a:lnTo>
                      <a:lnTo>
                        <a:pt x="401" y="521"/>
                      </a:lnTo>
                      <a:lnTo>
                        <a:pt x="401" y="520"/>
                      </a:lnTo>
                      <a:lnTo>
                        <a:pt x="401" y="520"/>
                      </a:lnTo>
                      <a:lnTo>
                        <a:pt x="403" y="519"/>
                      </a:lnTo>
                      <a:lnTo>
                        <a:pt x="403" y="519"/>
                      </a:lnTo>
                      <a:lnTo>
                        <a:pt x="401" y="518"/>
                      </a:lnTo>
                      <a:lnTo>
                        <a:pt x="401" y="518"/>
                      </a:lnTo>
                      <a:lnTo>
                        <a:pt x="400" y="518"/>
                      </a:lnTo>
                      <a:lnTo>
                        <a:pt x="400" y="518"/>
                      </a:lnTo>
                      <a:lnTo>
                        <a:pt x="400" y="518"/>
                      </a:lnTo>
                      <a:lnTo>
                        <a:pt x="400" y="518"/>
                      </a:lnTo>
                      <a:lnTo>
                        <a:pt x="400" y="518"/>
                      </a:lnTo>
                      <a:lnTo>
                        <a:pt x="400" y="518"/>
                      </a:lnTo>
                      <a:lnTo>
                        <a:pt x="399" y="519"/>
                      </a:lnTo>
                      <a:lnTo>
                        <a:pt x="398" y="519"/>
                      </a:lnTo>
                      <a:lnTo>
                        <a:pt x="398" y="519"/>
                      </a:lnTo>
                      <a:lnTo>
                        <a:pt x="398" y="519"/>
                      </a:lnTo>
                      <a:lnTo>
                        <a:pt x="397" y="519"/>
                      </a:lnTo>
                      <a:lnTo>
                        <a:pt x="397" y="519"/>
                      </a:lnTo>
                      <a:lnTo>
                        <a:pt x="397" y="519"/>
                      </a:lnTo>
                      <a:lnTo>
                        <a:pt x="397" y="519"/>
                      </a:lnTo>
                      <a:lnTo>
                        <a:pt x="395" y="519"/>
                      </a:lnTo>
                      <a:lnTo>
                        <a:pt x="395" y="519"/>
                      </a:lnTo>
                      <a:lnTo>
                        <a:pt x="395" y="519"/>
                      </a:lnTo>
                      <a:lnTo>
                        <a:pt x="395" y="519"/>
                      </a:lnTo>
                      <a:lnTo>
                        <a:pt x="395" y="520"/>
                      </a:lnTo>
                      <a:lnTo>
                        <a:pt x="395" y="520"/>
                      </a:lnTo>
                      <a:lnTo>
                        <a:pt x="394" y="520"/>
                      </a:lnTo>
                      <a:lnTo>
                        <a:pt x="394" y="520"/>
                      </a:lnTo>
                      <a:lnTo>
                        <a:pt x="394" y="520"/>
                      </a:lnTo>
                      <a:lnTo>
                        <a:pt x="394" y="521"/>
                      </a:lnTo>
                      <a:lnTo>
                        <a:pt x="394" y="521"/>
                      </a:lnTo>
                      <a:lnTo>
                        <a:pt x="394" y="521"/>
                      </a:lnTo>
                      <a:lnTo>
                        <a:pt x="395" y="521"/>
                      </a:lnTo>
                      <a:lnTo>
                        <a:pt x="395" y="521"/>
                      </a:lnTo>
                      <a:lnTo>
                        <a:pt x="395" y="521"/>
                      </a:lnTo>
                      <a:lnTo>
                        <a:pt x="395" y="521"/>
                      </a:lnTo>
                      <a:lnTo>
                        <a:pt x="395" y="521"/>
                      </a:lnTo>
                      <a:lnTo>
                        <a:pt x="395" y="521"/>
                      </a:lnTo>
                      <a:lnTo>
                        <a:pt x="395" y="521"/>
                      </a:lnTo>
                      <a:lnTo>
                        <a:pt x="395" y="521"/>
                      </a:lnTo>
                      <a:lnTo>
                        <a:pt x="394" y="523"/>
                      </a:lnTo>
                      <a:lnTo>
                        <a:pt x="394" y="523"/>
                      </a:lnTo>
                      <a:lnTo>
                        <a:pt x="394" y="523"/>
                      </a:lnTo>
                      <a:lnTo>
                        <a:pt x="394" y="523"/>
                      </a:lnTo>
                      <a:lnTo>
                        <a:pt x="393" y="523"/>
                      </a:lnTo>
                      <a:lnTo>
                        <a:pt x="392" y="523"/>
                      </a:lnTo>
                      <a:lnTo>
                        <a:pt x="392" y="523"/>
                      </a:lnTo>
                      <a:lnTo>
                        <a:pt x="392" y="523"/>
                      </a:lnTo>
                      <a:lnTo>
                        <a:pt x="391" y="523"/>
                      </a:lnTo>
                      <a:lnTo>
                        <a:pt x="391" y="523"/>
                      </a:lnTo>
                      <a:lnTo>
                        <a:pt x="390" y="523"/>
                      </a:lnTo>
                      <a:lnTo>
                        <a:pt x="388" y="523"/>
                      </a:lnTo>
                      <a:lnTo>
                        <a:pt x="388" y="523"/>
                      </a:lnTo>
                      <a:lnTo>
                        <a:pt x="388" y="523"/>
                      </a:lnTo>
                      <a:lnTo>
                        <a:pt x="387" y="523"/>
                      </a:lnTo>
                      <a:lnTo>
                        <a:pt x="387" y="524"/>
                      </a:lnTo>
                      <a:lnTo>
                        <a:pt x="387" y="524"/>
                      </a:lnTo>
                      <a:lnTo>
                        <a:pt x="387" y="524"/>
                      </a:lnTo>
                      <a:lnTo>
                        <a:pt x="387" y="524"/>
                      </a:lnTo>
                      <a:lnTo>
                        <a:pt x="386" y="524"/>
                      </a:lnTo>
                      <a:lnTo>
                        <a:pt x="386" y="525"/>
                      </a:lnTo>
                      <a:lnTo>
                        <a:pt x="386" y="525"/>
                      </a:lnTo>
                      <a:lnTo>
                        <a:pt x="380" y="525"/>
                      </a:lnTo>
                      <a:lnTo>
                        <a:pt x="380" y="525"/>
                      </a:lnTo>
                      <a:lnTo>
                        <a:pt x="379" y="525"/>
                      </a:lnTo>
                      <a:lnTo>
                        <a:pt x="379" y="525"/>
                      </a:lnTo>
                      <a:lnTo>
                        <a:pt x="379" y="525"/>
                      </a:lnTo>
                      <a:lnTo>
                        <a:pt x="379" y="525"/>
                      </a:lnTo>
                      <a:lnTo>
                        <a:pt x="379" y="524"/>
                      </a:lnTo>
                      <a:lnTo>
                        <a:pt x="379" y="524"/>
                      </a:lnTo>
                      <a:lnTo>
                        <a:pt x="379" y="524"/>
                      </a:lnTo>
                      <a:lnTo>
                        <a:pt x="380" y="523"/>
                      </a:lnTo>
                      <a:lnTo>
                        <a:pt x="380" y="523"/>
                      </a:lnTo>
                      <a:lnTo>
                        <a:pt x="380" y="523"/>
                      </a:lnTo>
                      <a:lnTo>
                        <a:pt x="380" y="521"/>
                      </a:lnTo>
                      <a:lnTo>
                        <a:pt x="381" y="521"/>
                      </a:lnTo>
                      <a:lnTo>
                        <a:pt x="381" y="521"/>
                      </a:lnTo>
                      <a:lnTo>
                        <a:pt x="383" y="521"/>
                      </a:lnTo>
                      <a:lnTo>
                        <a:pt x="384" y="521"/>
                      </a:lnTo>
                      <a:lnTo>
                        <a:pt x="384" y="521"/>
                      </a:lnTo>
                      <a:lnTo>
                        <a:pt x="387" y="519"/>
                      </a:lnTo>
                      <a:lnTo>
                        <a:pt x="387" y="518"/>
                      </a:lnTo>
                      <a:lnTo>
                        <a:pt x="387" y="518"/>
                      </a:lnTo>
                      <a:lnTo>
                        <a:pt x="387" y="518"/>
                      </a:lnTo>
                      <a:lnTo>
                        <a:pt x="388" y="516"/>
                      </a:lnTo>
                      <a:lnTo>
                        <a:pt x="388" y="516"/>
                      </a:lnTo>
                      <a:lnTo>
                        <a:pt x="388" y="516"/>
                      </a:lnTo>
                      <a:lnTo>
                        <a:pt x="388" y="516"/>
                      </a:lnTo>
                      <a:lnTo>
                        <a:pt x="388" y="516"/>
                      </a:lnTo>
                      <a:lnTo>
                        <a:pt x="388" y="516"/>
                      </a:lnTo>
                      <a:lnTo>
                        <a:pt x="388" y="514"/>
                      </a:lnTo>
                      <a:lnTo>
                        <a:pt x="390" y="514"/>
                      </a:lnTo>
                      <a:lnTo>
                        <a:pt x="390" y="513"/>
                      </a:lnTo>
                      <a:lnTo>
                        <a:pt x="390" y="513"/>
                      </a:lnTo>
                      <a:lnTo>
                        <a:pt x="391" y="513"/>
                      </a:lnTo>
                      <a:lnTo>
                        <a:pt x="391" y="513"/>
                      </a:lnTo>
                      <a:lnTo>
                        <a:pt x="391" y="512"/>
                      </a:lnTo>
                      <a:lnTo>
                        <a:pt x="391" y="512"/>
                      </a:lnTo>
                      <a:lnTo>
                        <a:pt x="392" y="512"/>
                      </a:lnTo>
                      <a:lnTo>
                        <a:pt x="392" y="512"/>
                      </a:lnTo>
                      <a:lnTo>
                        <a:pt x="392" y="512"/>
                      </a:lnTo>
                      <a:lnTo>
                        <a:pt x="392" y="511"/>
                      </a:lnTo>
                      <a:lnTo>
                        <a:pt x="392" y="510"/>
                      </a:lnTo>
                      <a:lnTo>
                        <a:pt x="392" y="508"/>
                      </a:lnTo>
                      <a:lnTo>
                        <a:pt x="392" y="508"/>
                      </a:lnTo>
                      <a:lnTo>
                        <a:pt x="393" y="508"/>
                      </a:lnTo>
                      <a:lnTo>
                        <a:pt x="393" y="507"/>
                      </a:lnTo>
                      <a:lnTo>
                        <a:pt x="393" y="507"/>
                      </a:lnTo>
                      <a:lnTo>
                        <a:pt x="394" y="506"/>
                      </a:lnTo>
                      <a:lnTo>
                        <a:pt x="394" y="506"/>
                      </a:lnTo>
                      <a:lnTo>
                        <a:pt x="394" y="506"/>
                      </a:lnTo>
                      <a:lnTo>
                        <a:pt x="394" y="506"/>
                      </a:lnTo>
                      <a:lnTo>
                        <a:pt x="394" y="504"/>
                      </a:lnTo>
                      <a:lnTo>
                        <a:pt x="394" y="504"/>
                      </a:lnTo>
                      <a:lnTo>
                        <a:pt x="393" y="504"/>
                      </a:lnTo>
                      <a:lnTo>
                        <a:pt x="393" y="501"/>
                      </a:lnTo>
                      <a:lnTo>
                        <a:pt x="393" y="500"/>
                      </a:lnTo>
                      <a:lnTo>
                        <a:pt x="393" y="500"/>
                      </a:lnTo>
                      <a:lnTo>
                        <a:pt x="393" y="500"/>
                      </a:lnTo>
                      <a:lnTo>
                        <a:pt x="393" y="500"/>
                      </a:lnTo>
                      <a:lnTo>
                        <a:pt x="393" y="499"/>
                      </a:lnTo>
                      <a:lnTo>
                        <a:pt x="393" y="498"/>
                      </a:lnTo>
                      <a:lnTo>
                        <a:pt x="393" y="498"/>
                      </a:lnTo>
                      <a:lnTo>
                        <a:pt x="393" y="497"/>
                      </a:lnTo>
                      <a:lnTo>
                        <a:pt x="393" y="497"/>
                      </a:lnTo>
                      <a:lnTo>
                        <a:pt x="393" y="496"/>
                      </a:lnTo>
                      <a:lnTo>
                        <a:pt x="393" y="493"/>
                      </a:lnTo>
                      <a:lnTo>
                        <a:pt x="393" y="493"/>
                      </a:lnTo>
                      <a:lnTo>
                        <a:pt x="393" y="493"/>
                      </a:lnTo>
                      <a:lnTo>
                        <a:pt x="393" y="493"/>
                      </a:lnTo>
                      <a:lnTo>
                        <a:pt x="393" y="493"/>
                      </a:lnTo>
                      <a:lnTo>
                        <a:pt x="392" y="493"/>
                      </a:lnTo>
                      <a:lnTo>
                        <a:pt x="392" y="494"/>
                      </a:lnTo>
                      <a:lnTo>
                        <a:pt x="391" y="496"/>
                      </a:lnTo>
                      <a:lnTo>
                        <a:pt x="391" y="496"/>
                      </a:lnTo>
                      <a:lnTo>
                        <a:pt x="391" y="496"/>
                      </a:lnTo>
                      <a:lnTo>
                        <a:pt x="391" y="497"/>
                      </a:lnTo>
                      <a:lnTo>
                        <a:pt x="391" y="497"/>
                      </a:lnTo>
                      <a:lnTo>
                        <a:pt x="391" y="497"/>
                      </a:lnTo>
                      <a:lnTo>
                        <a:pt x="391" y="497"/>
                      </a:lnTo>
                      <a:lnTo>
                        <a:pt x="391" y="497"/>
                      </a:lnTo>
                      <a:lnTo>
                        <a:pt x="391" y="497"/>
                      </a:lnTo>
                      <a:lnTo>
                        <a:pt x="391" y="497"/>
                      </a:lnTo>
                      <a:lnTo>
                        <a:pt x="391" y="497"/>
                      </a:lnTo>
                      <a:lnTo>
                        <a:pt x="390" y="497"/>
                      </a:lnTo>
                      <a:lnTo>
                        <a:pt x="390" y="498"/>
                      </a:lnTo>
                      <a:lnTo>
                        <a:pt x="390" y="498"/>
                      </a:lnTo>
                      <a:lnTo>
                        <a:pt x="388" y="498"/>
                      </a:lnTo>
                      <a:lnTo>
                        <a:pt x="388" y="499"/>
                      </a:lnTo>
                      <a:lnTo>
                        <a:pt x="387" y="499"/>
                      </a:lnTo>
                      <a:lnTo>
                        <a:pt x="387" y="499"/>
                      </a:lnTo>
                      <a:lnTo>
                        <a:pt x="387" y="499"/>
                      </a:lnTo>
                      <a:lnTo>
                        <a:pt x="387" y="499"/>
                      </a:lnTo>
                      <a:lnTo>
                        <a:pt x="386" y="501"/>
                      </a:lnTo>
                      <a:lnTo>
                        <a:pt x="386" y="501"/>
                      </a:lnTo>
                      <a:lnTo>
                        <a:pt x="385" y="503"/>
                      </a:lnTo>
                      <a:lnTo>
                        <a:pt x="385" y="503"/>
                      </a:lnTo>
                      <a:lnTo>
                        <a:pt x="385" y="503"/>
                      </a:lnTo>
                      <a:lnTo>
                        <a:pt x="385" y="504"/>
                      </a:lnTo>
                      <a:lnTo>
                        <a:pt x="384" y="505"/>
                      </a:lnTo>
                      <a:lnTo>
                        <a:pt x="383" y="507"/>
                      </a:lnTo>
                      <a:lnTo>
                        <a:pt x="381" y="508"/>
                      </a:lnTo>
                      <a:lnTo>
                        <a:pt x="381" y="508"/>
                      </a:lnTo>
                      <a:lnTo>
                        <a:pt x="381" y="508"/>
                      </a:lnTo>
                      <a:lnTo>
                        <a:pt x="378" y="512"/>
                      </a:lnTo>
                      <a:lnTo>
                        <a:pt x="378" y="513"/>
                      </a:lnTo>
                      <a:lnTo>
                        <a:pt x="378" y="513"/>
                      </a:lnTo>
                      <a:lnTo>
                        <a:pt x="378" y="513"/>
                      </a:lnTo>
                      <a:lnTo>
                        <a:pt x="378" y="513"/>
                      </a:lnTo>
                      <a:lnTo>
                        <a:pt x="378" y="514"/>
                      </a:lnTo>
                      <a:lnTo>
                        <a:pt x="375" y="516"/>
                      </a:lnTo>
                      <a:lnTo>
                        <a:pt x="375" y="516"/>
                      </a:lnTo>
                      <a:lnTo>
                        <a:pt x="375" y="516"/>
                      </a:lnTo>
                      <a:lnTo>
                        <a:pt x="375" y="516"/>
                      </a:lnTo>
                      <a:lnTo>
                        <a:pt x="375" y="516"/>
                      </a:lnTo>
                      <a:lnTo>
                        <a:pt x="375" y="514"/>
                      </a:lnTo>
                      <a:lnTo>
                        <a:pt x="375" y="514"/>
                      </a:lnTo>
                      <a:lnTo>
                        <a:pt x="374" y="514"/>
                      </a:lnTo>
                      <a:lnTo>
                        <a:pt x="374" y="514"/>
                      </a:lnTo>
                      <a:lnTo>
                        <a:pt x="374" y="514"/>
                      </a:lnTo>
                      <a:lnTo>
                        <a:pt x="374" y="513"/>
                      </a:lnTo>
                      <a:lnTo>
                        <a:pt x="373" y="513"/>
                      </a:lnTo>
                      <a:lnTo>
                        <a:pt x="373" y="513"/>
                      </a:lnTo>
                      <a:lnTo>
                        <a:pt x="372" y="513"/>
                      </a:lnTo>
                      <a:lnTo>
                        <a:pt x="368" y="514"/>
                      </a:lnTo>
                      <a:lnTo>
                        <a:pt x="368" y="516"/>
                      </a:lnTo>
                      <a:lnTo>
                        <a:pt x="368" y="516"/>
                      </a:lnTo>
                      <a:lnTo>
                        <a:pt x="367" y="516"/>
                      </a:lnTo>
                      <a:lnTo>
                        <a:pt x="367" y="516"/>
                      </a:lnTo>
                      <a:lnTo>
                        <a:pt x="367" y="516"/>
                      </a:lnTo>
                      <a:lnTo>
                        <a:pt x="367" y="516"/>
                      </a:lnTo>
                      <a:lnTo>
                        <a:pt x="367" y="517"/>
                      </a:lnTo>
                      <a:lnTo>
                        <a:pt x="367" y="517"/>
                      </a:lnTo>
                      <a:lnTo>
                        <a:pt x="366" y="517"/>
                      </a:lnTo>
                      <a:lnTo>
                        <a:pt x="366" y="517"/>
                      </a:lnTo>
                      <a:lnTo>
                        <a:pt x="366" y="517"/>
                      </a:lnTo>
                      <a:lnTo>
                        <a:pt x="366" y="517"/>
                      </a:lnTo>
                      <a:lnTo>
                        <a:pt x="365" y="516"/>
                      </a:lnTo>
                      <a:lnTo>
                        <a:pt x="365" y="516"/>
                      </a:lnTo>
                      <a:lnTo>
                        <a:pt x="365" y="516"/>
                      </a:lnTo>
                      <a:lnTo>
                        <a:pt x="365" y="516"/>
                      </a:lnTo>
                      <a:lnTo>
                        <a:pt x="364" y="516"/>
                      </a:lnTo>
                      <a:lnTo>
                        <a:pt x="364" y="517"/>
                      </a:lnTo>
                      <a:lnTo>
                        <a:pt x="363" y="517"/>
                      </a:lnTo>
                      <a:lnTo>
                        <a:pt x="363" y="517"/>
                      </a:lnTo>
                      <a:lnTo>
                        <a:pt x="363" y="517"/>
                      </a:lnTo>
                      <a:lnTo>
                        <a:pt x="363" y="517"/>
                      </a:lnTo>
                      <a:lnTo>
                        <a:pt x="361" y="518"/>
                      </a:lnTo>
                      <a:lnTo>
                        <a:pt x="361" y="518"/>
                      </a:lnTo>
                      <a:lnTo>
                        <a:pt x="361" y="517"/>
                      </a:lnTo>
                      <a:lnTo>
                        <a:pt x="361" y="517"/>
                      </a:lnTo>
                      <a:lnTo>
                        <a:pt x="361" y="517"/>
                      </a:lnTo>
                      <a:lnTo>
                        <a:pt x="361" y="516"/>
                      </a:lnTo>
                      <a:lnTo>
                        <a:pt x="363" y="516"/>
                      </a:lnTo>
                      <a:lnTo>
                        <a:pt x="363" y="516"/>
                      </a:lnTo>
                      <a:lnTo>
                        <a:pt x="363" y="516"/>
                      </a:lnTo>
                      <a:lnTo>
                        <a:pt x="363" y="516"/>
                      </a:lnTo>
                      <a:lnTo>
                        <a:pt x="363" y="516"/>
                      </a:lnTo>
                      <a:lnTo>
                        <a:pt x="364" y="514"/>
                      </a:lnTo>
                      <a:lnTo>
                        <a:pt x="365" y="513"/>
                      </a:lnTo>
                      <a:lnTo>
                        <a:pt x="365" y="513"/>
                      </a:lnTo>
                      <a:lnTo>
                        <a:pt x="365" y="513"/>
                      </a:lnTo>
                      <a:lnTo>
                        <a:pt x="365" y="513"/>
                      </a:lnTo>
                      <a:lnTo>
                        <a:pt x="365" y="512"/>
                      </a:lnTo>
                      <a:lnTo>
                        <a:pt x="365" y="512"/>
                      </a:lnTo>
                      <a:lnTo>
                        <a:pt x="365" y="512"/>
                      </a:lnTo>
                      <a:lnTo>
                        <a:pt x="366" y="511"/>
                      </a:lnTo>
                      <a:lnTo>
                        <a:pt x="366" y="511"/>
                      </a:lnTo>
                      <a:lnTo>
                        <a:pt x="367" y="510"/>
                      </a:lnTo>
                      <a:lnTo>
                        <a:pt x="367" y="510"/>
                      </a:lnTo>
                      <a:lnTo>
                        <a:pt x="367" y="510"/>
                      </a:lnTo>
                      <a:lnTo>
                        <a:pt x="367" y="510"/>
                      </a:lnTo>
                      <a:lnTo>
                        <a:pt x="367" y="510"/>
                      </a:lnTo>
                      <a:lnTo>
                        <a:pt x="368" y="510"/>
                      </a:lnTo>
                      <a:lnTo>
                        <a:pt x="368" y="510"/>
                      </a:lnTo>
                      <a:lnTo>
                        <a:pt x="368" y="510"/>
                      </a:lnTo>
                      <a:lnTo>
                        <a:pt x="370" y="510"/>
                      </a:lnTo>
                      <a:lnTo>
                        <a:pt x="370" y="510"/>
                      </a:lnTo>
                      <a:lnTo>
                        <a:pt x="371" y="510"/>
                      </a:lnTo>
                      <a:lnTo>
                        <a:pt x="371" y="510"/>
                      </a:lnTo>
                      <a:lnTo>
                        <a:pt x="372" y="510"/>
                      </a:lnTo>
                      <a:lnTo>
                        <a:pt x="372" y="510"/>
                      </a:lnTo>
                      <a:lnTo>
                        <a:pt x="372" y="510"/>
                      </a:lnTo>
                      <a:lnTo>
                        <a:pt x="372" y="510"/>
                      </a:lnTo>
                      <a:lnTo>
                        <a:pt x="372" y="510"/>
                      </a:lnTo>
                      <a:lnTo>
                        <a:pt x="372" y="510"/>
                      </a:lnTo>
                      <a:lnTo>
                        <a:pt x="372" y="510"/>
                      </a:lnTo>
                      <a:lnTo>
                        <a:pt x="373" y="511"/>
                      </a:lnTo>
                      <a:lnTo>
                        <a:pt x="373" y="511"/>
                      </a:lnTo>
                      <a:lnTo>
                        <a:pt x="373" y="511"/>
                      </a:lnTo>
                      <a:lnTo>
                        <a:pt x="374" y="510"/>
                      </a:lnTo>
                      <a:lnTo>
                        <a:pt x="374" y="510"/>
                      </a:lnTo>
                      <a:lnTo>
                        <a:pt x="374" y="510"/>
                      </a:lnTo>
                      <a:lnTo>
                        <a:pt x="374" y="510"/>
                      </a:lnTo>
                      <a:lnTo>
                        <a:pt x="374" y="510"/>
                      </a:lnTo>
                      <a:lnTo>
                        <a:pt x="378" y="504"/>
                      </a:lnTo>
                      <a:lnTo>
                        <a:pt x="379" y="500"/>
                      </a:lnTo>
                      <a:lnTo>
                        <a:pt x="381" y="497"/>
                      </a:lnTo>
                      <a:lnTo>
                        <a:pt x="381" y="496"/>
                      </a:lnTo>
                      <a:lnTo>
                        <a:pt x="381" y="494"/>
                      </a:lnTo>
                      <a:lnTo>
                        <a:pt x="381" y="494"/>
                      </a:lnTo>
                      <a:lnTo>
                        <a:pt x="381" y="494"/>
                      </a:lnTo>
                      <a:lnTo>
                        <a:pt x="381" y="494"/>
                      </a:lnTo>
                      <a:lnTo>
                        <a:pt x="381" y="494"/>
                      </a:lnTo>
                      <a:lnTo>
                        <a:pt x="381" y="494"/>
                      </a:lnTo>
                      <a:lnTo>
                        <a:pt x="381" y="494"/>
                      </a:lnTo>
                      <a:lnTo>
                        <a:pt x="383" y="493"/>
                      </a:lnTo>
                      <a:lnTo>
                        <a:pt x="383" y="493"/>
                      </a:lnTo>
                      <a:lnTo>
                        <a:pt x="383" y="494"/>
                      </a:lnTo>
                      <a:lnTo>
                        <a:pt x="383" y="494"/>
                      </a:lnTo>
                      <a:lnTo>
                        <a:pt x="383" y="494"/>
                      </a:lnTo>
                      <a:lnTo>
                        <a:pt x="383" y="493"/>
                      </a:lnTo>
                      <a:lnTo>
                        <a:pt x="384" y="493"/>
                      </a:lnTo>
                      <a:lnTo>
                        <a:pt x="384" y="492"/>
                      </a:lnTo>
                      <a:lnTo>
                        <a:pt x="385" y="492"/>
                      </a:lnTo>
                      <a:lnTo>
                        <a:pt x="386" y="490"/>
                      </a:lnTo>
                      <a:lnTo>
                        <a:pt x="387" y="488"/>
                      </a:lnTo>
                      <a:lnTo>
                        <a:pt x="387" y="488"/>
                      </a:lnTo>
                      <a:lnTo>
                        <a:pt x="387" y="487"/>
                      </a:lnTo>
                      <a:lnTo>
                        <a:pt x="392" y="485"/>
                      </a:lnTo>
                      <a:lnTo>
                        <a:pt x="392" y="485"/>
                      </a:lnTo>
                      <a:lnTo>
                        <a:pt x="394" y="483"/>
                      </a:lnTo>
                      <a:lnTo>
                        <a:pt x="394" y="483"/>
                      </a:lnTo>
                      <a:lnTo>
                        <a:pt x="394" y="483"/>
                      </a:lnTo>
                      <a:lnTo>
                        <a:pt x="394" y="483"/>
                      </a:lnTo>
                      <a:lnTo>
                        <a:pt x="395" y="483"/>
                      </a:lnTo>
                      <a:lnTo>
                        <a:pt x="395" y="481"/>
                      </a:lnTo>
                      <a:lnTo>
                        <a:pt x="395" y="481"/>
                      </a:lnTo>
                      <a:lnTo>
                        <a:pt x="395" y="481"/>
                      </a:lnTo>
                      <a:lnTo>
                        <a:pt x="395" y="480"/>
                      </a:lnTo>
                      <a:lnTo>
                        <a:pt x="397" y="479"/>
                      </a:lnTo>
                      <a:lnTo>
                        <a:pt x="395" y="477"/>
                      </a:lnTo>
                      <a:lnTo>
                        <a:pt x="395" y="477"/>
                      </a:lnTo>
                      <a:lnTo>
                        <a:pt x="395" y="476"/>
                      </a:lnTo>
                      <a:lnTo>
                        <a:pt x="395" y="476"/>
                      </a:lnTo>
                      <a:lnTo>
                        <a:pt x="397" y="476"/>
                      </a:lnTo>
                      <a:lnTo>
                        <a:pt x="397" y="474"/>
                      </a:lnTo>
                      <a:lnTo>
                        <a:pt x="397" y="474"/>
                      </a:lnTo>
                      <a:lnTo>
                        <a:pt x="397" y="474"/>
                      </a:lnTo>
                      <a:lnTo>
                        <a:pt x="397" y="474"/>
                      </a:lnTo>
                      <a:lnTo>
                        <a:pt x="398" y="473"/>
                      </a:lnTo>
                      <a:lnTo>
                        <a:pt x="399" y="473"/>
                      </a:lnTo>
                      <a:lnTo>
                        <a:pt x="400" y="473"/>
                      </a:lnTo>
                      <a:lnTo>
                        <a:pt x="400" y="473"/>
                      </a:lnTo>
                      <a:lnTo>
                        <a:pt x="400" y="473"/>
                      </a:lnTo>
                      <a:lnTo>
                        <a:pt x="401" y="473"/>
                      </a:lnTo>
                      <a:lnTo>
                        <a:pt x="401" y="473"/>
                      </a:lnTo>
                      <a:lnTo>
                        <a:pt x="401" y="473"/>
                      </a:lnTo>
                      <a:lnTo>
                        <a:pt x="401" y="473"/>
                      </a:lnTo>
                      <a:lnTo>
                        <a:pt x="401" y="472"/>
                      </a:lnTo>
                      <a:lnTo>
                        <a:pt x="401" y="471"/>
                      </a:lnTo>
                      <a:lnTo>
                        <a:pt x="401" y="471"/>
                      </a:lnTo>
                      <a:lnTo>
                        <a:pt x="401" y="471"/>
                      </a:lnTo>
                      <a:lnTo>
                        <a:pt x="401" y="471"/>
                      </a:lnTo>
                      <a:lnTo>
                        <a:pt x="401" y="471"/>
                      </a:lnTo>
                      <a:lnTo>
                        <a:pt x="401" y="471"/>
                      </a:lnTo>
                      <a:lnTo>
                        <a:pt x="400" y="471"/>
                      </a:lnTo>
                      <a:lnTo>
                        <a:pt x="400" y="471"/>
                      </a:lnTo>
                      <a:lnTo>
                        <a:pt x="400" y="470"/>
                      </a:lnTo>
                      <a:lnTo>
                        <a:pt x="401" y="466"/>
                      </a:lnTo>
                      <a:lnTo>
                        <a:pt x="401" y="464"/>
                      </a:lnTo>
                      <a:lnTo>
                        <a:pt x="401" y="463"/>
                      </a:lnTo>
                      <a:lnTo>
                        <a:pt x="403" y="461"/>
                      </a:lnTo>
                      <a:lnTo>
                        <a:pt x="403" y="461"/>
                      </a:lnTo>
                      <a:lnTo>
                        <a:pt x="403" y="461"/>
                      </a:lnTo>
                      <a:lnTo>
                        <a:pt x="401" y="460"/>
                      </a:lnTo>
                      <a:lnTo>
                        <a:pt x="401" y="460"/>
                      </a:lnTo>
                      <a:lnTo>
                        <a:pt x="401" y="460"/>
                      </a:lnTo>
                      <a:lnTo>
                        <a:pt x="401" y="461"/>
                      </a:lnTo>
                      <a:lnTo>
                        <a:pt x="401" y="461"/>
                      </a:lnTo>
                      <a:lnTo>
                        <a:pt x="401" y="461"/>
                      </a:lnTo>
                      <a:lnTo>
                        <a:pt x="400" y="464"/>
                      </a:lnTo>
                      <a:lnTo>
                        <a:pt x="400" y="464"/>
                      </a:lnTo>
                      <a:lnTo>
                        <a:pt x="400" y="464"/>
                      </a:lnTo>
                      <a:lnTo>
                        <a:pt x="400" y="464"/>
                      </a:lnTo>
                      <a:lnTo>
                        <a:pt x="400" y="464"/>
                      </a:lnTo>
                      <a:lnTo>
                        <a:pt x="400" y="464"/>
                      </a:lnTo>
                      <a:lnTo>
                        <a:pt x="400" y="465"/>
                      </a:lnTo>
                      <a:lnTo>
                        <a:pt x="400" y="465"/>
                      </a:lnTo>
                      <a:lnTo>
                        <a:pt x="400" y="465"/>
                      </a:lnTo>
                      <a:lnTo>
                        <a:pt x="400" y="465"/>
                      </a:lnTo>
                      <a:lnTo>
                        <a:pt x="399" y="467"/>
                      </a:lnTo>
                      <a:lnTo>
                        <a:pt x="399" y="467"/>
                      </a:lnTo>
                      <a:lnTo>
                        <a:pt x="398" y="470"/>
                      </a:lnTo>
                      <a:lnTo>
                        <a:pt x="398" y="470"/>
                      </a:lnTo>
                      <a:lnTo>
                        <a:pt x="398" y="470"/>
                      </a:lnTo>
                      <a:lnTo>
                        <a:pt x="398" y="470"/>
                      </a:lnTo>
                      <a:lnTo>
                        <a:pt x="397" y="470"/>
                      </a:lnTo>
                      <a:lnTo>
                        <a:pt x="394" y="471"/>
                      </a:lnTo>
                      <a:lnTo>
                        <a:pt x="392" y="473"/>
                      </a:lnTo>
                      <a:lnTo>
                        <a:pt x="391" y="474"/>
                      </a:lnTo>
                      <a:lnTo>
                        <a:pt x="388" y="477"/>
                      </a:lnTo>
                      <a:lnTo>
                        <a:pt x="388" y="477"/>
                      </a:lnTo>
                      <a:lnTo>
                        <a:pt x="388" y="477"/>
                      </a:lnTo>
                      <a:lnTo>
                        <a:pt x="387" y="477"/>
                      </a:lnTo>
                      <a:lnTo>
                        <a:pt x="387" y="478"/>
                      </a:lnTo>
                      <a:lnTo>
                        <a:pt x="387" y="478"/>
                      </a:lnTo>
                      <a:lnTo>
                        <a:pt x="387" y="478"/>
                      </a:lnTo>
                      <a:lnTo>
                        <a:pt x="387" y="478"/>
                      </a:lnTo>
                      <a:lnTo>
                        <a:pt x="387" y="478"/>
                      </a:lnTo>
                      <a:lnTo>
                        <a:pt x="387" y="479"/>
                      </a:lnTo>
                      <a:lnTo>
                        <a:pt x="387" y="479"/>
                      </a:lnTo>
                      <a:lnTo>
                        <a:pt x="386" y="479"/>
                      </a:lnTo>
                      <a:lnTo>
                        <a:pt x="385" y="481"/>
                      </a:lnTo>
                      <a:lnTo>
                        <a:pt x="384" y="481"/>
                      </a:lnTo>
                      <a:lnTo>
                        <a:pt x="383" y="484"/>
                      </a:lnTo>
                      <a:lnTo>
                        <a:pt x="383" y="484"/>
                      </a:lnTo>
                      <a:lnTo>
                        <a:pt x="381" y="485"/>
                      </a:lnTo>
                      <a:lnTo>
                        <a:pt x="381" y="485"/>
                      </a:lnTo>
                      <a:lnTo>
                        <a:pt x="380" y="485"/>
                      </a:lnTo>
                      <a:lnTo>
                        <a:pt x="380" y="485"/>
                      </a:lnTo>
                      <a:lnTo>
                        <a:pt x="379" y="485"/>
                      </a:lnTo>
                      <a:lnTo>
                        <a:pt x="378" y="485"/>
                      </a:lnTo>
                      <a:lnTo>
                        <a:pt x="378" y="485"/>
                      </a:lnTo>
                      <a:lnTo>
                        <a:pt x="378" y="485"/>
                      </a:lnTo>
                      <a:lnTo>
                        <a:pt x="378" y="485"/>
                      </a:lnTo>
                      <a:lnTo>
                        <a:pt x="378" y="485"/>
                      </a:lnTo>
                      <a:lnTo>
                        <a:pt x="378" y="485"/>
                      </a:lnTo>
                      <a:lnTo>
                        <a:pt x="378" y="485"/>
                      </a:lnTo>
                      <a:lnTo>
                        <a:pt x="378" y="485"/>
                      </a:lnTo>
                      <a:lnTo>
                        <a:pt x="378" y="484"/>
                      </a:lnTo>
                      <a:lnTo>
                        <a:pt x="378" y="484"/>
                      </a:lnTo>
                      <a:lnTo>
                        <a:pt x="378" y="484"/>
                      </a:lnTo>
                      <a:lnTo>
                        <a:pt x="378" y="484"/>
                      </a:lnTo>
                      <a:lnTo>
                        <a:pt x="378" y="484"/>
                      </a:lnTo>
                      <a:lnTo>
                        <a:pt x="378" y="484"/>
                      </a:lnTo>
                      <a:lnTo>
                        <a:pt x="378" y="484"/>
                      </a:lnTo>
                      <a:lnTo>
                        <a:pt x="375" y="486"/>
                      </a:lnTo>
                      <a:lnTo>
                        <a:pt x="375" y="486"/>
                      </a:lnTo>
                      <a:lnTo>
                        <a:pt x="375" y="486"/>
                      </a:lnTo>
                      <a:lnTo>
                        <a:pt x="375" y="486"/>
                      </a:lnTo>
                      <a:lnTo>
                        <a:pt x="375" y="486"/>
                      </a:lnTo>
                      <a:lnTo>
                        <a:pt x="375" y="486"/>
                      </a:lnTo>
                      <a:lnTo>
                        <a:pt x="375" y="486"/>
                      </a:lnTo>
                      <a:lnTo>
                        <a:pt x="375" y="486"/>
                      </a:lnTo>
                      <a:lnTo>
                        <a:pt x="375" y="486"/>
                      </a:lnTo>
                      <a:lnTo>
                        <a:pt x="374" y="487"/>
                      </a:lnTo>
                      <a:lnTo>
                        <a:pt x="371" y="488"/>
                      </a:lnTo>
                      <a:lnTo>
                        <a:pt x="370" y="490"/>
                      </a:lnTo>
                      <a:lnTo>
                        <a:pt x="365" y="491"/>
                      </a:lnTo>
                      <a:lnTo>
                        <a:pt x="365" y="492"/>
                      </a:lnTo>
                      <a:lnTo>
                        <a:pt x="364" y="492"/>
                      </a:lnTo>
                      <a:lnTo>
                        <a:pt x="364" y="492"/>
                      </a:lnTo>
                      <a:lnTo>
                        <a:pt x="364" y="492"/>
                      </a:lnTo>
                      <a:lnTo>
                        <a:pt x="364" y="493"/>
                      </a:lnTo>
                      <a:lnTo>
                        <a:pt x="364" y="493"/>
                      </a:lnTo>
                      <a:lnTo>
                        <a:pt x="364" y="493"/>
                      </a:lnTo>
                      <a:lnTo>
                        <a:pt x="364" y="493"/>
                      </a:lnTo>
                      <a:lnTo>
                        <a:pt x="363" y="494"/>
                      </a:lnTo>
                      <a:lnTo>
                        <a:pt x="363" y="494"/>
                      </a:lnTo>
                      <a:lnTo>
                        <a:pt x="361" y="494"/>
                      </a:lnTo>
                      <a:lnTo>
                        <a:pt x="360" y="497"/>
                      </a:lnTo>
                      <a:lnTo>
                        <a:pt x="360" y="497"/>
                      </a:lnTo>
                      <a:lnTo>
                        <a:pt x="360" y="497"/>
                      </a:lnTo>
                      <a:lnTo>
                        <a:pt x="359" y="498"/>
                      </a:lnTo>
                      <a:lnTo>
                        <a:pt x="359" y="498"/>
                      </a:lnTo>
                      <a:lnTo>
                        <a:pt x="359" y="498"/>
                      </a:lnTo>
                      <a:lnTo>
                        <a:pt x="359" y="498"/>
                      </a:lnTo>
                      <a:lnTo>
                        <a:pt x="359" y="498"/>
                      </a:lnTo>
                      <a:lnTo>
                        <a:pt x="358" y="498"/>
                      </a:lnTo>
                      <a:lnTo>
                        <a:pt x="358" y="498"/>
                      </a:lnTo>
                      <a:lnTo>
                        <a:pt x="358" y="498"/>
                      </a:lnTo>
                      <a:lnTo>
                        <a:pt x="358" y="498"/>
                      </a:lnTo>
                      <a:lnTo>
                        <a:pt x="358" y="498"/>
                      </a:lnTo>
                      <a:lnTo>
                        <a:pt x="354" y="500"/>
                      </a:lnTo>
                      <a:lnTo>
                        <a:pt x="354" y="500"/>
                      </a:lnTo>
                      <a:lnTo>
                        <a:pt x="353" y="501"/>
                      </a:lnTo>
                      <a:lnTo>
                        <a:pt x="353" y="501"/>
                      </a:lnTo>
                      <a:lnTo>
                        <a:pt x="353" y="501"/>
                      </a:lnTo>
                      <a:lnTo>
                        <a:pt x="353" y="501"/>
                      </a:lnTo>
                      <a:lnTo>
                        <a:pt x="352" y="501"/>
                      </a:lnTo>
                      <a:lnTo>
                        <a:pt x="351" y="504"/>
                      </a:lnTo>
                      <a:lnTo>
                        <a:pt x="347" y="507"/>
                      </a:lnTo>
                      <a:lnTo>
                        <a:pt x="347" y="507"/>
                      </a:lnTo>
                      <a:lnTo>
                        <a:pt x="347" y="507"/>
                      </a:lnTo>
                      <a:lnTo>
                        <a:pt x="348" y="507"/>
                      </a:lnTo>
                      <a:lnTo>
                        <a:pt x="348" y="507"/>
                      </a:lnTo>
                      <a:lnTo>
                        <a:pt x="348" y="507"/>
                      </a:lnTo>
                      <a:lnTo>
                        <a:pt x="348" y="507"/>
                      </a:lnTo>
                      <a:lnTo>
                        <a:pt x="350" y="507"/>
                      </a:lnTo>
                      <a:lnTo>
                        <a:pt x="350" y="507"/>
                      </a:lnTo>
                      <a:lnTo>
                        <a:pt x="351" y="506"/>
                      </a:lnTo>
                      <a:lnTo>
                        <a:pt x="352" y="506"/>
                      </a:lnTo>
                      <a:lnTo>
                        <a:pt x="352" y="506"/>
                      </a:lnTo>
                      <a:lnTo>
                        <a:pt x="352" y="506"/>
                      </a:lnTo>
                      <a:lnTo>
                        <a:pt x="352" y="506"/>
                      </a:lnTo>
                      <a:lnTo>
                        <a:pt x="352" y="506"/>
                      </a:lnTo>
                      <a:lnTo>
                        <a:pt x="352" y="506"/>
                      </a:lnTo>
                      <a:lnTo>
                        <a:pt x="352" y="507"/>
                      </a:lnTo>
                      <a:lnTo>
                        <a:pt x="352" y="507"/>
                      </a:lnTo>
                      <a:lnTo>
                        <a:pt x="350" y="511"/>
                      </a:lnTo>
                      <a:lnTo>
                        <a:pt x="350" y="511"/>
                      </a:lnTo>
                      <a:lnTo>
                        <a:pt x="350" y="511"/>
                      </a:lnTo>
                      <a:lnTo>
                        <a:pt x="348" y="511"/>
                      </a:lnTo>
                      <a:lnTo>
                        <a:pt x="348" y="511"/>
                      </a:lnTo>
                      <a:lnTo>
                        <a:pt x="348" y="511"/>
                      </a:lnTo>
                      <a:lnTo>
                        <a:pt x="348" y="511"/>
                      </a:lnTo>
                      <a:lnTo>
                        <a:pt x="348" y="511"/>
                      </a:lnTo>
                      <a:lnTo>
                        <a:pt x="348" y="511"/>
                      </a:lnTo>
                      <a:lnTo>
                        <a:pt x="348" y="511"/>
                      </a:lnTo>
                      <a:lnTo>
                        <a:pt x="348" y="511"/>
                      </a:lnTo>
                      <a:lnTo>
                        <a:pt x="348" y="511"/>
                      </a:lnTo>
                      <a:lnTo>
                        <a:pt x="347" y="508"/>
                      </a:lnTo>
                      <a:lnTo>
                        <a:pt x="347" y="508"/>
                      </a:lnTo>
                      <a:lnTo>
                        <a:pt x="347" y="508"/>
                      </a:lnTo>
                      <a:lnTo>
                        <a:pt x="347" y="508"/>
                      </a:lnTo>
                      <a:lnTo>
                        <a:pt x="347" y="508"/>
                      </a:lnTo>
                      <a:lnTo>
                        <a:pt x="346" y="508"/>
                      </a:lnTo>
                      <a:lnTo>
                        <a:pt x="346" y="508"/>
                      </a:lnTo>
                      <a:lnTo>
                        <a:pt x="346" y="508"/>
                      </a:lnTo>
                      <a:lnTo>
                        <a:pt x="346" y="508"/>
                      </a:lnTo>
                      <a:lnTo>
                        <a:pt x="345" y="508"/>
                      </a:lnTo>
                      <a:lnTo>
                        <a:pt x="345" y="508"/>
                      </a:lnTo>
                      <a:lnTo>
                        <a:pt x="345" y="508"/>
                      </a:lnTo>
                      <a:lnTo>
                        <a:pt x="345" y="510"/>
                      </a:lnTo>
                      <a:lnTo>
                        <a:pt x="345" y="510"/>
                      </a:lnTo>
                      <a:lnTo>
                        <a:pt x="344" y="510"/>
                      </a:lnTo>
                      <a:lnTo>
                        <a:pt x="344" y="511"/>
                      </a:lnTo>
                      <a:lnTo>
                        <a:pt x="344" y="511"/>
                      </a:lnTo>
                      <a:lnTo>
                        <a:pt x="344" y="511"/>
                      </a:lnTo>
                      <a:lnTo>
                        <a:pt x="344" y="510"/>
                      </a:lnTo>
                      <a:lnTo>
                        <a:pt x="344" y="510"/>
                      </a:lnTo>
                      <a:lnTo>
                        <a:pt x="344" y="508"/>
                      </a:lnTo>
                      <a:lnTo>
                        <a:pt x="344" y="508"/>
                      </a:lnTo>
                      <a:lnTo>
                        <a:pt x="343" y="506"/>
                      </a:lnTo>
                      <a:lnTo>
                        <a:pt x="341" y="504"/>
                      </a:lnTo>
                      <a:lnTo>
                        <a:pt x="341" y="504"/>
                      </a:lnTo>
                      <a:lnTo>
                        <a:pt x="340" y="503"/>
                      </a:lnTo>
                      <a:lnTo>
                        <a:pt x="340" y="503"/>
                      </a:lnTo>
                      <a:lnTo>
                        <a:pt x="340" y="503"/>
                      </a:lnTo>
                      <a:lnTo>
                        <a:pt x="340" y="503"/>
                      </a:lnTo>
                      <a:lnTo>
                        <a:pt x="340" y="503"/>
                      </a:lnTo>
                      <a:lnTo>
                        <a:pt x="340" y="503"/>
                      </a:lnTo>
                      <a:lnTo>
                        <a:pt x="339" y="503"/>
                      </a:lnTo>
                      <a:lnTo>
                        <a:pt x="339" y="503"/>
                      </a:lnTo>
                      <a:lnTo>
                        <a:pt x="339" y="503"/>
                      </a:lnTo>
                      <a:lnTo>
                        <a:pt x="339" y="503"/>
                      </a:lnTo>
                      <a:lnTo>
                        <a:pt x="338" y="503"/>
                      </a:lnTo>
                      <a:lnTo>
                        <a:pt x="338" y="503"/>
                      </a:lnTo>
                      <a:lnTo>
                        <a:pt x="338" y="503"/>
                      </a:lnTo>
                      <a:lnTo>
                        <a:pt x="338" y="503"/>
                      </a:lnTo>
                      <a:lnTo>
                        <a:pt x="338" y="503"/>
                      </a:lnTo>
                      <a:lnTo>
                        <a:pt x="338" y="503"/>
                      </a:lnTo>
                      <a:lnTo>
                        <a:pt x="339" y="501"/>
                      </a:lnTo>
                      <a:lnTo>
                        <a:pt x="341" y="500"/>
                      </a:lnTo>
                      <a:lnTo>
                        <a:pt x="341" y="499"/>
                      </a:lnTo>
                      <a:lnTo>
                        <a:pt x="341" y="499"/>
                      </a:lnTo>
                      <a:lnTo>
                        <a:pt x="341" y="499"/>
                      </a:lnTo>
                      <a:lnTo>
                        <a:pt x="341" y="500"/>
                      </a:lnTo>
                      <a:lnTo>
                        <a:pt x="341" y="500"/>
                      </a:lnTo>
                      <a:lnTo>
                        <a:pt x="340" y="500"/>
                      </a:lnTo>
                      <a:lnTo>
                        <a:pt x="340" y="500"/>
                      </a:lnTo>
                      <a:lnTo>
                        <a:pt x="340" y="500"/>
                      </a:lnTo>
                      <a:lnTo>
                        <a:pt x="340" y="501"/>
                      </a:lnTo>
                      <a:lnTo>
                        <a:pt x="340" y="501"/>
                      </a:lnTo>
                      <a:lnTo>
                        <a:pt x="341" y="504"/>
                      </a:lnTo>
                      <a:lnTo>
                        <a:pt x="343" y="504"/>
                      </a:lnTo>
                      <a:lnTo>
                        <a:pt x="343" y="504"/>
                      </a:lnTo>
                      <a:lnTo>
                        <a:pt x="343" y="504"/>
                      </a:lnTo>
                      <a:lnTo>
                        <a:pt x="343" y="504"/>
                      </a:lnTo>
                      <a:lnTo>
                        <a:pt x="344" y="504"/>
                      </a:lnTo>
                      <a:lnTo>
                        <a:pt x="344" y="504"/>
                      </a:lnTo>
                      <a:lnTo>
                        <a:pt x="345" y="504"/>
                      </a:lnTo>
                      <a:lnTo>
                        <a:pt x="345" y="504"/>
                      </a:lnTo>
                      <a:lnTo>
                        <a:pt x="345" y="504"/>
                      </a:lnTo>
                      <a:lnTo>
                        <a:pt x="344" y="503"/>
                      </a:lnTo>
                      <a:lnTo>
                        <a:pt x="344" y="503"/>
                      </a:lnTo>
                      <a:lnTo>
                        <a:pt x="344" y="503"/>
                      </a:lnTo>
                      <a:lnTo>
                        <a:pt x="344" y="503"/>
                      </a:lnTo>
                      <a:lnTo>
                        <a:pt x="343" y="503"/>
                      </a:lnTo>
                      <a:lnTo>
                        <a:pt x="343" y="503"/>
                      </a:lnTo>
                      <a:lnTo>
                        <a:pt x="343" y="501"/>
                      </a:lnTo>
                      <a:lnTo>
                        <a:pt x="343" y="501"/>
                      </a:lnTo>
                      <a:lnTo>
                        <a:pt x="343" y="501"/>
                      </a:lnTo>
                      <a:lnTo>
                        <a:pt x="343" y="501"/>
                      </a:lnTo>
                      <a:lnTo>
                        <a:pt x="343" y="501"/>
                      </a:lnTo>
                      <a:lnTo>
                        <a:pt x="344" y="501"/>
                      </a:lnTo>
                      <a:lnTo>
                        <a:pt x="344" y="501"/>
                      </a:lnTo>
                      <a:lnTo>
                        <a:pt x="344" y="501"/>
                      </a:lnTo>
                      <a:lnTo>
                        <a:pt x="344" y="500"/>
                      </a:lnTo>
                      <a:lnTo>
                        <a:pt x="344" y="500"/>
                      </a:lnTo>
                      <a:lnTo>
                        <a:pt x="345" y="497"/>
                      </a:lnTo>
                      <a:lnTo>
                        <a:pt x="345" y="494"/>
                      </a:lnTo>
                      <a:lnTo>
                        <a:pt x="345" y="493"/>
                      </a:lnTo>
                      <a:lnTo>
                        <a:pt x="345" y="493"/>
                      </a:lnTo>
                      <a:lnTo>
                        <a:pt x="346" y="491"/>
                      </a:lnTo>
                      <a:lnTo>
                        <a:pt x="346" y="491"/>
                      </a:lnTo>
                      <a:lnTo>
                        <a:pt x="346" y="491"/>
                      </a:lnTo>
                      <a:lnTo>
                        <a:pt x="345" y="488"/>
                      </a:lnTo>
                      <a:lnTo>
                        <a:pt x="345" y="486"/>
                      </a:lnTo>
                      <a:lnTo>
                        <a:pt x="344" y="486"/>
                      </a:lnTo>
                      <a:lnTo>
                        <a:pt x="344" y="485"/>
                      </a:lnTo>
                      <a:lnTo>
                        <a:pt x="343" y="485"/>
                      </a:lnTo>
                      <a:lnTo>
                        <a:pt x="343" y="485"/>
                      </a:lnTo>
                      <a:lnTo>
                        <a:pt x="343" y="484"/>
                      </a:lnTo>
                      <a:lnTo>
                        <a:pt x="343" y="484"/>
                      </a:lnTo>
                      <a:lnTo>
                        <a:pt x="343" y="483"/>
                      </a:lnTo>
                      <a:lnTo>
                        <a:pt x="343" y="483"/>
                      </a:lnTo>
                      <a:lnTo>
                        <a:pt x="343" y="481"/>
                      </a:lnTo>
                      <a:lnTo>
                        <a:pt x="343" y="481"/>
                      </a:lnTo>
                      <a:lnTo>
                        <a:pt x="344" y="481"/>
                      </a:lnTo>
                      <a:lnTo>
                        <a:pt x="344" y="481"/>
                      </a:lnTo>
                      <a:lnTo>
                        <a:pt x="344" y="481"/>
                      </a:lnTo>
                      <a:lnTo>
                        <a:pt x="344" y="480"/>
                      </a:lnTo>
                      <a:lnTo>
                        <a:pt x="344" y="480"/>
                      </a:lnTo>
                      <a:lnTo>
                        <a:pt x="344" y="478"/>
                      </a:lnTo>
                      <a:lnTo>
                        <a:pt x="344" y="478"/>
                      </a:lnTo>
                      <a:lnTo>
                        <a:pt x="344" y="474"/>
                      </a:lnTo>
                      <a:lnTo>
                        <a:pt x="344" y="474"/>
                      </a:lnTo>
                      <a:lnTo>
                        <a:pt x="344" y="474"/>
                      </a:lnTo>
                      <a:lnTo>
                        <a:pt x="344" y="473"/>
                      </a:lnTo>
                      <a:lnTo>
                        <a:pt x="343" y="473"/>
                      </a:lnTo>
                      <a:lnTo>
                        <a:pt x="339" y="473"/>
                      </a:lnTo>
                      <a:lnTo>
                        <a:pt x="339" y="473"/>
                      </a:lnTo>
                      <a:lnTo>
                        <a:pt x="339" y="473"/>
                      </a:lnTo>
                      <a:lnTo>
                        <a:pt x="339" y="474"/>
                      </a:lnTo>
                      <a:lnTo>
                        <a:pt x="338" y="474"/>
                      </a:lnTo>
                      <a:lnTo>
                        <a:pt x="338" y="474"/>
                      </a:lnTo>
                      <a:lnTo>
                        <a:pt x="338" y="474"/>
                      </a:lnTo>
                      <a:lnTo>
                        <a:pt x="337" y="474"/>
                      </a:lnTo>
                      <a:lnTo>
                        <a:pt x="337" y="474"/>
                      </a:lnTo>
                      <a:lnTo>
                        <a:pt x="337" y="473"/>
                      </a:lnTo>
                      <a:lnTo>
                        <a:pt x="337" y="473"/>
                      </a:lnTo>
                      <a:lnTo>
                        <a:pt x="337" y="473"/>
                      </a:lnTo>
                      <a:lnTo>
                        <a:pt x="337" y="473"/>
                      </a:lnTo>
                      <a:lnTo>
                        <a:pt x="337" y="473"/>
                      </a:lnTo>
                      <a:lnTo>
                        <a:pt x="337" y="473"/>
                      </a:lnTo>
                      <a:lnTo>
                        <a:pt x="337" y="470"/>
                      </a:lnTo>
                      <a:lnTo>
                        <a:pt x="337" y="470"/>
                      </a:lnTo>
                      <a:lnTo>
                        <a:pt x="337" y="470"/>
                      </a:lnTo>
                      <a:lnTo>
                        <a:pt x="337" y="470"/>
                      </a:lnTo>
                      <a:lnTo>
                        <a:pt x="337" y="467"/>
                      </a:lnTo>
                      <a:lnTo>
                        <a:pt x="337" y="465"/>
                      </a:lnTo>
                      <a:lnTo>
                        <a:pt x="337" y="465"/>
                      </a:lnTo>
                      <a:lnTo>
                        <a:pt x="337" y="465"/>
                      </a:lnTo>
                      <a:lnTo>
                        <a:pt x="337" y="465"/>
                      </a:lnTo>
                      <a:lnTo>
                        <a:pt x="337" y="465"/>
                      </a:lnTo>
                      <a:lnTo>
                        <a:pt x="338" y="465"/>
                      </a:lnTo>
                      <a:lnTo>
                        <a:pt x="338" y="465"/>
                      </a:lnTo>
                      <a:lnTo>
                        <a:pt x="339" y="465"/>
                      </a:lnTo>
                      <a:lnTo>
                        <a:pt x="339" y="465"/>
                      </a:lnTo>
                      <a:lnTo>
                        <a:pt x="339" y="465"/>
                      </a:lnTo>
                      <a:lnTo>
                        <a:pt x="339" y="465"/>
                      </a:lnTo>
                      <a:lnTo>
                        <a:pt x="339" y="466"/>
                      </a:lnTo>
                      <a:lnTo>
                        <a:pt x="338" y="466"/>
                      </a:lnTo>
                      <a:lnTo>
                        <a:pt x="338" y="466"/>
                      </a:lnTo>
                      <a:lnTo>
                        <a:pt x="339" y="466"/>
                      </a:lnTo>
                      <a:lnTo>
                        <a:pt x="339" y="466"/>
                      </a:lnTo>
                      <a:lnTo>
                        <a:pt x="339" y="466"/>
                      </a:lnTo>
                      <a:lnTo>
                        <a:pt x="339" y="466"/>
                      </a:lnTo>
                      <a:lnTo>
                        <a:pt x="340" y="465"/>
                      </a:lnTo>
                      <a:lnTo>
                        <a:pt x="340" y="465"/>
                      </a:lnTo>
                      <a:lnTo>
                        <a:pt x="341" y="464"/>
                      </a:lnTo>
                      <a:lnTo>
                        <a:pt x="341" y="464"/>
                      </a:lnTo>
                      <a:lnTo>
                        <a:pt x="341" y="463"/>
                      </a:lnTo>
                      <a:lnTo>
                        <a:pt x="341" y="461"/>
                      </a:lnTo>
                      <a:lnTo>
                        <a:pt x="341" y="461"/>
                      </a:lnTo>
                      <a:lnTo>
                        <a:pt x="341" y="460"/>
                      </a:lnTo>
                      <a:lnTo>
                        <a:pt x="341" y="460"/>
                      </a:lnTo>
                      <a:lnTo>
                        <a:pt x="340" y="460"/>
                      </a:lnTo>
                      <a:lnTo>
                        <a:pt x="340" y="459"/>
                      </a:lnTo>
                      <a:lnTo>
                        <a:pt x="340" y="459"/>
                      </a:lnTo>
                      <a:lnTo>
                        <a:pt x="340" y="459"/>
                      </a:lnTo>
                      <a:lnTo>
                        <a:pt x="337" y="460"/>
                      </a:lnTo>
                      <a:lnTo>
                        <a:pt x="335" y="461"/>
                      </a:lnTo>
                      <a:lnTo>
                        <a:pt x="335" y="461"/>
                      </a:lnTo>
                      <a:lnTo>
                        <a:pt x="335" y="461"/>
                      </a:lnTo>
                      <a:lnTo>
                        <a:pt x="335" y="461"/>
                      </a:lnTo>
                      <a:lnTo>
                        <a:pt x="335" y="461"/>
                      </a:lnTo>
                      <a:lnTo>
                        <a:pt x="334" y="461"/>
                      </a:lnTo>
                      <a:lnTo>
                        <a:pt x="334" y="461"/>
                      </a:lnTo>
                      <a:lnTo>
                        <a:pt x="334" y="461"/>
                      </a:lnTo>
                      <a:lnTo>
                        <a:pt x="334" y="461"/>
                      </a:lnTo>
                      <a:lnTo>
                        <a:pt x="335" y="459"/>
                      </a:lnTo>
                      <a:lnTo>
                        <a:pt x="335" y="459"/>
                      </a:lnTo>
                      <a:lnTo>
                        <a:pt x="337" y="458"/>
                      </a:lnTo>
                      <a:lnTo>
                        <a:pt x="337" y="458"/>
                      </a:lnTo>
                      <a:lnTo>
                        <a:pt x="337" y="458"/>
                      </a:lnTo>
                      <a:lnTo>
                        <a:pt x="337" y="458"/>
                      </a:lnTo>
                      <a:lnTo>
                        <a:pt x="337" y="458"/>
                      </a:lnTo>
                      <a:lnTo>
                        <a:pt x="337" y="458"/>
                      </a:lnTo>
                      <a:lnTo>
                        <a:pt x="337" y="458"/>
                      </a:lnTo>
                      <a:lnTo>
                        <a:pt x="337" y="458"/>
                      </a:lnTo>
                      <a:lnTo>
                        <a:pt x="337" y="458"/>
                      </a:lnTo>
                      <a:lnTo>
                        <a:pt x="337" y="458"/>
                      </a:lnTo>
                      <a:lnTo>
                        <a:pt x="337" y="458"/>
                      </a:lnTo>
                      <a:lnTo>
                        <a:pt x="338" y="458"/>
                      </a:lnTo>
                      <a:lnTo>
                        <a:pt x="338" y="458"/>
                      </a:lnTo>
                      <a:lnTo>
                        <a:pt x="338" y="458"/>
                      </a:lnTo>
                      <a:lnTo>
                        <a:pt x="338" y="458"/>
                      </a:lnTo>
                      <a:lnTo>
                        <a:pt x="338" y="458"/>
                      </a:lnTo>
                      <a:lnTo>
                        <a:pt x="338" y="457"/>
                      </a:lnTo>
                      <a:lnTo>
                        <a:pt x="337" y="456"/>
                      </a:lnTo>
                      <a:lnTo>
                        <a:pt x="337" y="454"/>
                      </a:lnTo>
                      <a:lnTo>
                        <a:pt x="335" y="454"/>
                      </a:lnTo>
                      <a:lnTo>
                        <a:pt x="335" y="454"/>
                      </a:lnTo>
                      <a:lnTo>
                        <a:pt x="334" y="453"/>
                      </a:lnTo>
                      <a:lnTo>
                        <a:pt x="334" y="453"/>
                      </a:lnTo>
                      <a:lnTo>
                        <a:pt x="334" y="453"/>
                      </a:lnTo>
                      <a:lnTo>
                        <a:pt x="334" y="453"/>
                      </a:lnTo>
                      <a:lnTo>
                        <a:pt x="334" y="453"/>
                      </a:lnTo>
                      <a:lnTo>
                        <a:pt x="335" y="452"/>
                      </a:lnTo>
                      <a:lnTo>
                        <a:pt x="335" y="452"/>
                      </a:lnTo>
                      <a:lnTo>
                        <a:pt x="335" y="452"/>
                      </a:lnTo>
                      <a:lnTo>
                        <a:pt x="335" y="452"/>
                      </a:lnTo>
                      <a:lnTo>
                        <a:pt x="335" y="452"/>
                      </a:lnTo>
                      <a:lnTo>
                        <a:pt x="334" y="452"/>
                      </a:lnTo>
                      <a:lnTo>
                        <a:pt x="334" y="452"/>
                      </a:lnTo>
                      <a:lnTo>
                        <a:pt x="334" y="452"/>
                      </a:lnTo>
                      <a:lnTo>
                        <a:pt x="334" y="452"/>
                      </a:lnTo>
                      <a:lnTo>
                        <a:pt x="333" y="452"/>
                      </a:lnTo>
                      <a:lnTo>
                        <a:pt x="333" y="452"/>
                      </a:lnTo>
                      <a:lnTo>
                        <a:pt x="333" y="452"/>
                      </a:lnTo>
                      <a:lnTo>
                        <a:pt x="333" y="453"/>
                      </a:lnTo>
                      <a:lnTo>
                        <a:pt x="333" y="453"/>
                      </a:lnTo>
                      <a:lnTo>
                        <a:pt x="333" y="453"/>
                      </a:lnTo>
                      <a:lnTo>
                        <a:pt x="333" y="453"/>
                      </a:lnTo>
                      <a:lnTo>
                        <a:pt x="333" y="453"/>
                      </a:lnTo>
                      <a:lnTo>
                        <a:pt x="331" y="454"/>
                      </a:lnTo>
                      <a:lnTo>
                        <a:pt x="331" y="454"/>
                      </a:lnTo>
                      <a:lnTo>
                        <a:pt x="331" y="454"/>
                      </a:lnTo>
                      <a:lnTo>
                        <a:pt x="330" y="454"/>
                      </a:lnTo>
                      <a:lnTo>
                        <a:pt x="327" y="454"/>
                      </a:lnTo>
                      <a:lnTo>
                        <a:pt x="326" y="453"/>
                      </a:lnTo>
                      <a:lnTo>
                        <a:pt x="325" y="453"/>
                      </a:lnTo>
                      <a:lnTo>
                        <a:pt x="325" y="453"/>
                      </a:lnTo>
                      <a:lnTo>
                        <a:pt x="325" y="453"/>
                      </a:lnTo>
                      <a:lnTo>
                        <a:pt x="325" y="452"/>
                      </a:lnTo>
                      <a:lnTo>
                        <a:pt x="325" y="452"/>
                      </a:lnTo>
                      <a:lnTo>
                        <a:pt x="325" y="452"/>
                      </a:lnTo>
                      <a:lnTo>
                        <a:pt x="325" y="452"/>
                      </a:lnTo>
                      <a:lnTo>
                        <a:pt x="324" y="452"/>
                      </a:lnTo>
                      <a:lnTo>
                        <a:pt x="324" y="452"/>
                      </a:lnTo>
                      <a:lnTo>
                        <a:pt x="324" y="452"/>
                      </a:lnTo>
                      <a:lnTo>
                        <a:pt x="323" y="450"/>
                      </a:lnTo>
                      <a:lnTo>
                        <a:pt x="321" y="450"/>
                      </a:lnTo>
                      <a:lnTo>
                        <a:pt x="321" y="450"/>
                      </a:lnTo>
                      <a:lnTo>
                        <a:pt x="321" y="448"/>
                      </a:lnTo>
                      <a:lnTo>
                        <a:pt x="321" y="448"/>
                      </a:lnTo>
                      <a:lnTo>
                        <a:pt x="321" y="448"/>
                      </a:lnTo>
                      <a:lnTo>
                        <a:pt x="318" y="448"/>
                      </a:lnTo>
                      <a:lnTo>
                        <a:pt x="318" y="448"/>
                      </a:lnTo>
                      <a:lnTo>
                        <a:pt x="318" y="448"/>
                      </a:lnTo>
                      <a:lnTo>
                        <a:pt x="317" y="448"/>
                      </a:lnTo>
                      <a:lnTo>
                        <a:pt x="317" y="448"/>
                      </a:lnTo>
                      <a:lnTo>
                        <a:pt x="315" y="448"/>
                      </a:lnTo>
                      <a:lnTo>
                        <a:pt x="315" y="448"/>
                      </a:lnTo>
                      <a:lnTo>
                        <a:pt x="315" y="450"/>
                      </a:lnTo>
                      <a:lnTo>
                        <a:pt x="315" y="450"/>
                      </a:lnTo>
                      <a:lnTo>
                        <a:pt x="314" y="450"/>
                      </a:lnTo>
                      <a:lnTo>
                        <a:pt x="313" y="451"/>
                      </a:lnTo>
                      <a:lnTo>
                        <a:pt x="313" y="451"/>
                      </a:lnTo>
                      <a:lnTo>
                        <a:pt x="312" y="451"/>
                      </a:lnTo>
                      <a:lnTo>
                        <a:pt x="311" y="451"/>
                      </a:lnTo>
                      <a:lnTo>
                        <a:pt x="311" y="451"/>
                      </a:lnTo>
                      <a:lnTo>
                        <a:pt x="311" y="450"/>
                      </a:lnTo>
                      <a:lnTo>
                        <a:pt x="311" y="450"/>
                      </a:lnTo>
                      <a:lnTo>
                        <a:pt x="310" y="450"/>
                      </a:lnTo>
                      <a:lnTo>
                        <a:pt x="310" y="450"/>
                      </a:lnTo>
                      <a:lnTo>
                        <a:pt x="308" y="447"/>
                      </a:lnTo>
                      <a:lnTo>
                        <a:pt x="306" y="445"/>
                      </a:lnTo>
                      <a:lnTo>
                        <a:pt x="306" y="444"/>
                      </a:lnTo>
                      <a:lnTo>
                        <a:pt x="305" y="443"/>
                      </a:lnTo>
                      <a:lnTo>
                        <a:pt x="301" y="441"/>
                      </a:lnTo>
                      <a:lnTo>
                        <a:pt x="301" y="441"/>
                      </a:lnTo>
                      <a:lnTo>
                        <a:pt x="300" y="440"/>
                      </a:lnTo>
                      <a:lnTo>
                        <a:pt x="299" y="440"/>
                      </a:lnTo>
                      <a:lnTo>
                        <a:pt x="298" y="439"/>
                      </a:lnTo>
                      <a:lnTo>
                        <a:pt x="298" y="439"/>
                      </a:lnTo>
                      <a:lnTo>
                        <a:pt x="297" y="439"/>
                      </a:lnTo>
                      <a:lnTo>
                        <a:pt x="297" y="439"/>
                      </a:lnTo>
                      <a:lnTo>
                        <a:pt x="297" y="439"/>
                      </a:lnTo>
                      <a:lnTo>
                        <a:pt x="297" y="439"/>
                      </a:lnTo>
                      <a:lnTo>
                        <a:pt x="297" y="439"/>
                      </a:lnTo>
                      <a:lnTo>
                        <a:pt x="295" y="439"/>
                      </a:lnTo>
                      <a:lnTo>
                        <a:pt x="295" y="440"/>
                      </a:lnTo>
                      <a:lnTo>
                        <a:pt x="294" y="440"/>
                      </a:lnTo>
                      <a:lnTo>
                        <a:pt x="294" y="440"/>
                      </a:lnTo>
                      <a:lnTo>
                        <a:pt x="294" y="440"/>
                      </a:lnTo>
                      <a:lnTo>
                        <a:pt x="294" y="440"/>
                      </a:lnTo>
                      <a:lnTo>
                        <a:pt x="291" y="441"/>
                      </a:lnTo>
                      <a:lnTo>
                        <a:pt x="291" y="441"/>
                      </a:lnTo>
                      <a:lnTo>
                        <a:pt x="290" y="441"/>
                      </a:lnTo>
                      <a:lnTo>
                        <a:pt x="290" y="441"/>
                      </a:lnTo>
                      <a:lnTo>
                        <a:pt x="290" y="441"/>
                      </a:lnTo>
                      <a:lnTo>
                        <a:pt x="288" y="441"/>
                      </a:lnTo>
                      <a:lnTo>
                        <a:pt x="288" y="441"/>
                      </a:lnTo>
                      <a:lnTo>
                        <a:pt x="287" y="441"/>
                      </a:lnTo>
                      <a:lnTo>
                        <a:pt x="281" y="441"/>
                      </a:lnTo>
                      <a:lnTo>
                        <a:pt x="280" y="441"/>
                      </a:lnTo>
                      <a:lnTo>
                        <a:pt x="279" y="441"/>
                      </a:lnTo>
                      <a:lnTo>
                        <a:pt x="275" y="441"/>
                      </a:lnTo>
                      <a:lnTo>
                        <a:pt x="274" y="441"/>
                      </a:lnTo>
                      <a:lnTo>
                        <a:pt x="274" y="441"/>
                      </a:lnTo>
                      <a:lnTo>
                        <a:pt x="274" y="441"/>
                      </a:lnTo>
                      <a:lnTo>
                        <a:pt x="274" y="441"/>
                      </a:lnTo>
                      <a:lnTo>
                        <a:pt x="274" y="441"/>
                      </a:lnTo>
                      <a:lnTo>
                        <a:pt x="273" y="441"/>
                      </a:lnTo>
                      <a:lnTo>
                        <a:pt x="271" y="443"/>
                      </a:lnTo>
                      <a:lnTo>
                        <a:pt x="267" y="443"/>
                      </a:lnTo>
                      <a:lnTo>
                        <a:pt x="263" y="443"/>
                      </a:lnTo>
                      <a:lnTo>
                        <a:pt x="259" y="444"/>
                      </a:lnTo>
                      <a:lnTo>
                        <a:pt x="259" y="444"/>
                      </a:lnTo>
                      <a:lnTo>
                        <a:pt x="258" y="444"/>
                      </a:lnTo>
                      <a:lnTo>
                        <a:pt x="258" y="444"/>
                      </a:lnTo>
                      <a:lnTo>
                        <a:pt x="258" y="444"/>
                      </a:lnTo>
                      <a:lnTo>
                        <a:pt x="258" y="444"/>
                      </a:lnTo>
                      <a:lnTo>
                        <a:pt x="254" y="445"/>
                      </a:lnTo>
                      <a:lnTo>
                        <a:pt x="254" y="445"/>
                      </a:lnTo>
                      <a:lnTo>
                        <a:pt x="252" y="446"/>
                      </a:lnTo>
                      <a:lnTo>
                        <a:pt x="250" y="447"/>
                      </a:lnTo>
                      <a:lnTo>
                        <a:pt x="241" y="451"/>
                      </a:lnTo>
                      <a:lnTo>
                        <a:pt x="239" y="452"/>
                      </a:lnTo>
                      <a:lnTo>
                        <a:pt x="239" y="452"/>
                      </a:lnTo>
                      <a:lnTo>
                        <a:pt x="237" y="452"/>
                      </a:lnTo>
                      <a:lnTo>
                        <a:pt x="236" y="452"/>
                      </a:lnTo>
                      <a:lnTo>
                        <a:pt x="233" y="453"/>
                      </a:lnTo>
                      <a:lnTo>
                        <a:pt x="231" y="453"/>
                      </a:lnTo>
                      <a:lnTo>
                        <a:pt x="230" y="454"/>
                      </a:lnTo>
                      <a:lnTo>
                        <a:pt x="225" y="456"/>
                      </a:lnTo>
                      <a:lnTo>
                        <a:pt x="224" y="456"/>
                      </a:lnTo>
                      <a:lnTo>
                        <a:pt x="223" y="456"/>
                      </a:lnTo>
                      <a:lnTo>
                        <a:pt x="221" y="456"/>
                      </a:lnTo>
                      <a:lnTo>
                        <a:pt x="220" y="456"/>
                      </a:lnTo>
                      <a:lnTo>
                        <a:pt x="219" y="456"/>
                      </a:lnTo>
                      <a:lnTo>
                        <a:pt x="214" y="457"/>
                      </a:lnTo>
                      <a:lnTo>
                        <a:pt x="213" y="457"/>
                      </a:lnTo>
                      <a:lnTo>
                        <a:pt x="212" y="456"/>
                      </a:lnTo>
                      <a:lnTo>
                        <a:pt x="211" y="456"/>
                      </a:lnTo>
                      <a:lnTo>
                        <a:pt x="210" y="456"/>
                      </a:lnTo>
                      <a:lnTo>
                        <a:pt x="208" y="456"/>
                      </a:lnTo>
                      <a:lnTo>
                        <a:pt x="208" y="456"/>
                      </a:lnTo>
                      <a:lnTo>
                        <a:pt x="207" y="456"/>
                      </a:lnTo>
                      <a:lnTo>
                        <a:pt x="207" y="456"/>
                      </a:lnTo>
                      <a:lnTo>
                        <a:pt x="207" y="454"/>
                      </a:lnTo>
                      <a:lnTo>
                        <a:pt x="206" y="454"/>
                      </a:lnTo>
                      <a:lnTo>
                        <a:pt x="206" y="454"/>
                      </a:lnTo>
                      <a:lnTo>
                        <a:pt x="206" y="454"/>
                      </a:lnTo>
                      <a:lnTo>
                        <a:pt x="206" y="454"/>
                      </a:lnTo>
                      <a:lnTo>
                        <a:pt x="206" y="454"/>
                      </a:lnTo>
                      <a:lnTo>
                        <a:pt x="205" y="454"/>
                      </a:lnTo>
                      <a:lnTo>
                        <a:pt x="205" y="456"/>
                      </a:lnTo>
                      <a:lnTo>
                        <a:pt x="204" y="456"/>
                      </a:lnTo>
                      <a:lnTo>
                        <a:pt x="204" y="456"/>
                      </a:lnTo>
                      <a:lnTo>
                        <a:pt x="204" y="456"/>
                      </a:lnTo>
                      <a:lnTo>
                        <a:pt x="204" y="456"/>
                      </a:lnTo>
                      <a:lnTo>
                        <a:pt x="204" y="456"/>
                      </a:lnTo>
                      <a:lnTo>
                        <a:pt x="203" y="456"/>
                      </a:lnTo>
                      <a:lnTo>
                        <a:pt x="203" y="456"/>
                      </a:lnTo>
                      <a:lnTo>
                        <a:pt x="203" y="456"/>
                      </a:lnTo>
                      <a:lnTo>
                        <a:pt x="203" y="456"/>
                      </a:lnTo>
                      <a:lnTo>
                        <a:pt x="203" y="456"/>
                      </a:lnTo>
                      <a:lnTo>
                        <a:pt x="199" y="457"/>
                      </a:lnTo>
                      <a:lnTo>
                        <a:pt x="199" y="457"/>
                      </a:lnTo>
                      <a:lnTo>
                        <a:pt x="194" y="459"/>
                      </a:lnTo>
                      <a:lnTo>
                        <a:pt x="194" y="459"/>
                      </a:lnTo>
                      <a:lnTo>
                        <a:pt x="194" y="460"/>
                      </a:lnTo>
                      <a:lnTo>
                        <a:pt x="193" y="460"/>
                      </a:lnTo>
                      <a:lnTo>
                        <a:pt x="193" y="460"/>
                      </a:lnTo>
                      <a:lnTo>
                        <a:pt x="193" y="460"/>
                      </a:lnTo>
                      <a:lnTo>
                        <a:pt x="193" y="460"/>
                      </a:lnTo>
                      <a:lnTo>
                        <a:pt x="193" y="460"/>
                      </a:lnTo>
                      <a:lnTo>
                        <a:pt x="192" y="461"/>
                      </a:lnTo>
                      <a:lnTo>
                        <a:pt x="192" y="461"/>
                      </a:lnTo>
                      <a:lnTo>
                        <a:pt x="191" y="461"/>
                      </a:lnTo>
                      <a:lnTo>
                        <a:pt x="191" y="461"/>
                      </a:lnTo>
                      <a:lnTo>
                        <a:pt x="190" y="461"/>
                      </a:lnTo>
                      <a:lnTo>
                        <a:pt x="190" y="461"/>
                      </a:lnTo>
                      <a:lnTo>
                        <a:pt x="188" y="461"/>
                      </a:lnTo>
                      <a:lnTo>
                        <a:pt x="188" y="463"/>
                      </a:lnTo>
                      <a:lnTo>
                        <a:pt x="188" y="463"/>
                      </a:lnTo>
                      <a:lnTo>
                        <a:pt x="187" y="463"/>
                      </a:lnTo>
                      <a:lnTo>
                        <a:pt x="181" y="465"/>
                      </a:lnTo>
                      <a:lnTo>
                        <a:pt x="181" y="465"/>
                      </a:lnTo>
                      <a:lnTo>
                        <a:pt x="180" y="466"/>
                      </a:lnTo>
                      <a:lnTo>
                        <a:pt x="180" y="466"/>
                      </a:lnTo>
                      <a:lnTo>
                        <a:pt x="180" y="466"/>
                      </a:lnTo>
                      <a:lnTo>
                        <a:pt x="180" y="466"/>
                      </a:lnTo>
                      <a:lnTo>
                        <a:pt x="180" y="466"/>
                      </a:lnTo>
                      <a:lnTo>
                        <a:pt x="179" y="466"/>
                      </a:lnTo>
                      <a:lnTo>
                        <a:pt x="179" y="466"/>
                      </a:lnTo>
                      <a:lnTo>
                        <a:pt x="179" y="467"/>
                      </a:lnTo>
                      <a:lnTo>
                        <a:pt x="177" y="468"/>
                      </a:lnTo>
                      <a:lnTo>
                        <a:pt x="177" y="468"/>
                      </a:lnTo>
                      <a:lnTo>
                        <a:pt x="176" y="468"/>
                      </a:lnTo>
                      <a:lnTo>
                        <a:pt x="176" y="468"/>
                      </a:lnTo>
                      <a:lnTo>
                        <a:pt x="173" y="468"/>
                      </a:lnTo>
                      <a:lnTo>
                        <a:pt x="172" y="468"/>
                      </a:lnTo>
                      <a:lnTo>
                        <a:pt x="171" y="468"/>
                      </a:lnTo>
                      <a:lnTo>
                        <a:pt x="170" y="470"/>
                      </a:lnTo>
                      <a:lnTo>
                        <a:pt x="170" y="470"/>
                      </a:lnTo>
                      <a:lnTo>
                        <a:pt x="168" y="470"/>
                      </a:lnTo>
                      <a:lnTo>
                        <a:pt x="168" y="470"/>
                      </a:lnTo>
                      <a:lnTo>
                        <a:pt x="167" y="470"/>
                      </a:lnTo>
                      <a:lnTo>
                        <a:pt x="166" y="471"/>
                      </a:lnTo>
                      <a:lnTo>
                        <a:pt x="166" y="471"/>
                      </a:lnTo>
                      <a:lnTo>
                        <a:pt x="165" y="472"/>
                      </a:lnTo>
                      <a:lnTo>
                        <a:pt x="165" y="472"/>
                      </a:lnTo>
                      <a:lnTo>
                        <a:pt x="165" y="472"/>
                      </a:lnTo>
                      <a:lnTo>
                        <a:pt x="164" y="473"/>
                      </a:lnTo>
                      <a:lnTo>
                        <a:pt x="164" y="473"/>
                      </a:lnTo>
                      <a:lnTo>
                        <a:pt x="164" y="473"/>
                      </a:lnTo>
                      <a:lnTo>
                        <a:pt x="160" y="478"/>
                      </a:lnTo>
                      <a:lnTo>
                        <a:pt x="158" y="481"/>
                      </a:lnTo>
                      <a:lnTo>
                        <a:pt x="158" y="481"/>
                      </a:lnTo>
                      <a:lnTo>
                        <a:pt x="158" y="481"/>
                      </a:lnTo>
                      <a:lnTo>
                        <a:pt x="158" y="481"/>
                      </a:lnTo>
                      <a:lnTo>
                        <a:pt x="158" y="481"/>
                      </a:lnTo>
                      <a:lnTo>
                        <a:pt x="157" y="483"/>
                      </a:lnTo>
                      <a:lnTo>
                        <a:pt x="156" y="483"/>
                      </a:lnTo>
                      <a:lnTo>
                        <a:pt x="154" y="484"/>
                      </a:lnTo>
                      <a:lnTo>
                        <a:pt x="153" y="485"/>
                      </a:lnTo>
                      <a:lnTo>
                        <a:pt x="153" y="485"/>
                      </a:lnTo>
                      <a:lnTo>
                        <a:pt x="153" y="485"/>
                      </a:lnTo>
                      <a:lnTo>
                        <a:pt x="152" y="486"/>
                      </a:lnTo>
                      <a:lnTo>
                        <a:pt x="152" y="486"/>
                      </a:lnTo>
                      <a:lnTo>
                        <a:pt x="152" y="486"/>
                      </a:lnTo>
                      <a:lnTo>
                        <a:pt x="152" y="486"/>
                      </a:lnTo>
                      <a:lnTo>
                        <a:pt x="151" y="487"/>
                      </a:lnTo>
                      <a:lnTo>
                        <a:pt x="150" y="487"/>
                      </a:lnTo>
                      <a:lnTo>
                        <a:pt x="147" y="488"/>
                      </a:lnTo>
                      <a:lnTo>
                        <a:pt x="146" y="488"/>
                      </a:lnTo>
                      <a:lnTo>
                        <a:pt x="146" y="488"/>
                      </a:lnTo>
                      <a:lnTo>
                        <a:pt x="146" y="488"/>
                      </a:lnTo>
                      <a:lnTo>
                        <a:pt x="146" y="488"/>
                      </a:lnTo>
                      <a:lnTo>
                        <a:pt x="146" y="488"/>
                      </a:lnTo>
                      <a:lnTo>
                        <a:pt x="146" y="488"/>
                      </a:lnTo>
                      <a:lnTo>
                        <a:pt x="145" y="488"/>
                      </a:lnTo>
                      <a:lnTo>
                        <a:pt x="145" y="488"/>
                      </a:lnTo>
                      <a:lnTo>
                        <a:pt x="145" y="488"/>
                      </a:lnTo>
                      <a:lnTo>
                        <a:pt x="145" y="488"/>
                      </a:lnTo>
                      <a:lnTo>
                        <a:pt x="145" y="488"/>
                      </a:lnTo>
                      <a:lnTo>
                        <a:pt x="144" y="490"/>
                      </a:lnTo>
                      <a:lnTo>
                        <a:pt x="143" y="490"/>
                      </a:lnTo>
                      <a:lnTo>
                        <a:pt x="143" y="490"/>
                      </a:lnTo>
                      <a:lnTo>
                        <a:pt x="143" y="490"/>
                      </a:lnTo>
                      <a:lnTo>
                        <a:pt x="143" y="491"/>
                      </a:lnTo>
                      <a:lnTo>
                        <a:pt x="141" y="491"/>
                      </a:lnTo>
                      <a:lnTo>
                        <a:pt x="140" y="491"/>
                      </a:lnTo>
                      <a:lnTo>
                        <a:pt x="140" y="490"/>
                      </a:lnTo>
                      <a:lnTo>
                        <a:pt x="140" y="488"/>
                      </a:lnTo>
                      <a:lnTo>
                        <a:pt x="140" y="488"/>
                      </a:lnTo>
                      <a:lnTo>
                        <a:pt x="140" y="488"/>
                      </a:lnTo>
                      <a:lnTo>
                        <a:pt x="140" y="488"/>
                      </a:lnTo>
                      <a:lnTo>
                        <a:pt x="139" y="487"/>
                      </a:lnTo>
                      <a:lnTo>
                        <a:pt x="139" y="487"/>
                      </a:lnTo>
                      <a:lnTo>
                        <a:pt x="139" y="487"/>
                      </a:lnTo>
                      <a:lnTo>
                        <a:pt x="138" y="488"/>
                      </a:lnTo>
                      <a:lnTo>
                        <a:pt x="136" y="488"/>
                      </a:lnTo>
                      <a:lnTo>
                        <a:pt x="136" y="488"/>
                      </a:lnTo>
                      <a:lnTo>
                        <a:pt x="136" y="488"/>
                      </a:lnTo>
                      <a:lnTo>
                        <a:pt x="136" y="488"/>
                      </a:lnTo>
                      <a:lnTo>
                        <a:pt x="134" y="488"/>
                      </a:lnTo>
                      <a:lnTo>
                        <a:pt x="132" y="488"/>
                      </a:lnTo>
                      <a:lnTo>
                        <a:pt x="132" y="488"/>
                      </a:lnTo>
                      <a:lnTo>
                        <a:pt x="132" y="488"/>
                      </a:lnTo>
                      <a:lnTo>
                        <a:pt x="132" y="488"/>
                      </a:lnTo>
                      <a:lnTo>
                        <a:pt x="132" y="488"/>
                      </a:lnTo>
                      <a:lnTo>
                        <a:pt x="132" y="488"/>
                      </a:lnTo>
                      <a:lnTo>
                        <a:pt x="130" y="490"/>
                      </a:lnTo>
                      <a:lnTo>
                        <a:pt x="128" y="490"/>
                      </a:lnTo>
                      <a:lnTo>
                        <a:pt x="128" y="488"/>
                      </a:lnTo>
                      <a:lnTo>
                        <a:pt x="127" y="488"/>
                      </a:lnTo>
                      <a:lnTo>
                        <a:pt x="127" y="488"/>
                      </a:lnTo>
                      <a:lnTo>
                        <a:pt x="127" y="488"/>
                      </a:lnTo>
                      <a:lnTo>
                        <a:pt x="126" y="490"/>
                      </a:lnTo>
                      <a:lnTo>
                        <a:pt x="126" y="490"/>
                      </a:lnTo>
                      <a:lnTo>
                        <a:pt x="126" y="490"/>
                      </a:lnTo>
                      <a:lnTo>
                        <a:pt x="126" y="490"/>
                      </a:lnTo>
                      <a:lnTo>
                        <a:pt x="126" y="490"/>
                      </a:lnTo>
                      <a:lnTo>
                        <a:pt x="125" y="490"/>
                      </a:lnTo>
                      <a:lnTo>
                        <a:pt x="125" y="491"/>
                      </a:lnTo>
                      <a:lnTo>
                        <a:pt x="125" y="491"/>
                      </a:lnTo>
                      <a:lnTo>
                        <a:pt x="125" y="491"/>
                      </a:lnTo>
                      <a:lnTo>
                        <a:pt x="125" y="491"/>
                      </a:lnTo>
                      <a:lnTo>
                        <a:pt x="125" y="491"/>
                      </a:lnTo>
                      <a:lnTo>
                        <a:pt x="125" y="491"/>
                      </a:lnTo>
                      <a:lnTo>
                        <a:pt x="123" y="491"/>
                      </a:lnTo>
                      <a:lnTo>
                        <a:pt x="123" y="491"/>
                      </a:lnTo>
                      <a:lnTo>
                        <a:pt x="123" y="491"/>
                      </a:lnTo>
                      <a:lnTo>
                        <a:pt x="123" y="491"/>
                      </a:lnTo>
                      <a:lnTo>
                        <a:pt x="123" y="491"/>
                      </a:lnTo>
                      <a:lnTo>
                        <a:pt x="123" y="491"/>
                      </a:lnTo>
                      <a:lnTo>
                        <a:pt x="123" y="491"/>
                      </a:lnTo>
                      <a:lnTo>
                        <a:pt x="123" y="491"/>
                      </a:lnTo>
                      <a:lnTo>
                        <a:pt x="123" y="491"/>
                      </a:lnTo>
                      <a:lnTo>
                        <a:pt x="123" y="490"/>
                      </a:lnTo>
                      <a:lnTo>
                        <a:pt x="123" y="490"/>
                      </a:lnTo>
                      <a:lnTo>
                        <a:pt x="123" y="488"/>
                      </a:lnTo>
                      <a:lnTo>
                        <a:pt x="123" y="488"/>
                      </a:lnTo>
                      <a:lnTo>
                        <a:pt x="123" y="488"/>
                      </a:lnTo>
                      <a:lnTo>
                        <a:pt x="123" y="487"/>
                      </a:lnTo>
                      <a:lnTo>
                        <a:pt x="123" y="487"/>
                      </a:lnTo>
                      <a:lnTo>
                        <a:pt x="123" y="487"/>
                      </a:lnTo>
                      <a:lnTo>
                        <a:pt x="123" y="487"/>
                      </a:lnTo>
                      <a:lnTo>
                        <a:pt x="123" y="487"/>
                      </a:lnTo>
                      <a:lnTo>
                        <a:pt x="121" y="487"/>
                      </a:lnTo>
                      <a:lnTo>
                        <a:pt x="120" y="487"/>
                      </a:lnTo>
                      <a:lnTo>
                        <a:pt x="120" y="487"/>
                      </a:lnTo>
                      <a:lnTo>
                        <a:pt x="120" y="487"/>
                      </a:lnTo>
                      <a:lnTo>
                        <a:pt x="120" y="488"/>
                      </a:lnTo>
                      <a:lnTo>
                        <a:pt x="119" y="488"/>
                      </a:lnTo>
                      <a:lnTo>
                        <a:pt x="119" y="488"/>
                      </a:lnTo>
                      <a:lnTo>
                        <a:pt x="119" y="488"/>
                      </a:lnTo>
                      <a:lnTo>
                        <a:pt x="118" y="488"/>
                      </a:lnTo>
                      <a:lnTo>
                        <a:pt x="118" y="488"/>
                      </a:lnTo>
                      <a:lnTo>
                        <a:pt x="118" y="488"/>
                      </a:lnTo>
                      <a:lnTo>
                        <a:pt x="117" y="487"/>
                      </a:lnTo>
                      <a:lnTo>
                        <a:pt x="114" y="487"/>
                      </a:lnTo>
                      <a:lnTo>
                        <a:pt x="114" y="487"/>
                      </a:lnTo>
                      <a:lnTo>
                        <a:pt x="113" y="487"/>
                      </a:lnTo>
                      <a:lnTo>
                        <a:pt x="112" y="487"/>
                      </a:lnTo>
                      <a:lnTo>
                        <a:pt x="111" y="487"/>
                      </a:lnTo>
                      <a:lnTo>
                        <a:pt x="111" y="487"/>
                      </a:lnTo>
                      <a:lnTo>
                        <a:pt x="108" y="487"/>
                      </a:lnTo>
                      <a:lnTo>
                        <a:pt x="106" y="487"/>
                      </a:lnTo>
                      <a:lnTo>
                        <a:pt x="104" y="488"/>
                      </a:lnTo>
                      <a:lnTo>
                        <a:pt x="104" y="487"/>
                      </a:lnTo>
                      <a:lnTo>
                        <a:pt x="103" y="487"/>
                      </a:lnTo>
                      <a:lnTo>
                        <a:pt x="103" y="487"/>
                      </a:lnTo>
                      <a:lnTo>
                        <a:pt x="103" y="487"/>
                      </a:lnTo>
                      <a:lnTo>
                        <a:pt x="103" y="488"/>
                      </a:lnTo>
                      <a:lnTo>
                        <a:pt x="101" y="488"/>
                      </a:lnTo>
                      <a:lnTo>
                        <a:pt x="101" y="488"/>
                      </a:lnTo>
                      <a:lnTo>
                        <a:pt x="101" y="488"/>
                      </a:lnTo>
                      <a:lnTo>
                        <a:pt x="101" y="488"/>
                      </a:lnTo>
                      <a:lnTo>
                        <a:pt x="100" y="488"/>
                      </a:lnTo>
                      <a:lnTo>
                        <a:pt x="99" y="488"/>
                      </a:lnTo>
                      <a:lnTo>
                        <a:pt x="97" y="488"/>
                      </a:lnTo>
                      <a:lnTo>
                        <a:pt x="96" y="490"/>
                      </a:lnTo>
                      <a:lnTo>
                        <a:pt x="94" y="490"/>
                      </a:lnTo>
                      <a:lnTo>
                        <a:pt x="94" y="490"/>
                      </a:lnTo>
                      <a:lnTo>
                        <a:pt x="94" y="490"/>
                      </a:lnTo>
                      <a:lnTo>
                        <a:pt x="94" y="490"/>
                      </a:lnTo>
                      <a:lnTo>
                        <a:pt x="94" y="490"/>
                      </a:lnTo>
                      <a:lnTo>
                        <a:pt x="93" y="490"/>
                      </a:lnTo>
                      <a:lnTo>
                        <a:pt x="92" y="490"/>
                      </a:lnTo>
                      <a:lnTo>
                        <a:pt x="92" y="490"/>
                      </a:lnTo>
                      <a:lnTo>
                        <a:pt x="91" y="490"/>
                      </a:lnTo>
                      <a:lnTo>
                        <a:pt x="88" y="490"/>
                      </a:lnTo>
                      <a:lnTo>
                        <a:pt x="88" y="490"/>
                      </a:lnTo>
                      <a:lnTo>
                        <a:pt x="87" y="490"/>
                      </a:lnTo>
                      <a:lnTo>
                        <a:pt x="87" y="490"/>
                      </a:lnTo>
                      <a:lnTo>
                        <a:pt x="84" y="490"/>
                      </a:lnTo>
                      <a:lnTo>
                        <a:pt x="84" y="491"/>
                      </a:lnTo>
                      <a:lnTo>
                        <a:pt x="84" y="491"/>
                      </a:lnTo>
                      <a:lnTo>
                        <a:pt x="84" y="491"/>
                      </a:lnTo>
                      <a:lnTo>
                        <a:pt x="83" y="491"/>
                      </a:lnTo>
                      <a:lnTo>
                        <a:pt x="83" y="491"/>
                      </a:lnTo>
                      <a:lnTo>
                        <a:pt x="83" y="491"/>
                      </a:lnTo>
                      <a:lnTo>
                        <a:pt x="83" y="492"/>
                      </a:lnTo>
                      <a:lnTo>
                        <a:pt x="81" y="492"/>
                      </a:lnTo>
                      <a:lnTo>
                        <a:pt x="81" y="492"/>
                      </a:lnTo>
                      <a:lnTo>
                        <a:pt x="80" y="492"/>
                      </a:lnTo>
                      <a:lnTo>
                        <a:pt x="80" y="492"/>
                      </a:lnTo>
                      <a:lnTo>
                        <a:pt x="80" y="493"/>
                      </a:lnTo>
                      <a:lnTo>
                        <a:pt x="79" y="494"/>
                      </a:lnTo>
                      <a:lnTo>
                        <a:pt x="78" y="494"/>
                      </a:lnTo>
                      <a:lnTo>
                        <a:pt x="77" y="496"/>
                      </a:lnTo>
                      <a:lnTo>
                        <a:pt x="76" y="497"/>
                      </a:lnTo>
                      <a:lnTo>
                        <a:pt x="76" y="497"/>
                      </a:lnTo>
                      <a:lnTo>
                        <a:pt x="76" y="498"/>
                      </a:lnTo>
                      <a:lnTo>
                        <a:pt x="76" y="498"/>
                      </a:lnTo>
                      <a:lnTo>
                        <a:pt x="72" y="500"/>
                      </a:lnTo>
                      <a:lnTo>
                        <a:pt x="70" y="501"/>
                      </a:lnTo>
                      <a:lnTo>
                        <a:pt x="70" y="500"/>
                      </a:lnTo>
                      <a:lnTo>
                        <a:pt x="68" y="500"/>
                      </a:lnTo>
                      <a:lnTo>
                        <a:pt x="67" y="500"/>
                      </a:lnTo>
                      <a:lnTo>
                        <a:pt x="65" y="500"/>
                      </a:lnTo>
                      <a:lnTo>
                        <a:pt x="65" y="500"/>
                      </a:lnTo>
                      <a:lnTo>
                        <a:pt x="65" y="500"/>
                      </a:lnTo>
                      <a:lnTo>
                        <a:pt x="65" y="500"/>
                      </a:lnTo>
                      <a:lnTo>
                        <a:pt x="61" y="501"/>
                      </a:lnTo>
                      <a:lnTo>
                        <a:pt x="61" y="501"/>
                      </a:lnTo>
                      <a:lnTo>
                        <a:pt x="61" y="501"/>
                      </a:lnTo>
                      <a:lnTo>
                        <a:pt x="60" y="503"/>
                      </a:lnTo>
                      <a:lnTo>
                        <a:pt x="60" y="503"/>
                      </a:lnTo>
                      <a:lnTo>
                        <a:pt x="61" y="503"/>
                      </a:lnTo>
                      <a:lnTo>
                        <a:pt x="60" y="504"/>
                      </a:lnTo>
                      <a:lnTo>
                        <a:pt x="60" y="504"/>
                      </a:lnTo>
                      <a:lnTo>
                        <a:pt x="60" y="504"/>
                      </a:lnTo>
                      <a:lnTo>
                        <a:pt x="59" y="504"/>
                      </a:lnTo>
                      <a:lnTo>
                        <a:pt x="59" y="505"/>
                      </a:lnTo>
                      <a:lnTo>
                        <a:pt x="58" y="505"/>
                      </a:lnTo>
                      <a:lnTo>
                        <a:pt x="58" y="505"/>
                      </a:lnTo>
                      <a:lnTo>
                        <a:pt x="58" y="505"/>
                      </a:lnTo>
                      <a:lnTo>
                        <a:pt x="58" y="505"/>
                      </a:lnTo>
                      <a:lnTo>
                        <a:pt x="57" y="505"/>
                      </a:lnTo>
                      <a:lnTo>
                        <a:pt x="57" y="505"/>
                      </a:lnTo>
                      <a:lnTo>
                        <a:pt x="56" y="506"/>
                      </a:lnTo>
                      <a:lnTo>
                        <a:pt x="56" y="506"/>
                      </a:lnTo>
                      <a:lnTo>
                        <a:pt x="54" y="506"/>
                      </a:lnTo>
                      <a:lnTo>
                        <a:pt x="54" y="506"/>
                      </a:lnTo>
                      <a:lnTo>
                        <a:pt x="54" y="506"/>
                      </a:lnTo>
                      <a:lnTo>
                        <a:pt x="54" y="506"/>
                      </a:lnTo>
                      <a:lnTo>
                        <a:pt x="53" y="507"/>
                      </a:lnTo>
                      <a:lnTo>
                        <a:pt x="53" y="507"/>
                      </a:lnTo>
                      <a:lnTo>
                        <a:pt x="53" y="508"/>
                      </a:lnTo>
                      <a:lnTo>
                        <a:pt x="53" y="508"/>
                      </a:lnTo>
                      <a:lnTo>
                        <a:pt x="51" y="510"/>
                      </a:lnTo>
                      <a:lnTo>
                        <a:pt x="46" y="511"/>
                      </a:lnTo>
                      <a:lnTo>
                        <a:pt x="43" y="512"/>
                      </a:lnTo>
                      <a:lnTo>
                        <a:pt x="41" y="512"/>
                      </a:lnTo>
                      <a:lnTo>
                        <a:pt x="41" y="512"/>
                      </a:lnTo>
                      <a:lnTo>
                        <a:pt x="41" y="512"/>
                      </a:lnTo>
                      <a:lnTo>
                        <a:pt x="41" y="512"/>
                      </a:lnTo>
                      <a:lnTo>
                        <a:pt x="41" y="512"/>
                      </a:lnTo>
                      <a:lnTo>
                        <a:pt x="41" y="512"/>
                      </a:lnTo>
                      <a:lnTo>
                        <a:pt x="41" y="512"/>
                      </a:lnTo>
                      <a:lnTo>
                        <a:pt x="41" y="513"/>
                      </a:lnTo>
                      <a:lnTo>
                        <a:pt x="43" y="513"/>
                      </a:lnTo>
                      <a:lnTo>
                        <a:pt x="43" y="513"/>
                      </a:lnTo>
                      <a:lnTo>
                        <a:pt x="44" y="513"/>
                      </a:lnTo>
                      <a:lnTo>
                        <a:pt x="44" y="513"/>
                      </a:lnTo>
                      <a:lnTo>
                        <a:pt x="44" y="513"/>
                      </a:lnTo>
                      <a:lnTo>
                        <a:pt x="44" y="513"/>
                      </a:lnTo>
                      <a:lnTo>
                        <a:pt x="44" y="513"/>
                      </a:lnTo>
                      <a:lnTo>
                        <a:pt x="44" y="513"/>
                      </a:lnTo>
                      <a:lnTo>
                        <a:pt x="44" y="513"/>
                      </a:lnTo>
                      <a:lnTo>
                        <a:pt x="44" y="513"/>
                      </a:lnTo>
                      <a:lnTo>
                        <a:pt x="43" y="513"/>
                      </a:lnTo>
                      <a:lnTo>
                        <a:pt x="43" y="513"/>
                      </a:lnTo>
                      <a:lnTo>
                        <a:pt x="43" y="513"/>
                      </a:lnTo>
                      <a:lnTo>
                        <a:pt x="41" y="513"/>
                      </a:lnTo>
                      <a:lnTo>
                        <a:pt x="41" y="513"/>
                      </a:lnTo>
                      <a:lnTo>
                        <a:pt x="41" y="513"/>
                      </a:lnTo>
                      <a:lnTo>
                        <a:pt x="41" y="513"/>
                      </a:lnTo>
                      <a:lnTo>
                        <a:pt x="41" y="513"/>
                      </a:lnTo>
                      <a:lnTo>
                        <a:pt x="40" y="512"/>
                      </a:lnTo>
                      <a:lnTo>
                        <a:pt x="40" y="512"/>
                      </a:lnTo>
                      <a:lnTo>
                        <a:pt x="40" y="512"/>
                      </a:lnTo>
                      <a:lnTo>
                        <a:pt x="40" y="512"/>
                      </a:lnTo>
                      <a:lnTo>
                        <a:pt x="39" y="512"/>
                      </a:lnTo>
                      <a:lnTo>
                        <a:pt x="39" y="512"/>
                      </a:lnTo>
                      <a:lnTo>
                        <a:pt x="39" y="512"/>
                      </a:lnTo>
                      <a:lnTo>
                        <a:pt x="39" y="512"/>
                      </a:lnTo>
                      <a:lnTo>
                        <a:pt x="38" y="512"/>
                      </a:lnTo>
                      <a:lnTo>
                        <a:pt x="38" y="513"/>
                      </a:lnTo>
                      <a:lnTo>
                        <a:pt x="38" y="513"/>
                      </a:lnTo>
                      <a:lnTo>
                        <a:pt x="38" y="513"/>
                      </a:lnTo>
                      <a:lnTo>
                        <a:pt x="37" y="514"/>
                      </a:lnTo>
                      <a:lnTo>
                        <a:pt x="37" y="513"/>
                      </a:lnTo>
                      <a:lnTo>
                        <a:pt x="37" y="513"/>
                      </a:lnTo>
                      <a:lnTo>
                        <a:pt x="34" y="512"/>
                      </a:lnTo>
                      <a:lnTo>
                        <a:pt x="34" y="512"/>
                      </a:lnTo>
                      <a:lnTo>
                        <a:pt x="33" y="512"/>
                      </a:lnTo>
                      <a:lnTo>
                        <a:pt x="31" y="511"/>
                      </a:lnTo>
                      <a:lnTo>
                        <a:pt x="27" y="512"/>
                      </a:lnTo>
                      <a:lnTo>
                        <a:pt x="27" y="512"/>
                      </a:lnTo>
                      <a:lnTo>
                        <a:pt x="27" y="512"/>
                      </a:lnTo>
                      <a:lnTo>
                        <a:pt x="26" y="512"/>
                      </a:lnTo>
                      <a:lnTo>
                        <a:pt x="26" y="512"/>
                      </a:lnTo>
                      <a:lnTo>
                        <a:pt x="26" y="512"/>
                      </a:lnTo>
                      <a:lnTo>
                        <a:pt x="26" y="512"/>
                      </a:lnTo>
                      <a:lnTo>
                        <a:pt x="26" y="512"/>
                      </a:lnTo>
                      <a:lnTo>
                        <a:pt x="26" y="512"/>
                      </a:lnTo>
                      <a:lnTo>
                        <a:pt x="25" y="512"/>
                      </a:lnTo>
                      <a:lnTo>
                        <a:pt x="25" y="512"/>
                      </a:lnTo>
                      <a:lnTo>
                        <a:pt x="25" y="512"/>
                      </a:lnTo>
                      <a:lnTo>
                        <a:pt x="25" y="512"/>
                      </a:lnTo>
                      <a:lnTo>
                        <a:pt x="24" y="512"/>
                      </a:lnTo>
                      <a:lnTo>
                        <a:pt x="23" y="512"/>
                      </a:lnTo>
                      <a:lnTo>
                        <a:pt x="21" y="512"/>
                      </a:lnTo>
                      <a:lnTo>
                        <a:pt x="19" y="511"/>
                      </a:lnTo>
                      <a:lnTo>
                        <a:pt x="19" y="511"/>
                      </a:lnTo>
                      <a:lnTo>
                        <a:pt x="18" y="510"/>
                      </a:lnTo>
                      <a:lnTo>
                        <a:pt x="17" y="510"/>
                      </a:lnTo>
                      <a:lnTo>
                        <a:pt x="17" y="508"/>
                      </a:lnTo>
                      <a:lnTo>
                        <a:pt x="17" y="508"/>
                      </a:lnTo>
                      <a:lnTo>
                        <a:pt x="16" y="508"/>
                      </a:lnTo>
                      <a:lnTo>
                        <a:pt x="16" y="508"/>
                      </a:lnTo>
                      <a:lnTo>
                        <a:pt x="14" y="508"/>
                      </a:lnTo>
                      <a:lnTo>
                        <a:pt x="12" y="507"/>
                      </a:lnTo>
                      <a:lnTo>
                        <a:pt x="12" y="506"/>
                      </a:lnTo>
                      <a:lnTo>
                        <a:pt x="12" y="506"/>
                      </a:lnTo>
                      <a:lnTo>
                        <a:pt x="12" y="505"/>
                      </a:lnTo>
                      <a:lnTo>
                        <a:pt x="12" y="505"/>
                      </a:lnTo>
                      <a:lnTo>
                        <a:pt x="11" y="503"/>
                      </a:lnTo>
                      <a:lnTo>
                        <a:pt x="11" y="503"/>
                      </a:lnTo>
                      <a:lnTo>
                        <a:pt x="11" y="503"/>
                      </a:lnTo>
                      <a:lnTo>
                        <a:pt x="10" y="500"/>
                      </a:lnTo>
                      <a:lnTo>
                        <a:pt x="7" y="499"/>
                      </a:lnTo>
                      <a:lnTo>
                        <a:pt x="7" y="499"/>
                      </a:lnTo>
                      <a:lnTo>
                        <a:pt x="6" y="498"/>
                      </a:lnTo>
                      <a:lnTo>
                        <a:pt x="6" y="498"/>
                      </a:lnTo>
                      <a:lnTo>
                        <a:pt x="5" y="497"/>
                      </a:lnTo>
                      <a:lnTo>
                        <a:pt x="5" y="497"/>
                      </a:lnTo>
                      <a:lnTo>
                        <a:pt x="4" y="497"/>
                      </a:lnTo>
                      <a:lnTo>
                        <a:pt x="4" y="497"/>
                      </a:lnTo>
                      <a:lnTo>
                        <a:pt x="4" y="497"/>
                      </a:lnTo>
                      <a:lnTo>
                        <a:pt x="4" y="497"/>
                      </a:lnTo>
                      <a:lnTo>
                        <a:pt x="3" y="497"/>
                      </a:lnTo>
                      <a:lnTo>
                        <a:pt x="3" y="497"/>
                      </a:lnTo>
                      <a:lnTo>
                        <a:pt x="3" y="497"/>
                      </a:lnTo>
                      <a:lnTo>
                        <a:pt x="3" y="497"/>
                      </a:lnTo>
                      <a:lnTo>
                        <a:pt x="3" y="497"/>
                      </a:lnTo>
                      <a:lnTo>
                        <a:pt x="3" y="498"/>
                      </a:lnTo>
                      <a:lnTo>
                        <a:pt x="1" y="498"/>
                      </a:lnTo>
                      <a:lnTo>
                        <a:pt x="1" y="498"/>
                      </a:lnTo>
                      <a:lnTo>
                        <a:pt x="1" y="498"/>
                      </a:lnTo>
                      <a:lnTo>
                        <a:pt x="1" y="498"/>
                      </a:lnTo>
                      <a:lnTo>
                        <a:pt x="1" y="498"/>
                      </a:lnTo>
                      <a:lnTo>
                        <a:pt x="0" y="497"/>
                      </a:lnTo>
                      <a:lnTo>
                        <a:pt x="0" y="497"/>
                      </a:lnTo>
                      <a:lnTo>
                        <a:pt x="0" y="496"/>
                      </a:lnTo>
                      <a:lnTo>
                        <a:pt x="0" y="496"/>
                      </a:lnTo>
                      <a:lnTo>
                        <a:pt x="0" y="496"/>
                      </a:lnTo>
                      <a:lnTo>
                        <a:pt x="0" y="496"/>
                      </a:lnTo>
                      <a:lnTo>
                        <a:pt x="0" y="494"/>
                      </a:lnTo>
                      <a:lnTo>
                        <a:pt x="1" y="494"/>
                      </a:lnTo>
                      <a:lnTo>
                        <a:pt x="1" y="494"/>
                      </a:lnTo>
                      <a:lnTo>
                        <a:pt x="1" y="494"/>
                      </a:lnTo>
                      <a:lnTo>
                        <a:pt x="1" y="491"/>
                      </a:lnTo>
                      <a:lnTo>
                        <a:pt x="3" y="488"/>
                      </a:lnTo>
                      <a:lnTo>
                        <a:pt x="4" y="485"/>
                      </a:lnTo>
                      <a:lnTo>
                        <a:pt x="4" y="485"/>
                      </a:lnTo>
                      <a:lnTo>
                        <a:pt x="5" y="481"/>
                      </a:lnTo>
                      <a:lnTo>
                        <a:pt x="5" y="481"/>
                      </a:lnTo>
                      <a:lnTo>
                        <a:pt x="6" y="481"/>
                      </a:lnTo>
                      <a:lnTo>
                        <a:pt x="6" y="481"/>
                      </a:lnTo>
                      <a:lnTo>
                        <a:pt x="6" y="481"/>
                      </a:lnTo>
                      <a:lnTo>
                        <a:pt x="6" y="481"/>
                      </a:lnTo>
                      <a:lnTo>
                        <a:pt x="6" y="481"/>
                      </a:lnTo>
                      <a:lnTo>
                        <a:pt x="6" y="481"/>
                      </a:lnTo>
                      <a:lnTo>
                        <a:pt x="6" y="481"/>
                      </a:lnTo>
                      <a:lnTo>
                        <a:pt x="6" y="483"/>
                      </a:lnTo>
                      <a:lnTo>
                        <a:pt x="6" y="483"/>
                      </a:lnTo>
                      <a:lnTo>
                        <a:pt x="6" y="483"/>
                      </a:lnTo>
                      <a:lnTo>
                        <a:pt x="6" y="483"/>
                      </a:lnTo>
                      <a:lnTo>
                        <a:pt x="6" y="483"/>
                      </a:lnTo>
                      <a:lnTo>
                        <a:pt x="7" y="483"/>
                      </a:lnTo>
                      <a:lnTo>
                        <a:pt x="7" y="484"/>
                      </a:lnTo>
                      <a:lnTo>
                        <a:pt x="9" y="484"/>
                      </a:lnTo>
                      <a:lnTo>
                        <a:pt x="9" y="484"/>
                      </a:lnTo>
                      <a:lnTo>
                        <a:pt x="9" y="484"/>
                      </a:lnTo>
                      <a:lnTo>
                        <a:pt x="10" y="484"/>
                      </a:lnTo>
                      <a:lnTo>
                        <a:pt x="10" y="484"/>
                      </a:lnTo>
                      <a:lnTo>
                        <a:pt x="10" y="484"/>
                      </a:lnTo>
                      <a:lnTo>
                        <a:pt x="11" y="484"/>
                      </a:lnTo>
                      <a:lnTo>
                        <a:pt x="11" y="484"/>
                      </a:lnTo>
                      <a:lnTo>
                        <a:pt x="12" y="483"/>
                      </a:lnTo>
                      <a:lnTo>
                        <a:pt x="12" y="483"/>
                      </a:lnTo>
                      <a:lnTo>
                        <a:pt x="12" y="483"/>
                      </a:lnTo>
                      <a:lnTo>
                        <a:pt x="18" y="477"/>
                      </a:lnTo>
                      <a:lnTo>
                        <a:pt x="19" y="477"/>
                      </a:lnTo>
                      <a:lnTo>
                        <a:pt x="19" y="477"/>
                      </a:lnTo>
                      <a:lnTo>
                        <a:pt x="19" y="477"/>
                      </a:lnTo>
                      <a:lnTo>
                        <a:pt x="19" y="477"/>
                      </a:lnTo>
                      <a:lnTo>
                        <a:pt x="19" y="476"/>
                      </a:lnTo>
                      <a:lnTo>
                        <a:pt x="19" y="476"/>
                      </a:lnTo>
                      <a:lnTo>
                        <a:pt x="20" y="476"/>
                      </a:lnTo>
                      <a:lnTo>
                        <a:pt x="20" y="476"/>
                      </a:lnTo>
                      <a:lnTo>
                        <a:pt x="20" y="476"/>
                      </a:lnTo>
                      <a:lnTo>
                        <a:pt x="21" y="470"/>
                      </a:lnTo>
                      <a:lnTo>
                        <a:pt x="21" y="468"/>
                      </a:lnTo>
                      <a:lnTo>
                        <a:pt x="21" y="467"/>
                      </a:lnTo>
                      <a:lnTo>
                        <a:pt x="21" y="466"/>
                      </a:lnTo>
                      <a:lnTo>
                        <a:pt x="21" y="466"/>
                      </a:lnTo>
                      <a:lnTo>
                        <a:pt x="23" y="464"/>
                      </a:lnTo>
                      <a:lnTo>
                        <a:pt x="23" y="464"/>
                      </a:lnTo>
                      <a:lnTo>
                        <a:pt x="23" y="464"/>
                      </a:lnTo>
                      <a:lnTo>
                        <a:pt x="23" y="463"/>
                      </a:lnTo>
                      <a:lnTo>
                        <a:pt x="23" y="463"/>
                      </a:lnTo>
                      <a:lnTo>
                        <a:pt x="23" y="463"/>
                      </a:lnTo>
                      <a:lnTo>
                        <a:pt x="25" y="460"/>
                      </a:lnTo>
                      <a:lnTo>
                        <a:pt x="25" y="460"/>
                      </a:lnTo>
                      <a:lnTo>
                        <a:pt x="25" y="460"/>
                      </a:lnTo>
                      <a:lnTo>
                        <a:pt x="25" y="460"/>
                      </a:lnTo>
                      <a:lnTo>
                        <a:pt x="25" y="460"/>
                      </a:lnTo>
                      <a:lnTo>
                        <a:pt x="25" y="461"/>
                      </a:lnTo>
                      <a:lnTo>
                        <a:pt x="25" y="461"/>
                      </a:lnTo>
                      <a:lnTo>
                        <a:pt x="25" y="461"/>
                      </a:lnTo>
                      <a:lnTo>
                        <a:pt x="25" y="461"/>
                      </a:lnTo>
                      <a:lnTo>
                        <a:pt x="25" y="461"/>
                      </a:lnTo>
                      <a:lnTo>
                        <a:pt x="24" y="461"/>
                      </a:lnTo>
                      <a:lnTo>
                        <a:pt x="24" y="463"/>
                      </a:lnTo>
                      <a:lnTo>
                        <a:pt x="24" y="463"/>
                      </a:lnTo>
                      <a:lnTo>
                        <a:pt x="23" y="463"/>
                      </a:lnTo>
                      <a:lnTo>
                        <a:pt x="23" y="464"/>
                      </a:lnTo>
                      <a:lnTo>
                        <a:pt x="23" y="465"/>
                      </a:lnTo>
                      <a:lnTo>
                        <a:pt x="23" y="465"/>
                      </a:lnTo>
                      <a:lnTo>
                        <a:pt x="23" y="466"/>
                      </a:lnTo>
                      <a:lnTo>
                        <a:pt x="23" y="466"/>
                      </a:lnTo>
                      <a:lnTo>
                        <a:pt x="24" y="466"/>
                      </a:lnTo>
                      <a:lnTo>
                        <a:pt x="24" y="466"/>
                      </a:lnTo>
                      <a:lnTo>
                        <a:pt x="24" y="466"/>
                      </a:lnTo>
                      <a:lnTo>
                        <a:pt x="24" y="466"/>
                      </a:lnTo>
                      <a:lnTo>
                        <a:pt x="24" y="466"/>
                      </a:lnTo>
                      <a:lnTo>
                        <a:pt x="24" y="465"/>
                      </a:lnTo>
                      <a:lnTo>
                        <a:pt x="24" y="465"/>
                      </a:lnTo>
                      <a:lnTo>
                        <a:pt x="25" y="463"/>
                      </a:lnTo>
                      <a:lnTo>
                        <a:pt x="26" y="461"/>
                      </a:lnTo>
                      <a:lnTo>
                        <a:pt x="26" y="459"/>
                      </a:lnTo>
                      <a:lnTo>
                        <a:pt x="27" y="457"/>
                      </a:lnTo>
                      <a:lnTo>
                        <a:pt x="27" y="456"/>
                      </a:lnTo>
                      <a:lnTo>
                        <a:pt x="27" y="456"/>
                      </a:lnTo>
                      <a:lnTo>
                        <a:pt x="29" y="454"/>
                      </a:lnTo>
                      <a:lnTo>
                        <a:pt x="29" y="453"/>
                      </a:lnTo>
                      <a:lnTo>
                        <a:pt x="29" y="452"/>
                      </a:lnTo>
                      <a:lnTo>
                        <a:pt x="30" y="448"/>
                      </a:lnTo>
                      <a:lnTo>
                        <a:pt x="30" y="448"/>
                      </a:lnTo>
                      <a:lnTo>
                        <a:pt x="30" y="447"/>
                      </a:lnTo>
                      <a:lnTo>
                        <a:pt x="30" y="447"/>
                      </a:lnTo>
                      <a:lnTo>
                        <a:pt x="30" y="447"/>
                      </a:lnTo>
                      <a:lnTo>
                        <a:pt x="30" y="447"/>
                      </a:lnTo>
                      <a:lnTo>
                        <a:pt x="31" y="444"/>
                      </a:lnTo>
                      <a:lnTo>
                        <a:pt x="31" y="444"/>
                      </a:lnTo>
                      <a:lnTo>
                        <a:pt x="31" y="444"/>
                      </a:lnTo>
                      <a:lnTo>
                        <a:pt x="31" y="443"/>
                      </a:lnTo>
                      <a:lnTo>
                        <a:pt x="31" y="441"/>
                      </a:lnTo>
                      <a:lnTo>
                        <a:pt x="30" y="439"/>
                      </a:lnTo>
                      <a:lnTo>
                        <a:pt x="30" y="436"/>
                      </a:lnTo>
                      <a:lnTo>
                        <a:pt x="30" y="436"/>
                      </a:lnTo>
                      <a:lnTo>
                        <a:pt x="30" y="434"/>
                      </a:lnTo>
                      <a:lnTo>
                        <a:pt x="29" y="433"/>
                      </a:lnTo>
                      <a:lnTo>
                        <a:pt x="29" y="432"/>
                      </a:lnTo>
                      <a:lnTo>
                        <a:pt x="30" y="432"/>
                      </a:lnTo>
                      <a:lnTo>
                        <a:pt x="29" y="430"/>
                      </a:lnTo>
                      <a:lnTo>
                        <a:pt x="29" y="430"/>
                      </a:lnTo>
                      <a:lnTo>
                        <a:pt x="29" y="427"/>
                      </a:lnTo>
                      <a:lnTo>
                        <a:pt x="29" y="426"/>
                      </a:lnTo>
                      <a:lnTo>
                        <a:pt x="29" y="426"/>
                      </a:lnTo>
                      <a:lnTo>
                        <a:pt x="29" y="426"/>
                      </a:lnTo>
                      <a:lnTo>
                        <a:pt x="27" y="425"/>
                      </a:lnTo>
                      <a:lnTo>
                        <a:pt x="27" y="421"/>
                      </a:lnTo>
                      <a:lnTo>
                        <a:pt x="27" y="419"/>
                      </a:lnTo>
                      <a:lnTo>
                        <a:pt x="27" y="419"/>
                      </a:lnTo>
                      <a:lnTo>
                        <a:pt x="27" y="419"/>
                      </a:lnTo>
                      <a:lnTo>
                        <a:pt x="27" y="419"/>
                      </a:lnTo>
                      <a:lnTo>
                        <a:pt x="27" y="419"/>
                      </a:lnTo>
                      <a:lnTo>
                        <a:pt x="27" y="419"/>
                      </a:lnTo>
                      <a:lnTo>
                        <a:pt x="27" y="419"/>
                      </a:lnTo>
                      <a:lnTo>
                        <a:pt x="29" y="414"/>
                      </a:lnTo>
                      <a:lnTo>
                        <a:pt x="29" y="412"/>
                      </a:lnTo>
                      <a:lnTo>
                        <a:pt x="29" y="412"/>
                      </a:lnTo>
                      <a:lnTo>
                        <a:pt x="29" y="411"/>
                      </a:lnTo>
                      <a:lnTo>
                        <a:pt x="29" y="411"/>
                      </a:lnTo>
                      <a:lnTo>
                        <a:pt x="29" y="411"/>
                      </a:lnTo>
                      <a:lnTo>
                        <a:pt x="29" y="411"/>
                      </a:lnTo>
                      <a:lnTo>
                        <a:pt x="29" y="410"/>
                      </a:lnTo>
                      <a:lnTo>
                        <a:pt x="29" y="410"/>
                      </a:lnTo>
                      <a:lnTo>
                        <a:pt x="31" y="404"/>
                      </a:lnTo>
                      <a:lnTo>
                        <a:pt x="31" y="404"/>
                      </a:lnTo>
                      <a:lnTo>
                        <a:pt x="31" y="403"/>
                      </a:lnTo>
                      <a:lnTo>
                        <a:pt x="31" y="401"/>
                      </a:lnTo>
                      <a:lnTo>
                        <a:pt x="32" y="401"/>
                      </a:lnTo>
                      <a:lnTo>
                        <a:pt x="32" y="400"/>
                      </a:lnTo>
                      <a:lnTo>
                        <a:pt x="32" y="400"/>
                      </a:lnTo>
                      <a:lnTo>
                        <a:pt x="32" y="399"/>
                      </a:lnTo>
                      <a:lnTo>
                        <a:pt x="32" y="399"/>
                      </a:lnTo>
                      <a:lnTo>
                        <a:pt x="32" y="399"/>
                      </a:lnTo>
                      <a:lnTo>
                        <a:pt x="33" y="399"/>
                      </a:lnTo>
                      <a:lnTo>
                        <a:pt x="33" y="398"/>
                      </a:lnTo>
                      <a:lnTo>
                        <a:pt x="33" y="396"/>
                      </a:lnTo>
                      <a:lnTo>
                        <a:pt x="33" y="396"/>
                      </a:lnTo>
                      <a:lnTo>
                        <a:pt x="33" y="396"/>
                      </a:lnTo>
                      <a:lnTo>
                        <a:pt x="32" y="394"/>
                      </a:lnTo>
                      <a:lnTo>
                        <a:pt x="33" y="394"/>
                      </a:lnTo>
                      <a:lnTo>
                        <a:pt x="33" y="393"/>
                      </a:lnTo>
                      <a:lnTo>
                        <a:pt x="33" y="393"/>
                      </a:lnTo>
                      <a:lnTo>
                        <a:pt x="33" y="393"/>
                      </a:lnTo>
                      <a:lnTo>
                        <a:pt x="33" y="392"/>
                      </a:lnTo>
                      <a:lnTo>
                        <a:pt x="33" y="391"/>
                      </a:lnTo>
                      <a:lnTo>
                        <a:pt x="32" y="391"/>
                      </a:lnTo>
                      <a:lnTo>
                        <a:pt x="31" y="387"/>
                      </a:lnTo>
                      <a:lnTo>
                        <a:pt x="31" y="387"/>
                      </a:lnTo>
                      <a:lnTo>
                        <a:pt x="31" y="387"/>
                      </a:lnTo>
                      <a:lnTo>
                        <a:pt x="31" y="387"/>
                      </a:lnTo>
                      <a:lnTo>
                        <a:pt x="31" y="387"/>
                      </a:lnTo>
                      <a:lnTo>
                        <a:pt x="30" y="386"/>
                      </a:lnTo>
                      <a:lnTo>
                        <a:pt x="30" y="386"/>
                      </a:lnTo>
                      <a:lnTo>
                        <a:pt x="30" y="386"/>
                      </a:lnTo>
                      <a:lnTo>
                        <a:pt x="30" y="385"/>
                      </a:lnTo>
                      <a:lnTo>
                        <a:pt x="30" y="385"/>
                      </a:lnTo>
                      <a:lnTo>
                        <a:pt x="30" y="385"/>
                      </a:lnTo>
                      <a:lnTo>
                        <a:pt x="30" y="384"/>
                      </a:lnTo>
                      <a:lnTo>
                        <a:pt x="30" y="384"/>
                      </a:lnTo>
                      <a:lnTo>
                        <a:pt x="30" y="384"/>
                      </a:lnTo>
                      <a:lnTo>
                        <a:pt x="31" y="383"/>
                      </a:lnTo>
                      <a:lnTo>
                        <a:pt x="31" y="383"/>
                      </a:lnTo>
                      <a:lnTo>
                        <a:pt x="31" y="381"/>
                      </a:lnTo>
                      <a:lnTo>
                        <a:pt x="31" y="381"/>
                      </a:lnTo>
                      <a:lnTo>
                        <a:pt x="31" y="380"/>
                      </a:lnTo>
                      <a:lnTo>
                        <a:pt x="31" y="379"/>
                      </a:lnTo>
                      <a:lnTo>
                        <a:pt x="31" y="378"/>
                      </a:lnTo>
                      <a:lnTo>
                        <a:pt x="30" y="378"/>
                      </a:lnTo>
                      <a:lnTo>
                        <a:pt x="29" y="374"/>
                      </a:lnTo>
                      <a:lnTo>
                        <a:pt x="29" y="373"/>
                      </a:lnTo>
                      <a:lnTo>
                        <a:pt x="29" y="372"/>
                      </a:lnTo>
                      <a:lnTo>
                        <a:pt x="29" y="372"/>
                      </a:lnTo>
                      <a:lnTo>
                        <a:pt x="29" y="372"/>
                      </a:lnTo>
                      <a:lnTo>
                        <a:pt x="27" y="372"/>
                      </a:lnTo>
                      <a:lnTo>
                        <a:pt x="27" y="372"/>
                      </a:lnTo>
                      <a:lnTo>
                        <a:pt x="27" y="372"/>
                      </a:lnTo>
                      <a:lnTo>
                        <a:pt x="27" y="372"/>
                      </a:lnTo>
                      <a:lnTo>
                        <a:pt x="27" y="371"/>
                      </a:lnTo>
                      <a:lnTo>
                        <a:pt x="27" y="371"/>
                      </a:lnTo>
                      <a:lnTo>
                        <a:pt x="27" y="371"/>
                      </a:lnTo>
                      <a:lnTo>
                        <a:pt x="26" y="370"/>
                      </a:lnTo>
                      <a:lnTo>
                        <a:pt x="26" y="370"/>
                      </a:lnTo>
                      <a:lnTo>
                        <a:pt x="26" y="370"/>
                      </a:lnTo>
                      <a:lnTo>
                        <a:pt x="26" y="367"/>
                      </a:lnTo>
                      <a:lnTo>
                        <a:pt x="26" y="365"/>
                      </a:lnTo>
                      <a:lnTo>
                        <a:pt x="27" y="365"/>
                      </a:lnTo>
                      <a:lnTo>
                        <a:pt x="27" y="365"/>
                      </a:lnTo>
                      <a:lnTo>
                        <a:pt x="27" y="364"/>
                      </a:lnTo>
                      <a:lnTo>
                        <a:pt x="27" y="364"/>
                      </a:lnTo>
                      <a:lnTo>
                        <a:pt x="27" y="363"/>
                      </a:lnTo>
                      <a:lnTo>
                        <a:pt x="29" y="363"/>
                      </a:lnTo>
                      <a:lnTo>
                        <a:pt x="29" y="363"/>
                      </a:lnTo>
                      <a:lnTo>
                        <a:pt x="29" y="361"/>
                      </a:lnTo>
                      <a:lnTo>
                        <a:pt x="29" y="361"/>
                      </a:lnTo>
                      <a:lnTo>
                        <a:pt x="29" y="361"/>
                      </a:lnTo>
                      <a:lnTo>
                        <a:pt x="29" y="360"/>
                      </a:lnTo>
                      <a:lnTo>
                        <a:pt x="29" y="358"/>
                      </a:lnTo>
                      <a:lnTo>
                        <a:pt x="29" y="357"/>
                      </a:lnTo>
                      <a:lnTo>
                        <a:pt x="29" y="356"/>
                      </a:lnTo>
                      <a:lnTo>
                        <a:pt x="27" y="352"/>
                      </a:lnTo>
                      <a:lnTo>
                        <a:pt x="26" y="347"/>
                      </a:lnTo>
                      <a:lnTo>
                        <a:pt x="26" y="346"/>
                      </a:lnTo>
                      <a:lnTo>
                        <a:pt x="25" y="344"/>
                      </a:lnTo>
                      <a:lnTo>
                        <a:pt x="24" y="341"/>
                      </a:lnTo>
                      <a:lnTo>
                        <a:pt x="24" y="340"/>
                      </a:lnTo>
                      <a:lnTo>
                        <a:pt x="23" y="339"/>
                      </a:lnTo>
                      <a:lnTo>
                        <a:pt x="23" y="339"/>
                      </a:lnTo>
                      <a:lnTo>
                        <a:pt x="23" y="339"/>
                      </a:lnTo>
                      <a:lnTo>
                        <a:pt x="23" y="338"/>
                      </a:lnTo>
                      <a:lnTo>
                        <a:pt x="20" y="336"/>
                      </a:lnTo>
                      <a:lnTo>
                        <a:pt x="20" y="336"/>
                      </a:lnTo>
                      <a:lnTo>
                        <a:pt x="20" y="332"/>
                      </a:lnTo>
                      <a:lnTo>
                        <a:pt x="20" y="331"/>
                      </a:lnTo>
                      <a:lnTo>
                        <a:pt x="21" y="331"/>
                      </a:lnTo>
                      <a:lnTo>
                        <a:pt x="21" y="331"/>
                      </a:lnTo>
                      <a:lnTo>
                        <a:pt x="21" y="331"/>
                      </a:lnTo>
                      <a:lnTo>
                        <a:pt x="21" y="330"/>
                      </a:lnTo>
                      <a:lnTo>
                        <a:pt x="21" y="330"/>
                      </a:lnTo>
                      <a:lnTo>
                        <a:pt x="21" y="329"/>
                      </a:lnTo>
                      <a:lnTo>
                        <a:pt x="21" y="329"/>
                      </a:lnTo>
                      <a:lnTo>
                        <a:pt x="21" y="329"/>
                      </a:lnTo>
                      <a:lnTo>
                        <a:pt x="21" y="329"/>
                      </a:lnTo>
                      <a:lnTo>
                        <a:pt x="21" y="327"/>
                      </a:lnTo>
                      <a:lnTo>
                        <a:pt x="21" y="327"/>
                      </a:lnTo>
                      <a:lnTo>
                        <a:pt x="23" y="327"/>
                      </a:lnTo>
                      <a:lnTo>
                        <a:pt x="23" y="327"/>
                      </a:lnTo>
                      <a:lnTo>
                        <a:pt x="23" y="327"/>
                      </a:lnTo>
                      <a:lnTo>
                        <a:pt x="23" y="327"/>
                      </a:lnTo>
                      <a:lnTo>
                        <a:pt x="21" y="330"/>
                      </a:lnTo>
                      <a:lnTo>
                        <a:pt x="21" y="331"/>
                      </a:lnTo>
                      <a:lnTo>
                        <a:pt x="21" y="332"/>
                      </a:lnTo>
                      <a:lnTo>
                        <a:pt x="21" y="333"/>
                      </a:lnTo>
                      <a:lnTo>
                        <a:pt x="23" y="331"/>
                      </a:lnTo>
                      <a:lnTo>
                        <a:pt x="23" y="330"/>
                      </a:lnTo>
                      <a:lnTo>
                        <a:pt x="25" y="333"/>
                      </a:lnTo>
                      <a:lnTo>
                        <a:pt x="25" y="333"/>
                      </a:lnTo>
                      <a:lnTo>
                        <a:pt x="25" y="334"/>
                      </a:lnTo>
                      <a:lnTo>
                        <a:pt x="25" y="334"/>
                      </a:lnTo>
                      <a:lnTo>
                        <a:pt x="25" y="336"/>
                      </a:lnTo>
                      <a:lnTo>
                        <a:pt x="24" y="338"/>
                      </a:lnTo>
                      <a:lnTo>
                        <a:pt x="24" y="339"/>
                      </a:lnTo>
                      <a:lnTo>
                        <a:pt x="25" y="340"/>
                      </a:lnTo>
                      <a:lnTo>
                        <a:pt x="25" y="340"/>
                      </a:lnTo>
                      <a:lnTo>
                        <a:pt x="26" y="340"/>
                      </a:lnTo>
                      <a:lnTo>
                        <a:pt x="26" y="340"/>
                      </a:lnTo>
                      <a:lnTo>
                        <a:pt x="26" y="340"/>
                      </a:lnTo>
                      <a:lnTo>
                        <a:pt x="27" y="339"/>
                      </a:lnTo>
                      <a:lnTo>
                        <a:pt x="27" y="339"/>
                      </a:lnTo>
                      <a:lnTo>
                        <a:pt x="27" y="339"/>
                      </a:lnTo>
                      <a:lnTo>
                        <a:pt x="27" y="339"/>
                      </a:lnTo>
                      <a:lnTo>
                        <a:pt x="27" y="339"/>
                      </a:lnTo>
                      <a:lnTo>
                        <a:pt x="29" y="339"/>
                      </a:lnTo>
                      <a:lnTo>
                        <a:pt x="29" y="339"/>
                      </a:lnTo>
                      <a:lnTo>
                        <a:pt x="30" y="338"/>
                      </a:lnTo>
                      <a:lnTo>
                        <a:pt x="30" y="337"/>
                      </a:lnTo>
                      <a:lnTo>
                        <a:pt x="30" y="337"/>
                      </a:lnTo>
                      <a:lnTo>
                        <a:pt x="31" y="334"/>
                      </a:lnTo>
                      <a:lnTo>
                        <a:pt x="31" y="334"/>
                      </a:lnTo>
                      <a:lnTo>
                        <a:pt x="30" y="333"/>
                      </a:lnTo>
                      <a:lnTo>
                        <a:pt x="30" y="333"/>
                      </a:lnTo>
                      <a:lnTo>
                        <a:pt x="30" y="333"/>
                      </a:lnTo>
                      <a:lnTo>
                        <a:pt x="30" y="332"/>
                      </a:lnTo>
                      <a:lnTo>
                        <a:pt x="29" y="332"/>
                      </a:lnTo>
                      <a:lnTo>
                        <a:pt x="27" y="331"/>
                      </a:lnTo>
                      <a:lnTo>
                        <a:pt x="26" y="329"/>
                      </a:lnTo>
                      <a:lnTo>
                        <a:pt x="26" y="329"/>
                      </a:lnTo>
                      <a:lnTo>
                        <a:pt x="26" y="327"/>
                      </a:lnTo>
                      <a:lnTo>
                        <a:pt x="26" y="324"/>
                      </a:lnTo>
                      <a:lnTo>
                        <a:pt x="26" y="324"/>
                      </a:lnTo>
                      <a:lnTo>
                        <a:pt x="26" y="323"/>
                      </a:lnTo>
                      <a:lnTo>
                        <a:pt x="26" y="321"/>
                      </a:lnTo>
                      <a:lnTo>
                        <a:pt x="25" y="321"/>
                      </a:lnTo>
                      <a:lnTo>
                        <a:pt x="25" y="321"/>
                      </a:lnTo>
                      <a:lnTo>
                        <a:pt x="25" y="321"/>
                      </a:lnTo>
                      <a:lnTo>
                        <a:pt x="25" y="320"/>
                      </a:lnTo>
                      <a:lnTo>
                        <a:pt x="26" y="320"/>
                      </a:lnTo>
                      <a:lnTo>
                        <a:pt x="26" y="320"/>
                      </a:lnTo>
                      <a:lnTo>
                        <a:pt x="26" y="319"/>
                      </a:lnTo>
                      <a:lnTo>
                        <a:pt x="26" y="319"/>
                      </a:lnTo>
                      <a:lnTo>
                        <a:pt x="26" y="319"/>
                      </a:lnTo>
                      <a:lnTo>
                        <a:pt x="27" y="318"/>
                      </a:lnTo>
                      <a:lnTo>
                        <a:pt x="29" y="318"/>
                      </a:lnTo>
                      <a:lnTo>
                        <a:pt x="29" y="319"/>
                      </a:lnTo>
                      <a:lnTo>
                        <a:pt x="29" y="321"/>
                      </a:lnTo>
                      <a:lnTo>
                        <a:pt x="29" y="321"/>
                      </a:lnTo>
                      <a:lnTo>
                        <a:pt x="29" y="321"/>
                      </a:lnTo>
                      <a:lnTo>
                        <a:pt x="30" y="323"/>
                      </a:lnTo>
                      <a:lnTo>
                        <a:pt x="30" y="323"/>
                      </a:lnTo>
                      <a:lnTo>
                        <a:pt x="30" y="323"/>
                      </a:lnTo>
                      <a:lnTo>
                        <a:pt x="31" y="323"/>
                      </a:lnTo>
                      <a:lnTo>
                        <a:pt x="31" y="323"/>
                      </a:lnTo>
                      <a:lnTo>
                        <a:pt x="31" y="325"/>
                      </a:lnTo>
                      <a:lnTo>
                        <a:pt x="31" y="325"/>
                      </a:lnTo>
                      <a:lnTo>
                        <a:pt x="31" y="325"/>
                      </a:lnTo>
                      <a:lnTo>
                        <a:pt x="30" y="327"/>
                      </a:lnTo>
                      <a:lnTo>
                        <a:pt x="30" y="327"/>
                      </a:lnTo>
                      <a:lnTo>
                        <a:pt x="30" y="327"/>
                      </a:lnTo>
                      <a:lnTo>
                        <a:pt x="29" y="327"/>
                      </a:lnTo>
                      <a:lnTo>
                        <a:pt x="29" y="327"/>
                      </a:lnTo>
                      <a:lnTo>
                        <a:pt x="29" y="330"/>
                      </a:lnTo>
                      <a:lnTo>
                        <a:pt x="29" y="330"/>
                      </a:lnTo>
                      <a:lnTo>
                        <a:pt x="29" y="331"/>
                      </a:lnTo>
                      <a:lnTo>
                        <a:pt x="29" y="331"/>
                      </a:lnTo>
                      <a:lnTo>
                        <a:pt x="30" y="331"/>
                      </a:lnTo>
                      <a:lnTo>
                        <a:pt x="30" y="331"/>
                      </a:lnTo>
                      <a:lnTo>
                        <a:pt x="30" y="331"/>
                      </a:lnTo>
                      <a:lnTo>
                        <a:pt x="30" y="331"/>
                      </a:lnTo>
                      <a:lnTo>
                        <a:pt x="30" y="331"/>
                      </a:lnTo>
                      <a:lnTo>
                        <a:pt x="31" y="331"/>
                      </a:lnTo>
                      <a:lnTo>
                        <a:pt x="31" y="330"/>
                      </a:lnTo>
                      <a:lnTo>
                        <a:pt x="32" y="329"/>
                      </a:lnTo>
                      <a:lnTo>
                        <a:pt x="32" y="329"/>
                      </a:lnTo>
                      <a:lnTo>
                        <a:pt x="32" y="327"/>
                      </a:lnTo>
                      <a:lnTo>
                        <a:pt x="32" y="330"/>
                      </a:lnTo>
                      <a:lnTo>
                        <a:pt x="32" y="331"/>
                      </a:lnTo>
                      <a:lnTo>
                        <a:pt x="32" y="332"/>
                      </a:lnTo>
                      <a:lnTo>
                        <a:pt x="32" y="332"/>
                      </a:lnTo>
                      <a:lnTo>
                        <a:pt x="32" y="333"/>
                      </a:lnTo>
                      <a:lnTo>
                        <a:pt x="33" y="337"/>
                      </a:lnTo>
                      <a:lnTo>
                        <a:pt x="33" y="337"/>
                      </a:lnTo>
                      <a:lnTo>
                        <a:pt x="36" y="334"/>
                      </a:lnTo>
                      <a:lnTo>
                        <a:pt x="37" y="334"/>
                      </a:lnTo>
                      <a:lnTo>
                        <a:pt x="37" y="334"/>
                      </a:lnTo>
                      <a:lnTo>
                        <a:pt x="37" y="333"/>
                      </a:lnTo>
                      <a:lnTo>
                        <a:pt x="37" y="333"/>
                      </a:lnTo>
                      <a:lnTo>
                        <a:pt x="37" y="333"/>
                      </a:lnTo>
                      <a:lnTo>
                        <a:pt x="37" y="333"/>
                      </a:lnTo>
                      <a:lnTo>
                        <a:pt x="37" y="333"/>
                      </a:lnTo>
                      <a:lnTo>
                        <a:pt x="37" y="332"/>
                      </a:lnTo>
                      <a:lnTo>
                        <a:pt x="37" y="332"/>
                      </a:lnTo>
                      <a:lnTo>
                        <a:pt x="37" y="332"/>
                      </a:lnTo>
                      <a:lnTo>
                        <a:pt x="37" y="332"/>
                      </a:lnTo>
                      <a:lnTo>
                        <a:pt x="37" y="331"/>
                      </a:lnTo>
                      <a:lnTo>
                        <a:pt x="37" y="331"/>
                      </a:lnTo>
                      <a:lnTo>
                        <a:pt x="37" y="331"/>
                      </a:lnTo>
                      <a:lnTo>
                        <a:pt x="38" y="327"/>
                      </a:lnTo>
                      <a:lnTo>
                        <a:pt x="38" y="327"/>
                      </a:lnTo>
                      <a:lnTo>
                        <a:pt x="39" y="327"/>
                      </a:lnTo>
                      <a:lnTo>
                        <a:pt x="39" y="326"/>
                      </a:lnTo>
                      <a:lnTo>
                        <a:pt x="40" y="324"/>
                      </a:lnTo>
                      <a:lnTo>
                        <a:pt x="40" y="324"/>
                      </a:lnTo>
                      <a:lnTo>
                        <a:pt x="40" y="324"/>
                      </a:lnTo>
                      <a:lnTo>
                        <a:pt x="38" y="321"/>
                      </a:lnTo>
                      <a:lnTo>
                        <a:pt x="37" y="320"/>
                      </a:lnTo>
                      <a:lnTo>
                        <a:pt x="37" y="320"/>
                      </a:lnTo>
                      <a:lnTo>
                        <a:pt x="37" y="319"/>
                      </a:lnTo>
                      <a:lnTo>
                        <a:pt x="37" y="317"/>
                      </a:lnTo>
                      <a:lnTo>
                        <a:pt x="36" y="316"/>
                      </a:lnTo>
                      <a:lnTo>
                        <a:pt x="36" y="316"/>
                      </a:lnTo>
                      <a:lnTo>
                        <a:pt x="36" y="313"/>
                      </a:lnTo>
                      <a:lnTo>
                        <a:pt x="36" y="312"/>
                      </a:lnTo>
                      <a:lnTo>
                        <a:pt x="36" y="311"/>
                      </a:lnTo>
                      <a:lnTo>
                        <a:pt x="36" y="310"/>
                      </a:lnTo>
                      <a:lnTo>
                        <a:pt x="36" y="310"/>
                      </a:lnTo>
                      <a:lnTo>
                        <a:pt x="34" y="310"/>
                      </a:lnTo>
                      <a:lnTo>
                        <a:pt x="34" y="310"/>
                      </a:lnTo>
                      <a:lnTo>
                        <a:pt x="33" y="310"/>
                      </a:lnTo>
                      <a:lnTo>
                        <a:pt x="33" y="310"/>
                      </a:lnTo>
                      <a:lnTo>
                        <a:pt x="33" y="310"/>
                      </a:lnTo>
                      <a:lnTo>
                        <a:pt x="33" y="309"/>
                      </a:lnTo>
                      <a:lnTo>
                        <a:pt x="33" y="307"/>
                      </a:lnTo>
                      <a:lnTo>
                        <a:pt x="33" y="306"/>
                      </a:lnTo>
                      <a:lnTo>
                        <a:pt x="33" y="304"/>
                      </a:lnTo>
                      <a:lnTo>
                        <a:pt x="33" y="304"/>
                      </a:lnTo>
                      <a:lnTo>
                        <a:pt x="33" y="304"/>
                      </a:lnTo>
                      <a:lnTo>
                        <a:pt x="33" y="303"/>
                      </a:lnTo>
                      <a:lnTo>
                        <a:pt x="33" y="303"/>
                      </a:lnTo>
                      <a:lnTo>
                        <a:pt x="33" y="301"/>
                      </a:lnTo>
                      <a:lnTo>
                        <a:pt x="33" y="301"/>
                      </a:lnTo>
                      <a:lnTo>
                        <a:pt x="33" y="301"/>
                      </a:lnTo>
                      <a:lnTo>
                        <a:pt x="33" y="300"/>
                      </a:lnTo>
                      <a:lnTo>
                        <a:pt x="33" y="300"/>
                      </a:lnTo>
                      <a:lnTo>
                        <a:pt x="32" y="299"/>
                      </a:lnTo>
                      <a:lnTo>
                        <a:pt x="32" y="298"/>
                      </a:lnTo>
                      <a:lnTo>
                        <a:pt x="32" y="298"/>
                      </a:lnTo>
                      <a:lnTo>
                        <a:pt x="32" y="298"/>
                      </a:lnTo>
                      <a:lnTo>
                        <a:pt x="31" y="297"/>
                      </a:lnTo>
                      <a:lnTo>
                        <a:pt x="31" y="297"/>
                      </a:lnTo>
                      <a:lnTo>
                        <a:pt x="31" y="296"/>
                      </a:lnTo>
                      <a:lnTo>
                        <a:pt x="31" y="296"/>
                      </a:lnTo>
                      <a:lnTo>
                        <a:pt x="31" y="294"/>
                      </a:lnTo>
                      <a:lnTo>
                        <a:pt x="32" y="291"/>
                      </a:lnTo>
                      <a:lnTo>
                        <a:pt x="32" y="291"/>
                      </a:lnTo>
                      <a:lnTo>
                        <a:pt x="32" y="291"/>
                      </a:lnTo>
                      <a:lnTo>
                        <a:pt x="32" y="291"/>
                      </a:lnTo>
                      <a:lnTo>
                        <a:pt x="33" y="289"/>
                      </a:lnTo>
                      <a:lnTo>
                        <a:pt x="33" y="286"/>
                      </a:lnTo>
                      <a:lnTo>
                        <a:pt x="34" y="284"/>
                      </a:lnTo>
                      <a:lnTo>
                        <a:pt x="36" y="281"/>
                      </a:lnTo>
                      <a:lnTo>
                        <a:pt x="38" y="279"/>
                      </a:lnTo>
                      <a:lnTo>
                        <a:pt x="38" y="279"/>
                      </a:lnTo>
                      <a:lnTo>
                        <a:pt x="38" y="278"/>
                      </a:lnTo>
                      <a:lnTo>
                        <a:pt x="39" y="278"/>
                      </a:lnTo>
                      <a:lnTo>
                        <a:pt x="39" y="278"/>
                      </a:lnTo>
                      <a:lnTo>
                        <a:pt x="39" y="278"/>
                      </a:lnTo>
                      <a:lnTo>
                        <a:pt x="39" y="278"/>
                      </a:lnTo>
                      <a:lnTo>
                        <a:pt x="39" y="278"/>
                      </a:lnTo>
                      <a:lnTo>
                        <a:pt x="40" y="277"/>
                      </a:lnTo>
                      <a:lnTo>
                        <a:pt x="40" y="277"/>
                      </a:lnTo>
                      <a:lnTo>
                        <a:pt x="40" y="277"/>
                      </a:lnTo>
                      <a:lnTo>
                        <a:pt x="41" y="276"/>
                      </a:lnTo>
                      <a:lnTo>
                        <a:pt x="41" y="274"/>
                      </a:lnTo>
                      <a:lnTo>
                        <a:pt x="41" y="272"/>
                      </a:lnTo>
                      <a:lnTo>
                        <a:pt x="41" y="272"/>
                      </a:lnTo>
                      <a:lnTo>
                        <a:pt x="41" y="272"/>
                      </a:lnTo>
                      <a:lnTo>
                        <a:pt x="43" y="270"/>
                      </a:lnTo>
                      <a:lnTo>
                        <a:pt x="43" y="267"/>
                      </a:lnTo>
                      <a:lnTo>
                        <a:pt x="44" y="267"/>
                      </a:lnTo>
                      <a:lnTo>
                        <a:pt x="44" y="267"/>
                      </a:lnTo>
                      <a:lnTo>
                        <a:pt x="44" y="267"/>
                      </a:lnTo>
                      <a:lnTo>
                        <a:pt x="44" y="266"/>
                      </a:lnTo>
                      <a:lnTo>
                        <a:pt x="44" y="265"/>
                      </a:lnTo>
                      <a:lnTo>
                        <a:pt x="44" y="264"/>
                      </a:lnTo>
                      <a:lnTo>
                        <a:pt x="44" y="262"/>
                      </a:lnTo>
                      <a:lnTo>
                        <a:pt x="44" y="262"/>
                      </a:lnTo>
                      <a:lnTo>
                        <a:pt x="44" y="262"/>
                      </a:lnTo>
                      <a:lnTo>
                        <a:pt x="44" y="262"/>
                      </a:lnTo>
                      <a:lnTo>
                        <a:pt x="44" y="262"/>
                      </a:lnTo>
                      <a:lnTo>
                        <a:pt x="44" y="262"/>
                      </a:lnTo>
                      <a:lnTo>
                        <a:pt x="44" y="260"/>
                      </a:lnTo>
                      <a:lnTo>
                        <a:pt x="44" y="260"/>
                      </a:lnTo>
                      <a:lnTo>
                        <a:pt x="43" y="260"/>
                      </a:lnTo>
                      <a:lnTo>
                        <a:pt x="43" y="259"/>
                      </a:lnTo>
                      <a:lnTo>
                        <a:pt x="43" y="258"/>
                      </a:lnTo>
                      <a:lnTo>
                        <a:pt x="44" y="257"/>
                      </a:lnTo>
                      <a:lnTo>
                        <a:pt x="44" y="257"/>
                      </a:lnTo>
                      <a:lnTo>
                        <a:pt x="44" y="256"/>
                      </a:lnTo>
                      <a:lnTo>
                        <a:pt x="45" y="256"/>
                      </a:lnTo>
                      <a:lnTo>
                        <a:pt x="46" y="252"/>
                      </a:lnTo>
                      <a:lnTo>
                        <a:pt x="47" y="251"/>
                      </a:lnTo>
                      <a:lnTo>
                        <a:pt x="47" y="250"/>
                      </a:lnTo>
                      <a:lnTo>
                        <a:pt x="48" y="249"/>
                      </a:lnTo>
                      <a:lnTo>
                        <a:pt x="48" y="246"/>
                      </a:lnTo>
                      <a:lnTo>
                        <a:pt x="48" y="246"/>
                      </a:lnTo>
                      <a:lnTo>
                        <a:pt x="50" y="245"/>
                      </a:lnTo>
                      <a:lnTo>
                        <a:pt x="51" y="243"/>
                      </a:lnTo>
                      <a:lnTo>
                        <a:pt x="52" y="243"/>
                      </a:lnTo>
                      <a:lnTo>
                        <a:pt x="52" y="242"/>
                      </a:lnTo>
                      <a:lnTo>
                        <a:pt x="52" y="242"/>
                      </a:lnTo>
                      <a:lnTo>
                        <a:pt x="53" y="242"/>
                      </a:lnTo>
                      <a:lnTo>
                        <a:pt x="53" y="242"/>
                      </a:lnTo>
                      <a:lnTo>
                        <a:pt x="54" y="240"/>
                      </a:lnTo>
                      <a:lnTo>
                        <a:pt x="54" y="242"/>
                      </a:lnTo>
                      <a:lnTo>
                        <a:pt x="54" y="242"/>
                      </a:lnTo>
                      <a:lnTo>
                        <a:pt x="54" y="242"/>
                      </a:lnTo>
                      <a:lnTo>
                        <a:pt x="54" y="242"/>
                      </a:lnTo>
                      <a:lnTo>
                        <a:pt x="54" y="242"/>
                      </a:lnTo>
                      <a:lnTo>
                        <a:pt x="54" y="242"/>
                      </a:lnTo>
                      <a:lnTo>
                        <a:pt x="54" y="242"/>
                      </a:lnTo>
                      <a:lnTo>
                        <a:pt x="54" y="243"/>
                      </a:lnTo>
                      <a:lnTo>
                        <a:pt x="54" y="243"/>
                      </a:lnTo>
                      <a:lnTo>
                        <a:pt x="54" y="243"/>
                      </a:lnTo>
                      <a:lnTo>
                        <a:pt x="53" y="244"/>
                      </a:lnTo>
                      <a:lnTo>
                        <a:pt x="52" y="249"/>
                      </a:lnTo>
                      <a:lnTo>
                        <a:pt x="52" y="249"/>
                      </a:lnTo>
                      <a:lnTo>
                        <a:pt x="52" y="249"/>
                      </a:lnTo>
                      <a:lnTo>
                        <a:pt x="52" y="249"/>
                      </a:lnTo>
                      <a:lnTo>
                        <a:pt x="52" y="250"/>
                      </a:lnTo>
                      <a:lnTo>
                        <a:pt x="52" y="251"/>
                      </a:lnTo>
                      <a:lnTo>
                        <a:pt x="52" y="251"/>
                      </a:lnTo>
                      <a:lnTo>
                        <a:pt x="52" y="253"/>
                      </a:lnTo>
                      <a:lnTo>
                        <a:pt x="52" y="253"/>
                      </a:lnTo>
                      <a:lnTo>
                        <a:pt x="51" y="253"/>
                      </a:lnTo>
                      <a:lnTo>
                        <a:pt x="51" y="253"/>
                      </a:lnTo>
                      <a:lnTo>
                        <a:pt x="51" y="256"/>
                      </a:lnTo>
                      <a:lnTo>
                        <a:pt x="51" y="256"/>
                      </a:lnTo>
                      <a:lnTo>
                        <a:pt x="51" y="256"/>
                      </a:lnTo>
                      <a:lnTo>
                        <a:pt x="51" y="256"/>
                      </a:lnTo>
                      <a:lnTo>
                        <a:pt x="51" y="256"/>
                      </a:lnTo>
                      <a:lnTo>
                        <a:pt x="52" y="256"/>
                      </a:lnTo>
                      <a:lnTo>
                        <a:pt x="52" y="256"/>
                      </a:lnTo>
                      <a:lnTo>
                        <a:pt x="52" y="256"/>
                      </a:lnTo>
                      <a:lnTo>
                        <a:pt x="56" y="254"/>
                      </a:lnTo>
                      <a:lnTo>
                        <a:pt x="57" y="253"/>
                      </a:lnTo>
                      <a:lnTo>
                        <a:pt x="57" y="252"/>
                      </a:lnTo>
                      <a:lnTo>
                        <a:pt x="57" y="252"/>
                      </a:lnTo>
                      <a:lnTo>
                        <a:pt x="57" y="252"/>
                      </a:lnTo>
                      <a:lnTo>
                        <a:pt x="57" y="252"/>
                      </a:lnTo>
                      <a:lnTo>
                        <a:pt x="58" y="249"/>
                      </a:lnTo>
                      <a:lnTo>
                        <a:pt x="60" y="247"/>
                      </a:lnTo>
                      <a:lnTo>
                        <a:pt x="63" y="244"/>
                      </a:lnTo>
                      <a:lnTo>
                        <a:pt x="63" y="244"/>
                      </a:lnTo>
                      <a:lnTo>
                        <a:pt x="63" y="244"/>
                      </a:lnTo>
                      <a:lnTo>
                        <a:pt x="63" y="243"/>
                      </a:lnTo>
                      <a:lnTo>
                        <a:pt x="63" y="243"/>
                      </a:lnTo>
                      <a:lnTo>
                        <a:pt x="63" y="243"/>
                      </a:lnTo>
                      <a:lnTo>
                        <a:pt x="63" y="243"/>
                      </a:lnTo>
                      <a:lnTo>
                        <a:pt x="63" y="242"/>
                      </a:lnTo>
                      <a:lnTo>
                        <a:pt x="63" y="242"/>
                      </a:lnTo>
                      <a:lnTo>
                        <a:pt x="64" y="242"/>
                      </a:lnTo>
                      <a:lnTo>
                        <a:pt x="65" y="242"/>
                      </a:lnTo>
                      <a:lnTo>
                        <a:pt x="66" y="240"/>
                      </a:lnTo>
                      <a:lnTo>
                        <a:pt x="68" y="239"/>
                      </a:lnTo>
                      <a:lnTo>
                        <a:pt x="68" y="239"/>
                      </a:lnTo>
                      <a:lnTo>
                        <a:pt x="68" y="239"/>
                      </a:lnTo>
                      <a:lnTo>
                        <a:pt x="68" y="239"/>
                      </a:lnTo>
                      <a:lnTo>
                        <a:pt x="70" y="239"/>
                      </a:lnTo>
                      <a:lnTo>
                        <a:pt x="70" y="239"/>
                      </a:lnTo>
                      <a:lnTo>
                        <a:pt x="70" y="239"/>
                      </a:lnTo>
                      <a:lnTo>
                        <a:pt x="70" y="239"/>
                      </a:lnTo>
                      <a:lnTo>
                        <a:pt x="71" y="239"/>
                      </a:lnTo>
                      <a:lnTo>
                        <a:pt x="72" y="238"/>
                      </a:lnTo>
                      <a:lnTo>
                        <a:pt x="74" y="237"/>
                      </a:lnTo>
                      <a:lnTo>
                        <a:pt x="76" y="237"/>
                      </a:lnTo>
                      <a:lnTo>
                        <a:pt x="78" y="236"/>
                      </a:lnTo>
                      <a:lnTo>
                        <a:pt x="78" y="236"/>
                      </a:lnTo>
                      <a:lnTo>
                        <a:pt x="79" y="236"/>
                      </a:lnTo>
                      <a:lnTo>
                        <a:pt x="79" y="234"/>
                      </a:lnTo>
                      <a:lnTo>
                        <a:pt x="80" y="234"/>
                      </a:lnTo>
                      <a:lnTo>
                        <a:pt x="80" y="233"/>
                      </a:lnTo>
                      <a:lnTo>
                        <a:pt x="81" y="231"/>
                      </a:lnTo>
                      <a:lnTo>
                        <a:pt x="83" y="231"/>
                      </a:lnTo>
                      <a:lnTo>
                        <a:pt x="83" y="231"/>
                      </a:lnTo>
                      <a:lnTo>
                        <a:pt x="83" y="231"/>
                      </a:lnTo>
                      <a:lnTo>
                        <a:pt x="84" y="230"/>
                      </a:lnTo>
                      <a:lnTo>
                        <a:pt x="85" y="230"/>
                      </a:lnTo>
                      <a:lnTo>
                        <a:pt x="85" y="230"/>
                      </a:lnTo>
                      <a:lnTo>
                        <a:pt x="85" y="230"/>
                      </a:lnTo>
                      <a:lnTo>
                        <a:pt x="85" y="230"/>
                      </a:lnTo>
                      <a:lnTo>
                        <a:pt x="86" y="230"/>
                      </a:lnTo>
                      <a:lnTo>
                        <a:pt x="86" y="229"/>
                      </a:lnTo>
                      <a:lnTo>
                        <a:pt x="87" y="227"/>
                      </a:lnTo>
                      <a:lnTo>
                        <a:pt x="87" y="227"/>
                      </a:lnTo>
                      <a:lnTo>
                        <a:pt x="87" y="226"/>
                      </a:lnTo>
                      <a:lnTo>
                        <a:pt x="88" y="226"/>
                      </a:lnTo>
                      <a:lnTo>
                        <a:pt x="88" y="226"/>
                      </a:lnTo>
                      <a:lnTo>
                        <a:pt x="88" y="226"/>
                      </a:lnTo>
                      <a:lnTo>
                        <a:pt x="88" y="226"/>
                      </a:lnTo>
                      <a:lnTo>
                        <a:pt x="90" y="225"/>
                      </a:lnTo>
                      <a:lnTo>
                        <a:pt x="90" y="225"/>
                      </a:lnTo>
                      <a:lnTo>
                        <a:pt x="92" y="225"/>
                      </a:lnTo>
                      <a:lnTo>
                        <a:pt x="92" y="224"/>
                      </a:lnTo>
                      <a:lnTo>
                        <a:pt x="92" y="224"/>
                      </a:lnTo>
                      <a:lnTo>
                        <a:pt x="93" y="224"/>
                      </a:lnTo>
                      <a:lnTo>
                        <a:pt x="93" y="224"/>
                      </a:lnTo>
                      <a:lnTo>
                        <a:pt x="93" y="223"/>
                      </a:lnTo>
                      <a:lnTo>
                        <a:pt x="94" y="223"/>
                      </a:lnTo>
                      <a:lnTo>
                        <a:pt x="96" y="222"/>
                      </a:lnTo>
                      <a:lnTo>
                        <a:pt x="99" y="220"/>
                      </a:lnTo>
                      <a:lnTo>
                        <a:pt x="101" y="219"/>
                      </a:lnTo>
                      <a:lnTo>
                        <a:pt x="101" y="219"/>
                      </a:lnTo>
                      <a:lnTo>
                        <a:pt x="101" y="219"/>
                      </a:lnTo>
                      <a:lnTo>
                        <a:pt x="104" y="218"/>
                      </a:lnTo>
                      <a:lnTo>
                        <a:pt x="105" y="218"/>
                      </a:lnTo>
                      <a:lnTo>
                        <a:pt x="105" y="218"/>
                      </a:lnTo>
                      <a:lnTo>
                        <a:pt x="105" y="218"/>
                      </a:lnTo>
                      <a:lnTo>
                        <a:pt x="105" y="218"/>
                      </a:lnTo>
                      <a:lnTo>
                        <a:pt x="105" y="218"/>
                      </a:lnTo>
                      <a:lnTo>
                        <a:pt x="105" y="218"/>
                      </a:lnTo>
                      <a:lnTo>
                        <a:pt x="105" y="219"/>
                      </a:lnTo>
                      <a:lnTo>
                        <a:pt x="105" y="219"/>
                      </a:lnTo>
                      <a:lnTo>
                        <a:pt x="106" y="219"/>
                      </a:lnTo>
                      <a:lnTo>
                        <a:pt x="106" y="219"/>
                      </a:lnTo>
                      <a:lnTo>
                        <a:pt x="106" y="219"/>
                      </a:lnTo>
                      <a:lnTo>
                        <a:pt x="106" y="219"/>
                      </a:lnTo>
                      <a:lnTo>
                        <a:pt x="106" y="219"/>
                      </a:lnTo>
                      <a:lnTo>
                        <a:pt x="107" y="219"/>
                      </a:lnTo>
                      <a:lnTo>
                        <a:pt x="107" y="218"/>
                      </a:lnTo>
                      <a:lnTo>
                        <a:pt x="107" y="218"/>
                      </a:lnTo>
                      <a:lnTo>
                        <a:pt x="107" y="218"/>
                      </a:lnTo>
                      <a:lnTo>
                        <a:pt x="107" y="218"/>
                      </a:lnTo>
                      <a:lnTo>
                        <a:pt x="108" y="218"/>
                      </a:lnTo>
                      <a:lnTo>
                        <a:pt x="110" y="217"/>
                      </a:lnTo>
                      <a:lnTo>
                        <a:pt x="110" y="217"/>
                      </a:lnTo>
                      <a:lnTo>
                        <a:pt x="110" y="217"/>
                      </a:lnTo>
                      <a:lnTo>
                        <a:pt x="112" y="218"/>
                      </a:lnTo>
                      <a:lnTo>
                        <a:pt x="112" y="218"/>
                      </a:lnTo>
                      <a:lnTo>
                        <a:pt x="112" y="218"/>
                      </a:lnTo>
                      <a:lnTo>
                        <a:pt x="112" y="218"/>
                      </a:lnTo>
                      <a:lnTo>
                        <a:pt x="112" y="218"/>
                      </a:lnTo>
                      <a:lnTo>
                        <a:pt x="112" y="218"/>
                      </a:lnTo>
                      <a:lnTo>
                        <a:pt x="113" y="219"/>
                      </a:lnTo>
                      <a:lnTo>
                        <a:pt x="113" y="219"/>
                      </a:lnTo>
                      <a:lnTo>
                        <a:pt x="113" y="219"/>
                      </a:lnTo>
                      <a:lnTo>
                        <a:pt x="113" y="219"/>
                      </a:lnTo>
                      <a:lnTo>
                        <a:pt x="114" y="219"/>
                      </a:lnTo>
                      <a:lnTo>
                        <a:pt x="114" y="219"/>
                      </a:lnTo>
                      <a:lnTo>
                        <a:pt x="114" y="219"/>
                      </a:lnTo>
                      <a:lnTo>
                        <a:pt x="116" y="219"/>
                      </a:lnTo>
                      <a:lnTo>
                        <a:pt x="116" y="219"/>
                      </a:lnTo>
                      <a:lnTo>
                        <a:pt x="116" y="219"/>
                      </a:lnTo>
                      <a:lnTo>
                        <a:pt x="117" y="219"/>
                      </a:lnTo>
                      <a:lnTo>
                        <a:pt x="120" y="218"/>
                      </a:lnTo>
                      <a:lnTo>
                        <a:pt x="120" y="218"/>
                      </a:lnTo>
                      <a:lnTo>
                        <a:pt x="121" y="218"/>
                      </a:lnTo>
                      <a:lnTo>
                        <a:pt x="124" y="217"/>
                      </a:lnTo>
                      <a:lnTo>
                        <a:pt x="124" y="217"/>
                      </a:lnTo>
                      <a:lnTo>
                        <a:pt x="124" y="217"/>
                      </a:lnTo>
                      <a:lnTo>
                        <a:pt x="125" y="216"/>
                      </a:lnTo>
                      <a:lnTo>
                        <a:pt x="125" y="216"/>
                      </a:lnTo>
                      <a:lnTo>
                        <a:pt x="125" y="216"/>
                      </a:lnTo>
                      <a:lnTo>
                        <a:pt x="125" y="216"/>
                      </a:lnTo>
                      <a:lnTo>
                        <a:pt x="127" y="214"/>
                      </a:lnTo>
                      <a:lnTo>
                        <a:pt x="128" y="213"/>
                      </a:lnTo>
                      <a:lnTo>
                        <a:pt x="130" y="212"/>
                      </a:lnTo>
                      <a:lnTo>
                        <a:pt x="130" y="212"/>
                      </a:lnTo>
                      <a:lnTo>
                        <a:pt x="131" y="212"/>
                      </a:lnTo>
                      <a:lnTo>
                        <a:pt x="131" y="211"/>
                      </a:lnTo>
                      <a:lnTo>
                        <a:pt x="131" y="212"/>
                      </a:lnTo>
                      <a:lnTo>
                        <a:pt x="131" y="212"/>
                      </a:lnTo>
                      <a:lnTo>
                        <a:pt x="131" y="212"/>
                      </a:lnTo>
                      <a:lnTo>
                        <a:pt x="131" y="212"/>
                      </a:lnTo>
                      <a:lnTo>
                        <a:pt x="131" y="212"/>
                      </a:lnTo>
                      <a:lnTo>
                        <a:pt x="131" y="212"/>
                      </a:lnTo>
                      <a:lnTo>
                        <a:pt x="134" y="212"/>
                      </a:lnTo>
                      <a:lnTo>
                        <a:pt x="137" y="211"/>
                      </a:lnTo>
                      <a:lnTo>
                        <a:pt x="139" y="211"/>
                      </a:lnTo>
                      <a:lnTo>
                        <a:pt x="139" y="211"/>
                      </a:lnTo>
                      <a:lnTo>
                        <a:pt x="139" y="211"/>
                      </a:lnTo>
                      <a:lnTo>
                        <a:pt x="139" y="211"/>
                      </a:lnTo>
                      <a:lnTo>
                        <a:pt x="141" y="210"/>
                      </a:lnTo>
                      <a:lnTo>
                        <a:pt x="143" y="210"/>
                      </a:lnTo>
                      <a:lnTo>
                        <a:pt x="143" y="210"/>
                      </a:lnTo>
                      <a:lnTo>
                        <a:pt x="145" y="206"/>
                      </a:lnTo>
                      <a:lnTo>
                        <a:pt x="145" y="206"/>
                      </a:lnTo>
                      <a:lnTo>
                        <a:pt x="145" y="206"/>
                      </a:lnTo>
                      <a:lnTo>
                        <a:pt x="145" y="205"/>
                      </a:lnTo>
                      <a:lnTo>
                        <a:pt x="146" y="205"/>
                      </a:lnTo>
                      <a:lnTo>
                        <a:pt x="146" y="205"/>
                      </a:lnTo>
                      <a:lnTo>
                        <a:pt x="146" y="205"/>
                      </a:lnTo>
                      <a:lnTo>
                        <a:pt x="146" y="205"/>
                      </a:lnTo>
                      <a:lnTo>
                        <a:pt x="147" y="204"/>
                      </a:lnTo>
                      <a:lnTo>
                        <a:pt x="147" y="204"/>
                      </a:lnTo>
                      <a:lnTo>
                        <a:pt x="150" y="204"/>
                      </a:lnTo>
                      <a:lnTo>
                        <a:pt x="150" y="204"/>
                      </a:lnTo>
                      <a:lnTo>
                        <a:pt x="153" y="204"/>
                      </a:lnTo>
                      <a:lnTo>
                        <a:pt x="154" y="205"/>
                      </a:lnTo>
                      <a:lnTo>
                        <a:pt x="156" y="206"/>
                      </a:lnTo>
                      <a:lnTo>
                        <a:pt x="156" y="206"/>
                      </a:lnTo>
                      <a:lnTo>
                        <a:pt x="156" y="206"/>
                      </a:lnTo>
                      <a:lnTo>
                        <a:pt x="157" y="206"/>
                      </a:lnTo>
                      <a:lnTo>
                        <a:pt x="157" y="206"/>
                      </a:lnTo>
                      <a:lnTo>
                        <a:pt x="158" y="205"/>
                      </a:lnTo>
                      <a:lnTo>
                        <a:pt x="159" y="204"/>
                      </a:lnTo>
                      <a:lnTo>
                        <a:pt x="160" y="204"/>
                      </a:lnTo>
                      <a:lnTo>
                        <a:pt x="165" y="203"/>
                      </a:lnTo>
                      <a:lnTo>
                        <a:pt x="167" y="203"/>
                      </a:lnTo>
                      <a:lnTo>
                        <a:pt x="167" y="203"/>
                      </a:lnTo>
                      <a:lnTo>
                        <a:pt x="167" y="203"/>
                      </a:lnTo>
                      <a:lnTo>
                        <a:pt x="168" y="203"/>
                      </a:lnTo>
                      <a:lnTo>
                        <a:pt x="168" y="203"/>
                      </a:lnTo>
                      <a:lnTo>
                        <a:pt x="170" y="202"/>
                      </a:lnTo>
                      <a:lnTo>
                        <a:pt x="171" y="202"/>
                      </a:lnTo>
                      <a:lnTo>
                        <a:pt x="174" y="200"/>
                      </a:lnTo>
                      <a:lnTo>
                        <a:pt x="180" y="198"/>
                      </a:lnTo>
                      <a:lnTo>
                        <a:pt x="181" y="197"/>
                      </a:lnTo>
                      <a:lnTo>
                        <a:pt x="183" y="197"/>
                      </a:lnTo>
                      <a:lnTo>
                        <a:pt x="183" y="197"/>
                      </a:lnTo>
                      <a:lnTo>
                        <a:pt x="184" y="196"/>
                      </a:lnTo>
                      <a:lnTo>
                        <a:pt x="185" y="196"/>
                      </a:lnTo>
                      <a:lnTo>
                        <a:pt x="185" y="194"/>
                      </a:lnTo>
                      <a:lnTo>
                        <a:pt x="186" y="194"/>
                      </a:lnTo>
                      <a:lnTo>
                        <a:pt x="187" y="193"/>
                      </a:lnTo>
                      <a:lnTo>
                        <a:pt x="187" y="193"/>
                      </a:lnTo>
                      <a:lnTo>
                        <a:pt x="187" y="193"/>
                      </a:lnTo>
                      <a:lnTo>
                        <a:pt x="188" y="192"/>
                      </a:lnTo>
                      <a:lnTo>
                        <a:pt x="190" y="191"/>
                      </a:lnTo>
                      <a:lnTo>
                        <a:pt x="190" y="191"/>
                      </a:lnTo>
                      <a:lnTo>
                        <a:pt x="193" y="186"/>
                      </a:lnTo>
                      <a:lnTo>
                        <a:pt x="193" y="186"/>
                      </a:lnTo>
                      <a:lnTo>
                        <a:pt x="196" y="184"/>
                      </a:lnTo>
                      <a:lnTo>
                        <a:pt x="197" y="180"/>
                      </a:lnTo>
                      <a:lnTo>
                        <a:pt x="200" y="177"/>
                      </a:lnTo>
                      <a:lnTo>
                        <a:pt x="200" y="177"/>
                      </a:lnTo>
                      <a:lnTo>
                        <a:pt x="200" y="177"/>
                      </a:lnTo>
                      <a:lnTo>
                        <a:pt x="200" y="177"/>
                      </a:lnTo>
                      <a:lnTo>
                        <a:pt x="200" y="176"/>
                      </a:lnTo>
                      <a:lnTo>
                        <a:pt x="200" y="176"/>
                      </a:lnTo>
                      <a:lnTo>
                        <a:pt x="200" y="176"/>
                      </a:lnTo>
                      <a:lnTo>
                        <a:pt x="200" y="176"/>
                      </a:lnTo>
                      <a:lnTo>
                        <a:pt x="200" y="176"/>
                      </a:lnTo>
                      <a:lnTo>
                        <a:pt x="200" y="176"/>
                      </a:lnTo>
                      <a:lnTo>
                        <a:pt x="200" y="174"/>
                      </a:lnTo>
                      <a:lnTo>
                        <a:pt x="201" y="173"/>
                      </a:lnTo>
                      <a:lnTo>
                        <a:pt x="201" y="173"/>
                      </a:lnTo>
                      <a:lnTo>
                        <a:pt x="201" y="173"/>
                      </a:lnTo>
                      <a:lnTo>
                        <a:pt x="201" y="173"/>
                      </a:lnTo>
                      <a:lnTo>
                        <a:pt x="201" y="173"/>
                      </a:lnTo>
                      <a:lnTo>
                        <a:pt x="201" y="173"/>
                      </a:lnTo>
                      <a:lnTo>
                        <a:pt x="201" y="173"/>
                      </a:lnTo>
                      <a:lnTo>
                        <a:pt x="203" y="173"/>
                      </a:lnTo>
                      <a:lnTo>
                        <a:pt x="203" y="173"/>
                      </a:lnTo>
                      <a:lnTo>
                        <a:pt x="203" y="173"/>
                      </a:lnTo>
                      <a:lnTo>
                        <a:pt x="203" y="173"/>
                      </a:lnTo>
                      <a:lnTo>
                        <a:pt x="204" y="172"/>
                      </a:lnTo>
                      <a:lnTo>
                        <a:pt x="205" y="172"/>
                      </a:lnTo>
                      <a:lnTo>
                        <a:pt x="205" y="172"/>
                      </a:lnTo>
                      <a:lnTo>
                        <a:pt x="206" y="171"/>
                      </a:lnTo>
                      <a:lnTo>
                        <a:pt x="206" y="171"/>
                      </a:lnTo>
                      <a:lnTo>
                        <a:pt x="206" y="171"/>
                      </a:lnTo>
                      <a:lnTo>
                        <a:pt x="206" y="170"/>
                      </a:lnTo>
                      <a:lnTo>
                        <a:pt x="207" y="170"/>
                      </a:lnTo>
                      <a:lnTo>
                        <a:pt x="207" y="170"/>
                      </a:lnTo>
                      <a:lnTo>
                        <a:pt x="207" y="170"/>
                      </a:lnTo>
                      <a:lnTo>
                        <a:pt x="207" y="170"/>
                      </a:lnTo>
                      <a:lnTo>
                        <a:pt x="211" y="166"/>
                      </a:lnTo>
                      <a:lnTo>
                        <a:pt x="212" y="166"/>
                      </a:lnTo>
                      <a:lnTo>
                        <a:pt x="212" y="166"/>
                      </a:lnTo>
                      <a:lnTo>
                        <a:pt x="212" y="165"/>
                      </a:lnTo>
                      <a:lnTo>
                        <a:pt x="212" y="165"/>
                      </a:lnTo>
                      <a:lnTo>
                        <a:pt x="213" y="165"/>
                      </a:lnTo>
                      <a:lnTo>
                        <a:pt x="213" y="164"/>
                      </a:lnTo>
                      <a:lnTo>
                        <a:pt x="213" y="164"/>
                      </a:lnTo>
                      <a:lnTo>
                        <a:pt x="213" y="164"/>
                      </a:lnTo>
                      <a:lnTo>
                        <a:pt x="213" y="164"/>
                      </a:lnTo>
                      <a:lnTo>
                        <a:pt x="213" y="163"/>
                      </a:lnTo>
                      <a:lnTo>
                        <a:pt x="213" y="163"/>
                      </a:lnTo>
                      <a:lnTo>
                        <a:pt x="212" y="163"/>
                      </a:lnTo>
                      <a:lnTo>
                        <a:pt x="211" y="163"/>
                      </a:lnTo>
                      <a:lnTo>
                        <a:pt x="211" y="162"/>
                      </a:lnTo>
                      <a:lnTo>
                        <a:pt x="211" y="162"/>
                      </a:lnTo>
                      <a:lnTo>
                        <a:pt x="211" y="158"/>
                      </a:lnTo>
                      <a:lnTo>
                        <a:pt x="211" y="157"/>
                      </a:lnTo>
                      <a:lnTo>
                        <a:pt x="211" y="157"/>
                      </a:lnTo>
                      <a:lnTo>
                        <a:pt x="211" y="157"/>
                      </a:lnTo>
                      <a:lnTo>
                        <a:pt x="211" y="157"/>
                      </a:lnTo>
                      <a:lnTo>
                        <a:pt x="211" y="157"/>
                      </a:lnTo>
                      <a:lnTo>
                        <a:pt x="211" y="154"/>
                      </a:lnTo>
                      <a:lnTo>
                        <a:pt x="211" y="154"/>
                      </a:lnTo>
                      <a:lnTo>
                        <a:pt x="211" y="154"/>
                      </a:lnTo>
                      <a:lnTo>
                        <a:pt x="211" y="153"/>
                      </a:lnTo>
                      <a:lnTo>
                        <a:pt x="211" y="153"/>
                      </a:lnTo>
                      <a:lnTo>
                        <a:pt x="211" y="151"/>
                      </a:lnTo>
                      <a:lnTo>
                        <a:pt x="212" y="147"/>
                      </a:lnTo>
                      <a:lnTo>
                        <a:pt x="214" y="145"/>
                      </a:lnTo>
                      <a:lnTo>
                        <a:pt x="214" y="145"/>
                      </a:lnTo>
                      <a:lnTo>
                        <a:pt x="214" y="145"/>
                      </a:lnTo>
                      <a:lnTo>
                        <a:pt x="214" y="144"/>
                      </a:lnTo>
                      <a:lnTo>
                        <a:pt x="217" y="143"/>
                      </a:lnTo>
                      <a:lnTo>
                        <a:pt x="217" y="143"/>
                      </a:lnTo>
                      <a:lnTo>
                        <a:pt x="217" y="143"/>
                      </a:lnTo>
                      <a:lnTo>
                        <a:pt x="218" y="142"/>
                      </a:lnTo>
                      <a:lnTo>
                        <a:pt x="218" y="142"/>
                      </a:lnTo>
                      <a:lnTo>
                        <a:pt x="218" y="142"/>
                      </a:lnTo>
                      <a:lnTo>
                        <a:pt x="219" y="142"/>
                      </a:lnTo>
                      <a:lnTo>
                        <a:pt x="220" y="142"/>
                      </a:lnTo>
                      <a:lnTo>
                        <a:pt x="220" y="142"/>
                      </a:lnTo>
                      <a:lnTo>
                        <a:pt x="220" y="140"/>
                      </a:lnTo>
                      <a:lnTo>
                        <a:pt x="220" y="140"/>
                      </a:lnTo>
                      <a:lnTo>
                        <a:pt x="220" y="140"/>
                      </a:lnTo>
                      <a:lnTo>
                        <a:pt x="220" y="139"/>
                      </a:lnTo>
                      <a:lnTo>
                        <a:pt x="220" y="139"/>
                      </a:lnTo>
                      <a:lnTo>
                        <a:pt x="220" y="138"/>
                      </a:lnTo>
                      <a:lnTo>
                        <a:pt x="221" y="138"/>
                      </a:lnTo>
                      <a:lnTo>
                        <a:pt x="221" y="138"/>
                      </a:lnTo>
                      <a:lnTo>
                        <a:pt x="221" y="138"/>
                      </a:lnTo>
                      <a:lnTo>
                        <a:pt x="221" y="138"/>
                      </a:lnTo>
                      <a:lnTo>
                        <a:pt x="221" y="139"/>
                      </a:lnTo>
                      <a:lnTo>
                        <a:pt x="221" y="139"/>
                      </a:lnTo>
                      <a:lnTo>
                        <a:pt x="221" y="139"/>
                      </a:lnTo>
                      <a:lnTo>
                        <a:pt x="221" y="139"/>
                      </a:lnTo>
                      <a:lnTo>
                        <a:pt x="221" y="139"/>
                      </a:lnTo>
                      <a:lnTo>
                        <a:pt x="223" y="139"/>
                      </a:lnTo>
                      <a:lnTo>
                        <a:pt x="224" y="138"/>
                      </a:lnTo>
                      <a:lnTo>
                        <a:pt x="224" y="138"/>
                      </a:lnTo>
                      <a:lnTo>
                        <a:pt x="224" y="137"/>
                      </a:lnTo>
                      <a:lnTo>
                        <a:pt x="224" y="137"/>
                      </a:lnTo>
                      <a:lnTo>
                        <a:pt x="224" y="137"/>
                      </a:lnTo>
                      <a:lnTo>
                        <a:pt x="225" y="135"/>
                      </a:lnTo>
                      <a:lnTo>
                        <a:pt x="225" y="135"/>
                      </a:lnTo>
                      <a:lnTo>
                        <a:pt x="225" y="135"/>
                      </a:lnTo>
                      <a:lnTo>
                        <a:pt x="225" y="135"/>
                      </a:lnTo>
                      <a:lnTo>
                        <a:pt x="225" y="135"/>
                      </a:lnTo>
                      <a:lnTo>
                        <a:pt x="225" y="135"/>
                      </a:lnTo>
                      <a:lnTo>
                        <a:pt x="226" y="135"/>
                      </a:lnTo>
                      <a:lnTo>
                        <a:pt x="226" y="135"/>
                      </a:lnTo>
                      <a:lnTo>
                        <a:pt x="226" y="133"/>
                      </a:lnTo>
                      <a:lnTo>
                        <a:pt x="226" y="133"/>
                      </a:lnTo>
                      <a:lnTo>
                        <a:pt x="227" y="133"/>
                      </a:lnTo>
                      <a:lnTo>
                        <a:pt x="227" y="132"/>
                      </a:lnTo>
                      <a:lnTo>
                        <a:pt x="227" y="132"/>
                      </a:lnTo>
                      <a:lnTo>
                        <a:pt x="227" y="132"/>
                      </a:lnTo>
                      <a:lnTo>
                        <a:pt x="227" y="132"/>
                      </a:lnTo>
                      <a:lnTo>
                        <a:pt x="227" y="132"/>
                      </a:lnTo>
                      <a:lnTo>
                        <a:pt x="227" y="131"/>
                      </a:lnTo>
                      <a:lnTo>
                        <a:pt x="228" y="131"/>
                      </a:lnTo>
                      <a:lnTo>
                        <a:pt x="228" y="131"/>
                      </a:lnTo>
                      <a:lnTo>
                        <a:pt x="230" y="131"/>
                      </a:lnTo>
                      <a:lnTo>
                        <a:pt x="231" y="132"/>
                      </a:lnTo>
                      <a:lnTo>
                        <a:pt x="231" y="132"/>
                      </a:lnTo>
                      <a:lnTo>
                        <a:pt x="231" y="132"/>
                      </a:lnTo>
                      <a:lnTo>
                        <a:pt x="231" y="132"/>
                      </a:lnTo>
                      <a:lnTo>
                        <a:pt x="230" y="132"/>
                      </a:lnTo>
                      <a:lnTo>
                        <a:pt x="230" y="132"/>
                      </a:lnTo>
                      <a:lnTo>
                        <a:pt x="230" y="132"/>
                      </a:lnTo>
                      <a:lnTo>
                        <a:pt x="230" y="132"/>
                      </a:lnTo>
                      <a:lnTo>
                        <a:pt x="230" y="132"/>
                      </a:lnTo>
                      <a:lnTo>
                        <a:pt x="230" y="132"/>
                      </a:lnTo>
                      <a:lnTo>
                        <a:pt x="230" y="132"/>
                      </a:lnTo>
                      <a:lnTo>
                        <a:pt x="230" y="132"/>
                      </a:lnTo>
                      <a:lnTo>
                        <a:pt x="230" y="132"/>
                      </a:lnTo>
                      <a:lnTo>
                        <a:pt x="230" y="132"/>
                      </a:lnTo>
                      <a:lnTo>
                        <a:pt x="230" y="132"/>
                      </a:lnTo>
                      <a:lnTo>
                        <a:pt x="230" y="132"/>
                      </a:lnTo>
                      <a:lnTo>
                        <a:pt x="228" y="135"/>
                      </a:lnTo>
                      <a:lnTo>
                        <a:pt x="228" y="135"/>
                      </a:lnTo>
                      <a:lnTo>
                        <a:pt x="228" y="136"/>
                      </a:lnTo>
                      <a:lnTo>
                        <a:pt x="228" y="136"/>
                      </a:lnTo>
                      <a:lnTo>
                        <a:pt x="230" y="137"/>
                      </a:lnTo>
                      <a:lnTo>
                        <a:pt x="230" y="137"/>
                      </a:lnTo>
                      <a:lnTo>
                        <a:pt x="230" y="137"/>
                      </a:lnTo>
                      <a:lnTo>
                        <a:pt x="231" y="137"/>
                      </a:lnTo>
                      <a:lnTo>
                        <a:pt x="231" y="139"/>
                      </a:lnTo>
                      <a:lnTo>
                        <a:pt x="231" y="142"/>
                      </a:lnTo>
                      <a:lnTo>
                        <a:pt x="232" y="146"/>
                      </a:lnTo>
                      <a:lnTo>
                        <a:pt x="233" y="149"/>
                      </a:lnTo>
                      <a:lnTo>
                        <a:pt x="234" y="150"/>
                      </a:lnTo>
                      <a:lnTo>
                        <a:pt x="234" y="151"/>
                      </a:lnTo>
                      <a:lnTo>
                        <a:pt x="236" y="153"/>
                      </a:lnTo>
                      <a:lnTo>
                        <a:pt x="236" y="153"/>
                      </a:lnTo>
                      <a:lnTo>
                        <a:pt x="236" y="153"/>
                      </a:lnTo>
                      <a:lnTo>
                        <a:pt x="236" y="156"/>
                      </a:lnTo>
                      <a:lnTo>
                        <a:pt x="236" y="154"/>
                      </a:lnTo>
                      <a:lnTo>
                        <a:pt x="236" y="154"/>
                      </a:lnTo>
                      <a:lnTo>
                        <a:pt x="236" y="154"/>
                      </a:lnTo>
                      <a:lnTo>
                        <a:pt x="237" y="153"/>
                      </a:lnTo>
                      <a:lnTo>
                        <a:pt x="237" y="153"/>
                      </a:lnTo>
                      <a:lnTo>
                        <a:pt x="236" y="152"/>
                      </a:lnTo>
                      <a:lnTo>
                        <a:pt x="236" y="152"/>
                      </a:lnTo>
                      <a:lnTo>
                        <a:pt x="236" y="152"/>
                      </a:lnTo>
                      <a:lnTo>
                        <a:pt x="237" y="151"/>
                      </a:lnTo>
                      <a:lnTo>
                        <a:pt x="238" y="147"/>
                      </a:lnTo>
                      <a:lnTo>
                        <a:pt x="238" y="147"/>
                      </a:lnTo>
                      <a:lnTo>
                        <a:pt x="238" y="145"/>
                      </a:lnTo>
                      <a:lnTo>
                        <a:pt x="238" y="144"/>
                      </a:lnTo>
                      <a:lnTo>
                        <a:pt x="238" y="144"/>
                      </a:lnTo>
                      <a:lnTo>
                        <a:pt x="238" y="144"/>
                      </a:lnTo>
                      <a:lnTo>
                        <a:pt x="238" y="144"/>
                      </a:lnTo>
                      <a:lnTo>
                        <a:pt x="238" y="143"/>
                      </a:lnTo>
                      <a:lnTo>
                        <a:pt x="238" y="143"/>
                      </a:lnTo>
                      <a:lnTo>
                        <a:pt x="239" y="143"/>
                      </a:lnTo>
                      <a:lnTo>
                        <a:pt x="239" y="143"/>
                      </a:lnTo>
                      <a:lnTo>
                        <a:pt x="239" y="143"/>
                      </a:lnTo>
                      <a:lnTo>
                        <a:pt x="240" y="144"/>
                      </a:lnTo>
                      <a:lnTo>
                        <a:pt x="240" y="145"/>
                      </a:lnTo>
                      <a:lnTo>
                        <a:pt x="241" y="146"/>
                      </a:lnTo>
                      <a:lnTo>
                        <a:pt x="241" y="146"/>
                      </a:lnTo>
                      <a:lnTo>
                        <a:pt x="241" y="147"/>
                      </a:lnTo>
                      <a:lnTo>
                        <a:pt x="243" y="147"/>
                      </a:lnTo>
                      <a:lnTo>
                        <a:pt x="243" y="147"/>
                      </a:lnTo>
                      <a:lnTo>
                        <a:pt x="243" y="147"/>
                      </a:lnTo>
                      <a:lnTo>
                        <a:pt x="243" y="147"/>
                      </a:lnTo>
                      <a:lnTo>
                        <a:pt x="243" y="147"/>
                      </a:lnTo>
                      <a:lnTo>
                        <a:pt x="243" y="147"/>
                      </a:lnTo>
                      <a:lnTo>
                        <a:pt x="243" y="147"/>
                      </a:lnTo>
                      <a:lnTo>
                        <a:pt x="243" y="147"/>
                      </a:lnTo>
                      <a:lnTo>
                        <a:pt x="243" y="147"/>
                      </a:lnTo>
                      <a:lnTo>
                        <a:pt x="243" y="147"/>
                      </a:lnTo>
                      <a:lnTo>
                        <a:pt x="243" y="147"/>
                      </a:lnTo>
                      <a:lnTo>
                        <a:pt x="243" y="147"/>
                      </a:lnTo>
                      <a:lnTo>
                        <a:pt x="241" y="146"/>
                      </a:lnTo>
                      <a:lnTo>
                        <a:pt x="241" y="146"/>
                      </a:lnTo>
                      <a:lnTo>
                        <a:pt x="241" y="146"/>
                      </a:lnTo>
                      <a:lnTo>
                        <a:pt x="241" y="145"/>
                      </a:lnTo>
                      <a:lnTo>
                        <a:pt x="241" y="144"/>
                      </a:lnTo>
                      <a:lnTo>
                        <a:pt x="241" y="143"/>
                      </a:lnTo>
                      <a:lnTo>
                        <a:pt x="241" y="143"/>
                      </a:lnTo>
                      <a:lnTo>
                        <a:pt x="241" y="143"/>
                      </a:lnTo>
                      <a:lnTo>
                        <a:pt x="243" y="142"/>
                      </a:lnTo>
                      <a:lnTo>
                        <a:pt x="244" y="140"/>
                      </a:lnTo>
                      <a:lnTo>
                        <a:pt x="244" y="140"/>
                      </a:lnTo>
                      <a:lnTo>
                        <a:pt x="241" y="140"/>
                      </a:lnTo>
                      <a:lnTo>
                        <a:pt x="241" y="140"/>
                      </a:lnTo>
                      <a:lnTo>
                        <a:pt x="241" y="140"/>
                      </a:lnTo>
                      <a:lnTo>
                        <a:pt x="241" y="140"/>
                      </a:lnTo>
                      <a:lnTo>
                        <a:pt x="241" y="139"/>
                      </a:lnTo>
                      <a:lnTo>
                        <a:pt x="239" y="137"/>
                      </a:lnTo>
                      <a:lnTo>
                        <a:pt x="240" y="135"/>
                      </a:lnTo>
                      <a:lnTo>
                        <a:pt x="239" y="135"/>
                      </a:lnTo>
                      <a:lnTo>
                        <a:pt x="239" y="135"/>
                      </a:lnTo>
                      <a:lnTo>
                        <a:pt x="238" y="135"/>
                      </a:lnTo>
                      <a:lnTo>
                        <a:pt x="238" y="135"/>
                      </a:lnTo>
                      <a:lnTo>
                        <a:pt x="238" y="135"/>
                      </a:lnTo>
                      <a:lnTo>
                        <a:pt x="237" y="133"/>
                      </a:lnTo>
                      <a:lnTo>
                        <a:pt x="237" y="133"/>
                      </a:lnTo>
                      <a:lnTo>
                        <a:pt x="237" y="132"/>
                      </a:lnTo>
                      <a:lnTo>
                        <a:pt x="237" y="132"/>
                      </a:lnTo>
                      <a:lnTo>
                        <a:pt x="237" y="132"/>
                      </a:lnTo>
                      <a:lnTo>
                        <a:pt x="238" y="132"/>
                      </a:lnTo>
                      <a:lnTo>
                        <a:pt x="239" y="133"/>
                      </a:lnTo>
                      <a:lnTo>
                        <a:pt x="240" y="133"/>
                      </a:lnTo>
                      <a:lnTo>
                        <a:pt x="240" y="133"/>
                      </a:lnTo>
                      <a:lnTo>
                        <a:pt x="240" y="133"/>
                      </a:lnTo>
                      <a:lnTo>
                        <a:pt x="243" y="131"/>
                      </a:lnTo>
                      <a:lnTo>
                        <a:pt x="243" y="130"/>
                      </a:lnTo>
                      <a:lnTo>
                        <a:pt x="243" y="130"/>
                      </a:lnTo>
                      <a:lnTo>
                        <a:pt x="243" y="130"/>
                      </a:lnTo>
                      <a:lnTo>
                        <a:pt x="243" y="130"/>
                      </a:lnTo>
                      <a:lnTo>
                        <a:pt x="243" y="130"/>
                      </a:lnTo>
                      <a:lnTo>
                        <a:pt x="241" y="130"/>
                      </a:lnTo>
                      <a:lnTo>
                        <a:pt x="241" y="130"/>
                      </a:lnTo>
                      <a:lnTo>
                        <a:pt x="240" y="129"/>
                      </a:lnTo>
                      <a:lnTo>
                        <a:pt x="240" y="129"/>
                      </a:lnTo>
                      <a:lnTo>
                        <a:pt x="240" y="129"/>
                      </a:lnTo>
                      <a:lnTo>
                        <a:pt x="240" y="129"/>
                      </a:lnTo>
                      <a:lnTo>
                        <a:pt x="240" y="126"/>
                      </a:lnTo>
                      <a:lnTo>
                        <a:pt x="240" y="126"/>
                      </a:lnTo>
                      <a:lnTo>
                        <a:pt x="240" y="126"/>
                      </a:lnTo>
                      <a:lnTo>
                        <a:pt x="240" y="126"/>
                      </a:lnTo>
                      <a:lnTo>
                        <a:pt x="240" y="126"/>
                      </a:lnTo>
                      <a:lnTo>
                        <a:pt x="241" y="126"/>
                      </a:lnTo>
                      <a:lnTo>
                        <a:pt x="241" y="126"/>
                      </a:lnTo>
                      <a:lnTo>
                        <a:pt x="244" y="125"/>
                      </a:lnTo>
                      <a:lnTo>
                        <a:pt x="244" y="125"/>
                      </a:lnTo>
                      <a:lnTo>
                        <a:pt x="245" y="126"/>
                      </a:lnTo>
                      <a:lnTo>
                        <a:pt x="245" y="126"/>
                      </a:lnTo>
                      <a:lnTo>
                        <a:pt x="245" y="126"/>
                      </a:lnTo>
                      <a:lnTo>
                        <a:pt x="245" y="126"/>
                      </a:lnTo>
                      <a:lnTo>
                        <a:pt x="245" y="126"/>
                      </a:lnTo>
                      <a:lnTo>
                        <a:pt x="244" y="127"/>
                      </a:lnTo>
                      <a:lnTo>
                        <a:pt x="243" y="127"/>
                      </a:lnTo>
                      <a:lnTo>
                        <a:pt x="243" y="127"/>
                      </a:lnTo>
                      <a:lnTo>
                        <a:pt x="243" y="127"/>
                      </a:lnTo>
                      <a:lnTo>
                        <a:pt x="245" y="130"/>
                      </a:lnTo>
                      <a:lnTo>
                        <a:pt x="245" y="130"/>
                      </a:lnTo>
                      <a:lnTo>
                        <a:pt x="245" y="130"/>
                      </a:lnTo>
                      <a:lnTo>
                        <a:pt x="246" y="130"/>
                      </a:lnTo>
                      <a:lnTo>
                        <a:pt x="247" y="127"/>
                      </a:lnTo>
                      <a:lnTo>
                        <a:pt x="250" y="127"/>
                      </a:lnTo>
                      <a:lnTo>
                        <a:pt x="250" y="127"/>
                      </a:lnTo>
                      <a:lnTo>
                        <a:pt x="250" y="129"/>
                      </a:lnTo>
                      <a:lnTo>
                        <a:pt x="250" y="129"/>
                      </a:lnTo>
                      <a:lnTo>
                        <a:pt x="251" y="129"/>
                      </a:lnTo>
                      <a:lnTo>
                        <a:pt x="251" y="129"/>
                      </a:lnTo>
                      <a:lnTo>
                        <a:pt x="251" y="130"/>
                      </a:lnTo>
                      <a:lnTo>
                        <a:pt x="251" y="130"/>
                      </a:lnTo>
                      <a:lnTo>
                        <a:pt x="251" y="130"/>
                      </a:lnTo>
                      <a:lnTo>
                        <a:pt x="251" y="131"/>
                      </a:lnTo>
                      <a:lnTo>
                        <a:pt x="251" y="131"/>
                      </a:lnTo>
                      <a:lnTo>
                        <a:pt x="251" y="131"/>
                      </a:lnTo>
                      <a:lnTo>
                        <a:pt x="251" y="131"/>
                      </a:lnTo>
                      <a:lnTo>
                        <a:pt x="252" y="131"/>
                      </a:lnTo>
                      <a:lnTo>
                        <a:pt x="253" y="131"/>
                      </a:lnTo>
                      <a:lnTo>
                        <a:pt x="253" y="131"/>
                      </a:lnTo>
                      <a:lnTo>
                        <a:pt x="253" y="131"/>
                      </a:lnTo>
                      <a:lnTo>
                        <a:pt x="253" y="131"/>
                      </a:lnTo>
                      <a:lnTo>
                        <a:pt x="254" y="130"/>
                      </a:lnTo>
                      <a:lnTo>
                        <a:pt x="254" y="130"/>
                      </a:lnTo>
                      <a:lnTo>
                        <a:pt x="254" y="130"/>
                      </a:lnTo>
                      <a:lnTo>
                        <a:pt x="254" y="130"/>
                      </a:lnTo>
                      <a:lnTo>
                        <a:pt x="254" y="130"/>
                      </a:lnTo>
                      <a:lnTo>
                        <a:pt x="256" y="131"/>
                      </a:lnTo>
                      <a:lnTo>
                        <a:pt x="258" y="131"/>
                      </a:lnTo>
                      <a:lnTo>
                        <a:pt x="258" y="131"/>
                      </a:lnTo>
                      <a:lnTo>
                        <a:pt x="259" y="131"/>
                      </a:lnTo>
                      <a:lnTo>
                        <a:pt x="260" y="130"/>
                      </a:lnTo>
                      <a:lnTo>
                        <a:pt x="260" y="130"/>
                      </a:lnTo>
                      <a:lnTo>
                        <a:pt x="260" y="130"/>
                      </a:lnTo>
                      <a:lnTo>
                        <a:pt x="261" y="131"/>
                      </a:lnTo>
                      <a:lnTo>
                        <a:pt x="261" y="131"/>
                      </a:lnTo>
                      <a:lnTo>
                        <a:pt x="263" y="131"/>
                      </a:lnTo>
                      <a:lnTo>
                        <a:pt x="263" y="131"/>
                      </a:lnTo>
                      <a:lnTo>
                        <a:pt x="263" y="131"/>
                      </a:lnTo>
                      <a:lnTo>
                        <a:pt x="264" y="131"/>
                      </a:lnTo>
                      <a:lnTo>
                        <a:pt x="264" y="131"/>
                      </a:lnTo>
                      <a:lnTo>
                        <a:pt x="264" y="131"/>
                      </a:lnTo>
                      <a:lnTo>
                        <a:pt x="263" y="131"/>
                      </a:lnTo>
                      <a:lnTo>
                        <a:pt x="263" y="131"/>
                      </a:lnTo>
                      <a:lnTo>
                        <a:pt x="263" y="131"/>
                      </a:lnTo>
                      <a:lnTo>
                        <a:pt x="263" y="131"/>
                      </a:lnTo>
                      <a:lnTo>
                        <a:pt x="263" y="131"/>
                      </a:lnTo>
                      <a:lnTo>
                        <a:pt x="261" y="131"/>
                      </a:lnTo>
                      <a:lnTo>
                        <a:pt x="261" y="131"/>
                      </a:lnTo>
                      <a:lnTo>
                        <a:pt x="260" y="130"/>
                      </a:lnTo>
                      <a:lnTo>
                        <a:pt x="260" y="130"/>
                      </a:lnTo>
                      <a:lnTo>
                        <a:pt x="260" y="130"/>
                      </a:lnTo>
                      <a:lnTo>
                        <a:pt x="259" y="130"/>
                      </a:lnTo>
                      <a:lnTo>
                        <a:pt x="259" y="130"/>
                      </a:lnTo>
                      <a:lnTo>
                        <a:pt x="258" y="130"/>
                      </a:lnTo>
                      <a:lnTo>
                        <a:pt x="258" y="129"/>
                      </a:lnTo>
                      <a:lnTo>
                        <a:pt x="258" y="129"/>
                      </a:lnTo>
                      <a:lnTo>
                        <a:pt x="257" y="129"/>
                      </a:lnTo>
                      <a:lnTo>
                        <a:pt x="257" y="130"/>
                      </a:lnTo>
                      <a:lnTo>
                        <a:pt x="257" y="130"/>
                      </a:lnTo>
                      <a:lnTo>
                        <a:pt x="256" y="130"/>
                      </a:lnTo>
                      <a:lnTo>
                        <a:pt x="256" y="130"/>
                      </a:lnTo>
                      <a:lnTo>
                        <a:pt x="254" y="130"/>
                      </a:lnTo>
                      <a:lnTo>
                        <a:pt x="254" y="130"/>
                      </a:lnTo>
                      <a:lnTo>
                        <a:pt x="254" y="130"/>
                      </a:lnTo>
                      <a:lnTo>
                        <a:pt x="254" y="129"/>
                      </a:lnTo>
                      <a:lnTo>
                        <a:pt x="254" y="127"/>
                      </a:lnTo>
                      <a:lnTo>
                        <a:pt x="254" y="126"/>
                      </a:lnTo>
                      <a:lnTo>
                        <a:pt x="256" y="126"/>
                      </a:lnTo>
                      <a:lnTo>
                        <a:pt x="256" y="125"/>
                      </a:lnTo>
                      <a:lnTo>
                        <a:pt x="257" y="125"/>
                      </a:lnTo>
                      <a:lnTo>
                        <a:pt x="257" y="125"/>
                      </a:lnTo>
                      <a:lnTo>
                        <a:pt x="257" y="126"/>
                      </a:lnTo>
                      <a:lnTo>
                        <a:pt x="257" y="126"/>
                      </a:lnTo>
                      <a:lnTo>
                        <a:pt x="259" y="125"/>
                      </a:lnTo>
                      <a:lnTo>
                        <a:pt x="259" y="123"/>
                      </a:lnTo>
                      <a:lnTo>
                        <a:pt x="259" y="122"/>
                      </a:lnTo>
                      <a:lnTo>
                        <a:pt x="259" y="120"/>
                      </a:lnTo>
                      <a:lnTo>
                        <a:pt x="261" y="119"/>
                      </a:lnTo>
                      <a:lnTo>
                        <a:pt x="263" y="119"/>
                      </a:lnTo>
                      <a:lnTo>
                        <a:pt x="263" y="118"/>
                      </a:lnTo>
                      <a:lnTo>
                        <a:pt x="263" y="118"/>
                      </a:lnTo>
                      <a:lnTo>
                        <a:pt x="261" y="118"/>
                      </a:lnTo>
                      <a:lnTo>
                        <a:pt x="261" y="118"/>
                      </a:lnTo>
                      <a:lnTo>
                        <a:pt x="261" y="118"/>
                      </a:lnTo>
                      <a:lnTo>
                        <a:pt x="260" y="118"/>
                      </a:lnTo>
                      <a:lnTo>
                        <a:pt x="260" y="118"/>
                      </a:lnTo>
                      <a:lnTo>
                        <a:pt x="260" y="118"/>
                      </a:lnTo>
                      <a:lnTo>
                        <a:pt x="259" y="119"/>
                      </a:lnTo>
                      <a:lnTo>
                        <a:pt x="259" y="120"/>
                      </a:lnTo>
                      <a:lnTo>
                        <a:pt x="259" y="120"/>
                      </a:lnTo>
                      <a:lnTo>
                        <a:pt x="258" y="122"/>
                      </a:lnTo>
                      <a:lnTo>
                        <a:pt x="258" y="122"/>
                      </a:lnTo>
                      <a:lnTo>
                        <a:pt x="256" y="120"/>
                      </a:lnTo>
                      <a:lnTo>
                        <a:pt x="256" y="120"/>
                      </a:lnTo>
                      <a:lnTo>
                        <a:pt x="256" y="119"/>
                      </a:lnTo>
                      <a:lnTo>
                        <a:pt x="256" y="117"/>
                      </a:lnTo>
                      <a:lnTo>
                        <a:pt x="256" y="116"/>
                      </a:lnTo>
                      <a:lnTo>
                        <a:pt x="257" y="116"/>
                      </a:lnTo>
                      <a:lnTo>
                        <a:pt x="258" y="112"/>
                      </a:lnTo>
                      <a:lnTo>
                        <a:pt x="258" y="112"/>
                      </a:lnTo>
                      <a:lnTo>
                        <a:pt x="258" y="112"/>
                      </a:lnTo>
                      <a:lnTo>
                        <a:pt x="259" y="111"/>
                      </a:lnTo>
                      <a:lnTo>
                        <a:pt x="259" y="111"/>
                      </a:lnTo>
                      <a:lnTo>
                        <a:pt x="259" y="111"/>
                      </a:lnTo>
                      <a:lnTo>
                        <a:pt x="259" y="112"/>
                      </a:lnTo>
                      <a:lnTo>
                        <a:pt x="259" y="112"/>
                      </a:lnTo>
                      <a:lnTo>
                        <a:pt x="259" y="112"/>
                      </a:lnTo>
                      <a:lnTo>
                        <a:pt x="259" y="112"/>
                      </a:lnTo>
                      <a:lnTo>
                        <a:pt x="260" y="113"/>
                      </a:lnTo>
                      <a:lnTo>
                        <a:pt x="260" y="112"/>
                      </a:lnTo>
                      <a:lnTo>
                        <a:pt x="261" y="112"/>
                      </a:lnTo>
                      <a:lnTo>
                        <a:pt x="261" y="112"/>
                      </a:lnTo>
                      <a:lnTo>
                        <a:pt x="263" y="111"/>
                      </a:lnTo>
                      <a:lnTo>
                        <a:pt x="263" y="111"/>
                      </a:lnTo>
                      <a:lnTo>
                        <a:pt x="263" y="109"/>
                      </a:lnTo>
                      <a:lnTo>
                        <a:pt x="263" y="107"/>
                      </a:lnTo>
                      <a:lnTo>
                        <a:pt x="263" y="107"/>
                      </a:lnTo>
                      <a:lnTo>
                        <a:pt x="263" y="107"/>
                      </a:lnTo>
                      <a:lnTo>
                        <a:pt x="263" y="107"/>
                      </a:lnTo>
                      <a:lnTo>
                        <a:pt x="264" y="107"/>
                      </a:lnTo>
                      <a:lnTo>
                        <a:pt x="264" y="107"/>
                      </a:lnTo>
                      <a:lnTo>
                        <a:pt x="266" y="110"/>
                      </a:lnTo>
                      <a:lnTo>
                        <a:pt x="267" y="110"/>
                      </a:lnTo>
                      <a:lnTo>
                        <a:pt x="267" y="110"/>
                      </a:lnTo>
                      <a:lnTo>
                        <a:pt x="267" y="111"/>
                      </a:lnTo>
                      <a:lnTo>
                        <a:pt x="268" y="111"/>
                      </a:lnTo>
                      <a:lnTo>
                        <a:pt x="268" y="111"/>
                      </a:lnTo>
                      <a:lnTo>
                        <a:pt x="271" y="113"/>
                      </a:lnTo>
                      <a:lnTo>
                        <a:pt x="271" y="112"/>
                      </a:lnTo>
                      <a:lnTo>
                        <a:pt x="271" y="112"/>
                      </a:lnTo>
                      <a:lnTo>
                        <a:pt x="271" y="112"/>
                      </a:lnTo>
                      <a:lnTo>
                        <a:pt x="270" y="111"/>
                      </a:lnTo>
                      <a:lnTo>
                        <a:pt x="270" y="111"/>
                      </a:lnTo>
                      <a:lnTo>
                        <a:pt x="270" y="111"/>
                      </a:lnTo>
                      <a:lnTo>
                        <a:pt x="270" y="111"/>
                      </a:lnTo>
                      <a:lnTo>
                        <a:pt x="270" y="111"/>
                      </a:lnTo>
                      <a:lnTo>
                        <a:pt x="270" y="111"/>
                      </a:lnTo>
                      <a:lnTo>
                        <a:pt x="270" y="111"/>
                      </a:lnTo>
                      <a:lnTo>
                        <a:pt x="270" y="110"/>
                      </a:lnTo>
                      <a:lnTo>
                        <a:pt x="270" y="110"/>
                      </a:lnTo>
                      <a:lnTo>
                        <a:pt x="270" y="109"/>
                      </a:lnTo>
                      <a:lnTo>
                        <a:pt x="270" y="109"/>
                      </a:lnTo>
                      <a:lnTo>
                        <a:pt x="271" y="109"/>
                      </a:lnTo>
                      <a:lnTo>
                        <a:pt x="271" y="109"/>
                      </a:lnTo>
                      <a:lnTo>
                        <a:pt x="271" y="109"/>
                      </a:lnTo>
                      <a:lnTo>
                        <a:pt x="271" y="109"/>
                      </a:lnTo>
                      <a:lnTo>
                        <a:pt x="270" y="109"/>
                      </a:lnTo>
                      <a:lnTo>
                        <a:pt x="268" y="109"/>
                      </a:lnTo>
                      <a:lnTo>
                        <a:pt x="268" y="109"/>
                      </a:lnTo>
                      <a:lnTo>
                        <a:pt x="267" y="109"/>
                      </a:lnTo>
                      <a:lnTo>
                        <a:pt x="267" y="109"/>
                      </a:lnTo>
                      <a:lnTo>
                        <a:pt x="267" y="109"/>
                      </a:lnTo>
                      <a:lnTo>
                        <a:pt x="267" y="109"/>
                      </a:lnTo>
                      <a:lnTo>
                        <a:pt x="267" y="109"/>
                      </a:lnTo>
                      <a:lnTo>
                        <a:pt x="267" y="109"/>
                      </a:lnTo>
                      <a:lnTo>
                        <a:pt x="266" y="109"/>
                      </a:lnTo>
                      <a:lnTo>
                        <a:pt x="266" y="107"/>
                      </a:lnTo>
                      <a:lnTo>
                        <a:pt x="266" y="107"/>
                      </a:lnTo>
                      <a:lnTo>
                        <a:pt x="266" y="107"/>
                      </a:lnTo>
                      <a:lnTo>
                        <a:pt x="266" y="107"/>
                      </a:lnTo>
                      <a:lnTo>
                        <a:pt x="267" y="107"/>
                      </a:lnTo>
                      <a:lnTo>
                        <a:pt x="267" y="106"/>
                      </a:lnTo>
                      <a:lnTo>
                        <a:pt x="268" y="106"/>
                      </a:lnTo>
                      <a:lnTo>
                        <a:pt x="268" y="106"/>
                      </a:lnTo>
                      <a:lnTo>
                        <a:pt x="268" y="106"/>
                      </a:lnTo>
                      <a:lnTo>
                        <a:pt x="268" y="106"/>
                      </a:lnTo>
                      <a:lnTo>
                        <a:pt x="268" y="106"/>
                      </a:lnTo>
                      <a:lnTo>
                        <a:pt x="268" y="106"/>
                      </a:lnTo>
                      <a:lnTo>
                        <a:pt x="268" y="106"/>
                      </a:lnTo>
                      <a:lnTo>
                        <a:pt x="268" y="106"/>
                      </a:lnTo>
                      <a:lnTo>
                        <a:pt x="268" y="106"/>
                      </a:lnTo>
                      <a:lnTo>
                        <a:pt x="270" y="105"/>
                      </a:lnTo>
                      <a:lnTo>
                        <a:pt x="270" y="105"/>
                      </a:lnTo>
                      <a:lnTo>
                        <a:pt x="270" y="105"/>
                      </a:lnTo>
                      <a:lnTo>
                        <a:pt x="270" y="105"/>
                      </a:lnTo>
                      <a:lnTo>
                        <a:pt x="270" y="105"/>
                      </a:lnTo>
                      <a:lnTo>
                        <a:pt x="268" y="105"/>
                      </a:lnTo>
                      <a:lnTo>
                        <a:pt x="267" y="106"/>
                      </a:lnTo>
                      <a:lnTo>
                        <a:pt x="267" y="106"/>
                      </a:lnTo>
                      <a:lnTo>
                        <a:pt x="267" y="106"/>
                      </a:lnTo>
                      <a:lnTo>
                        <a:pt x="266" y="106"/>
                      </a:lnTo>
                      <a:lnTo>
                        <a:pt x="266" y="107"/>
                      </a:lnTo>
                      <a:lnTo>
                        <a:pt x="266" y="107"/>
                      </a:lnTo>
                      <a:lnTo>
                        <a:pt x="266" y="107"/>
                      </a:lnTo>
                      <a:lnTo>
                        <a:pt x="266" y="107"/>
                      </a:lnTo>
                      <a:lnTo>
                        <a:pt x="266" y="105"/>
                      </a:lnTo>
                      <a:lnTo>
                        <a:pt x="266" y="105"/>
                      </a:lnTo>
                      <a:lnTo>
                        <a:pt x="266" y="105"/>
                      </a:lnTo>
                      <a:lnTo>
                        <a:pt x="266" y="105"/>
                      </a:lnTo>
                      <a:lnTo>
                        <a:pt x="267" y="104"/>
                      </a:lnTo>
                      <a:lnTo>
                        <a:pt x="267" y="104"/>
                      </a:lnTo>
                      <a:lnTo>
                        <a:pt x="268" y="104"/>
                      </a:lnTo>
                      <a:lnTo>
                        <a:pt x="268" y="104"/>
                      </a:lnTo>
                      <a:lnTo>
                        <a:pt x="270" y="104"/>
                      </a:lnTo>
                      <a:lnTo>
                        <a:pt x="270" y="104"/>
                      </a:lnTo>
                      <a:lnTo>
                        <a:pt x="270" y="104"/>
                      </a:lnTo>
                      <a:lnTo>
                        <a:pt x="270" y="104"/>
                      </a:lnTo>
                      <a:lnTo>
                        <a:pt x="270" y="103"/>
                      </a:lnTo>
                      <a:lnTo>
                        <a:pt x="271" y="102"/>
                      </a:lnTo>
                      <a:lnTo>
                        <a:pt x="272" y="105"/>
                      </a:lnTo>
                      <a:lnTo>
                        <a:pt x="272" y="105"/>
                      </a:lnTo>
                      <a:lnTo>
                        <a:pt x="272" y="105"/>
                      </a:lnTo>
                      <a:lnTo>
                        <a:pt x="272" y="105"/>
                      </a:lnTo>
                      <a:lnTo>
                        <a:pt x="272" y="104"/>
                      </a:lnTo>
                      <a:lnTo>
                        <a:pt x="272" y="104"/>
                      </a:lnTo>
                      <a:lnTo>
                        <a:pt x="272" y="103"/>
                      </a:lnTo>
                      <a:lnTo>
                        <a:pt x="273" y="104"/>
                      </a:lnTo>
                      <a:lnTo>
                        <a:pt x="273" y="104"/>
                      </a:lnTo>
                      <a:lnTo>
                        <a:pt x="274" y="104"/>
                      </a:lnTo>
                      <a:lnTo>
                        <a:pt x="274" y="104"/>
                      </a:lnTo>
                      <a:lnTo>
                        <a:pt x="274" y="104"/>
                      </a:lnTo>
                      <a:lnTo>
                        <a:pt x="274" y="105"/>
                      </a:lnTo>
                      <a:lnTo>
                        <a:pt x="274" y="105"/>
                      </a:lnTo>
                      <a:lnTo>
                        <a:pt x="274" y="105"/>
                      </a:lnTo>
                      <a:lnTo>
                        <a:pt x="274" y="105"/>
                      </a:lnTo>
                      <a:lnTo>
                        <a:pt x="274" y="105"/>
                      </a:lnTo>
                      <a:lnTo>
                        <a:pt x="274" y="105"/>
                      </a:lnTo>
                      <a:lnTo>
                        <a:pt x="274" y="105"/>
                      </a:lnTo>
                      <a:lnTo>
                        <a:pt x="275" y="105"/>
                      </a:lnTo>
                      <a:lnTo>
                        <a:pt x="277" y="105"/>
                      </a:lnTo>
                      <a:lnTo>
                        <a:pt x="277" y="105"/>
                      </a:lnTo>
                      <a:lnTo>
                        <a:pt x="277" y="105"/>
                      </a:lnTo>
                      <a:lnTo>
                        <a:pt x="277" y="105"/>
                      </a:lnTo>
                      <a:lnTo>
                        <a:pt x="277" y="105"/>
                      </a:lnTo>
                      <a:lnTo>
                        <a:pt x="277" y="105"/>
                      </a:lnTo>
                      <a:lnTo>
                        <a:pt x="277" y="104"/>
                      </a:lnTo>
                      <a:lnTo>
                        <a:pt x="277" y="105"/>
                      </a:lnTo>
                      <a:lnTo>
                        <a:pt x="277" y="105"/>
                      </a:lnTo>
                      <a:lnTo>
                        <a:pt x="275" y="105"/>
                      </a:lnTo>
                      <a:lnTo>
                        <a:pt x="275" y="105"/>
                      </a:lnTo>
                      <a:lnTo>
                        <a:pt x="275" y="105"/>
                      </a:lnTo>
                      <a:lnTo>
                        <a:pt x="275" y="104"/>
                      </a:lnTo>
                      <a:lnTo>
                        <a:pt x="275" y="104"/>
                      </a:lnTo>
                      <a:lnTo>
                        <a:pt x="275" y="104"/>
                      </a:lnTo>
                      <a:lnTo>
                        <a:pt x="275" y="104"/>
                      </a:lnTo>
                      <a:lnTo>
                        <a:pt x="275" y="103"/>
                      </a:lnTo>
                      <a:lnTo>
                        <a:pt x="274" y="102"/>
                      </a:lnTo>
                      <a:lnTo>
                        <a:pt x="274" y="102"/>
                      </a:lnTo>
                      <a:lnTo>
                        <a:pt x="273" y="102"/>
                      </a:lnTo>
                      <a:lnTo>
                        <a:pt x="273" y="100"/>
                      </a:lnTo>
                      <a:lnTo>
                        <a:pt x="273" y="100"/>
                      </a:lnTo>
                      <a:lnTo>
                        <a:pt x="273" y="100"/>
                      </a:lnTo>
                      <a:lnTo>
                        <a:pt x="273" y="100"/>
                      </a:lnTo>
                      <a:lnTo>
                        <a:pt x="274" y="100"/>
                      </a:lnTo>
                      <a:lnTo>
                        <a:pt x="273" y="99"/>
                      </a:lnTo>
                      <a:lnTo>
                        <a:pt x="273" y="99"/>
                      </a:lnTo>
                      <a:lnTo>
                        <a:pt x="272" y="97"/>
                      </a:lnTo>
                      <a:lnTo>
                        <a:pt x="272" y="97"/>
                      </a:lnTo>
                      <a:lnTo>
                        <a:pt x="272" y="97"/>
                      </a:lnTo>
                      <a:lnTo>
                        <a:pt x="273" y="97"/>
                      </a:lnTo>
                      <a:lnTo>
                        <a:pt x="274" y="93"/>
                      </a:lnTo>
                      <a:lnTo>
                        <a:pt x="275" y="93"/>
                      </a:lnTo>
                      <a:lnTo>
                        <a:pt x="277" y="92"/>
                      </a:lnTo>
                      <a:lnTo>
                        <a:pt x="278" y="93"/>
                      </a:lnTo>
                      <a:lnTo>
                        <a:pt x="280" y="93"/>
                      </a:lnTo>
                      <a:lnTo>
                        <a:pt x="280" y="93"/>
                      </a:lnTo>
                      <a:lnTo>
                        <a:pt x="280" y="93"/>
                      </a:lnTo>
                      <a:lnTo>
                        <a:pt x="281" y="93"/>
                      </a:lnTo>
                      <a:lnTo>
                        <a:pt x="281" y="92"/>
                      </a:lnTo>
                      <a:lnTo>
                        <a:pt x="281" y="91"/>
                      </a:lnTo>
                      <a:lnTo>
                        <a:pt x="281" y="87"/>
                      </a:lnTo>
                      <a:lnTo>
                        <a:pt x="281" y="87"/>
                      </a:lnTo>
                      <a:lnTo>
                        <a:pt x="281" y="87"/>
                      </a:lnTo>
                      <a:lnTo>
                        <a:pt x="283" y="86"/>
                      </a:lnTo>
                      <a:lnTo>
                        <a:pt x="283" y="86"/>
                      </a:lnTo>
                      <a:lnTo>
                        <a:pt x="283" y="86"/>
                      </a:lnTo>
                      <a:lnTo>
                        <a:pt x="283" y="86"/>
                      </a:lnTo>
                      <a:lnTo>
                        <a:pt x="285" y="87"/>
                      </a:lnTo>
                      <a:lnTo>
                        <a:pt x="285" y="87"/>
                      </a:lnTo>
                      <a:lnTo>
                        <a:pt x="285" y="87"/>
                      </a:lnTo>
                      <a:lnTo>
                        <a:pt x="284" y="89"/>
                      </a:lnTo>
                      <a:lnTo>
                        <a:pt x="284" y="89"/>
                      </a:lnTo>
                      <a:lnTo>
                        <a:pt x="284" y="89"/>
                      </a:lnTo>
                      <a:lnTo>
                        <a:pt x="284" y="89"/>
                      </a:lnTo>
                      <a:lnTo>
                        <a:pt x="284" y="89"/>
                      </a:lnTo>
                      <a:lnTo>
                        <a:pt x="281" y="95"/>
                      </a:lnTo>
                      <a:lnTo>
                        <a:pt x="281" y="95"/>
                      </a:lnTo>
                      <a:lnTo>
                        <a:pt x="281" y="95"/>
                      </a:lnTo>
                      <a:lnTo>
                        <a:pt x="281" y="95"/>
                      </a:lnTo>
                      <a:lnTo>
                        <a:pt x="281" y="95"/>
                      </a:lnTo>
                      <a:lnTo>
                        <a:pt x="281" y="95"/>
                      </a:lnTo>
                      <a:lnTo>
                        <a:pt x="283" y="95"/>
                      </a:lnTo>
                      <a:lnTo>
                        <a:pt x="283" y="95"/>
                      </a:lnTo>
                      <a:lnTo>
                        <a:pt x="283" y="95"/>
                      </a:lnTo>
                      <a:lnTo>
                        <a:pt x="284" y="92"/>
                      </a:lnTo>
                      <a:lnTo>
                        <a:pt x="284" y="91"/>
                      </a:lnTo>
                      <a:lnTo>
                        <a:pt x="284" y="91"/>
                      </a:lnTo>
                      <a:lnTo>
                        <a:pt x="284" y="91"/>
                      </a:lnTo>
                      <a:lnTo>
                        <a:pt x="284" y="90"/>
                      </a:lnTo>
                      <a:lnTo>
                        <a:pt x="284" y="90"/>
                      </a:lnTo>
                      <a:lnTo>
                        <a:pt x="284" y="90"/>
                      </a:lnTo>
                      <a:lnTo>
                        <a:pt x="284" y="90"/>
                      </a:lnTo>
                      <a:lnTo>
                        <a:pt x="284" y="90"/>
                      </a:lnTo>
                      <a:lnTo>
                        <a:pt x="284" y="90"/>
                      </a:lnTo>
                      <a:lnTo>
                        <a:pt x="286" y="91"/>
                      </a:lnTo>
                      <a:lnTo>
                        <a:pt x="286" y="91"/>
                      </a:lnTo>
                      <a:lnTo>
                        <a:pt x="286" y="91"/>
                      </a:lnTo>
                      <a:lnTo>
                        <a:pt x="286" y="91"/>
                      </a:lnTo>
                      <a:lnTo>
                        <a:pt x="285" y="93"/>
                      </a:lnTo>
                      <a:lnTo>
                        <a:pt x="285" y="93"/>
                      </a:lnTo>
                      <a:lnTo>
                        <a:pt x="285" y="95"/>
                      </a:lnTo>
                      <a:lnTo>
                        <a:pt x="285" y="95"/>
                      </a:lnTo>
                      <a:lnTo>
                        <a:pt x="286" y="95"/>
                      </a:lnTo>
                      <a:lnTo>
                        <a:pt x="286" y="95"/>
                      </a:lnTo>
                      <a:lnTo>
                        <a:pt x="287" y="95"/>
                      </a:lnTo>
                      <a:lnTo>
                        <a:pt x="288" y="93"/>
                      </a:lnTo>
                      <a:lnTo>
                        <a:pt x="288" y="93"/>
                      </a:lnTo>
                      <a:lnTo>
                        <a:pt x="288" y="92"/>
                      </a:lnTo>
                      <a:lnTo>
                        <a:pt x="290" y="92"/>
                      </a:lnTo>
                      <a:lnTo>
                        <a:pt x="290" y="92"/>
                      </a:lnTo>
                      <a:lnTo>
                        <a:pt x="290" y="89"/>
                      </a:lnTo>
                      <a:lnTo>
                        <a:pt x="292" y="85"/>
                      </a:lnTo>
                      <a:lnTo>
                        <a:pt x="292" y="85"/>
                      </a:lnTo>
                      <a:lnTo>
                        <a:pt x="292" y="84"/>
                      </a:lnTo>
                      <a:lnTo>
                        <a:pt x="292" y="82"/>
                      </a:lnTo>
                      <a:lnTo>
                        <a:pt x="292" y="82"/>
                      </a:lnTo>
                      <a:lnTo>
                        <a:pt x="291" y="80"/>
                      </a:lnTo>
                      <a:lnTo>
                        <a:pt x="291" y="80"/>
                      </a:lnTo>
                      <a:lnTo>
                        <a:pt x="291" y="80"/>
                      </a:lnTo>
                      <a:lnTo>
                        <a:pt x="291" y="80"/>
                      </a:lnTo>
                      <a:lnTo>
                        <a:pt x="291" y="80"/>
                      </a:lnTo>
                      <a:lnTo>
                        <a:pt x="291" y="80"/>
                      </a:lnTo>
                      <a:lnTo>
                        <a:pt x="291" y="80"/>
                      </a:lnTo>
                      <a:lnTo>
                        <a:pt x="291" y="80"/>
                      </a:lnTo>
                      <a:lnTo>
                        <a:pt x="291" y="80"/>
                      </a:lnTo>
                      <a:lnTo>
                        <a:pt x="291" y="80"/>
                      </a:lnTo>
                      <a:lnTo>
                        <a:pt x="293" y="80"/>
                      </a:lnTo>
                      <a:lnTo>
                        <a:pt x="294" y="80"/>
                      </a:lnTo>
                      <a:lnTo>
                        <a:pt x="294" y="83"/>
                      </a:lnTo>
                      <a:lnTo>
                        <a:pt x="293" y="83"/>
                      </a:lnTo>
                      <a:lnTo>
                        <a:pt x="293" y="83"/>
                      </a:lnTo>
                      <a:lnTo>
                        <a:pt x="293" y="83"/>
                      </a:lnTo>
                      <a:lnTo>
                        <a:pt x="293" y="83"/>
                      </a:lnTo>
                      <a:lnTo>
                        <a:pt x="293" y="83"/>
                      </a:lnTo>
                      <a:lnTo>
                        <a:pt x="293" y="83"/>
                      </a:lnTo>
                      <a:lnTo>
                        <a:pt x="293" y="83"/>
                      </a:lnTo>
                      <a:lnTo>
                        <a:pt x="293" y="83"/>
                      </a:lnTo>
                      <a:lnTo>
                        <a:pt x="293" y="85"/>
                      </a:lnTo>
                      <a:lnTo>
                        <a:pt x="293" y="85"/>
                      </a:lnTo>
                      <a:lnTo>
                        <a:pt x="293" y="85"/>
                      </a:lnTo>
                      <a:lnTo>
                        <a:pt x="293" y="85"/>
                      </a:lnTo>
                      <a:lnTo>
                        <a:pt x="293" y="85"/>
                      </a:lnTo>
                      <a:lnTo>
                        <a:pt x="293" y="85"/>
                      </a:lnTo>
                      <a:lnTo>
                        <a:pt x="294" y="86"/>
                      </a:lnTo>
                      <a:lnTo>
                        <a:pt x="294" y="86"/>
                      </a:lnTo>
                      <a:lnTo>
                        <a:pt x="294" y="86"/>
                      </a:lnTo>
                      <a:lnTo>
                        <a:pt x="294" y="86"/>
                      </a:lnTo>
                      <a:lnTo>
                        <a:pt x="295" y="85"/>
                      </a:lnTo>
                      <a:lnTo>
                        <a:pt x="294" y="85"/>
                      </a:lnTo>
                      <a:lnTo>
                        <a:pt x="294" y="84"/>
                      </a:lnTo>
                      <a:lnTo>
                        <a:pt x="295" y="84"/>
                      </a:lnTo>
                      <a:lnTo>
                        <a:pt x="295" y="84"/>
                      </a:lnTo>
                      <a:lnTo>
                        <a:pt x="295" y="83"/>
                      </a:lnTo>
                      <a:lnTo>
                        <a:pt x="295" y="83"/>
                      </a:lnTo>
                      <a:lnTo>
                        <a:pt x="298" y="82"/>
                      </a:lnTo>
                      <a:lnTo>
                        <a:pt x="299" y="80"/>
                      </a:lnTo>
                      <a:lnTo>
                        <a:pt x="299" y="82"/>
                      </a:lnTo>
                      <a:lnTo>
                        <a:pt x="298" y="83"/>
                      </a:lnTo>
                      <a:lnTo>
                        <a:pt x="298" y="83"/>
                      </a:lnTo>
                      <a:lnTo>
                        <a:pt x="298" y="83"/>
                      </a:lnTo>
                      <a:lnTo>
                        <a:pt x="298" y="83"/>
                      </a:lnTo>
                      <a:lnTo>
                        <a:pt x="298" y="84"/>
                      </a:lnTo>
                      <a:lnTo>
                        <a:pt x="299" y="86"/>
                      </a:lnTo>
                      <a:lnTo>
                        <a:pt x="300" y="86"/>
                      </a:lnTo>
                      <a:lnTo>
                        <a:pt x="301" y="84"/>
                      </a:lnTo>
                      <a:lnTo>
                        <a:pt x="303" y="84"/>
                      </a:lnTo>
                      <a:lnTo>
                        <a:pt x="304" y="82"/>
                      </a:lnTo>
                      <a:lnTo>
                        <a:pt x="304" y="78"/>
                      </a:lnTo>
                      <a:lnTo>
                        <a:pt x="304" y="77"/>
                      </a:lnTo>
                      <a:lnTo>
                        <a:pt x="304" y="77"/>
                      </a:lnTo>
                      <a:lnTo>
                        <a:pt x="306" y="77"/>
                      </a:lnTo>
                      <a:lnTo>
                        <a:pt x="306" y="77"/>
                      </a:lnTo>
                      <a:lnTo>
                        <a:pt x="307" y="76"/>
                      </a:lnTo>
                      <a:lnTo>
                        <a:pt x="307" y="76"/>
                      </a:lnTo>
                      <a:lnTo>
                        <a:pt x="308" y="77"/>
                      </a:lnTo>
                      <a:lnTo>
                        <a:pt x="310" y="78"/>
                      </a:lnTo>
                      <a:lnTo>
                        <a:pt x="310" y="78"/>
                      </a:lnTo>
                      <a:lnTo>
                        <a:pt x="310" y="78"/>
                      </a:lnTo>
                      <a:lnTo>
                        <a:pt x="310" y="78"/>
                      </a:lnTo>
                      <a:lnTo>
                        <a:pt x="310" y="78"/>
                      </a:lnTo>
                      <a:lnTo>
                        <a:pt x="310" y="79"/>
                      </a:lnTo>
                      <a:lnTo>
                        <a:pt x="308" y="79"/>
                      </a:lnTo>
                      <a:lnTo>
                        <a:pt x="308" y="79"/>
                      </a:lnTo>
                      <a:lnTo>
                        <a:pt x="310" y="80"/>
                      </a:lnTo>
                      <a:lnTo>
                        <a:pt x="310" y="82"/>
                      </a:lnTo>
                      <a:lnTo>
                        <a:pt x="310" y="82"/>
                      </a:lnTo>
                      <a:lnTo>
                        <a:pt x="310" y="82"/>
                      </a:lnTo>
                      <a:lnTo>
                        <a:pt x="310" y="82"/>
                      </a:lnTo>
                      <a:lnTo>
                        <a:pt x="310" y="82"/>
                      </a:lnTo>
                      <a:lnTo>
                        <a:pt x="311" y="80"/>
                      </a:lnTo>
                      <a:lnTo>
                        <a:pt x="311" y="79"/>
                      </a:lnTo>
                      <a:lnTo>
                        <a:pt x="312" y="79"/>
                      </a:lnTo>
                      <a:lnTo>
                        <a:pt x="314" y="80"/>
                      </a:lnTo>
                      <a:lnTo>
                        <a:pt x="315" y="80"/>
                      </a:lnTo>
                      <a:lnTo>
                        <a:pt x="315" y="80"/>
                      </a:lnTo>
                      <a:lnTo>
                        <a:pt x="315" y="80"/>
                      </a:lnTo>
                      <a:lnTo>
                        <a:pt x="315" y="82"/>
                      </a:lnTo>
                      <a:lnTo>
                        <a:pt x="315" y="82"/>
                      </a:lnTo>
                      <a:lnTo>
                        <a:pt x="315" y="82"/>
                      </a:lnTo>
                      <a:lnTo>
                        <a:pt x="317" y="84"/>
                      </a:lnTo>
                      <a:lnTo>
                        <a:pt x="319" y="85"/>
                      </a:lnTo>
                      <a:lnTo>
                        <a:pt x="319" y="85"/>
                      </a:lnTo>
                      <a:lnTo>
                        <a:pt x="320" y="87"/>
                      </a:lnTo>
                      <a:lnTo>
                        <a:pt x="320" y="87"/>
                      </a:lnTo>
                      <a:lnTo>
                        <a:pt x="320" y="89"/>
                      </a:lnTo>
                      <a:lnTo>
                        <a:pt x="321" y="91"/>
                      </a:lnTo>
                      <a:lnTo>
                        <a:pt x="323" y="93"/>
                      </a:lnTo>
                      <a:lnTo>
                        <a:pt x="323" y="93"/>
                      </a:lnTo>
                      <a:lnTo>
                        <a:pt x="323" y="93"/>
                      </a:lnTo>
                      <a:lnTo>
                        <a:pt x="324" y="93"/>
                      </a:lnTo>
                      <a:lnTo>
                        <a:pt x="324" y="93"/>
                      </a:lnTo>
                      <a:lnTo>
                        <a:pt x="324" y="93"/>
                      </a:lnTo>
                      <a:lnTo>
                        <a:pt x="324" y="93"/>
                      </a:lnTo>
                      <a:lnTo>
                        <a:pt x="324" y="93"/>
                      </a:lnTo>
                      <a:lnTo>
                        <a:pt x="324" y="93"/>
                      </a:lnTo>
                      <a:lnTo>
                        <a:pt x="324" y="93"/>
                      </a:lnTo>
                      <a:lnTo>
                        <a:pt x="325" y="93"/>
                      </a:lnTo>
                      <a:lnTo>
                        <a:pt x="326" y="95"/>
                      </a:lnTo>
                      <a:lnTo>
                        <a:pt x="326" y="96"/>
                      </a:lnTo>
                      <a:lnTo>
                        <a:pt x="326" y="96"/>
                      </a:lnTo>
                      <a:lnTo>
                        <a:pt x="326" y="97"/>
                      </a:lnTo>
                      <a:lnTo>
                        <a:pt x="326" y="98"/>
                      </a:lnTo>
                      <a:lnTo>
                        <a:pt x="326" y="99"/>
                      </a:lnTo>
                      <a:lnTo>
                        <a:pt x="324" y="103"/>
                      </a:lnTo>
                      <a:lnTo>
                        <a:pt x="324" y="104"/>
                      </a:lnTo>
                      <a:lnTo>
                        <a:pt x="324" y="104"/>
                      </a:lnTo>
                      <a:lnTo>
                        <a:pt x="324" y="105"/>
                      </a:lnTo>
                      <a:lnTo>
                        <a:pt x="324" y="105"/>
                      </a:lnTo>
                      <a:lnTo>
                        <a:pt x="324" y="105"/>
                      </a:lnTo>
                      <a:lnTo>
                        <a:pt x="324" y="106"/>
                      </a:lnTo>
                      <a:lnTo>
                        <a:pt x="324" y="106"/>
                      </a:lnTo>
                      <a:lnTo>
                        <a:pt x="324" y="106"/>
                      </a:lnTo>
                      <a:lnTo>
                        <a:pt x="324" y="106"/>
                      </a:lnTo>
                      <a:lnTo>
                        <a:pt x="323" y="110"/>
                      </a:lnTo>
                      <a:lnTo>
                        <a:pt x="323" y="110"/>
                      </a:lnTo>
                      <a:lnTo>
                        <a:pt x="323" y="111"/>
                      </a:lnTo>
                      <a:lnTo>
                        <a:pt x="323" y="111"/>
                      </a:lnTo>
                      <a:lnTo>
                        <a:pt x="323" y="111"/>
                      </a:lnTo>
                      <a:lnTo>
                        <a:pt x="321" y="111"/>
                      </a:lnTo>
                      <a:lnTo>
                        <a:pt x="321" y="112"/>
                      </a:lnTo>
                      <a:lnTo>
                        <a:pt x="321" y="112"/>
                      </a:lnTo>
                      <a:lnTo>
                        <a:pt x="321" y="112"/>
                      </a:lnTo>
                      <a:lnTo>
                        <a:pt x="321" y="112"/>
                      </a:lnTo>
                      <a:lnTo>
                        <a:pt x="321" y="112"/>
                      </a:lnTo>
                      <a:lnTo>
                        <a:pt x="321" y="112"/>
                      </a:lnTo>
                      <a:lnTo>
                        <a:pt x="321" y="112"/>
                      </a:lnTo>
                      <a:lnTo>
                        <a:pt x="323" y="112"/>
                      </a:lnTo>
                      <a:lnTo>
                        <a:pt x="323" y="111"/>
                      </a:lnTo>
                      <a:lnTo>
                        <a:pt x="323" y="111"/>
                      </a:lnTo>
                      <a:lnTo>
                        <a:pt x="323" y="111"/>
                      </a:lnTo>
                      <a:lnTo>
                        <a:pt x="323" y="111"/>
                      </a:lnTo>
                      <a:lnTo>
                        <a:pt x="323" y="111"/>
                      </a:lnTo>
                      <a:lnTo>
                        <a:pt x="323" y="110"/>
                      </a:lnTo>
                      <a:lnTo>
                        <a:pt x="324" y="109"/>
                      </a:lnTo>
                      <a:lnTo>
                        <a:pt x="324" y="107"/>
                      </a:lnTo>
                      <a:lnTo>
                        <a:pt x="324" y="107"/>
                      </a:lnTo>
                      <a:lnTo>
                        <a:pt x="324" y="107"/>
                      </a:lnTo>
                      <a:lnTo>
                        <a:pt x="324" y="107"/>
                      </a:lnTo>
                      <a:lnTo>
                        <a:pt x="324" y="107"/>
                      </a:lnTo>
                      <a:lnTo>
                        <a:pt x="324" y="107"/>
                      </a:lnTo>
                      <a:lnTo>
                        <a:pt x="324" y="106"/>
                      </a:lnTo>
                      <a:lnTo>
                        <a:pt x="324" y="106"/>
                      </a:lnTo>
                      <a:lnTo>
                        <a:pt x="325" y="106"/>
                      </a:lnTo>
                      <a:lnTo>
                        <a:pt x="325" y="106"/>
                      </a:lnTo>
                      <a:lnTo>
                        <a:pt x="325" y="106"/>
                      </a:lnTo>
                      <a:lnTo>
                        <a:pt x="325" y="106"/>
                      </a:lnTo>
                      <a:lnTo>
                        <a:pt x="326" y="107"/>
                      </a:lnTo>
                      <a:lnTo>
                        <a:pt x="326" y="107"/>
                      </a:lnTo>
                      <a:lnTo>
                        <a:pt x="326" y="109"/>
                      </a:lnTo>
                      <a:lnTo>
                        <a:pt x="326" y="109"/>
                      </a:lnTo>
                      <a:lnTo>
                        <a:pt x="326" y="109"/>
                      </a:lnTo>
                      <a:lnTo>
                        <a:pt x="326" y="109"/>
                      </a:lnTo>
                      <a:lnTo>
                        <a:pt x="326" y="110"/>
                      </a:lnTo>
                      <a:lnTo>
                        <a:pt x="326" y="110"/>
                      </a:lnTo>
                      <a:lnTo>
                        <a:pt x="326" y="110"/>
                      </a:lnTo>
                      <a:lnTo>
                        <a:pt x="326" y="110"/>
                      </a:lnTo>
                      <a:lnTo>
                        <a:pt x="326" y="110"/>
                      </a:lnTo>
                      <a:lnTo>
                        <a:pt x="327" y="109"/>
                      </a:lnTo>
                      <a:lnTo>
                        <a:pt x="327" y="109"/>
                      </a:lnTo>
                      <a:lnTo>
                        <a:pt x="327" y="109"/>
                      </a:lnTo>
                      <a:lnTo>
                        <a:pt x="327" y="107"/>
                      </a:lnTo>
                      <a:lnTo>
                        <a:pt x="327" y="107"/>
                      </a:lnTo>
                      <a:lnTo>
                        <a:pt x="326" y="106"/>
                      </a:lnTo>
                      <a:lnTo>
                        <a:pt x="326" y="106"/>
                      </a:lnTo>
                      <a:lnTo>
                        <a:pt x="326" y="106"/>
                      </a:lnTo>
                      <a:lnTo>
                        <a:pt x="326" y="106"/>
                      </a:lnTo>
                      <a:lnTo>
                        <a:pt x="326" y="106"/>
                      </a:lnTo>
                      <a:lnTo>
                        <a:pt x="326" y="106"/>
                      </a:lnTo>
                      <a:lnTo>
                        <a:pt x="326" y="106"/>
                      </a:lnTo>
                      <a:lnTo>
                        <a:pt x="326" y="104"/>
                      </a:lnTo>
                      <a:lnTo>
                        <a:pt x="326" y="104"/>
                      </a:lnTo>
                      <a:lnTo>
                        <a:pt x="326" y="103"/>
                      </a:lnTo>
                      <a:lnTo>
                        <a:pt x="326" y="103"/>
                      </a:lnTo>
                      <a:lnTo>
                        <a:pt x="326" y="103"/>
                      </a:lnTo>
                      <a:lnTo>
                        <a:pt x="326" y="103"/>
                      </a:lnTo>
                      <a:lnTo>
                        <a:pt x="328" y="100"/>
                      </a:lnTo>
                      <a:lnTo>
                        <a:pt x="328" y="100"/>
                      </a:lnTo>
                      <a:lnTo>
                        <a:pt x="328" y="100"/>
                      </a:lnTo>
                      <a:lnTo>
                        <a:pt x="328" y="100"/>
                      </a:lnTo>
                      <a:lnTo>
                        <a:pt x="328" y="100"/>
                      </a:lnTo>
                      <a:lnTo>
                        <a:pt x="328" y="100"/>
                      </a:lnTo>
                      <a:lnTo>
                        <a:pt x="328" y="100"/>
                      </a:lnTo>
                      <a:lnTo>
                        <a:pt x="328" y="100"/>
                      </a:lnTo>
                      <a:lnTo>
                        <a:pt x="328" y="100"/>
                      </a:lnTo>
                      <a:lnTo>
                        <a:pt x="328" y="102"/>
                      </a:lnTo>
                      <a:lnTo>
                        <a:pt x="328" y="103"/>
                      </a:lnTo>
                      <a:lnTo>
                        <a:pt x="328" y="103"/>
                      </a:lnTo>
                      <a:lnTo>
                        <a:pt x="328" y="103"/>
                      </a:lnTo>
                      <a:lnTo>
                        <a:pt x="328" y="103"/>
                      </a:lnTo>
                      <a:lnTo>
                        <a:pt x="328" y="103"/>
                      </a:lnTo>
                      <a:lnTo>
                        <a:pt x="328" y="103"/>
                      </a:lnTo>
                      <a:lnTo>
                        <a:pt x="330" y="103"/>
                      </a:lnTo>
                      <a:lnTo>
                        <a:pt x="331" y="103"/>
                      </a:lnTo>
                      <a:lnTo>
                        <a:pt x="331" y="103"/>
                      </a:lnTo>
                      <a:lnTo>
                        <a:pt x="331" y="103"/>
                      </a:lnTo>
                      <a:lnTo>
                        <a:pt x="331" y="103"/>
                      </a:lnTo>
                      <a:lnTo>
                        <a:pt x="331" y="103"/>
                      </a:lnTo>
                      <a:lnTo>
                        <a:pt x="331" y="102"/>
                      </a:lnTo>
                      <a:lnTo>
                        <a:pt x="331" y="102"/>
                      </a:lnTo>
                      <a:lnTo>
                        <a:pt x="331" y="102"/>
                      </a:lnTo>
                      <a:lnTo>
                        <a:pt x="331" y="100"/>
                      </a:lnTo>
                      <a:lnTo>
                        <a:pt x="330" y="100"/>
                      </a:lnTo>
                      <a:lnTo>
                        <a:pt x="330" y="100"/>
                      </a:lnTo>
                      <a:lnTo>
                        <a:pt x="330" y="100"/>
                      </a:lnTo>
                      <a:lnTo>
                        <a:pt x="330" y="98"/>
                      </a:lnTo>
                      <a:lnTo>
                        <a:pt x="330" y="98"/>
                      </a:lnTo>
                      <a:lnTo>
                        <a:pt x="330" y="98"/>
                      </a:lnTo>
                      <a:lnTo>
                        <a:pt x="331" y="98"/>
                      </a:lnTo>
                      <a:lnTo>
                        <a:pt x="332" y="97"/>
                      </a:lnTo>
                      <a:lnTo>
                        <a:pt x="333" y="97"/>
                      </a:lnTo>
                      <a:lnTo>
                        <a:pt x="333" y="97"/>
                      </a:lnTo>
                      <a:lnTo>
                        <a:pt x="334" y="98"/>
                      </a:lnTo>
                      <a:lnTo>
                        <a:pt x="339" y="99"/>
                      </a:lnTo>
                      <a:lnTo>
                        <a:pt x="340" y="99"/>
                      </a:lnTo>
                      <a:lnTo>
                        <a:pt x="341" y="99"/>
                      </a:lnTo>
                      <a:lnTo>
                        <a:pt x="343" y="100"/>
                      </a:lnTo>
                      <a:lnTo>
                        <a:pt x="344" y="102"/>
                      </a:lnTo>
                      <a:lnTo>
                        <a:pt x="344" y="102"/>
                      </a:lnTo>
                      <a:lnTo>
                        <a:pt x="344" y="102"/>
                      </a:lnTo>
                      <a:lnTo>
                        <a:pt x="344" y="102"/>
                      </a:lnTo>
                      <a:lnTo>
                        <a:pt x="343" y="105"/>
                      </a:lnTo>
                      <a:lnTo>
                        <a:pt x="343" y="106"/>
                      </a:lnTo>
                      <a:lnTo>
                        <a:pt x="345" y="104"/>
                      </a:lnTo>
                      <a:lnTo>
                        <a:pt x="345" y="103"/>
                      </a:lnTo>
                      <a:lnTo>
                        <a:pt x="345" y="102"/>
                      </a:lnTo>
                      <a:lnTo>
                        <a:pt x="345" y="99"/>
                      </a:lnTo>
                      <a:lnTo>
                        <a:pt x="345" y="99"/>
                      </a:lnTo>
                      <a:lnTo>
                        <a:pt x="345" y="99"/>
                      </a:lnTo>
                      <a:lnTo>
                        <a:pt x="345" y="99"/>
                      </a:lnTo>
                      <a:lnTo>
                        <a:pt x="345" y="99"/>
                      </a:lnTo>
                      <a:lnTo>
                        <a:pt x="346" y="99"/>
                      </a:lnTo>
                      <a:lnTo>
                        <a:pt x="347" y="99"/>
                      </a:lnTo>
                      <a:lnTo>
                        <a:pt x="348" y="100"/>
                      </a:lnTo>
                      <a:lnTo>
                        <a:pt x="348" y="100"/>
                      </a:lnTo>
                      <a:lnTo>
                        <a:pt x="350" y="100"/>
                      </a:lnTo>
                      <a:lnTo>
                        <a:pt x="350" y="102"/>
                      </a:lnTo>
                      <a:lnTo>
                        <a:pt x="351" y="104"/>
                      </a:lnTo>
                      <a:lnTo>
                        <a:pt x="352" y="105"/>
                      </a:lnTo>
                      <a:lnTo>
                        <a:pt x="352" y="105"/>
                      </a:lnTo>
                      <a:lnTo>
                        <a:pt x="352" y="106"/>
                      </a:lnTo>
                      <a:lnTo>
                        <a:pt x="352" y="106"/>
                      </a:lnTo>
                      <a:lnTo>
                        <a:pt x="352" y="106"/>
                      </a:lnTo>
                      <a:lnTo>
                        <a:pt x="352" y="106"/>
                      </a:lnTo>
                      <a:lnTo>
                        <a:pt x="352" y="106"/>
                      </a:lnTo>
                      <a:lnTo>
                        <a:pt x="352" y="106"/>
                      </a:lnTo>
                      <a:lnTo>
                        <a:pt x="353" y="106"/>
                      </a:lnTo>
                      <a:lnTo>
                        <a:pt x="353" y="106"/>
                      </a:lnTo>
                      <a:lnTo>
                        <a:pt x="353" y="106"/>
                      </a:lnTo>
                      <a:lnTo>
                        <a:pt x="353" y="106"/>
                      </a:lnTo>
                      <a:lnTo>
                        <a:pt x="353" y="105"/>
                      </a:lnTo>
                      <a:lnTo>
                        <a:pt x="352" y="105"/>
                      </a:lnTo>
                      <a:lnTo>
                        <a:pt x="352" y="105"/>
                      </a:lnTo>
                      <a:lnTo>
                        <a:pt x="352" y="104"/>
                      </a:lnTo>
                      <a:lnTo>
                        <a:pt x="352" y="104"/>
                      </a:lnTo>
                      <a:lnTo>
                        <a:pt x="352" y="104"/>
                      </a:lnTo>
                      <a:lnTo>
                        <a:pt x="352" y="104"/>
                      </a:lnTo>
                      <a:lnTo>
                        <a:pt x="352" y="103"/>
                      </a:lnTo>
                      <a:lnTo>
                        <a:pt x="352" y="103"/>
                      </a:lnTo>
                      <a:lnTo>
                        <a:pt x="351" y="102"/>
                      </a:lnTo>
                      <a:lnTo>
                        <a:pt x="351" y="100"/>
                      </a:lnTo>
                      <a:lnTo>
                        <a:pt x="352" y="100"/>
                      </a:lnTo>
                      <a:lnTo>
                        <a:pt x="352" y="100"/>
                      </a:lnTo>
                      <a:lnTo>
                        <a:pt x="352" y="99"/>
                      </a:lnTo>
                      <a:lnTo>
                        <a:pt x="352" y="99"/>
                      </a:lnTo>
                      <a:lnTo>
                        <a:pt x="352" y="99"/>
                      </a:lnTo>
                      <a:lnTo>
                        <a:pt x="352" y="98"/>
                      </a:lnTo>
                      <a:lnTo>
                        <a:pt x="352" y="99"/>
                      </a:lnTo>
                      <a:lnTo>
                        <a:pt x="353" y="99"/>
                      </a:lnTo>
                      <a:lnTo>
                        <a:pt x="354" y="99"/>
                      </a:lnTo>
                      <a:lnTo>
                        <a:pt x="354" y="99"/>
                      </a:lnTo>
                      <a:lnTo>
                        <a:pt x="355" y="99"/>
                      </a:lnTo>
                      <a:lnTo>
                        <a:pt x="355" y="99"/>
                      </a:lnTo>
                      <a:lnTo>
                        <a:pt x="358" y="98"/>
                      </a:lnTo>
                      <a:lnTo>
                        <a:pt x="358" y="97"/>
                      </a:lnTo>
                      <a:lnTo>
                        <a:pt x="355" y="98"/>
                      </a:lnTo>
                      <a:lnTo>
                        <a:pt x="354" y="98"/>
                      </a:lnTo>
                      <a:lnTo>
                        <a:pt x="354" y="98"/>
                      </a:lnTo>
                      <a:lnTo>
                        <a:pt x="354" y="98"/>
                      </a:lnTo>
                      <a:lnTo>
                        <a:pt x="353" y="98"/>
                      </a:lnTo>
                      <a:lnTo>
                        <a:pt x="353" y="98"/>
                      </a:lnTo>
                      <a:lnTo>
                        <a:pt x="353" y="97"/>
                      </a:lnTo>
                      <a:lnTo>
                        <a:pt x="353" y="97"/>
                      </a:lnTo>
                      <a:lnTo>
                        <a:pt x="353" y="97"/>
                      </a:lnTo>
                      <a:lnTo>
                        <a:pt x="352" y="96"/>
                      </a:lnTo>
                      <a:lnTo>
                        <a:pt x="352" y="96"/>
                      </a:lnTo>
                      <a:lnTo>
                        <a:pt x="352" y="95"/>
                      </a:lnTo>
                      <a:lnTo>
                        <a:pt x="352" y="95"/>
                      </a:lnTo>
                      <a:lnTo>
                        <a:pt x="352" y="95"/>
                      </a:lnTo>
                      <a:lnTo>
                        <a:pt x="352" y="95"/>
                      </a:lnTo>
                      <a:lnTo>
                        <a:pt x="352" y="95"/>
                      </a:lnTo>
                      <a:lnTo>
                        <a:pt x="353" y="95"/>
                      </a:lnTo>
                      <a:lnTo>
                        <a:pt x="353" y="95"/>
                      </a:lnTo>
                      <a:lnTo>
                        <a:pt x="353" y="95"/>
                      </a:lnTo>
                      <a:lnTo>
                        <a:pt x="353" y="95"/>
                      </a:lnTo>
                      <a:lnTo>
                        <a:pt x="354" y="95"/>
                      </a:lnTo>
                      <a:lnTo>
                        <a:pt x="354" y="93"/>
                      </a:lnTo>
                      <a:lnTo>
                        <a:pt x="355" y="93"/>
                      </a:lnTo>
                      <a:lnTo>
                        <a:pt x="355" y="93"/>
                      </a:lnTo>
                      <a:lnTo>
                        <a:pt x="355" y="93"/>
                      </a:lnTo>
                      <a:lnTo>
                        <a:pt x="355" y="92"/>
                      </a:lnTo>
                      <a:lnTo>
                        <a:pt x="355" y="92"/>
                      </a:lnTo>
                      <a:lnTo>
                        <a:pt x="355" y="92"/>
                      </a:lnTo>
                      <a:lnTo>
                        <a:pt x="355" y="92"/>
                      </a:lnTo>
                      <a:lnTo>
                        <a:pt x="354" y="93"/>
                      </a:lnTo>
                      <a:lnTo>
                        <a:pt x="353" y="93"/>
                      </a:lnTo>
                      <a:lnTo>
                        <a:pt x="353" y="93"/>
                      </a:lnTo>
                      <a:lnTo>
                        <a:pt x="353" y="93"/>
                      </a:lnTo>
                      <a:lnTo>
                        <a:pt x="353" y="93"/>
                      </a:lnTo>
                      <a:lnTo>
                        <a:pt x="352" y="93"/>
                      </a:lnTo>
                      <a:lnTo>
                        <a:pt x="351" y="93"/>
                      </a:lnTo>
                      <a:lnTo>
                        <a:pt x="351" y="93"/>
                      </a:lnTo>
                      <a:lnTo>
                        <a:pt x="350" y="92"/>
                      </a:lnTo>
                      <a:lnTo>
                        <a:pt x="348" y="91"/>
                      </a:lnTo>
                      <a:lnTo>
                        <a:pt x="348" y="90"/>
                      </a:lnTo>
                      <a:lnTo>
                        <a:pt x="348" y="90"/>
                      </a:lnTo>
                      <a:lnTo>
                        <a:pt x="348" y="89"/>
                      </a:lnTo>
                      <a:lnTo>
                        <a:pt x="351" y="86"/>
                      </a:lnTo>
                      <a:lnTo>
                        <a:pt x="352" y="85"/>
                      </a:lnTo>
                      <a:lnTo>
                        <a:pt x="353" y="84"/>
                      </a:lnTo>
                      <a:lnTo>
                        <a:pt x="355" y="83"/>
                      </a:lnTo>
                      <a:lnTo>
                        <a:pt x="355" y="82"/>
                      </a:lnTo>
                      <a:lnTo>
                        <a:pt x="355" y="82"/>
                      </a:lnTo>
                      <a:lnTo>
                        <a:pt x="355" y="82"/>
                      </a:lnTo>
                      <a:lnTo>
                        <a:pt x="357" y="82"/>
                      </a:lnTo>
                      <a:lnTo>
                        <a:pt x="357" y="80"/>
                      </a:lnTo>
                      <a:lnTo>
                        <a:pt x="358" y="77"/>
                      </a:lnTo>
                      <a:lnTo>
                        <a:pt x="358" y="76"/>
                      </a:lnTo>
                      <a:lnTo>
                        <a:pt x="358" y="76"/>
                      </a:lnTo>
                      <a:lnTo>
                        <a:pt x="358" y="76"/>
                      </a:lnTo>
                      <a:lnTo>
                        <a:pt x="358" y="75"/>
                      </a:lnTo>
                      <a:lnTo>
                        <a:pt x="359" y="72"/>
                      </a:lnTo>
                      <a:lnTo>
                        <a:pt x="359" y="72"/>
                      </a:lnTo>
                      <a:lnTo>
                        <a:pt x="360" y="70"/>
                      </a:lnTo>
                      <a:lnTo>
                        <a:pt x="360" y="70"/>
                      </a:lnTo>
                      <a:lnTo>
                        <a:pt x="361" y="70"/>
                      </a:lnTo>
                      <a:lnTo>
                        <a:pt x="361" y="70"/>
                      </a:lnTo>
                      <a:lnTo>
                        <a:pt x="361" y="70"/>
                      </a:lnTo>
                      <a:lnTo>
                        <a:pt x="360" y="71"/>
                      </a:lnTo>
                      <a:lnTo>
                        <a:pt x="360" y="71"/>
                      </a:lnTo>
                      <a:lnTo>
                        <a:pt x="361" y="72"/>
                      </a:lnTo>
                      <a:lnTo>
                        <a:pt x="361" y="72"/>
                      </a:lnTo>
                      <a:lnTo>
                        <a:pt x="361" y="72"/>
                      </a:lnTo>
                      <a:lnTo>
                        <a:pt x="361" y="72"/>
                      </a:lnTo>
                      <a:lnTo>
                        <a:pt x="363" y="72"/>
                      </a:lnTo>
                      <a:lnTo>
                        <a:pt x="363" y="72"/>
                      </a:lnTo>
                      <a:lnTo>
                        <a:pt x="363" y="72"/>
                      </a:lnTo>
                      <a:lnTo>
                        <a:pt x="363" y="72"/>
                      </a:lnTo>
                      <a:lnTo>
                        <a:pt x="364" y="71"/>
                      </a:lnTo>
                      <a:lnTo>
                        <a:pt x="365" y="71"/>
                      </a:lnTo>
                      <a:lnTo>
                        <a:pt x="365" y="70"/>
                      </a:lnTo>
                      <a:lnTo>
                        <a:pt x="367" y="67"/>
                      </a:lnTo>
                      <a:lnTo>
                        <a:pt x="367" y="67"/>
                      </a:lnTo>
                      <a:lnTo>
                        <a:pt x="366" y="65"/>
                      </a:lnTo>
                      <a:lnTo>
                        <a:pt x="366" y="65"/>
                      </a:lnTo>
                      <a:lnTo>
                        <a:pt x="366" y="65"/>
                      </a:lnTo>
                      <a:lnTo>
                        <a:pt x="366" y="65"/>
                      </a:lnTo>
                      <a:lnTo>
                        <a:pt x="366" y="65"/>
                      </a:lnTo>
                      <a:lnTo>
                        <a:pt x="366" y="65"/>
                      </a:lnTo>
                      <a:lnTo>
                        <a:pt x="366" y="65"/>
                      </a:lnTo>
                      <a:lnTo>
                        <a:pt x="365" y="65"/>
                      </a:lnTo>
                      <a:lnTo>
                        <a:pt x="365" y="65"/>
                      </a:lnTo>
                      <a:lnTo>
                        <a:pt x="365" y="64"/>
                      </a:lnTo>
                      <a:lnTo>
                        <a:pt x="365" y="64"/>
                      </a:lnTo>
                      <a:lnTo>
                        <a:pt x="365" y="64"/>
                      </a:lnTo>
                      <a:lnTo>
                        <a:pt x="366" y="63"/>
                      </a:lnTo>
                      <a:lnTo>
                        <a:pt x="366" y="60"/>
                      </a:lnTo>
                      <a:lnTo>
                        <a:pt x="366" y="60"/>
                      </a:lnTo>
                      <a:lnTo>
                        <a:pt x="366" y="60"/>
                      </a:lnTo>
                      <a:lnTo>
                        <a:pt x="366" y="59"/>
                      </a:lnTo>
                      <a:lnTo>
                        <a:pt x="366" y="59"/>
                      </a:lnTo>
                      <a:lnTo>
                        <a:pt x="367" y="59"/>
                      </a:lnTo>
                      <a:lnTo>
                        <a:pt x="367" y="59"/>
                      </a:lnTo>
                      <a:lnTo>
                        <a:pt x="367" y="59"/>
                      </a:lnTo>
                      <a:lnTo>
                        <a:pt x="367" y="59"/>
                      </a:lnTo>
                      <a:lnTo>
                        <a:pt x="367" y="59"/>
                      </a:lnTo>
                      <a:lnTo>
                        <a:pt x="367" y="60"/>
                      </a:lnTo>
                      <a:lnTo>
                        <a:pt x="367" y="60"/>
                      </a:lnTo>
                      <a:lnTo>
                        <a:pt x="367" y="60"/>
                      </a:lnTo>
                      <a:lnTo>
                        <a:pt x="367" y="60"/>
                      </a:lnTo>
                      <a:lnTo>
                        <a:pt x="367" y="60"/>
                      </a:lnTo>
                      <a:lnTo>
                        <a:pt x="368" y="60"/>
                      </a:lnTo>
                      <a:lnTo>
                        <a:pt x="368" y="60"/>
                      </a:lnTo>
                      <a:lnTo>
                        <a:pt x="368" y="60"/>
                      </a:lnTo>
                      <a:lnTo>
                        <a:pt x="370" y="59"/>
                      </a:lnTo>
                      <a:lnTo>
                        <a:pt x="370" y="59"/>
                      </a:lnTo>
                      <a:lnTo>
                        <a:pt x="370" y="59"/>
                      </a:lnTo>
                      <a:lnTo>
                        <a:pt x="370" y="59"/>
                      </a:lnTo>
                      <a:lnTo>
                        <a:pt x="370" y="59"/>
                      </a:lnTo>
                      <a:lnTo>
                        <a:pt x="371" y="58"/>
                      </a:lnTo>
                      <a:lnTo>
                        <a:pt x="371" y="58"/>
                      </a:lnTo>
                      <a:lnTo>
                        <a:pt x="371" y="58"/>
                      </a:lnTo>
                      <a:lnTo>
                        <a:pt x="371" y="56"/>
                      </a:lnTo>
                      <a:lnTo>
                        <a:pt x="371" y="56"/>
                      </a:lnTo>
                      <a:lnTo>
                        <a:pt x="371" y="56"/>
                      </a:lnTo>
                      <a:lnTo>
                        <a:pt x="371" y="56"/>
                      </a:lnTo>
                      <a:lnTo>
                        <a:pt x="371" y="56"/>
                      </a:lnTo>
                      <a:lnTo>
                        <a:pt x="371" y="55"/>
                      </a:lnTo>
                      <a:lnTo>
                        <a:pt x="371" y="55"/>
                      </a:lnTo>
                      <a:lnTo>
                        <a:pt x="371" y="55"/>
                      </a:lnTo>
                      <a:lnTo>
                        <a:pt x="373" y="53"/>
                      </a:lnTo>
                      <a:lnTo>
                        <a:pt x="374" y="53"/>
                      </a:lnTo>
                      <a:lnTo>
                        <a:pt x="374" y="53"/>
                      </a:lnTo>
                      <a:lnTo>
                        <a:pt x="374" y="53"/>
                      </a:lnTo>
                      <a:lnTo>
                        <a:pt x="374" y="55"/>
                      </a:lnTo>
                      <a:lnTo>
                        <a:pt x="374" y="55"/>
                      </a:lnTo>
                      <a:lnTo>
                        <a:pt x="374" y="55"/>
                      </a:lnTo>
                      <a:lnTo>
                        <a:pt x="375" y="55"/>
                      </a:lnTo>
                      <a:lnTo>
                        <a:pt x="375" y="55"/>
                      </a:lnTo>
                      <a:lnTo>
                        <a:pt x="375" y="56"/>
                      </a:lnTo>
                      <a:lnTo>
                        <a:pt x="377" y="56"/>
                      </a:lnTo>
                      <a:lnTo>
                        <a:pt x="377" y="55"/>
                      </a:lnTo>
                      <a:lnTo>
                        <a:pt x="377" y="55"/>
                      </a:lnTo>
                      <a:lnTo>
                        <a:pt x="377" y="55"/>
                      </a:lnTo>
                      <a:lnTo>
                        <a:pt x="377" y="55"/>
                      </a:lnTo>
                      <a:lnTo>
                        <a:pt x="377" y="55"/>
                      </a:lnTo>
                      <a:lnTo>
                        <a:pt x="375" y="55"/>
                      </a:lnTo>
                      <a:lnTo>
                        <a:pt x="375" y="55"/>
                      </a:lnTo>
                      <a:lnTo>
                        <a:pt x="375" y="53"/>
                      </a:lnTo>
                      <a:lnTo>
                        <a:pt x="375" y="52"/>
                      </a:lnTo>
                      <a:lnTo>
                        <a:pt x="375" y="52"/>
                      </a:lnTo>
                      <a:lnTo>
                        <a:pt x="375" y="52"/>
                      </a:lnTo>
                      <a:lnTo>
                        <a:pt x="375" y="52"/>
                      </a:lnTo>
                      <a:lnTo>
                        <a:pt x="375" y="52"/>
                      </a:lnTo>
                      <a:lnTo>
                        <a:pt x="375" y="51"/>
                      </a:lnTo>
                      <a:lnTo>
                        <a:pt x="375" y="51"/>
                      </a:lnTo>
                      <a:lnTo>
                        <a:pt x="377" y="50"/>
                      </a:lnTo>
                      <a:lnTo>
                        <a:pt x="375" y="50"/>
                      </a:lnTo>
                      <a:lnTo>
                        <a:pt x="375" y="50"/>
                      </a:lnTo>
                      <a:lnTo>
                        <a:pt x="375" y="50"/>
                      </a:lnTo>
                      <a:lnTo>
                        <a:pt x="375" y="49"/>
                      </a:lnTo>
                      <a:lnTo>
                        <a:pt x="375" y="49"/>
                      </a:lnTo>
                      <a:lnTo>
                        <a:pt x="375" y="49"/>
                      </a:lnTo>
                      <a:lnTo>
                        <a:pt x="375" y="49"/>
                      </a:lnTo>
                      <a:lnTo>
                        <a:pt x="375" y="49"/>
                      </a:lnTo>
                      <a:lnTo>
                        <a:pt x="375" y="49"/>
                      </a:lnTo>
                      <a:lnTo>
                        <a:pt x="377" y="49"/>
                      </a:lnTo>
                      <a:lnTo>
                        <a:pt x="377" y="49"/>
                      </a:lnTo>
                      <a:lnTo>
                        <a:pt x="377" y="49"/>
                      </a:lnTo>
                      <a:lnTo>
                        <a:pt x="379" y="50"/>
                      </a:lnTo>
                      <a:lnTo>
                        <a:pt x="379" y="50"/>
                      </a:lnTo>
                      <a:lnTo>
                        <a:pt x="380" y="53"/>
                      </a:lnTo>
                      <a:lnTo>
                        <a:pt x="380" y="53"/>
                      </a:lnTo>
                      <a:lnTo>
                        <a:pt x="381" y="52"/>
                      </a:lnTo>
                      <a:lnTo>
                        <a:pt x="380" y="50"/>
                      </a:lnTo>
                      <a:lnTo>
                        <a:pt x="380" y="50"/>
                      </a:lnTo>
                      <a:lnTo>
                        <a:pt x="380" y="50"/>
                      </a:lnTo>
                      <a:lnTo>
                        <a:pt x="380" y="50"/>
                      </a:lnTo>
                      <a:lnTo>
                        <a:pt x="380" y="50"/>
                      </a:lnTo>
                      <a:lnTo>
                        <a:pt x="380" y="50"/>
                      </a:lnTo>
                      <a:lnTo>
                        <a:pt x="380" y="49"/>
                      </a:lnTo>
                      <a:lnTo>
                        <a:pt x="380" y="49"/>
                      </a:lnTo>
                      <a:lnTo>
                        <a:pt x="380" y="49"/>
                      </a:lnTo>
                      <a:lnTo>
                        <a:pt x="381" y="47"/>
                      </a:lnTo>
                      <a:lnTo>
                        <a:pt x="381" y="47"/>
                      </a:lnTo>
                      <a:lnTo>
                        <a:pt x="383" y="47"/>
                      </a:lnTo>
                      <a:lnTo>
                        <a:pt x="383" y="47"/>
                      </a:lnTo>
                      <a:lnTo>
                        <a:pt x="384" y="49"/>
                      </a:lnTo>
                      <a:lnTo>
                        <a:pt x="384" y="47"/>
                      </a:lnTo>
                      <a:lnTo>
                        <a:pt x="384" y="46"/>
                      </a:lnTo>
                      <a:lnTo>
                        <a:pt x="384" y="45"/>
                      </a:lnTo>
                      <a:lnTo>
                        <a:pt x="384" y="45"/>
                      </a:lnTo>
                      <a:lnTo>
                        <a:pt x="384" y="45"/>
                      </a:lnTo>
                      <a:lnTo>
                        <a:pt x="384" y="45"/>
                      </a:lnTo>
                      <a:lnTo>
                        <a:pt x="384" y="45"/>
                      </a:lnTo>
                      <a:lnTo>
                        <a:pt x="384" y="45"/>
                      </a:lnTo>
                      <a:lnTo>
                        <a:pt x="384" y="45"/>
                      </a:lnTo>
                      <a:lnTo>
                        <a:pt x="384" y="44"/>
                      </a:lnTo>
                      <a:lnTo>
                        <a:pt x="384" y="44"/>
                      </a:lnTo>
                      <a:lnTo>
                        <a:pt x="384" y="44"/>
                      </a:lnTo>
                      <a:lnTo>
                        <a:pt x="384" y="44"/>
                      </a:lnTo>
                      <a:lnTo>
                        <a:pt x="384" y="44"/>
                      </a:lnTo>
                      <a:lnTo>
                        <a:pt x="384" y="44"/>
                      </a:lnTo>
                      <a:lnTo>
                        <a:pt x="386" y="44"/>
                      </a:lnTo>
                      <a:lnTo>
                        <a:pt x="386" y="44"/>
                      </a:lnTo>
                      <a:lnTo>
                        <a:pt x="386" y="44"/>
                      </a:lnTo>
                      <a:lnTo>
                        <a:pt x="386" y="45"/>
                      </a:lnTo>
                      <a:lnTo>
                        <a:pt x="387" y="45"/>
                      </a:lnTo>
                      <a:lnTo>
                        <a:pt x="390" y="45"/>
                      </a:lnTo>
                      <a:lnTo>
                        <a:pt x="390" y="45"/>
                      </a:lnTo>
                      <a:lnTo>
                        <a:pt x="391" y="46"/>
                      </a:lnTo>
                      <a:lnTo>
                        <a:pt x="391" y="46"/>
                      </a:lnTo>
                      <a:lnTo>
                        <a:pt x="391" y="46"/>
                      </a:lnTo>
                      <a:lnTo>
                        <a:pt x="391" y="46"/>
                      </a:lnTo>
                      <a:lnTo>
                        <a:pt x="392" y="46"/>
                      </a:lnTo>
                      <a:lnTo>
                        <a:pt x="392" y="46"/>
                      </a:lnTo>
                      <a:lnTo>
                        <a:pt x="392" y="46"/>
                      </a:lnTo>
                      <a:lnTo>
                        <a:pt x="392" y="46"/>
                      </a:lnTo>
                      <a:lnTo>
                        <a:pt x="395" y="46"/>
                      </a:lnTo>
                      <a:lnTo>
                        <a:pt x="397" y="46"/>
                      </a:lnTo>
                      <a:lnTo>
                        <a:pt x="397" y="46"/>
                      </a:lnTo>
                      <a:lnTo>
                        <a:pt x="397" y="46"/>
                      </a:lnTo>
                      <a:lnTo>
                        <a:pt x="398" y="46"/>
                      </a:lnTo>
                      <a:lnTo>
                        <a:pt x="400" y="46"/>
                      </a:lnTo>
                      <a:lnTo>
                        <a:pt x="400" y="46"/>
                      </a:lnTo>
                      <a:lnTo>
                        <a:pt x="401" y="46"/>
                      </a:lnTo>
                      <a:lnTo>
                        <a:pt x="403" y="47"/>
                      </a:lnTo>
                      <a:lnTo>
                        <a:pt x="403" y="47"/>
                      </a:lnTo>
                      <a:lnTo>
                        <a:pt x="403" y="47"/>
                      </a:lnTo>
                      <a:lnTo>
                        <a:pt x="403" y="46"/>
                      </a:lnTo>
                      <a:lnTo>
                        <a:pt x="405" y="45"/>
                      </a:lnTo>
                      <a:lnTo>
                        <a:pt x="407" y="45"/>
                      </a:lnTo>
                      <a:lnTo>
                        <a:pt x="407" y="45"/>
                      </a:lnTo>
                      <a:lnTo>
                        <a:pt x="407" y="45"/>
                      </a:lnTo>
                      <a:lnTo>
                        <a:pt x="408" y="45"/>
                      </a:lnTo>
                      <a:lnTo>
                        <a:pt x="408" y="45"/>
                      </a:lnTo>
                      <a:lnTo>
                        <a:pt x="408" y="46"/>
                      </a:lnTo>
                      <a:lnTo>
                        <a:pt x="408" y="46"/>
                      </a:lnTo>
                      <a:lnTo>
                        <a:pt x="408" y="47"/>
                      </a:lnTo>
                      <a:lnTo>
                        <a:pt x="408" y="47"/>
                      </a:lnTo>
                      <a:lnTo>
                        <a:pt x="408" y="47"/>
                      </a:lnTo>
                      <a:lnTo>
                        <a:pt x="408" y="47"/>
                      </a:lnTo>
                      <a:lnTo>
                        <a:pt x="408" y="47"/>
                      </a:lnTo>
                      <a:lnTo>
                        <a:pt x="408" y="47"/>
                      </a:lnTo>
                      <a:lnTo>
                        <a:pt x="407" y="47"/>
                      </a:lnTo>
                      <a:lnTo>
                        <a:pt x="407" y="49"/>
                      </a:lnTo>
                      <a:lnTo>
                        <a:pt x="407" y="49"/>
                      </a:lnTo>
                      <a:lnTo>
                        <a:pt x="408" y="49"/>
                      </a:lnTo>
                      <a:lnTo>
                        <a:pt x="408" y="47"/>
                      </a:lnTo>
                      <a:lnTo>
                        <a:pt x="408" y="47"/>
                      </a:lnTo>
                      <a:lnTo>
                        <a:pt x="408" y="47"/>
                      </a:lnTo>
                      <a:lnTo>
                        <a:pt x="408" y="46"/>
                      </a:lnTo>
                      <a:lnTo>
                        <a:pt x="408" y="46"/>
                      </a:lnTo>
                      <a:lnTo>
                        <a:pt x="408" y="46"/>
                      </a:lnTo>
                      <a:lnTo>
                        <a:pt x="408" y="45"/>
                      </a:lnTo>
                      <a:lnTo>
                        <a:pt x="408" y="45"/>
                      </a:lnTo>
                      <a:lnTo>
                        <a:pt x="408" y="45"/>
                      </a:lnTo>
                      <a:lnTo>
                        <a:pt x="408" y="45"/>
                      </a:lnTo>
                      <a:lnTo>
                        <a:pt x="408" y="44"/>
                      </a:lnTo>
                      <a:lnTo>
                        <a:pt x="408" y="44"/>
                      </a:lnTo>
                      <a:lnTo>
                        <a:pt x="410" y="44"/>
                      </a:lnTo>
                      <a:lnTo>
                        <a:pt x="410" y="44"/>
                      </a:lnTo>
                      <a:lnTo>
                        <a:pt x="410" y="44"/>
                      </a:lnTo>
                      <a:lnTo>
                        <a:pt x="410" y="44"/>
                      </a:lnTo>
                      <a:lnTo>
                        <a:pt x="412" y="43"/>
                      </a:lnTo>
                      <a:lnTo>
                        <a:pt x="412" y="43"/>
                      </a:lnTo>
                      <a:lnTo>
                        <a:pt x="412" y="43"/>
                      </a:lnTo>
                      <a:lnTo>
                        <a:pt x="412" y="43"/>
                      </a:lnTo>
                      <a:lnTo>
                        <a:pt x="412" y="43"/>
                      </a:lnTo>
                      <a:lnTo>
                        <a:pt x="414" y="44"/>
                      </a:lnTo>
                      <a:lnTo>
                        <a:pt x="414" y="44"/>
                      </a:lnTo>
                      <a:lnTo>
                        <a:pt x="414" y="44"/>
                      </a:lnTo>
                      <a:lnTo>
                        <a:pt x="414" y="44"/>
                      </a:lnTo>
                      <a:lnTo>
                        <a:pt x="414" y="44"/>
                      </a:lnTo>
                      <a:lnTo>
                        <a:pt x="415" y="44"/>
                      </a:lnTo>
                      <a:lnTo>
                        <a:pt x="415" y="44"/>
                      </a:lnTo>
                      <a:lnTo>
                        <a:pt x="415" y="43"/>
                      </a:lnTo>
                      <a:lnTo>
                        <a:pt x="414" y="44"/>
                      </a:lnTo>
                      <a:lnTo>
                        <a:pt x="414" y="43"/>
                      </a:lnTo>
                      <a:lnTo>
                        <a:pt x="414" y="43"/>
                      </a:lnTo>
                      <a:lnTo>
                        <a:pt x="413" y="43"/>
                      </a:lnTo>
                      <a:lnTo>
                        <a:pt x="413" y="43"/>
                      </a:lnTo>
                      <a:lnTo>
                        <a:pt x="413" y="43"/>
                      </a:lnTo>
                      <a:lnTo>
                        <a:pt x="413" y="42"/>
                      </a:lnTo>
                      <a:lnTo>
                        <a:pt x="413" y="42"/>
                      </a:lnTo>
                      <a:lnTo>
                        <a:pt x="413" y="42"/>
                      </a:lnTo>
                      <a:lnTo>
                        <a:pt x="413" y="37"/>
                      </a:lnTo>
                      <a:lnTo>
                        <a:pt x="414" y="36"/>
                      </a:lnTo>
                      <a:lnTo>
                        <a:pt x="414" y="35"/>
                      </a:lnTo>
                      <a:lnTo>
                        <a:pt x="415" y="33"/>
                      </a:lnTo>
                      <a:lnTo>
                        <a:pt x="415" y="33"/>
                      </a:lnTo>
                      <a:lnTo>
                        <a:pt x="414" y="33"/>
                      </a:lnTo>
                      <a:lnTo>
                        <a:pt x="414" y="33"/>
                      </a:lnTo>
                      <a:lnTo>
                        <a:pt x="413" y="31"/>
                      </a:lnTo>
                      <a:lnTo>
                        <a:pt x="412" y="30"/>
                      </a:lnTo>
                      <a:lnTo>
                        <a:pt x="412" y="30"/>
                      </a:lnTo>
                      <a:lnTo>
                        <a:pt x="411" y="30"/>
                      </a:lnTo>
                      <a:lnTo>
                        <a:pt x="411" y="30"/>
                      </a:lnTo>
                      <a:lnTo>
                        <a:pt x="410" y="30"/>
                      </a:lnTo>
                      <a:lnTo>
                        <a:pt x="410" y="29"/>
                      </a:lnTo>
                      <a:lnTo>
                        <a:pt x="410" y="29"/>
                      </a:lnTo>
                      <a:lnTo>
                        <a:pt x="407" y="30"/>
                      </a:lnTo>
                      <a:lnTo>
                        <a:pt x="407" y="30"/>
                      </a:lnTo>
                      <a:lnTo>
                        <a:pt x="406" y="30"/>
                      </a:lnTo>
                      <a:lnTo>
                        <a:pt x="406" y="30"/>
                      </a:lnTo>
                      <a:lnTo>
                        <a:pt x="405" y="31"/>
                      </a:lnTo>
                      <a:lnTo>
                        <a:pt x="405" y="31"/>
                      </a:lnTo>
                      <a:lnTo>
                        <a:pt x="405" y="31"/>
                      </a:lnTo>
                      <a:lnTo>
                        <a:pt x="405" y="31"/>
                      </a:lnTo>
                      <a:lnTo>
                        <a:pt x="404" y="31"/>
                      </a:lnTo>
                      <a:lnTo>
                        <a:pt x="404" y="31"/>
                      </a:lnTo>
                      <a:lnTo>
                        <a:pt x="403" y="29"/>
                      </a:lnTo>
                      <a:lnTo>
                        <a:pt x="403" y="27"/>
                      </a:lnTo>
                      <a:lnTo>
                        <a:pt x="403" y="27"/>
                      </a:lnTo>
                      <a:lnTo>
                        <a:pt x="403" y="27"/>
                      </a:lnTo>
                      <a:lnTo>
                        <a:pt x="403" y="27"/>
                      </a:lnTo>
                      <a:lnTo>
                        <a:pt x="403" y="27"/>
                      </a:lnTo>
                      <a:lnTo>
                        <a:pt x="403" y="27"/>
                      </a:lnTo>
                      <a:lnTo>
                        <a:pt x="403" y="27"/>
                      </a:lnTo>
                      <a:lnTo>
                        <a:pt x="403" y="27"/>
                      </a:lnTo>
                      <a:lnTo>
                        <a:pt x="401" y="27"/>
                      </a:lnTo>
                      <a:lnTo>
                        <a:pt x="401" y="26"/>
                      </a:lnTo>
                      <a:lnTo>
                        <a:pt x="401" y="26"/>
                      </a:lnTo>
                      <a:lnTo>
                        <a:pt x="400" y="26"/>
                      </a:lnTo>
                      <a:lnTo>
                        <a:pt x="400" y="26"/>
                      </a:lnTo>
                      <a:lnTo>
                        <a:pt x="400" y="27"/>
                      </a:lnTo>
                      <a:lnTo>
                        <a:pt x="399" y="27"/>
                      </a:lnTo>
                      <a:lnTo>
                        <a:pt x="399" y="26"/>
                      </a:lnTo>
                      <a:lnTo>
                        <a:pt x="399" y="26"/>
                      </a:lnTo>
                      <a:lnTo>
                        <a:pt x="399" y="26"/>
                      </a:lnTo>
                      <a:lnTo>
                        <a:pt x="399" y="26"/>
                      </a:lnTo>
                      <a:lnTo>
                        <a:pt x="399" y="26"/>
                      </a:lnTo>
                      <a:lnTo>
                        <a:pt x="401" y="24"/>
                      </a:lnTo>
                      <a:lnTo>
                        <a:pt x="404" y="23"/>
                      </a:lnTo>
                      <a:lnTo>
                        <a:pt x="404" y="23"/>
                      </a:lnTo>
                      <a:lnTo>
                        <a:pt x="404" y="23"/>
                      </a:lnTo>
                      <a:lnTo>
                        <a:pt x="404" y="23"/>
                      </a:lnTo>
                      <a:lnTo>
                        <a:pt x="404" y="23"/>
                      </a:lnTo>
                      <a:lnTo>
                        <a:pt x="405" y="25"/>
                      </a:lnTo>
                      <a:lnTo>
                        <a:pt x="406" y="29"/>
                      </a:lnTo>
                      <a:lnTo>
                        <a:pt x="406" y="29"/>
                      </a:lnTo>
                      <a:lnTo>
                        <a:pt x="406" y="29"/>
                      </a:lnTo>
                      <a:lnTo>
                        <a:pt x="406" y="29"/>
                      </a:lnTo>
                      <a:lnTo>
                        <a:pt x="407" y="29"/>
                      </a:lnTo>
                      <a:lnTo>
                        <a:pt x="407" y="29"/>
                      </a:lnTo>
                      <a:lnTo>
                        <a:pt x="407" y="29"/>
                      </a:lnTo>
                      <a:lnTo>
                        <a:pt x="407" y="27"/>
                      </a:lnTo>
                      <a:lnTo>
                        <a:pt x="407" y="27"/>
                      </a:lnTo>
                      <a:lnTo>
                        <a:pt x="407" y="25"/>
                      </a:lnTo>
                      <a:lnTo>
                        <a:pt x="407" y="24"/>
                      </a:lnTo>
                      <a:lnTo>
                        <a:pt x="406" y="24"/>
                      </a:lnTo>
                      <a:lnTo>
                        <a:pt x="406" y="23"/>
                      </a:lnTo>
                      <a:lnTo>
                        <a:pt x="406" y="23"/>
                      </a:lnTo>
                      <a:lnTo>
                        <a:pt x="406" y="23"/>
                      </a:lnTo>
                      <a:lnTo>
                        <a:pt x="406" y="23"/>
                      </a:lnTo>
                      <a:lnTo>
                        <a:pt x="406" y="23"/>
                      </a:lnTo>
                      <a:lnTo>
                        <a:pt x="406" y="23"/>
                      </a:lnTo>
                      <a:lnTo>
                        <a:pt x="407" y="23"/>
                      </a:lnTo>
                      <a:lnTo>
                        <a:pt x="407" y="23"/>
                      </a:lnTo>
                      <a:lnTo>
                        <a:pt x="408" y="24"/>
                      </a:lnTo>
                      <a:lnTo>
                        <a:pt x="408" y="24"/>
                      </a:lnTo>
                      <a:lnTo>
                        <a:pt x="410" y="23"/>
                      </a:lnTo>
                      <a:lnTo>
                        <a:pt x="410" y="23"/>
                      </a:lnTo>
                      <a:lnTo>
                        <a:pt x="412" y="25"/>
                      </a:lnTo>
                      <a:lnTo>
                        <a:pt x="413" y="25"/>
                      </a:lnTo>
                      <a:lnTo>
                        <a:pt x="413" y="26"/>
                      </a:lnTo>
                      <a:lnTo>
                        <a:pt x="413" y="26"/>
                      </a:lnTo>
                      <a:lnTo>
                        <a:pt x="413" y="26"/>
                      </a:lnTo>
                      <a:lnTo>
                        <a:pt x="414" y="30"/>
                      </a:lnTo>
                      <a:lnTo>
                        <a:pt x="414" y="30"/>
                      </a:lnTo>
                      <a:lnTo>
                        <a:pt x="415" y="31"/>
                      </a:lnTo>
                      <a:lnTo>
                        <a:pt x="415" y="31"/>
                      </a:lnTo>
                      <a:lnTo>
                        <a:pt x="415" y="31"/>
                      </a:lnTo>
                      <a:lnTo>
                        <a:pt x="415" y="31"/>
                      </a:lnTo>
                      <a:lnTo>
                        <a:pt x="415" y="31"/>
                      </a:lnTo>
                      <a:lnTo>
                        <a:pt x="417" y="31"/>
                      </a:lnTo>
                      <a:lnTo>
                        <a:pt x="417" y="31"/>
                      </a:lnTo>
                      <a:lnTo>
                        <a:pt x="417" y="30"/>
                      </a:lnTo>
                      <a:lnTo>
                        <a:pt x="418" y="29"/>
                      </a:lnTo>
                      <a:lnTo>
                        <a:pt x="419" y="27"/>
                      </a:lnTo>
                      <a:lnTo>
                        <a:pt x="419" y="27"/>
                      </a:lnTo>
                      <a:lnTo>
                        <a:pt x="419" y="27"/>
                      </a:lnTo>
                      <a:lnTo>
                        <a:pt x="419" y="27"/>
                      </a:lnTo>
                      <a:lnTo>
                        <a:pt x="419" y="27"/>
                      </a:lnTo>
                      <a:lnTo>
                        <a:pt x="420" y="27"/>
                      </a:lnTo>
                      <a:lnTo>
                        <a:pt x="420" y="27"/>
                      </a:lnTo>
                      <a:lnTo>
                        <a:pt x="421" y="29"/>
                      </a:lnTo>
                      <a:lnTo>
                        <a:pt x="421" y="29"/>
                      </a:lnTo>
                      <a:lnTo>
                        <a:pt x="421" y="31"/>
                      </a:lnTo>
                      <a:lnTo>
                        <a:pt x="421" y="31"/>
                      </a:lnTo>
                      <a:lnTo>
                        <a:pt x="421" y="32"/>
                      </a:lnTo>
                      <a:lnTo>
                        <a:pt x="423" y="32"/>
                      </a:lnTo>
                      <a:lnTo>
                        <a:pt x="423" y="32"/>
                      </a:lnTo>
                      <a:lnTo>
                        <a:pt x="423" y="35"/>
                      </a:lnTo>
                      <a:lnTo>
                        <a:pt x="424" y="35"/>
                      </a:lnTo>
                      <a:lnTo>
                        <a:pt x="424" y="35"/>
                      </a:lnTo>
                      <a:lnTo>
                        <a:pt x="424" y="35"/>
                      </a:lnTo>
                      <a:lnTo>
                        <a:pt x="424" y="35"/>
                      </a:lnTo>
                      <a:lnTo>
                        <a:pt x="424" y="35"/>
                      </a:lnTo>
                      <a:lnTo>
                        <a:pt x="425" y="36"/>
                      </a:lnTo>
                      <a:lnTo>
                        <a:pt x="425" y="36"/>
                      </a:lnTo>
                      <a:lnTo>
                        <a:pt x="426" y="35"/>
                      </a:lnTo>
                      <a:lnTo>
                        <a:pt x="426" y="35"/>
                      </a:lnTo>
                      <a:lnTo>
                        <a:pt x="427" y="35"/>
                      </a:lnTo>
                      <a:lnTo>
                        <a:pt x="427" y="35"/>
                      </a:lnTo>
                      <a:lnTo>
                        <a:pt x="427" y="35"/>
                      </a:lnTo>
                      <a:lnTo>
                        <a:pt x="427" y="35"/>
                      </a:lnTo>
                      <a:lnTo>
                        <a:pt x="427" y="35"/>
                      </a:lnTo>
                      <a:lnTo>
                        <a:pt x="427" y="36"/>
                      </a:lnTo>
                      <a:lnTo>
                        <a:pt x="430" y="37"/>
                      </a:lnTo>
                      <a:lnTo>
                        <a:pt x="431" y="37"/>
                      </a:lnTo>
                      <a:lnTo>
                        <a:pt x="431" y="37"/>
                      </a:lnTo>
                      <a:lnTo>
                        <a:pt x="432" y="37"/>
                      </a:lnTo>
                      <a:lnTo>
                        <a:pt x="434" y="36"/>
                      </a:lnTo>
                      <a:lnTo>
                        <a:pt x="434" y="36"/>
                      </a:lnTo>
                      <a:lnTo>
                        <a:pt x="434" y="36"/>
                      </a:lnTo>
                      <a:lnTo>
                        <a:pt x="434" y="36"/>
                      </a:lnTo>
                      <a:lnTo>
                        <a:pt x="434" y="35"/>
                      </a:lnTo>
                      <a:lnTo>
                        <a:pt x="434" y="35"/>
                      </a:lnTo>
                      <a:lnTo>
                        <a:pt x="435" y="35"/>
                      </a:lnTo>
                      <a:lnTo>
                        <a:pt x="437" y="36"/>
                      </a:lnTo>
                      <a:lnTo>
                        <a:pt x="437" y="36"/>
                      </a:lnTo>
                      <a:lnTo>
                        <a:pt x="435" y="37"/>
                      </a:lnTo>
                      <a:lnTo>
                        <a:pt x="435" y="37"/>
                      </a:lnTo>
                      <a:lnTo>
                        <a:pt x="435" y="37"/>
                      </a:lnTo>
                      <a:lnTo>
                        <a:pt x="435" y="37"/>
                      </a:lnTo>
                      <a:lnTo>
                        <a:pt x="435" y="37"/>
                      </a:lnTo>
                      <a:lnTo>
                        <a:pt x="435" y="37"/>
                      </a:lnTo>
                      <a:lnTo>
                        <a:pt x="435" y="38"/>
                      </a:lnTo>
                      <a:lnTo>
                        <a:pt x="435" y="38"/>
                      </a:lnTo>
                      <a:lnTo>
                        <a:pt x="435" y="38"/>
                      </a:lnTo>
                      <a:lnTo>
                        <a:pt x="435" y="38"/>
                      </a:lnTo>
                      <a:lnTo>
                        <a:pt x="437" y="39"/>
                      </a:lnTo>
                      <a:lnTo>
                        <a:pt x="437" y="39"/>
                      </a:lnTo>
                      <a:lnTo>
                        <a:pt x="437" y="39"/>
                      </a:lnTo>
                      <a:lnTo>
                        <a:pt x="438" y="38"/>
                      </a:lnTo>
                      <a:lnTo>
                        <a:pt x="438" y="38"/>
                      </a:lnTo>
                      <a:lnTo>
                        <a:pt x="438" y="38"/>
                      </a:lnTo>
                      <a:lnTo>
                        <a:pt x="438" y="38"/>
                      </a:lnTo>
                      <a:lnTo>
                        <a:pt x="438" y="38"/>
                      </a:lnTo>
                      <a:lnTo>
                        <a:pt x="438" y="38"/>
                      </a:lnTo>
                      <a:lnTo>
                        <a:pt x="438" y="38"/>
                      </a:lnTo>
                      <a:lnTo>
                        <a:pt x="439" y="38"/>
                      </a:lnTo>
                      <a:lnTo>
                        <a:pt x="439" y="38"/>
                      </a:lnTo>
                      <a:lnTo>
                        <a:pt x="439" y="38"/>
                      </a:lnTo>
                      <a:lnTo>
                        <a:pt x="441" y="39"/>
                      </a:lnTo>
                      <a:lnTo>
                        <a:pt x="440" y="40"/>
                      </a:lnTo>
                      <a:lnTo>
                        <a:pt x="440" y="42"/>
                      </a:lnTo>
                      <a:lnTo>
                        <a:pt x="441" y="42"/>
                      </a:lnTo>
                      <a:lnTo>
                        <a:pt x="444" y="42"/>
                      </a:lnTo>
                      <a:lnTo>
                        <a:pt x="445" y="42"/>
                      </a:lnTo>
                      <a:lnTo>
                        <a:pt x="445" y="42"/>
                      </a:lnTo>
                      <a:lnTo>
                        <a:pt x="445" y="42"/>
                      </a:lnTo>
                      <a:lnTo>
                        <a:pt x="446" y="42"/>
                      </a:lnTo>
                      <a:lnTo>
                        <a:pt x="446" y="42"/>
                      </a:lnTo>
                      <a:lnTo>
                        <a:pt x="446" y="42"/>
                      </a:lnTo>
                      <a:lnTo>
                        <a:pt x="448" y="42"/>
                      </a:lnTo>
                      <a:lnTo>
                        <a:pt x="450" y="40"/>
                      </a:lnTo>
                      <a:lnTo>
                        <a:pt x="450" y="40"/>
                      </a:lnTo>
                      <a:lnTo>
                        <a:pt x="450" y="40"/>
                      </a:lnTo>
                      <a:lnTo>
                        <a:pt x="451" y="40"/>
                      </a:lnTo>
                      <a:lnTo>
                        <a:pt x="451" y="40"/>
                      </a:lnTo>
                      <a:lnTo>
                        <a:pt x="452" y="42"/>
                      </a:lnTo>
                      <a:lnTo>
                        <a:pt x="452" y="43"/>
                      </a:lnTo>
                      <a:lnTo>
                        <a:pt x="452" y="43"/>
                      </a:lnTo>
                      <a:lnTo>
                        <a:pt x="453" y="44"/>
                      </a:lnTo>
                      <a:lnTo>
                        <a:pt x="453" y="44"/>
                      </a:lnTo>
                      <a:lnTo>
                        <a:pt x="453" y="44"/>
                      </a:lnTo>
                      <a:lnTo>
                        <a:pt x="455" y="45"/>
                      </a:lnTo>
                      <a:lnTo>
                        <a:pt x="457" y="46"/>
                      </a:lnTo>
                      <a:lnTo>
                        <a:pt x="458" y="46"/>
                      </a:lnTo>
                      <a:lnTo>
                        <a:pt x="459" y="46"/>
                      </a:lnTo>
                      <a:lnTo>
                        <a:pt x="459" y="46"/>
                      </a:lnTo>
                      <a:lnTo>
                        <a:pt x="459" y="45"/>
                      </a:lnTo>
                      <a:lnTo>
                        <a:pt x="460" y="44"/>
                      </a:lnTo>
                      <a:lnTo>
                        <a:pt x="461" y="43"/>
                      </a:lnTo>
                      <a:lnTo>
                        <a:pt x="461" y="43"/>
                      </a:lnTo>
                      <a:lnTo>
                        <a:pt x="463" y="43"/>
                      </a:lnTo>
                      <a:lnTo>
                        <a:pt x="463" y="43"/>
                      </a:lnTo>
                      <a:lnTo>
                        <a:pt x="463" y="43"/>
                      </a:lnTo>
                      <a:lnTo>
                        <a:pt x="463" y="43"/>
                      </a:lnTo>
                      <a:lnTo>
                        <a:pt x="463" y="43"/>
                      </a:lnTo>
                      <a:lnTo>
                        <a:pt x="463" y="43"/>
                      </a:lnTo>
                      <a:lnTo>
                        <a:pt x="463" y="43"/>
                      </a:lnTo>
                      <a:lnTo>
                        <a:pt x="466" y="43"/>
                      </a:lnTo>
                      <a:lnTo>
                        <a:pt x="467" y="42"/>
                      </a:lnTo>
                      <a:lnTo>
                        <a:pt x="467" y="42"/>
                      </a:lnTo>
                      <a:lnTo>
                        <a:pt x="467" y="42"/>
                      </a:lnTo>
                      <a:lnTo>
                        <a:pt x="467" y="42"/>
                      </a:lnTo>
                      <a:lnTo>
                        <a:pt x="467" y="42"/>
                      </a:lnTo>
                      <a:lnTo>
                        <a:pt x="467" y="42"/>
                      </a:lnTo>
                      <a:lnTo>
                        <a:pt x="467" y="42"/>
                      </a:lnTo>
                      <a:lnTo>
                        <a:pt x="467" y="42"/>
                      </a:lnTo>
                      <a:lnTo>
                        <a:pt x="467" y="42"/>
                      </a:lnTo>
                      <a:lnTo>
                        <a:pt x="467" y="42"/>
                      </a:lnTo>
                      <a:lnTo>
                        <a:pt x="467" y="42"/>
                      </a:lnTo>
                      <a:lnTo>
                        <a:pt x="466" y="42"/>
                      </a:lnTo>
                      <a:lnTo>
                        <a:pt x="466" y="42"/>
                      </a:lnTo>
                      <a:lnTo>
                        <a:pt x="466" y="42"/>
                      </a:lnTo>
                      <a:lnTo>
                        <a:pt x="466" y="42"/>
                      </a:lnTo>
                      <a:lnTo>
                        <a:pt x="466" y="42"/>
                      </a:lnTo>
                      <a:lnTo>
                        <a:pt x="466" y="42"/>
                      </a:lnTo>
                      <a:lnTo>
                        <a:pt x="466" y="42"/>
                      </a:lnTo>
                      <a:lnTo>
                        <a:pt x="466" y="42"/>
                      </a:lnTo>
                      <a:lnTo>
                        <a:pt x="466" y="42"/>
                      </a:lnTo>
                      <a:lnTo>
                        <a:pt x="466" y="42"/>
                      </a:lnTo>
                      <a:lnTo>
                        <a:pt x="466" y="40"/>
                      </a:lnTo>
                      <a:lnTo>
                        <a:pt x="466" y="40"/>
                      </a:lnTo>
                      <a:lnTo>
                        <a:pt x="466" y="39"/>
                      </a:lnTo>
                      <a:lnTo>
                        <a:pt x="467" y="39"/>
                      </a:lnTo>
                      <a:lnTo>
                        <a:pt x="468" y="39"/>
                      </a:lnTo>
                      <a:lnTo>
                        <a:pt x="468" y="39"/>
                      </a:lnTo>
                      <a:lnTo>
                        <a:pt x="468" y="39"/>
                      </a:lnTo>
                      <a:lnTo>
                        <a:pt x="468" y="39"/>
                      </a:lnTo>
                      <a:lnTo>
                        <a:pt x="468" y="39"/>
                      </a:lnTo>
                      <a:lnTo>
                        <a:pt x="470" y="39"/>
                      </a:lnTo>
                      <a:lnTo>
                        <a:pt x="471" y="38"/>
                      </a:lnTo>
                      <a:lnTo>
                        <a:pt x="471" y="38"/>
                      </a:lnTo>
                      <a:lnTo>
                        <a:pt x="472" y="38"/>
                      </a:lnTo>
                      <a:lnTo>
                        <a:pt x="472" y="37"/>
                      </a:lnTo>
                      <a:lnTo>
                        <a:pt x="472" y="37"/>
                      </a:lnTo>
                      <a:lnTo>
                        <a:pt x="472" y="37"/>
                      </a:lnTo>
                      <a:lnTo>
                        <a:pt x="472" y="37"/>
                      </a:lnTo>
                      <a:lnTo>
                        <a:pt x="472" y="37"/>
                      </a:lnTo>
                      <a:lnTo>
                        <a:pt x="472" y="37"/>
                      </a:lnTo>
                      <a:lnTo>
                        <a:pt x="472" y="36"/>
                      </a:lnTo>
                      <a:lnTo>
                        <a:pt x="471" y="36"/>
                      </a:lnTo>
                      <a:lnTo>
                        <a:pt x="472" y="36"/>
                      </a:lnTo>
                      <a:lnTo>
                        <a:pt x="472" y="36"/>
                      </a:lnTo>
                      <a:lnTo>
                        <a:pt x="472" y="36"/>
                      </a:lnTo>
                      <a:lnTo>
                        <a:pt x="472" y="36"/>
                      </a:lnTo>
                      <a:lnTo>
                        <a:pt x="472" y="36"/>
                      </a:lnTo>
                      <a:lnTo>
                        <a:pt x="472" y="36"/>
                      </a:lnTo>
                      <a:lnTo>
                        <a:pt x="472" y="36"/>
                      </a:lnTo>
                      <a:lnTo>
                        <a:pt x="472" y="36"/>
                      </a:lnTo>
                      <a:lnTo>
                        <a:pt x="472" y="36"/>
                      </a:lnTo>
                      <a:lnTo>
                        <a:pt x="473" y="37"/>
                      </a:lnTo>
                      <a:lnTo>
                        <a:pt x="473" y="37"/>
                      </a:lnTo>
                      <a:lnTo>
                        <a:pt x="473" y="37"/>
                      </a:lnTo>
                      <a:lnTo>
                        <a:pt x="472" y="38"/>
                      </a:lnTo>
                      <a:lnTo>
                        <a:pt x="471" y="38"/>
                      </a:lnTo>
                      <a:lnTo>
                        <a:pt x="468" y="40"/>
                      </a:lnTo>
                      <a:lnTo>
                        <a:pt x="468" y="40"/>
                      </a:lnTo>
                      <a:lnTo>
                        <a:pt x="468" y="40"/>
                      </a:lnTo>
                      <a:lnTo>
                        <a:pt x="468" y="40"/>
                      </a:lnTo>
                      <a:lnTo>
                        <a:pt x="468" y="40"/>
                      </a:lnTo>
                      <a:lnTo>
                        <a:pt x="468" y="40"/>
                      </a:lnTo>
                      <a:lnTo>
                        <a:pt x="470" y="42"/>
                      </a:lnTo>
                      <a:lnTo>
                        <a:pt x="467" y="44"/>
                      </a:lnTo>
                      <a:lnTo>
                        <a:pt x="467" y="44"/>
                      </a:lnTo>
                      <a:lnTo>
                        <a:pt x="467" y="44"/>
                      </a:lnTo>
                      <a:lnTo>
                        <a:pt x="467" y="44"/>
                      </a:lnTo>
                      <a:lnTo>
                        <a:pt x="467" y="44"/>
                      </a:lnTo>
                      <a:lnTo>
                        <a:pt x="467" y="45"/>
                      </a:lnTo>
                      <a:lnTo>
                        <a:pt x="467" y="45"/>
                      </a:lnTo>
                      <a:lnTo>
                        <a:pt x="467" y="45"/>
                      </a:lnTo>
                      <a:lnTo>
                        <a:pt x="467" y="45"/>
                      </a:lnTo>
                      <a:lnTo>
                        <a:pt x="467" y="45"/>
                      </a:lnTo>
                      <a:lnTo>
                        <a:pt x="467" y="46"/>
                      </a:lnTo>
                      <a:lnTo>
                        <a:pt x="468" y="46"/>
                      </a:lnTo>
                      <a:lnTo>
                        <a:pt x="468" y="46"/>
                      </a:lnTo>
                      <a:lnTo>
                        <a:pt x="468" y="45"/>
                      </a:lnTo>
                      <a:lnTo>
                        <a:pt x="470" y="45"/>
                      </a:lnTo>
                      <a:lnTo>
                        <a:pt x="470" y="45"/>
                      </a:lnTo>
                      <a:lnTo>
                        <a:pt x="471" y="44"/>
                      </a:lnTo>
                      <a:lnTo>
                        <a:pt x="471" y="44"/>
                      </a:lnTo>
                      <a:lnTo>
                        <a:pt x="473" y="43"/>
                      </a:lnTo>
                      <a:lnTo>
                        <a:pt x="472" y="45"/>
                      </a:lnTo>
                      <a:lnTo>
                        <a:pt x="472" y="45"/>
                      </a:lnTo>
                      <a:lnTo>
                        <a:pt x="472" y="45"/>
                      </a:lnTo>
                      <a:lnTo>
                        <a:pt x="472" y="45"/>
                      </a:lnTo>
                      <a:lnTo>
                        <a:pt x="472" y="45"/>
                      </a:lnTo>
                      <a:lnTo>
                        <a:pt x="472" y="46"/>
                      </a:lnTo>
                      <a:lnTo>
                        <a:pt x="472" y="46"/>
                      </a:lnTo>
                      <a:lnTo>
                        <a:pt x="472" y="46"/>
                      </a:lnTo>
                      <a:lnTo>
                        <a:pt x="472" y="46"/>
                      </a:lnTo>
                      <a:lnTo>
                        <a:pt x="472" y="46"/>
                      </a:lnTo>
                      <a:lnTo>
                        <a:pt x="472" y="46"/>
                      </a:lnTo>
                      <a:lnTo>
                        <a:pt x="472" y="46"/>
                      </a:lnTo>
                      <a:lnTo>
                        <a:pt x="473" y="46"/>
                      </a:lnTo>
                      <a:lnTo>
                        <a:pt x="473" y="45"/>
                      </a:lnTo>
                      <a:lnTo>
                        <a:pt x="473" y="45"/>
                      </a:lnTo>
                      <a:lnTo>
                        <a:pt x="473" y="45"/>
                      </a:lnTo>
                      <a:lnTo>
                        <a:pt x="473" y="45"/>
                      </a:lnTo>
                      <a:lnTo>
                        <a:pt x="473" y="45"/>
                      </a:lnTo>
                      <a:lnTo>
                        <a:pt x="473" y="45"/>
                      </a:lnTo>
                      <a:lnTo>
                        <a:pt x="473" y="45"/>
                      </a:lnTo>
                      <a:lnTo>
                        <a:pt x="473" y="46"/>
                      </a:lnTo>
                      <a:lnTo>
                        <a:pt x="473" y="46"/>
                      </a:lnTo>
                      <a:lnTo>
                        <a:pt x="473" y="46"/>
                      </a:lnTo>
                      <a:lnTo>
                        <a:pt x="473" y="46"/>
                      </a:lnTo>
                      <a:lnTo>
                        <a:pt x="472" y="49"/>
                      </a:lnTo>
                      <a:lnTo>
                        <a:pt x="472" y="49"/>
                      </a:lnTo>
                      <a:lnTo>
                        <a:pt x="472" y="49"/>
                      </a:lnTo>
                      <a:lnTo>
                        <a:pt x="472" y="49"/>
                      </a:lnTo>
                      <a:lnTo>
                        <a:pt x="472" y="49"/>
                      </a:lnTo>
                      <a:lnTo>
                        <a:pt x="472" y="50"/>
                      </a:lnTo>
                      <a:lnTo>
                        <a:pt x="472" y="50"/>
                      </a:lnTo>
                      <a:lnTo>
                        <a:pt x="473" y="50"/>
                      </a:lnTo>
                      <a:lnTo>
                        <a:pt x="473" y="50"/>
                      </a:lnTo>
                      <a:lnTo>
                        <a:pt x="473" y="50"/>
                      </a:lnTo>
                      <a:lnTo>
                        <a:pt x="474" y="50"/>
                      </a:lnTo>
                      <a:lnTo>
                        <a:pt x="474" y="50"/>
                      </a:lnTo>
                      <a:lnTo>
                        <a:pt x="474" y="50"/>
                      </a:lnTo>
                      <a:lnTo>
                        <a:pt x="474" y="50"/>
                      </a:lnTo>
                      <a:lnTo>
                        <a:pt x="474" y="50"/>
                      </a:lnTo>
                      <a:lnTo>
                        <a:pt x="474" y="50"/>
                      </a:lnTo>
                      <a:lnTo>
                        <a:pt x="475" y="50"/>
                      </a:lnTo>
                      <a:lnTo>
                        <a:pt x="475" y="50"/>
                      </a:lnTo>
                      <a:lnTo>
                        <a:pt x="475" y="50"/>
                      </a:lnTo>
                      <a:lnTo>
                        <a:pt x="475" y="50"/>
                      </a:lnTo>
                      <a:lnTo>
                        <a:pt x="477" y="50"/>
                      </a:lnTo>
                      <a:lnTo>
                        <a:pt x="478" y="50"/>
                      </a:lnTo>
                      <a:lnTo>
                        <a:pt x="478" y="49"/>
                      </a:lnTo>
                      <a:lnTo>
                        <a:pt x="479" y="46"/>
                      </a:lnTo>
                      <a:lnTo>
                        <a:pt x="479" y="46"/>
                      </a:lnTo>
                      <a:lnTo>
                        <a:pt x="479" y="45"/>
                      </a:lnTo>
                      <a:lnTo>
                        <a:pt x="479" y="45"/>
                      </a:lnTo>
                      <a:lnTo>
                        <a:pt x="479" y="45"/>
                      </a:lnTo>
                      <a:lnTo>
                        <a:pt x="479" y="45"/>
                      </a:lnTo>
                      <a:lnTo>
                        <a:pt x="479" y="45"/>
                      </a:lnTo>
                      <a:lnTo>
                        <a:pt x="478" y="45"/>
                      </a:lnTo>
                      <a:lnTo>
                        <a:pt x="478" y="45"/>
                      </a:lnTo>
                      <a:lnTo>
                        <a:pt x="478" y="45"/>
                      </a:lnTo>
                      <a:lnTo>
                        <a:pt x="478" y="45"/>
                      </a:lnTo>
                      <a:lnTo>
                        <a:pt x="477" y="45"/>
                      </a:lnTo>
                      <a:lnTo>
                        <a:pt x="477" y="45"/>
                      </a:lnTo>
                      <a:lnTo>
                        <a:pt x="477" y="45"/>
                      </a:lnTo>
                      <a:lnTo>
                        <a:pt x="475" y="45"/>
                      </a:lnTo>
                      <a:lnTo>
                        <a:pt x="475" y="44"/>
                      </a:lnTo>
                      <a:lnTo>
                        <a:pt x="475" y="44"/>
                      </a:lnTo>
                      <a:lnTo>
                        <a:pt x="475" y="44"/>
                      </a:lnTo>
                      <a:lnTo>
                        <a:pt x="478" y="42"/>
                      </a:lnTo>
                      <a:lnTo>
                        <a:pt x="481" y="39"/>
                      </a:lnTo>
                      <a:lnTo>
                        <a:pt x="484" y="39"/>
                      </a:lnTo>
                      <a:lnTo>
                        <a:pt x="483" y="40"/>
                      </a:lnTo>
                      <a:lnTo>
                        <a:pt x="484" y="44"/>
                      </a:lnTo>
                      <a:lnTo>
                        <a:pt x="484" y="44"/>
                      </a:lnTo>
                      <a:lnTo>
                        <a:pt x="484" y="45"/>
                      </a:lnTo>
                      <a:lnTo>
                        <a:pt x="484" y="46"/>
                      </a:lnTo>
                      <a:lnTo>
                        <a:pt x="484" y="46"/>
                      </a:lnTo>
                      <a:lnTo>
                        <a:pt x="485" y="46"/>
                      </a:lnTo>
                      <a:lnTo>
                        <a:pt x="485" y="46"/>
                      </a:lnTo>
                      <a:lnTo>
                        <a:pt x="485" y="46"/>
                      </a:lnTo>
                      <a:lnTo>
                        <a:pt x="485" y="46"/>
                      </a:lnTo>
                      <a:lnTo>
                        <a:pt x="485" y="46"/>
                      </a:lnTo>
                      <a:lnTo>
                        <a:pt x="486" y="46"/>
                      </a:lnTo>
                      <a:lnTo>
                        <a:pt x="486" y="46"/>
                      </a:lnTo>
                      <a:lnTo>
                        <a:pt x="486" y="46"/>
                      </a:lnTo>
                      <a:lnTo>
                        <a:pt x="486" y="45"/>
                      </a:lnTo>
                      <a:lnTo>
                        <a:pt x="486" y="45"/>
                      </a:lnTo>
                      <a:lnTo>
                        <a:pt x="486" y="45"/>
                      </a:lnTo>
                      <a:lnTo>
                        <a:pt x="486" y="45"/>
                      </a:lnTo>
                      <a:lnTo>
                        <a:pt x="486" y="45"/>
                      </a:lnTo>
                      <a:lnTo>
                        <a:pt x="486" y="45"/>
                      </a:lnTo>
                      <a:lnTo>
                        <a:pt x="485" y="45"/>
                      </a:lnTo>
                      <a:lnTo>
                        <a:pt x="485" y="45"/>
                      </a:lnTo>
                      <a:lnTo>
                        <a:pt x="485" y="45"/>
                      </a:lnTo>
                      <a:lnTo>
                        <a:pt x="485" y="45"/>
                      </a:lnTo>
                      <a:lnTo>
                        <a:pt x="485" y="45"/>
                      </a:lnTo>
                      <a:lnTo>
                        <a:pt x="485" y="45"/>
                      </a:lnTo>
                      <a:lnTo>
                        <a:pt x="485" y="45"/>
                      </a:lnTo>
                      <a:lnTo>
                        <a:pt x="485" y="45"/>
                      </a:lnTo>
                      <a:lnTo>
                        <a:pt x="485" y="44"/>
                      </a:lnTo>
                      <a:lnTo>
                        <a:pt x="486" y="44"/>
                      </a:lnTo>
                      <a:lnTo>
                        <a:pt x="486" y="44"/>
                      </a:lnTo>
                      <a:lnTo>
                        <a:pt x="486" y="44"/>
                      </a:lnTo>
                      <a:lnTo>
                        <a:pt x="488" y="45"/>
                      </a:lnTo>
                      <a:lnTo>
                        <a:pt x="488" y="45"/>
                      </a:lnTo>
                      <a:lnTo>
                        <a:pt x="488" y="45"/>
                      </a:lnTo>
                      <a:lnTo>
                        <a:pt x="490" y="46"/>
                      </a:lnTo>
                      <a:lnTo>
                        <a:pt x="490" y="47"/>
                      </a:lnTo>
                      <a:lnTo>
                        <a:pt x="490" y="47"/>
                      </a:lnTo>
                      <a:lnTo>
                        <a:pt x="490" y="47"/>
                      </a:lnTo>
                      <a:lnTo>
                        <a:pt x="490" y="49"/>
                      </a:lnTo>
                      <a:lnTo>
                        <a:pt x="490" y="49"/>
                      </a:lnTo>
                      <a:lnTo>
                        <a:pt x="490" y="49"/>
                      </a:lnTo>
                      <a:lnTo>
                        <a:pt x="490" y="49"/>
                      </a:lnTo>
                      <a:lnTo>
                        <a:pt x="486" y="51"/>
                      </a:lnTo>
                      <a:lnTo>
                        <a:pt x="485" y="52"/>
                      </a:lnTo>
                      <a:lnTo>
                        <a:pt x="483" y="55"/>
                      </a:lnTo>
                      <a:lnTo>
                        <a:pt x="483" y="58"/>
                      </a:lnTo>
                      <a:lnTo>
                        <a:pt x="480" y="57"/>
                      </a:lnTo>
                      <a:lnTo>
                        <a:pt x="480" y="58"/>
                      </a:lnTo>
                      <a:lnTo>
                        <a:pt x="480" y="60"/>
                      </a:lnTo>
                      <a:lnTo>
                        <a:pt x="480" y="63"/>
                      </a:lnTo>
                      <a:lnTo>
                        <a:pt x="479" y="64"/>
                      </a:lnTo>
                      <a:lnTo>
                        <a:pt x="479" y="65"/>
                      </a:lnTo>
                      <a:lnTo>
                        <a:pt x="478" y="66"/>
                      </a:lnTo>
                      <a:lnTo>
                        <a:pt x="478" y="66"/>
                      </a:lnTo>
                      <a:lnTo>
                        <a:pt x="478" y="65"/>
                      </a:lnTo>
                      <a:lnTo>
                        <a:pt x="478" y="65"/>
                      </a:lnTo>
                      <a:lnTo>
                        <a:pt x="478" y="66"/>
                      </a:lnTo>
                      <a:lnTo>
                        <a:pt x="477" y="66"/>
                      </a:lnTo>
                      <a:lnTo>
                        <a:pt x="477" y="66"/>
                      </a:lnTo>
                      <a:lnTo>
                        <a:pt x="477" y="65"/>
                      </a:lnTo>
                      <a:lnTo>
                        <a:pt x="477" y="63"/>
                      </a:lnTo>
                      <a:lnTo>
                        <a:pt x="477" y="63"/>
                      </a:lnTo>
                      <a:lnTo>
                        <a:pt x="477" y="63"/>
                      </a:lnTo>
                      <a:lnTo>
                        <a:pt x="477" y="63"/>
                      </a:lnTo>
                      <a:lnTo>
                        <a:pt x="477" y="63"/>
                      </a:lnTo>
                      <a:lnTo>
                        <a:pt x="477" y="63"/>
                      </a:lnTo>
                      <a:lnTo>
                        <a:pt x="477" y="63"/>
                      </a:lnTo>
                      <a:lnTo>
                        <a:pt x="477" y="63"/>
                      </a:lnTo>
                      <a:lnTo>
                        <a:pt x="475" y="63"/>
                      </a:lnTo>
                      <a:lnTo>
                        <a:pt x="475" y="63"/>
                      </a:lnTo>
                      <a:lnTo>
                        <a:pt x="475" y="63"/>
                      </a:lnTo>
                      <a:lnTo>
                        <a:pt x="475" y="63"/>
                      </a:lnTo>
                      <a:lnTo>
                        <a:pt x="475" y="63"/>
                      </a:lnTo>
                      <a:lnTo>
                        <a:pt x="475" y="63"/>
                      </a:lnTo>
                      <a:lnTo>
                        <a:pt x="475" y="63"/>
                      </a:lnTo>
                      <a:lnTo>
                        <a:pt x="475" y="64"/>
                      </a:lnTo>
                      <a:lnTo>
                        <a:pt x="474" y="65"/>
                      </a:lnTo>
                      <a:lnTo>
                        <a:pt x="473" y="66"/>
                      </a:lnTo>
                      <a:lnTo>
                        <a:pt x="473" y="66"/>
                      </a:lnTo>
                      <a:lnTo>
                        <a:pt x="473" y="66"/>
                      </a:lnTo>
                      <a:lnTo>
                        <a:pt x="473" y="66"/>
                      </a:lnTo>
                      <a:lnTo>
                        <a:pt x="472" y="65"/>
                      </a:lnTo>
                      <a:lnTo>
                        <a:pt x="472" y="65"/>
                      </a:lnTo>
                      <a:lnTo>
                        <a:pt x="472" y="65"/>
                      </a:lnTo>
                      <a:lnTo>
                        <a:pt x="472" y="65"/>
                      </a:lnTo>
                      <a:lnTo>
                        <a:pt x="472" y="65"/>
                      </a:lnTo>
                      <a:lnTo>
                        <a:pt x="470" y="65"/>
                      </a:lnTo>
                      <a:lnTo>
                        <a:pt x="470" y="66"/>
                      </a:lnTo>
                      <a:lnTo>
                        <a:pt x="468" y="66"/>
                      </a:lnTo>
                      <a:lnTo>
                        <a:pt x="468" y="66"/>
                      </a:lnTo>
                      <a:lnTo>
                        <a:pt x="468" y="66"/>
                      </a:lnTo>
                      <a:lnTo>
                        <a:pt x="467" y="67"/>
                      </a:lnTo>
                      <a:lnTo>
                        <a:pt x="467" y="67"/>
                      </a:lnTo>
                      <a:lnTo>
                        <a:pt x="467" y="69"/>
                      </a:lnTo>
                      <a:lnTo>
                        <a:pt x="467" y="69"/>
                      </a:lnTo>
                      <a:lnTo>
                        <a:pt x="467" y="69"/>
                      </a:lnTo>
                      <a:lnTo>
                        <a:pt x="468" y="70"/>
                      </a:lnTo>
                      <a:lnTo>
                        <a:pt x="467" y="71"/>
                      </a:lnTo>
                      <a:lnTo>
                        <a:pt x="467" y="71"/>
                      </a:lnTo>
                      <a:lnTo>
                        <a:pt x="466" y="73"/>
                      </a:lnTo>
                      <a:lnTo>
                        <a:pt x="466" y="73"/>
                      </a:lnTo>
                      <a:lnTo>
                        <a:pt x="466" y="73"/>
                      </a:lnTo>
                      <a:lnTo>
                        <a:pt x="466" y="76"/>
                      </a:lnTo>
                      <a:lnTo>
                        <a:pt x="466" y="76"/>
                      </a:lnTo>
                      <a:lnTo>
                        <a:pt x="466" y="76"/>
                      </a:lnTo>
                      <a:lnTo>
                        <a:pt x="467" y="76"/>
                      </a:lnTo>
                      <a:lnTo>
                        <a:pt x="467" y="77"/>
                      </a:lnTo>
                      <a:lnTo>
                        <a:pt x="467" y="77"/>
                      </a:lnTo>
                      <a:lnTo>
                        <a:pt x="467" y="77"/>
                      </a:lnTo>
                      <a:lnTo>
                        <a:pt x="467" y="77"/>
                      </a:lnTo>
                      <a:lnTo>
                        <a:pt x="467" y="77"/>
                      </a:lnTo>
                      <a:lnTo>
                        <a:pt x="468" y="76"/>
                      </a:lnTo>
                      <a:lnTo>
                        <a:pt x="468" y="76"/>
                      </a:lnTo>
                      <a:lnTo>
                        <a:pt x="468" y="76"/>
                      </a:lnTo>
                      <a:lnTo>
                        <a:pt x="468" y="76"/>
                      </a:lnTo>
                      <a:lnTo>
                        <a:pt x="470" y="76"/>
                      </a:lnTo>
                      <a:lnTo>
                        <a:pt x="468" y="77"/>
                      </a:lnTo>
                      <a:lnTo>
                        <a:pt x="468" y="79"/>
                      </a:lnTo>
                      <a:lnTo>
                        <a:pt x="466" y="80"/>
                      </a:lnTo>
                      <a:lnTo>
                        <a:pt x="466" y="83"/>
                      </a:lnTo>
                      <a:lnTo>
                        <a:pt x="466" y="85"/>
                      </a:lnTo>
                      <a:lnTo>
                        <a:pt x="465" y="85"/>
                      </a:lnTo>
                      <a:lnTo>
                        <a:pt x="465" y="85"/>
                      </a:lnTo>
                      <a:lnTo>
                        <a:pt x="464" y="86"/>
                      </a:lnTo>
                      <a:lnTo>
                        <a:pt x="463" y="86"/>
                      </a:lnTo>
                      <a:lnTo>
                        <a:pt x="463" y="86"/>
                      </a:lnTo>
                      <a:lnTo>
                        <a:pt x="463" y="87"/>
                      </a:lnTo>
                      <a:lnTo>
                        <a:pt x="460" y="91"/>
                      </a:lnTo>
                      <a:lnTo>
                        <a:pt x="459" y="91"/>
                      </a:lnTo>
                      <a:lnTo>
                        <a:pt x="458" y="92"/>
                      </a:lnTo>
                      <a:lnTo>
                        <a:pt x="458" y="93"/>
                      </a:lnTo>
                      <a:lnTo>
                        <a:pt x="458" y="93"/>
                      </a:lnTo>
                      <a:lnTo>
                        <a:pt x="458" y="95"/>
                      </a:lnTo>
                      <a:lnTo>
                        <a:pt x="458" y="95"/>
                      </a:lnTo>
                      <a:lnTo>
                        <a:pt x="458" y="95"/>
                      </a:lnTo>
                      <a:lnTo>
                        <a:pt x="458" y="95"/>
                      </a:lnTo>
                      <a:lnTo>
                        <a:pt x="457" y="96"/>
                      </a:lnTo>
                      <a:lnTo>
                        <a:pt x="455" y="97"/>
                      </a:lnTo>
                      <a:lnTo>
                        <a:pt x="454" y="97"/>
                      </a:lnTo>
                      <a:lnTo>
                        <a:pt x="454" y="98"/>
                      </a:lnTo>
                      <a:lnTo>
                        <a:pt x="454" y="99"/>
                      </a:lnTo>
                      <a:lnTo>
                        <a:pt x="455" y="100"/>
                      </a:lnTo>
                      <a:lnTo>
                        <a:pt x="455" y="100"/>
                      </a:lnTo>
                      <a:lnTo>
                        <a:pt x="455" y="100"/>
                      </a:lnTo>
                      <a:lnTo>
                        <a:pt x="455" y="100"/>
                      </a:lnTo>
                      <a:lnTo>
                        <a:pt x="455" y="102"/>
                      </a:lnTo>
                      <a:lnTo>
                        <a:pt x="455" y="102"/>
                      </a:lnTo>
                      <a:lnTo>
                        <a:pt x="455" y="102"/>
                      </a:lnTo>
                      <a:lnTo>
                        <a:pt x="457" y="103"/>
                      </a:lnTo>
                      <a:lnTo>
                        <a:pt x="457" y="103"/>
                      </a:lnTo>
                      <a:lnTo>
                        <a:pt x="457" y="103"/>
                      </a:lnTo>
                      <a:lnTo>
                        <a:pt x="458" y="103"/>
                      </a:lnTo>
                      <a:lnTo>
                        <a:pt x="458" y="103"/>
                      </a:lnTo>
                      <a:lnTo>
                        <a:pt x="459" y="104"/>
                      </a:lnTo>
                      <a:lnTo>
                        <a:pt x="461" y="106"/>
                      </a:lnTo>
                      <a:lnTo>
                        <a:pt x="461" y="106"/>
                      </a:lnTo>
                      <a:lnTo>
                        <a:pt x="463" y="106"/>
                      </a:lnTo>
                      <a:lnTo>
                        <a:pt x="463" y="106"/>
                      </a:lnTo>
                      <a:lnTo>
                        <a:pt x="463" y="107"/>
                      </a:lnTo>
                      <a:lnTo>
                        <a:pt x="463" y="107"/>
                      </a:lnTo>
                      <a:lnTo>
                        <a:pt x="463" y="107"/>
                      </a:lnTo>
                      <a:lnTo>
                        <a:pt x="465" y="109"/>
                      </a:lnTo>
                      <a:lnTo>
                        <a:pt x="467" y="110"/>
                      </a:lnTo>
                      <a:lnTo>
                        <a:pt x="467" y="111"/>
                      </a:lnTo>
                      <a:lnTo>
                        <a:pt x="467" y="111"/>
                      </a:lnTo>
                      <a:lnTo>
                        <a:pt x="467" y="112"/>
                      </a:lnTo>
                      <a:lnTo>
                        <a:pt x="467" y="113"/>
                      </a:lnTo>
                      <a:lnTo>
                        <a:pt x="467" y="113"/>
                      </a:lnTo>
                      <a:lnTo>
                        <a:pt x="467" y="113"/>
                      </a:lnTo>
                      <a:lnTo>
                        <a:pt x="467" y="113"/>
                      </a:lnTo>
                      <a:lnTo>
                        <a:pt x="467" y="113"/>
                      </a:lnTo>
                      <a:lnTo>
                        <a:pt x="468" y="115"/>
                      </a:lnTo>
                      <a:lnTo>
                        <a:pt x="468" y="115"/>
                      </a:lnTo>
                      <a:lnTo>
                        <a:pt x="468" y="115"/>
                      </a:lnTo>
                      <a:lnTo>
                        <a:pt x="471" y="116"/>
                      </a:lnTo>
                      <a:lnTo>
                        <a:pt x="472" y="117"/>
                      </a:lnTo>
                      <a:lnTo>
                        <a:pt x="473" y="117"/>
                      </a:lnTo>
                      <a:lnTo>
                        <a:pt x="474" y="118"/>
                      </a:lnTo>
                      <a:lnTo>
                        <a:pt x="474" y="119"/>
                      </a:lnTo>
                      <a:lnTo>
                        <a:pt x="474" y="119"/>
                      </a:lnTo>
                      <a:lnTo>
                        <a:pt x="475" y="120"/>
                      </a:lnTo>
                      <a:lnTo>
                        <a:pt x="477" y="120"/>
                      </a:lnTo>
                      <a:lnTo>
                        <a:pt x="478" y="120"/>
                      </a:lnTo>
                      <a:lnTo>
                        <a:pt x="480" y="120"/>
                      </a:lnTo>
                      <a:lnTo>
                        <a:pt x="481" y="122"/>
                      </a:lnTo>
                      <a:lnTo>
                        <a:pt x="484" y="124"/>
                      </a:lnTo>
                      <a:lnTo>
                        <a:pt x="484" y="124"/>
                      </a:lnTo>
                      <a:lnTo>
                        <a:pt x="484" y="124"/>
                      </a:lnTo>
                      <a:lnTo>
                        <a:pt x="484" y="124"/>
                      </a:lnTo>
                      <a:lnTo>
                        <a:pt x="485" y="125"/>
                      </a:lnTo>
                      <a:lnTo>
                        <a:pt x="485" y="125"/>
                      </a:lnTo>
                      <a:lnTo>
                        <a:pt x="485" y="125"/>
                      </a:lnTo>
                      <a:lnTo>
                        <a:pt x="486" y="126"/>
                      </a:lnTo>
                      <a:lnTo>
                        <a:pt x="487" y="126"/>
                      </a:lnTo>
                      <a:lnTo>
                        <a:pt x="487" y="126"/>
                      </a:lnTo>
                      <a:lnTo>
                        <a:pt x="487" y="126"/>
                      </a:lnTo>
                      <a:lnTo>
                        <a:pt x="487" y="126"/>
                      </a:lnTo>
                      <a:lnTo>
                        <a:pt x="488" y="126"/>
                      </a:lnTo>
                      <a:lnTo>
                        <a:pt x="488" y="126"/>
                      </a:lnTo>
                      <a:lnTo>
                        <a:pt x="488" y="126"/>
                      </a:lnTo>
                      <a:lnTo>
                        <a:pt x="490" y="126"/>
                      </a:lnTo>
                      <a:lnTo>
                        <a:pt x="491" y="127"/>
                      </a:lnTo>
                      <a:lnTo>
                        <a:pt x="491" y="127"/>
                      </a:lnTo>
                      <a:lnTo>
                        <a:pt x="491" y="127"/>
                      </a:lnTo>
                      <a:lnTo>
                        <a:pt x="492" y="129"/>
                      </a:lnTo>
                      <a:lnTo>
                        <a:pt x="492" y="129"/>
                      </a:lnTo>
                      <a:lnTo>
                        <a:pt x="492" y="130"/>
                      </a:lnTo>
                      <a:lnTo>
                        <a:pt x="492" y="130"/>
                      </a:lnTo>
                      <a:lnTo>
                        <a:pt x="492" y="130"/>
                      </a:lnTo>
                      <a:lnTo>
                        <a:pt x="493" y="131"/>
                      </a:lnTo>
                      <a:lnTo>
                        <a:pt x="493" y="131"/>
                      </a:lnTo>
                      <a:lnTo>
                        <a:pt x="493" y="132"/>
                      </a:lnTo>
                      <a:lnTo>
                        <a:pt x="494" y="132"/>
                      </a:lnTo>
                      <a:lnTo>
                        <a:pt x="494" y="133"/>
                      </a:lnTo>
                      <a:lnTo>
                        <a:pt x="494" y="133"/>
                      </a:lnTo>
                      <a:lnTo>
                        <a:pt x="495" y="136"/>
                      </a:lnTo>
                      <a:lnTo>
                        <a:pt x="497" y="136"/>
                      </a:lnTo>
                      <a:lnTo>
                        <a:pt x="497" y="137"/>
                      </a:lnTo>
                      <a:lnTo>
                        <a:pt x="498" y="137"/>
                      </a:lnTo>
                      <a:lnTo>
                        <a:pt x="498" y="137"/>
                      </a:lnTo>
                      <a:lnTo>
                        <a:pt x="499" y="138"/>
                      </a:lnTo>
                      <a:lnTo>
                        <a:pt x="501" y="138"/>
                      </a:lnTo>
                      <a:lnTo>
                        <a:pt x="502" y="138"/>
                      </a:lnTo>
                      <a:lnTo>
                        <a:pt x="502" y="139"/>
                      </a:lnTo>
                      <a:lnTo>
                        <a:pt x="502" y="139"/>
                      </a:lnTo>
                      <a:lnTo>
                        <a:pt x="505" y="138"/>
                      </a:lnTo>
                      <a:lnTo>
                        <a:pt x="505" y="138"/>
                      </a:lnTo>
                      <a:lnTo>
                        <a:pt x="505" y="138"/>
                      </a:lnTo>
                      <a:lnTo>
                        <a:pt x="505" y="138"/>
                      </a:lnTo>
                      <a:lnTo>
                        <a:pt x="506" y="139"/>
                      </a:lnTo>
                      <a:lnTo>
                        <a:pt x="506" y="139"/>
                      </a:lnTo>
                      <a:lnTo>
                        <a:pt x="506" y="139"/>
                      </a:lnTo>
                      <a:lnTo>
                        <a:pt x="508" y="140"/>
                      </a:lnTo>
                      <a:lnTo>
                        <a:pt x="508" y="140"/>
                      </a:lnTo>
                      <a:lnTo>
                        <a:pt x="510" y="140"/>
                      </a:lnTo>
                      <a:lnTo>
                        <a:pt x="510" y="140"/>
                      </a:lnTo>
                      <a:lnTo>
                        <a:pt x="510" y="140"/>
                      </a:lnTo>
                      <a:lnTo>
                        <a:pt x="511" y="140"/>
                      </a:lnTo>
                      <a:lnTo>
                        <a:pt x="511" y="140"/>
                      </a:lnTo>
                      <a:lnTo>
                        <a:pt x="511" y="140"/>
                      </a:lnTo>
                      <a:lnTo>
                        <a:pt x="512" y="140"/>
                      </a:lnTo>
                      <a:lnTo>
                        <a:pt x="512" y="142"/>
                      </a:lnTo>
                      <a:lnTo>
                        <a:pt x="512" y="142"/>
                      </a:lnTo>
                      <a:lnTo>
                        <a:pt x="513" y="144"/>
                      </a:lnTo>
                      <a:lnTo>
                        <a:pt x="513" y="145"/>
                      </a:lnTo>
                      <a:lnTo>
                        <a:pt x="513" y="146"/>
                      </a:lnTo>
                      <a:lnTo>
                        <a:pt x="513" y="146"/>
                      </a:lnTo>
                      <a:lnTo>
                        <a:pt x="513" y="146"/>
                      </a:lnTo>
                      <a:lnTo>
                        <a:pt x="513" y="146"/>
                      </a:lnTo>
                      <a:lnTo>
                        <a:pt x="513" y="147"/>
                      </a:lnTo>
                      <a:lnTo>
                        <a:pt x="513" y="149"/>
                      </a:lnTo>
                      <a:lnTo>
                        <a:pt x="513" y="149"/>
                      </a:lnTo>
                      <a:lnTo>
                        <a:pt x="513" y="150"/>
                      </a:lnTo>
                      <a:lnTo>
                        <a:pt x="514" y="150"/>
                      </a:lnTo>
                      <a:lnTo>
                        <a:pt x="514" y="150"/>
                      </a:lnTo>
                      <a:lnTo>
                        <a:pt x="514" y="150"/>
                      </a:lnTo>
                      <a:lnTo>
                        <a:pt x="515" y="151"/>
                      </a:lnTo>
                      <a:lnTo>
                        <a:pt x="515" y="151"/>
                      </a:lnTo>
                      <a:lnTo>
                        <a:pt x="515" y="151"/>
                      </a:lnTo>
                      <a:lnTo>
                        <a:pt x="515" y="151"/>
                      </a:lnTo>
                      <a:lnTo>
                        <a:pt x="517" y="151"/>
                      </a:lnTo>
                      <a:lnTo>
                        <a:pt x="517" y="151"/>
                      </a:lnTo>
                      <a:lnTo>
                        <a:pt x="517" y="151"/>
                      </a:lnTo>
                      <a:lnTo>
                        <a:pt x="517" y="151"/>
                      </a:lnTo>
                      <a:lnTo>
                        <a:pt x="517" y="151"/>
                      </a:lnTo>
                      <a:lnTo>
                        <a:pt x="518" y="152"/>
                      </a:lnTo>
                      <a:lnTo>
                        <a:pt x="519" y="152"/>
                      </a:lnTo>
                      <a:lnTo>
                        <a:pt x="519" y="152"/>
                      </a:lnTo>
                      <a:lnTo>
                        <a:pt x="519" y="153"/>
                      </a:lnTo>
                      <a:lnTo>
                        <a:pt x="519" y="153"/>
                      </a:lnTo>
                      <a:lnTo>
                        <a:pt x="519" y="153"/>
                      </a:lnTo>
                      <a:lnTo>
                        <a:pt x="520" y="153"/>
                      </a:lnTo>
                      <a:lnTo>
                        <a:pt x="520" y="153"/>
                      </a:lnTo>
                      <a:lnTo>
                        <a:pt x="520" y="153"/>
                      </a:lnTo>
                      <a:lnTo>
                        <a:pt x="520" y="154"/>
                      </a:lnTo>
                      <a:lnTo>
                        <a:pt x="521" y="154"/>
                      </a:lnTo>
                      <a:lnTo>
                        <a:pt x="521" y="154"/>
                      </a:lnTo>
                      <a:lnTo>
                        <a:pt x="522" y="154"/>
                      </a:lnTo>
                      <a:lnTo>
                        <a:pt x="522" y="154"/>
                      </a:lnTo>
                      <a:lnTo>
                        <a:pt x="524" y="156"/>
                      </a:lnTo>
                      <a:lnTo>
                        <a:pt x="525" y="157"/>
                      </a:lnTo>
                      <a:lnTo>
                        <a:pt x="525" y="157"/>
                      </a:lnTo>
                      <a:lnTo>
                        <a:pt x="525" y="157"/>
                      </a:lnTo>
                      <a:lnTo>
                        <a:pt x="525" y="157"/>
                      </a:lnTo>
                      <a:lnTo>
                        <a:pt x="525" y="157"/>
                      </a:lnTo>
                      <a:lnTo>
                        <a:pt x="526" y="158"/>
                      </a:lnTo>
                      <a:lnTo>
                        <a:pt x="526" y="158"/>
                      </a:lnTo>
                      <a:lnTo>
                        <a:pt x="526" y="158"/>
                      </a:lnTo>
                      <a:lnTo>
                        <a:pt x="527" y="158"/>
                      </a:lnTo>
                      <a:lnTo>
                        <a:pt x="528" y="158"/>
                      </a:lnTo>
                      <a:lnTo>
                        <a:pt x="533" y="157"/>
                      </a:lnTo>
                      <a:lnTo>
                        <a:pt x="533" y="157"/>
                      </a:lnTo>
                      <a:lnTo>
                        <a:pt x="534" y="156"/>
                      </a:lnTo>
                      <a:lnTo>
                        <a:pt x="535" y="156"/>
                      </a:lnTo>
                      <a:lnTo>
                        <a:pt x="537" y="154"/>
                      </a:lnTo>
                      <a:lnTo>
                        <a:pt x="538" y="154"/>
                      </a:lnTo>
                      <a:lnTo>
                        <a:pt x="538" y="154"/>
                      </a:lnTo>
                      <a:lnTo>
                        <a:pt x="538" y="154"/>
                      </a:lnTo>
                      <a:lnTo>
                        <a:pt x="540" y="152"/>
                      </a:lnTo>
                      <a:lnTo>
                        <a:pt x="540" y="152"/>
                      </a:lnTo>
                      <a:lnTo>
                        <a:pt x="540" y="152"/>
                      </a:lnTo>
                      <a:lnTo>
                        <a:pt x="541" y="152"/>
                      </a:lnTo>
                      <a:lnTo>
                        <a:pt x="541" y="152"/>
                      </a:lnTo>
                      <a:lnTo>
                        <a:pt x="541" y="152"/>
                      </a:lnTo>
                      <a:lnTo>
                        <a:pt x="541" y="152"/>
                      </a:lnTo>
                      <a:lnTo>
                        <a:pt x="542" y="151"/>
                      </a:lnTo>
                      <a:lnTo>
                        <a:pt x="542" y="151"/>
                      </a:lnTo>
                      <a:lnTo>
                        <a:pt x="542" y="150"/>
                      </a:lnTo>
                      <a:lnTo>
                        <a:pt x="545" y="146"/>
                      </a:lnTo>
                      <a:lnTo>
                        <a:pt x="545" y="145"/>
                      </a:lnTo>
                      <a:lnTo>
                        <a:pt x="545" y="144"/>
                      </a:lnTo>
                      <a:lnTo>
                        <a:pt x="545" y="144"/>
                      </a:lnTo>
                      <a:lnTo>
                        <a:pt x="545" y="144"/>
                      </a:lnTo>
                      <a:lnTo>
                        <a:pt x="545" y="144"/>
                      </a:lnTo>
                      <a:lnTo>
                        <a:pt x="545" y="144"/>
                      </a:lnTo>
                      <a:lnTo>
                        <a:pt x="545" y="143"/>
                      </a:lnTo>
                      <a:lnTo>
                        <a:pt x="545" y="143"/>
                      </a:lnTo>
                      <a:lnTo>
                        <a:pt x="545" y="143"/>
                      </a:lnTo>
                      <a:lnTo>
                        <a:pt x="546" y="143"/>
                      </a:lnTo>
                      <a:lnTo>
                        <a:pt x="547" y="140"/>
                      </a:lnTo>
                      <a:lnTo>
                        <a:pt x="551" y="138"/>
                      </a:lnTo>
                      <a:lnTo>
                        <a:pt x="551" y="137"/>
                      </a:lnTo>
                      <a:lnTo>
                        <a:pt x="551" y="137"/>
                      </a:lnTo>
                      <a:lnTo>
                        <a:pt x="551" y="137"/>
                      </a:lnTo>
                      <a:lnTo>
                        <a:pt x="551" y="136"/>
                      </a:lnTo>
                      <a:lnTo>
                        <a:pt x="553" y="133"/>
                      </a:lnTo>
                      <a:lnTo>
                        <a:pt x="553" y="132"/>
                      </a:lnTo>
                      <a:lnTo>
                        <a:pt x="553" y="132"/>
                      </a:lnTo>
                      <a:lnTo>
                        <a:pt x="553" y="132"/>
                      </a:lnTo>
                      <a:lnTo>
                        <a:pt x="553" y="132"/>
                      </a:lnTo>
                      <a:lnTo>
                        <a:pt x="553" y="132"/>
                      </a:lnTo>
                      <a:lnTo>
                        <a:pt x="553" y="131"/>
                      </a:lnTo>
                      <a:lnTo>
                        <a:pt x="553" y="131"/>
                      </a:lnTo>
                      <a:lnTo>
                        <a:pt x="554" y="130"/>
                      </a:lnTo>
                      <a:lnTo>
                        <a:pt x="554" y="130"/>
                      </a:lnTo>
                      <a:lnTo>
                        <a:pt x="555" y="127"/>
                      </a:lnTo>
                      <a:lnTo>
                        <a:pt x="557" y="125"/>
                      </a:lnTo>
                      <a:lnTo>
                        <a:pt x="557" y="124"/>
                      </a:lnTo>
                      <a:lnTo>
                        <a:pt x="557" y="124"/>
                      </a:lnTo>
                      <a:lnTo>
                        <a:pt x="557" y="124"/>
                      </a:lnTo>
                      <a:lnTo>
                        <a:pt x="558" y="124"/>
                      </a:lnTo>
                      <a:lnTo>
                        <a:pt x="558" y="120"/>
                      </a:lnTo>
                      <a:lnTo>
                        <a:pt x="558" y="117"/>
                      </a:lnTo>
                      <a:lnTo>
                        <a:pt x="558" y="116"/>
                      </a:lnTo>
                      <a:lnTo>
                        <a:pt x="558" y="115"/>
                      </a:lnTo>
                      <a:lnTo>
                        <a:pt x="558" y="113"/>
                      </a:lnTo>
                      <a:lnTo>
                        <a:pt x="559" y="111"/>
                      </a:lnTo>
                      <a:lnTo>
                        <a:pt x="559" y="110"/>
                      </a:lnTo>
                      <a:lnTo>
                        <a:pt x="560" y="109"/>
                      </a:lnTo>
                      <a:lnTo>
                        <a:pt x="561" y="109"/>
                      </a:lnTo>
                      <a:lnTo>
                        <a:pt x="562" y="107"/>
                      </a:lnTo>
                      <a:lnTo>
                        <a:pt x="562" y="106"/>
                      </a:lnTo>
                      <a:lnTo>
                        <a:pt x="562" y="106"/>
                      </a:lnTo>
                      <a:lnTo>
                        <a:pt x="562" y="105"/>
                      </a:lnTo>
                      <a:lnTo>
                        <a:pt x="564" y="105"/>
                      </a:lnTo>
                      <a:lnTo>
                        <a:pt x="564" y="105"/>
                      </a:lnTo>
                      <a:lnTo>
                        <a:pt x="564" y="104"/>
                      </a:lnTo>
                      <a:lnTo>
                        <a:pt x="564" y="103"/>
                      </a:lnTo>
                      <a:lnTo>
                        <a:pt x="565" y="103"/>
                      </a:lnTo>
                      <a:lnTo>
                        <a:pt x="565" y="103"/>
                      </a:lnTo>
                      <a:lnTo>
                        <a:pt x="565" y="103"/>
                      </a:lnTo>
                      <a:lnTo>
                        <a:pt x="565" y="102"/>
                      </a:lnTo>
                      <a:lnTo>
                        <a:pt x="565" y="100"/>
                      </a:lnTo>
                      <a:lnTo>
                        <a:pt x="565" y="100"/>
                      </a:lnTo>
                      <a:lnTo>
                        <a:pt x="565" y="100"/>
                      </a:lnTo>
                      <a:lnTo>
                        <a:pt x="565" y="100"/>
                      </a:lnTo>
                      <a:lnTo>
                        <a:pt x="565" y="99"/>
                      </a:lnTo>
                      <a:lnTo>
                        <a:pt x="565" y="99"/>
                      </a:lnTo>
                      <a:lnTo>
                        <a:pt x="564" y="97"/>
                      </a:lnTo>
                      <a:lnTo>
                        <a:pt x="564" y="97"/>
                      </a:lnTo>
                      <a:lnTo>
                        <a:pt x="564" y="96"/>
                      </a:lnTo>
                      <a:lnTo>
                        <a:pt x="565" y="93"/>
                      </a:lnTo>
                      <a:lnTo>
                        <a:pt x="565" y="93"/>
                      </a:lnTo>
                      <a:lnTo>
                        <a:pt x="565" y="95"/>
                      </a:lnTo>
                      <a:lnTo>
                        <a:pt x="565" y="93"/>
                      </a:lnTo>
                      <a:lnTo>
                        <a:pt x="565" y="93"/>
                      </a:lnTo>
                      <a:lnTo>
                        <a:pt x="565" y="92"/>
                      </a:lnTo>
                      <a:lnTo>
                        <a:pt x="565" y="91"/>
                      </a:lnTo>
                      <a:lnTo>
                        <a:pt x="565" y="91"/>
                      </a:lnTo>
                      <a:lnTo>
                        <a:pt x="565" y="91"/>
                      </a:lnTo>
                      <a:lnTo>
                        <a:pt x="565" y="90"/>
                      </a:lnTo>
                      <a:lnTo>
                        <a:pt x="565" y="89"/>
                      </a:lnTo>
                      <a:lnTo>
                        <a:pt x="565" y="87"/>
                      </a:lnTo>
                      <a:lnTo>
                        <a:pt x="565" y="87"/>
                      </a:lnTo>
                      <a:lnTo>
                        <a:pt x="566" y="87"/>
                      </a:lnTo>
                      <a:lnTo>
                        <a:pt x="566" y="87"/>
                      </a:lnTo>
                      <a:lnTo>
                        <a:pt x="566" y="87"/>
                      </a:lnTo>
                      <a:lnTo>
                        <a:pt x="566" y="86"/>
                      </a:lnTo>
                      <a:lnTo>
                        <a:pt x="566" y="85"/>
                      </a:lnTo>
                      <a:lnTo>
                        <a:pt x="567" y="85"/>
                      </a:lnTo>
                      <a:lnTo>
                        <a:pt x="567" y="84"/>
                      </a:lnTo>
                      <a:lnTo>
                        <a:pt x="567" y="84"/>
                      </a:lnTo>
                      <a:lnTo>
                        <a:pt x="567" y="84"/>
                      </a:lnTo>
                      <a:lnTo>
                        <a:pt x="567" y="83"/>
                      </a:lnTo>
                      <a:lnTo>
                        <a:pt x="566" y="83"/>
                      </a:lnTo>
                      <a:lnTo>
                        <a:pt x="566" y="83"/>
                      </a:lnTo>
                      <a:lnTo>
                        <a:pt x="566" y="82"/>
                      </a:lnTo>
                      <a:lnTo>
                        <a:pt x="566" y="82"/>
                      </a:lnTo>
                      <a:lnTo>
                        <a:pt x="566" y="82"/>
                      </a:lnTo>
                      <a:lnTo>
                        <a:pt x="565" y="80"/>
                      </a:lnTo>
                      <a:lnTo>
                        <a:pt x="565" y="80"/>
                      </a:lnTo>
                      <a:lnTo>
                        <a:pt x="565" y="80"/>
                      </a:lnTo>
                      <a:lnTo>
                        <a:pt x="565" y="80"/>
                      </a:lnTo>
                      <a:lnTo>
                        <a:pt x="565" y="79"/>
                      </a:lnTo>
                      <a:lnTo>
                        <a:pt x="565" y="79"/>
                      </a:lnTo>
                      <a:lnTo>
                        <a:pt x="565" y="79"/>
                      </a:lnTo>
                      <a:lnTo>
                        <a:pt x="565" y="78"/>
                      </a:lnTo>
                      <a:lnTo>
                        <a:pt x="566" y="77"/>
                      </a:lnTo>
                      <a:lnTo>
                        <a:pt x="566" y="77"/>
                      </a:lnTo>
                      <a:lnTo>
                        <a:pt x="565" y="76"/>
                      </a:lnTo>
                      <a:lnTo>
                        <a:pt x="565" y="75"/>
                      </a:lnTo>
                      <a:lnTo>
                        <a:pt x="565" y="73"/>
                      </a:lnTo>
                      <a:lnTo>
                        <a:pt x="566" y="73"/>
                      </a:lnTo>
                      <a:lnTo>
                        <a:pt x="566" y="72"/>
                      </a:lnTo>
                      <a:lnTo>
                        <a:pt x="566" y="72"/>
                      </a:lnTo>
                      <a:lnTo>
                        <a:pt x="567" y="71"/>
                      </a:lnTo>
                      <a:lnTo>
                        <a:pt x="567" y="70"/>
                      </a:lnTo>
                      <a:lnTo>
                        <a:pt x="567" y="70"/>
                      </a:lnTo>
                      <a:lnTo>
                        <a:pt x="567" y="69"/>
                      </a:lnTo>
                      <a:lnTo>
                        <a:pt x="568" y="69"/>
                      </a:lnTo>
                      <a:lnTo>
                        <a:pt x="568" y="67"/>
                      </a:lnTo>
                      <a:lnTo>
                        <a:pt x="568" y="67"/>
                      </a:lnTo>
                      <a:lnTo>
                        <a:pt x="568" y="66"/>
                      </a:lnTo>
                      <a:lnTo>
                        <a:pt x="568" y="65"/>
                      </a:lnTo>
                      <a:lnTo>
                        <a:pt x="570" y="65"/>
                      </a:lnTo>
                      <a:lnTo>
                        <a:pt x="568" y="65"/>
                      </a:lnTo>
                      <a:lnTo>
                        <a:pt x="570" y="64"/>
                      </a:lnTo>
                      <a:lnTo>
                        <a:pt x="570" y="63"/>
                      </a:lnTo>
                      <a:lnTo>
                        <a:pt x="570" y="62"/>
                      </a:lnTo>
                      <a:lnTo>
                        <a:pt x="570" y="62"/>
                      </a:lnTo>
                      <a:lnTo>
                        <a:pt x="570" y="60"/>
                      </a:lnTo>
                      <a:lnTo>
                        <a:pt x="570" y="60"/>
                      </a:lnTo>
                      <a:lnTo>
                        <a:pt x="570" y="60"/>
                      </a:lnTo>
                      <a:lnTo>
                        <a:pt x="571" y="60"/>
                      </a:lnTo>
                      <a:lnTo>
                        <a:pt x="571" y="59"/>
                      </a:lnTo>
                      <a:lnTo>
                        <a:pt x="571" y="59"/>
                      </a:lnTo>
                      <a:lnTo>
                        <a:pt x="571" y="59"/>
                      </a:lnTo>
                      <a:lnTo>
                        <a:pt x="571" y="59"/>
                      </a:lnTo>
                      <a:lnTo>
                        <a:pt x="571" y="59"/>
                      </a:lnTo>
                      <a:lnTo>
                        <a:pt x="571" y="59"/>
                      </a:lnTo>
                      <a:lnTo>
                        <a:pt x="571" y="59"/>
                      </a:lnTo>
                      <a:lnTo>
                        <a:pt x="571" y="58"/>
                      </a:lnTo>
                      <a:lnTo>
                        <a:pt x="572" y="57"/>
                      </a:lnTo>
                      <a:lnTo>
                        <a:pt x="572" y="56"/>
                      </a:lnTo>
                      <a:lnTo>
                        <a:pt x="572" y="56"/>
                      </a:lnTo>
                      <a:lnTo>
                        <a:pt x="573" y="56"/>
                      </a:lnTo>
                      <a:lnTo>
                        <a:pt x="574" y="55"/>
                      </a:lnTo>
                      <a:lnTo>
                        <a:pt x="574" y="56"/>
                      </a:lnTo>
                      <a:lnTo>
                        <a:pt x="574" y="56"/>
                      </a:lnTo>
                      <a:lnTo>
                        <a:pt x="574" y="56"/>
                      </a:lnTo>
                      <a:lnTo>
                        <a:pt x="574" y="55"/>
                      </a:lnTo>
                      <a:lnTo>
                        <a:pt x="574" y="55"/>
                      </a:lnTo>
                      <a:lnTo>
                        <a:pt x="575" y="55"/>
                      </a:lnTo>
                      <a:lnTo>
                        <a:pt x="575" y="55"/>
                      </a:lnTo>
                      <a:lnTo>
                        <a:pt x="575" y="55"/>
                      </a:lnTo>
                      <a:lnTo>
                        <a:pt x="575" y="55"/>
                      </a:lnTo>
                      <a:lnTo>
                        <a:pt x="575" y="55"/>
                      </a:lnTo>
                      <a:lnTo>
                        <a:pt x="575" y="55"/>
                      </a:lnTo>
                      <a:lnTo>
                        <a:pt x="575" y="55"/>
                      </a:lnTo>
                      <a:lnTo>
                        <a:pt x="575" y="55"/>
                      </a:lnTo>
                      <a:lnTo>
                        <a:pt x="575" y="56"/>
                      </a:lnTo>
                      <a:lnTo>
                        <a:pt x="575" y="56"/>
                      </a:lnTo>
                      <a:lnTo>
                        <a:pt x="577" y="56"/>
                      </a:lnTo>
                      <a:lnTo>
                        <a:pt x="577" y="57"/>
                      </a:lnTo>
                      <a:lnTo>
                        <a:pt x="575" y="57"/>
                      </a:lnTo>
                      <a:lnTo>
                        <a:pt x="575" y="57"/>
                      </a:lnTo>
                      <a:lnTo>
                        <a:pt x="575" y="58"/>
                      </a:lnTo>
                      <a:lnTo>
                        <a:pt x="575" y="58"/>
                      </a:lnTo>
                      <a:lnTo>
                        <a:pt x="575" y="58"/>
                      </a:lnTo>
                      <a:lnTo>
                        <a:pt x="575" y="58"/>
                      </a:lnTo>
                      <a:lnTo>
                        <a:pt x="577" y="59"/>
                      </a:lnTo>
                      <a:lnTo>
                        <a:pt x="577" y="59"/>
                      </a:lnTo>
                      <a:lnTo>
                        <a:pt x="577" y="59"/>
                      </a:lnTo>
                      <a:lnTo>
                        <a:pt x="577" y="58"/>
                      </a:lnTo>
                      <a:lnTo>
                        <a:pt x="577" y="58"/>
                      </a:lnTo>
                      <a:lnTo>
                        <a:pt x="577" y="55"/>
                      </a:lnTo>
                      <a:lnTo>
                        <a:pt x="575" y="55"/>
                      </a:lnTo>
                      <a:lnTo>
                        <a:pt x="574" y="52"/>
                      </a:lnTo>
                      <a:lnTo>
                        <a:pt x="574" y="51"/>
                      </a:lnTo>
                      <a:lnTo>
                        <a:pt x="574" y="51"/>
                      </a:lnTo>
                      <a:lnTo>
                        <a:pt x="574" y="51"/>
                      </a:lnTo>
                      <a:lnTo>
                        <a:pt x="574" y="50"/>
                      </a:lnTo>
                      <a:lnTo>
                        <a:pt x="574" y="50"/>
                      </a:lnTo>
                      <a:lnTo>
                        <a:pt x="574" y="50"/>
                      </a:lnTo>
                      <a:lnTo>
                        <a:pt x="574" y="50"/>
                      </a:lnTo>
                      <a:lnTo>
                        <a:pt x="573" y="50"/>
                      </a:lnTo>
                      <a:lnTo>
                        <a:pt x="573" y="50"/>
                      </a:lnTo>
                      <a:lnTo>
                        <a:pt x="573" y="50"/>
                      </a:lnTo>
                      <a:lnTo>
                        <a:pt x="572" y="51"/>
                      </a:lnTo>
                      <a:lnTo>
                        <a:pt x="572" y="51"/>
                      </a:lnTo>
                      <a:lnTo>
                        <a:pt x="572" y="51"/>
                      </a:lnTo>
                      <a:lnTo>
                        <a:pt x="572" y="52"/>
                      </a:lnTo>
                      <a:lnTo>
                        <a:pt x="572" y="52"/>
                      </a:lnTo>
                      <a:lnTo>
                        <a:pt x="573" y="52"/>
                      </a:lnTo>
                      <a:lnTo>
                        <a:pt x="573" y="52"/>
                      </a:lnTo>
                      <a:lnTo>
                        <a:pt x="572" y="52"/>
                      </a:lnTo>
                      <a:lnTo>
                        <a:pt x="572" y="52"/>
                      </a:lnTo>
                      <a:lnTo>
                        <a:pt x="571" y="52"/>
                      </a:lnTo>
                      <a:lnTo>
                        <a:pt x="571" y="52"/>
                      </a:lnTo>
                      <a:lnTo>
                        <a:pt x="571" y="52"/>
                      </a:lnTo>
                      <a:lnTo>
                        <a:pt x="571" y="52"/>
                      </a:lnTo>
                      <a:lnTo>
                        <a:pt x="571" y="51"/>
                      </a:lnTo>
                      <a:lnTo>
                        <a:pt x="572" y="51"/>
                      </a:lnTo>
                      <a:lnTo>
                        <a:pt x="572" y="51"/>
                      </a:lnTo>
                      <a:lnTo>
                        <a:pt x="573" y="49"/>
                      </a:lnTo>
                      <a:lnTo>
                        <a:pt x="573" y="49"/>
                      </a:lnTo>
                      <a:lnTo>
                        <a:pt x="574" y="47"/>
                      </a:lnTo>
                      <a:lnTo>
                        <a:pt x="573" y="46"/>
                      </a:lnTo>
                      <a:lnTo>
                        <a:pt x="574" y="44"/>
                      </a:lnTo>
                      <a:lnTo>
                        <a:pt x="574" y="44"/>
                      </a:lnTo>
                      <a:lnTo>
                        <a:pt x="575" y="43"/>
                      </a:lnTo>
                      <a:lnTo>
                        <a:pt x="575" y="43"/>
                      </a:lnTo>
                      <a:lnTo>
                        <a:pt x="577" y="42"/>
                      </a:lnTo>
                      <a:lnTo>
                        <a:pt x="577" y="42"/>
                      </a:lnTo>
                      <a:lnTo>
                        <a:pt x="577" y="42"/>
                      </a:lnTo>
                      <a:lnTo>
                        <a:pt x="577" y="42"/>
                      </a:lnTo>
                      <a:lnTo>
                        <a:pt x="578" y="40"/>
                      </a:lnTo>
                      <a:lnTo>
                        <a:pt x="578" y="40"/>
                      </a:lnTo>
                      <a:lnTo>
                        <a:pt x="578" y="40"/>
                      </a:lnTo>
                      <a:lnTo>
                        <a:pt x="578" y="40"/>
                      </a:lnTo>
                      <a:lnTo>
                        <a:pt x="578" y="40"/>
                      </a:lnTo>
                      <a:lnTo>
                        <a:pt x="578" y="40"/>
                      </a:lnTo>
                      <a:lnTo>
                        <a:pt x="578" y="40"/>
                      </a:lnTo>
                      <a:lnTo>
                        <a:pt x="578" y="40"/>
                      </a:lnTo>
                      <a:lnTo>
                        <a:pt x="578" y="40"/>
                      </a:lnTo>
                      <a:lnTo>
                        <a:pt x="578" y="40"/>
                      </a:lnTo>
                      <a:lnTo>
                        <a:pt x="578" y="40"/>
                      </a:lnTo>
                      <a:lnTo>
                        <a:pt x="578" y="43"/>
                      </a:lnTo>
                      <a:lnTo>
                        <a:pt x="580" y="42"/>
                      </a:lnTo>
                      <a:lnTo>
                        <a:pt x="580" y="42"/>
                      </a:lnTo>
                      <a:lnTo>
                        <a:pt x="580" y="42"/>
                      </a:lnTo>
                      <a:lnTo>
                        <a:pt x="580" y="42"/>
                      </a:lnTo>
                      <a:lnTo>
                        <a:pt x="580" y="42"/>
                      </a:lnTo>
                      <a:lnTo>
                        <a:pt x="580" y="42"/>
                      </a:lnTo>
                      <a:lnTo>
                        <a:pt x="580" y="42"/>
                      </a:lnTo>
                      <a:lnTo>
                        <a:pt x="580" y="42"/>
                      </a:lnTo>
                      <a:lnTo>
                        <a:pt x="580" y="40"/>
                      </a:lnTo>
                      <a:lnTo>
                        <a:pt x="580" y="40"/>
                      </a:lnTo>
                      <a:lnTo>
                        <a:pt x="579" y="40"/>
                      </a:lnTo>
                      <a:lnTo>
                        <a:pt x="579" y="40"/>
                      </a:lnTo>
                      <a:lnTo>
                        <a:pt x="579" y="40"/>
                      </a:lnTo>
                      <a:lnTo>
                        <a:pt x="579" y="40"/>
                      </a:lnTo>
                      <a:lnTo>
                        <a:pt x="579" y="40"/>
                      </a:lnTo>
                      <a:lnTo>
                        <a:pt x="579" y="40"/>
                      </a:lnTo>
                      <a:lnTo>
                        <a:pt x="579" y="39"/>
                      </a:lnTo>
                      <a:lnTo>
                        <a:pt x="579" y="39"/>
                      </a:lnTo>
                      <a:lnTo>
                        <a:pt x="580" y="38"/>
                      </a:lnTo>
                      <a:lnTo>
                        <a:pt x="580" y="37"/>
                      </a:lnTo>
                      <a:lnTo>
                        <a:pt x="580" y="37"/>
                      </a:lnTo>
                      <a:lnTo>
                        <a:pt x="579" y="35"/>
                      </a:lnTo>
                      <a:lnTo>
                        <a:pt x="579" y="33"/>
                      </a:lnTo>
                      <a:lnTo>
                        <a:pt x="580" y="31"/>
                      </a:lnTo>
                      <a:lnTo>
                        <a:pt x="580" y="31"/>
                      </a:lnTo>
                      <a:lnTo>
                        <a:pt x="580" y="30"/>
                      </a:lnTo>
                      <a:lnTo>
                        <a:pt x="580" y="29"/>
                      </a:lnTo>
                      <a:lnTo>
                        <a:pt x="581" y="27"/>
                      </a:lnTo>
                      <a:lnTo>
                        <a:pt x="582" y="27"/>
                      </a:lnTo>
                      <a:lnTo>
                        <a:pt x="582" y="26"/>
                      </a:lnTo>
                      <a:lnTo>
                        <a:pt x="582" y="26"/>
                      </a:lnTo>
                      <a:lnTo>
                        <a:pt x="584" y="24"/>
                      </a:lnTo>
                      <a:lnTo>
                        <a:pt x="584" y="24"/>
                      </a:lnTo>
                      <a:lnTo>
                        <a:pt x="585" y="23"/>
                      </a:lnTo>
                      <a:lnTo>
                        <a:pt x="585" y="23"/>
                      </a:lnTo>
                      <a:lnTo>
                        <a:pt x="585" y="22"/>
                      </a:lnTo>
                      <a:lnTo>
                        <a:pt x="585" y="22"/>
                      </a:lnTo>
                      <a:lnTo>
                        <a:pt x="585" y="22"/>
                      </a:lnTo>
                      <a:lnTo>
                        <a:pt x="584" y="22"/>
                      </a:lnTo>
                      <a:lnTo>
                        <a:pt x="585" y="20"/>
                      </a:lnTo>
                      <a:lnTo>
                        <a:pt x="584" y="20"/>
                      </a:lnTo>
                      <a:lnTo>
                        <a:pt x="585" y="19"/>
                      </a:lnTo>
                      <a:lnTo>
                        <a:pt x="585" y="19"/>
                      </a:lnTo>
                      <a:lnTo>
                        <a:pt x="585" y="19"/>
                      </a:lnTo>
                      <a:lnTo>
                        <a:pt x="585" y="19"/>
                      </a:lnTo>
                      <a:lnTo>
                        <a:pt x="586" y="19"/>
                      </a:lnTo>
                      <a:lnTo>
                        <a:pt x="586" y="19"/>
                      </a:lnTo>
                      <a:lnTo>
                        <a:pt x="586" y="19"/>
                      </a:lnTo>
                      <a:lnTo>
                        <a:pt x="586" y="18"/>
                      </a:lnTo>
                      <a:lnTo>
                        <a:pt x="586" y="18"/>
                      </a:lnTo>
                      <a:lnTo>
                        <a:pt x="586" y="18"/>
                      </a:lnTo>
                      <a:lnTo>
                        <a:pt x="586" y="18"/>
                      </a:lnTo>
                      <a:lnTo>
                        <a:pt x="587" y="19"/>
                      </a:lnTo>
                      <a:lnTo>
                        <a:pt x="587" y="19"/>
                      </a:lnTo>
                      <a:lnTo>
                        <a:pt x="585" y="18"/>
                      </a:lnTo>
                      <a:lnTo>
                        <a:pt x="585" y="17"/>
                      </a:lnTo>
                      <a:lnTo>
                        <a:pt x="586" y="17"/>
                      </a:lnTo>
                      <a:lnTo>
                        <a:pt x="586" y="17"/>
                      </a:lnTo>
                      <a:lnTo>
                        <a:pt x="587" y="17"/>
                      </a:lnTo>
                      <a:lnTo>
                        <a:pt x="588" y="16"/>
                      </a:lnTo>
                      <a:lnTo>
                        <a:pt x="590" y="16"/>
                      </a:lnTo>
                      <a:lnTo>
                        <a:pt x="590" y="15"/>
                      </a:lnTo>
                      <a:lnTo>
                        <a:pt x="590" y="15"/>
                      </a:lnTo>
                      <a:lnTo>
                        <a:pt x="590" y="15"/>
                      </a:lnTo>
                      <a:lnTo>
                        <a:pt x="591" y="13"/>
                      </a:lnTo>
                      <a:lnTo>
                        <a:pt x="592" y="12"/>
                      </a:lnTo>
                      <a:lnTo>
                        <a:pt x="593" y="12"/>
                      </a:lnTo>
                      <a:lnTo>
                        <a:pt x="593" y="11"/>
                      </a:lnTo>
                      <a:lnTo>
                        <a:pt x="594" y="12"/>
                      </a:lnTo>
                      <a:lnTo>
                        <a:pt x="593" y="15"/>
                      </a:lnTo>
                      <a:lnTo>
                        <a:pt x="594" y="16"/>
                      </a:lnTo>
                      <a:lnTo>
                        <a:pt x="594" y="16"/>
                      </a:lnTo>
                      <a:lnTo>
                        <a:pt x="594" y="16"/>
                      </a:lnTo>
                      <a:lnTo>
                        <a:pt x="593" y="16"/>
                      </a:lnTo>
                      <a:lnTo>
                        <a:pt x="593" y="16"/>
                      </a:lnTo>
                      <a:lnTo>
                        <a:pt x="593" y="16"/>
                      </a:lnTo>
                      <a:lnTo>
                        <a:pt x="593" y="16"/>
                      </a:lnTo>
                      <a:lnTo>
                        <a:pt x="592" y="17"/>
                      </a:lnTo>
                      <a:lnTo>
                        <a:pt x="592" y="17"/>
                      </a:lnTo>
                      <a:lnTo>
                        <a:pt x="592" y="17"/>
                      </a:lnTo>
                      <a:lnTo>
                        <a:pt x="592" y="18"/>
                      </a:lnTo>
                      <a:lnTo>
                        <a:pt x="592" y="19"/>
                      </a:lnTo>
                      <a:lnTo>
                        <a:pt x="592" y="19"/>
                      </a:lnTo>
                      <a:lnTo>
                        <a:pt x="592" y="19"/>
                      </a:lnTo>
                      <a:lnTo>
                        <a:pt x="592" y="19"/>
                      </a:lnTo>
                      <a:lnTo>
                        <a:pt x="592" y="19"/>
                      </a:lnTo>
                      <a:lnTo>
                        <a:pt x="592" y="19"/>
                      </a:lnTo>
                      <a:lnTo>
                        <a:pt x="592" y="19"/>
                      </a:lnTo>
                      <a:lnTo>
                        <a:pt x="593" y="18"/>
                      </a:lnTo>
                      <a:lnTo>
                        <a:pt x="593" y="18"/>
                      </a:lnTo>
                      <a:lnTo>
                        <a:pt x="593" y="18"/>
                      </a:lnTo>
                      <a:lnTo>
                        <a:pt x="593" y="18"/>
                      </a:lnTo>
                      <a:lnTo>
                        <a:pt x="593" y="18"/>
                      </a:lnTo>
                      <a:lnTo>
                        <a:pt x="593" y="18"/>
                      </a:lnTo>
                      <a:lnTo>
                        <a:pt x="593" y="18"/>
                      </a:lnTo>
                      <a:lnTo>
                        <a:pt x="593" y="18"/>
                      </a:lnTo>
                      <a:lnTo>
                        <a:pt x="594" y="18"/>
                      </a:lnTo>
                      <a:lnTo>
                        <a:pt x="594" y="18"/>
                      </a:lnTo>
                      <a:lnTo>
                        <a:pt x="595" y="18"/>
                      </a:lnTo>
                      <a:lnTo>
                        <a:pt x="595" y="19"/>
                      </a:lnTo>
                      <a:lnTo>
                        <a:pt x="595" y="20"/>
                      </a:lnTo>
                      <a:lnTo>
                        <a:pt x="597" y="20"/>
                      </a:lnTo>
                      <a:lnTo>
                        <a:pt x="598" y="20"/>
                      </a:lnTo>
                      <a:lnTo>
                        <a:pt x="598" y="20"/>
                      </a:lnTo>
                      <a:lnTo>
                        <a:pt x="597" y="19"/>
                      </a:lnTo>
                      <a:lnTo>
                        <a:pt x="598" y="19"/>
                      </a:lnTo>
                      <a:lnTo>
                        <a:pt x="599" y="19"/>
                      </a:lnTo>
                      <a:lnTo>
                        <a:pt x="599" y="20"/>
                      </a:lnTo>
                      <a:lnTo>
                        <a:pt x="598" y="20"/>
                      </a:lnTo>
                      <a:lnTo>
                        <a:pt x="598" y="22"/>
                      </a:lnTo>
                      <a:lnTo>
                        <a:pt x="598" y="22"/>
                      </a:lnTo>
                      <a:lnTo>
                        <a:pt x="598" y="23"/>
                      </a:lnTo>
                      <a:lnTo>
                        <a:pt x="597" y="24"/>
                      </a:lnTo>
                      <a:lnTo>
                        <a:pt x="598" y="24"/>
                      </a:lnTo>
                      <a:lnTo>
                        <a:pt x="598" y="24"/>
                      </a:lnTo>
                      <a:lnTo>
                        <a:pt x="598" y="26"/>
                      </a:lnTo>
                      <a:lnTo>
                        <a:pt x="597" y="27"/>
                      </a:lnTo>
                      <a:lnTo>
                        <a:pt x="597" y="29"/>
                      </a:lnTo>
                      <a:lnTo>
                        <a:pt x="597" y="29"/>
                      </a:lnTo>
                      <a:lnTo>
                        <a:pt x="597" y="29"/>
                      </a:lnTo>
                      <a:lnTo>
                        <a:pt x="597" y="30"/>
                      </a:lnTo>
                      <a:lnTo>
                        <a:pt x="597" y="31"/>
                      </a:lnTo>
                      <a:lnTo>
                        <a:pt x="597" y="31"/>
                      </a:lnTo>
                      <a:lnTo>
                        <a:pt x="598" y="30"/>
                      </a:lnTo>
                      <a:lnTo>
                        <a:pt x="597" y="31"/>
                      </a:lnTo>
                      <a:lnTo>
                        <a:pt x="598" y="31"/>
                      </a:lnTo>
                      <a:lnTo>
                        <a:pt x="598" y="32"/>
                      </a:lnTo>
                      <a:lnTo>
                        <a:pt x="598" y="33"/>
                      </a:lnTo>
                      <a:lnTo>
                        <a:pt x="599" y="35"/>
                      </a:lnTo>
                      <a:lnTo>
                        <a:pt x="599" y="35"/>
                      </a:lnTo>
                      <a:lnTo>
                        <a:pt x="597" y="35"/>
                      </a:lnTo>
                      <a:lnTo>
                        <a:pt x="597" y="36"/>
                      </a:lnTo>
                      <a:lnTo>
                        <a:pt x="597" y="36"/>
                      </a:lnTo>
                      <a:lnTo>
                        <a:pt x="598" y="37"/>
                      </a:lnTo>
                      <a:lnTo>
                        <a:pt x="599" y="37"/>
                      </a:lnTo>
                      <a:lnTo>
                        <a:pt x="600" y="37"/>
                      </a:lnTo>
                      <a:lnTo>
                        <a:pt x="601" y="37"/>
                      </a:lnTo>
                      <a:lnTo>
                        <a:pt x="601" y="37"/>
                      </a:lnTo>
                      <a:lnTo>
                        <a:pt x="602" y="38"/>
                      </a:lnTo>
                      <a:lnTo>
                        <a:pt x="602" y="39"/>
                      </a:lnTo>
                      <a:lnTo>
                        <a:pt x="602" y="40"/>
                      </a:lnTo>
                      <a:lnTo>
                        <a:pt x="601" y="42"/>
                      </a:lnTo>
                      <a:lnTo>
                        <a:pt x="601" y="42"/>
                      </a:lnTo>
                      <a:lnTo>
                        <a:pt x="600" y="43"/>
                      </a:lnTo>
                      <a:lnTo>
                        <a:pt x="599" y="44"/>
                      </a:lnTo>
                      <a:lnTo>
                        <a:pt x="599" y="45"/>
                      </a:lnTo>
                      <a:lnTo>
                        <a:pt x="599" y="46"/>
                      </a:lnTo>
                      <a:lnTo>
                        <a:pt x="598" y="47"/>
                      </a:lnTo>
                      <a:lnTo>
                        <a:pt x="598" y="47"/>
                      </a:lnTo>
                      <a:lnTo>
                        <a:pt x="598" y="47"/>
                      </a:lnTo>
                      <a:lnTo>
                        <a:pt x="599" y="47"/>
                      </a:lnTo>
                      <a:lnTo>
                        <a:pt x="599" y="47"/>
                      </a:lnTo>
                      <a:lnTo>
                        <a:pt x="599" y="47"/>
                      </a:lnTo>
                      <a:lnTo>
                        <a:pt x="599" y="47"/>
                      </a:lnTo>
                      <a:lnTo>
                        <a:pt x="600" y="47"/>
                      </a:lnTo>
                      <a:lnTo>
                        <a:pt x="600" y="47"/>
                      </a:lnTo>
                      <a:lnTo>
                        <a:pt x="600" y="47"/>
                      </a:lnTo>
                      <a:lnTo>
                        <a:pt x="600" y="47"/>
                      </a:lnTo>
                      <a:lnTo>
                        <a:pt x="600" y="49"/>
                      </a:lnTo>
                      <a:lnTo>
                        <a:pt x="600" y="49"/>
                      </a:lnTo>
                      <a:lnTo>
                        <a:pt x="601" y="49"/>
                      </a:lnTo>
                      <a:lnTo>
                        <a:pt x="601" y="49"/>
                      </a:lnTo>
                      <a:lnTo>
                        <a:pt x="601" y="49"/>
                      </a:lnTo>
                      <a:lnTo>
                        <a:pt x="601" y="49"/>
                      </a:lnTo>
                      <a:lnTo>
                        <a:pt x="601" y="49"/>
                      </a:lnTo>
                      <a:lnTo>
                        <a:pt x="601" y="49"/>
                      </a:lnTo>
                      <a:lnTo>
                        <a:pt x="601" y="50"/>
                      </a:lnTo>
                      <a:lnTo>
                        <a:pt x="601" y="50"/>
                      </a:lnTo>
                      <a:lnTo>
                        <a:pt x="601" y="50"/>
                      </a:lnTo>
                      <a:lnTo>
                        <a:pt x="601" y="50"/>
                      </a:lnTo>
                      <a:lnTo>
                        <a:pt x="601" y="51"/>
                      </a:lnTo>
                      <a:lnTo>
                        <a:pt x="601" y="51"/>
                      </a:lnTo>
                      <a:lnTo>
                        <a:pt x="601" y="51"/>
                      </a:lnTo>
                      <a:lnTo>
                        <a:pt x="601" y="51"/>
                      </a:lnTo>
                      <a:lnTo>
                        <a:pt x="601" y="51"/>
                      </a:lnTo>
                      <a:lnTo>
                        <a:pt x="601" y="51"/>
                      </a:lnTo>
                      <a:lnTo>
                        <a:pt x="601" y="52"/>
                      </a:lnTo>
                      <a:lnTo>
                        <a:pt x="602" y="52"/>
                      </a:lnTo>
                      <a:lnTo>
                        <a:pt x="602" y="52"/>
                      </a:lnTo>
                      <a:lnTo>
                        <a:pt x="602" y="52"/>
                      </a:lnTo>
                      <a:lnTo>
                        <a:pt x="602" y="52"/>
                      </a:lnTo>
                      <a:lnTo>
                        <a:pt x="602" y="52"/>
                      </a:lnTo>
                      <a:lnTo>
                        <a:pt x="602" y="52"/>
                      </a:lnTo>
                      <a:lnTo>
                        <a:pt x="604" y="53"/>
                      </a:lnTo>
                      <a:lnTo>
                        <a:pt x="604" y="53"/>
                      </a:lnTo>
                      <a:lnTo>
                        <a:pt x="604" y="53"/>
                      </a:lnTo>
                      <a:lnTo>
                        <a:pt x="604" y="53"/>
                      </a:lnTo>
                      <a:lnTo>
                        <a:pt x="604" y="55"/>
                      </a:lnTo>
                      <a:lnTo>
                        <a:pt x="604" y="55"/>
                      </a:lnTo>
                      <a:lnTo>
                        <a:pt x="604" y="55"/>
                      </a:lnTo>
                      <a:lnTo>
                        <a:pt x="604" y="56"/>
                      </a:lnTo>
                      <a:lnTo>
                        <a:pt x="605" y="56"/>
                      </a:lnTo>
                      <a:lnTo>
                        <a:pt x="605" y="56"/>
                      </a:lnTo>
                      <a:lnTo>
                        <a:pt x="605" y="56"/>
                      </a:lnTo>
                      <a:lnTo>
                        <a:pt x="605" y="57"/>
                      </a:lnTo>
                      <a:lnTo>
                        <a:pt x="605" y="58"/>
                      </a:lnTo>
                      <a:lnTo>
                        <a:pt x="605" y="59"/>
                      </a:lnTo>
                      <a:lnTo>
                        <a:pt x="604" y="59"/>
                      </a:lnTo>
                      <a:lnTo>
                        <a:pt x="604" y="60"/>
                      </a:lnTo>
                      <a:lnTo>
                        <a:pt x="604" y="62"/>
                      </a:lnTo>
                      <a:lnTo>
                        <a:pt x="604" y="62"/>
                      </a:lnTo>
                      <a:lnTo>
                        <a:pt x="604" y="63"/>
                      </a:lnTo>
                      <a:lnTo>
                        <a:pt x="604" y="63"/>
                      </a:lnTo>
                      <a:lnTo>
                        <a:pt x="604" y="63"/>
                      </a:lnTo>
                      <a:lnTo>
                        <a:pt x="604" y="63"/>
                      </a:lnTo>
                      <a:lnTo>
                        <a:pt x="605" y="64"/>
                      </a:lnTo>
                      <a:lnTo>
                        <a:pt x="605" y="65"/>
                      </a:lnTo>
                      <a:lnTo>
                        <a:pt x="605" y="66"/>
                      </a:lnTo>
                      <a:lnTo>
                        <a:pt x="605" y="66"/>
                      </a:lnTo>
                      <a:lnTo>
                        <a:pt x="605" y="66"/>
                      </a:lnTo>
                      <a:lnTo>
                        <a:pt x="605" y="67"/>
                      </a:lnTo>
                      <a:lnTo>
                        <a:pt x="606" y="67"/>
                      </a:lnTo>
                      <a:lnTo>
                        <a:pt x="605" y="69"/>
                      </a:lnTo>
                      <a:lnTo>
                        <a:pt x="605" y="69"/>
                      </a:lnTo>
                      <a:lnTo>
                        <a:pt x="604" y="69"/>
                      </a:lnTo>
                      <a:lnTo>
                        <a:pt x="604" y="69"/>
                      </a:lnTo>
                      <a:lnTo>
                        <a:pt x="604" y="69"/>
                      </a:lnTo>
                      <a:lnTo>
                        <a:pt x="604" y="69"/>
                      </a:lnTo>
                      <a:lnTo>
                        <a:pt x="604" y="69"/>
                      </a:lnTo>
                      <a:lnTo>
                        <a:pt x="605" y="70"/>
                      </a:lnTo>
                      <a:lnTo>
                        <a:pt x="605" y="70"/>
                      </a:lnTo>
                      <a:lnTo>
                        <a:pt x="605" y="70"/>
                      </a:lnTo>
                      <a:lnTo>
                        <a:pt x="604" y="72"/>
                      </a:lnTo>
                      <a:lnTo>
                        <a:pt x="604" y="72"/>
                      </a:lnTo>
                      <a:lnTo>
                        <a:pt x="604" y="73"/>
                      </a:lnTo>
                      <a:lnTo>
                        <a:pt x="604" y="75"/>
                      </a:lnTo>
                      <a:lnTo>
                        <a:pt x="604" y="76"/>
                      </a:lnTo>
                      <a:lnTo>
                        <a:pt x="604" y="77"/>
                      </a:lnTo>
                      <a:lnTo>
                        <a:pt x="604" y="77"/>
                      </a:lnTo>
                      <a:lnTo>
                        <a:pt x="604" y="78"/>
                      </a:lnTo>
                      <a:lnTo>
                        <a:pt x="604" y="78"/>
                      </a:lnTo>
                      <a:lnTo>
                        <a:pt x="604" y="79"/>
                      </a:lnTo>
                      <a:lnTo>
                        <a:pt x="602" y="80"/>
                      </a:lnTo>
                      <a:lnTo>
                        <a:pt x="604" y="80"/>
                      </a:lnTo>
                      <a:lnTo>
                        <a:pt x="604" y="82"/>
                      </a:lnTo>
                      <a:lnTo>
                        <a:pt x="604" y="82"/>
                      </a:lnTo>
                      <a:lnTo>
                        <a:pt x="604" y="82"/>
                      </a:lnTo>
                      <a:lnTo>
                        <a:pt x="604" y="82"/>
                      </a:lnTo>
                      <a:lnTo>
                        <a:pt x="604" y="82"/>
                      </a:lnTo>
                      <a:lnTo>
                        <a:pt x="604" y="82"/>
                      </a:lnTo>
                      <a:lnTo>
                        <a:pt x="604" y="82"/>
                      </a:lnTo>
                      <a:lnTo>
                        <a:pt x="604" y="83"/>
                      </a:lnTo>
                      <a:lnTo>
                        <a:pt x="604" y="83"/>
                      </a:lnTo>
                      <a:lnTo>
                        <a:pt x="604" y="83"/>
                      </a:lnTo>
                      <a:lnTo>
                        <a:pt x="604" y="84"/>
                      </a:lnTo>
                      <a:lnTo>
                        <a:pt x="604" y="85"/>
                      </a:lnTo>
                      <a:lnTo>
                        <a:pt x="604" y="85"/>
                      </a:lnTo>
                      <a:lnTo>
                        <a:pt x="604" y="85"/>
                      </a:lnTo>
                      <a:lnTo>
                        <a:pt x="604" y="85"/>
                      </a:lnTo>
                      <a:lnTo>
                        <a:pt x="604" y="85"/>
                      </a:lnTo>
                      <a:lnTo>
                        <a:pt x="604" y="85"/>
                      </a:lnTo>
                      <a:lnTo>
                        <a:pt x="604" y="86"/>
                      </a:lnTo>
                      <a:lnTo>
                        <a:pt x="604" y="86"/>
                      </a:lnTo>
                      <a:lnTo>
                        <a:pt x="605" y="87"/>
                      </a:lnTo>
                      <a:lnTo>
                        <a:pt x="605" y="87"/>
                      </a:lnTo>
                      <a:lnTo>
                        <a:pt x="605" y="89"/>
                      </a:lnTo>
                      <a:lnTo>
                        <a:pt x="605" y="89"/>
                      </a:lnTo>
                      <a:lnTo>
                        <a:pt x="605" y="90"/>
                      </a:lnTo>
                      <a:lnTo>
                        <a:pt x="606" y="90"/>
                      </a:lnTo>
                      <a:lnTo>
                        <a:pt x="607" y="91"/>
                      </a:lnTo>
                      <a:lnTo>
                        <a:pt x="607" y="91"/>
                      </a:lnTo>
                      <a:lnTo>
                        <a:pt x="608" y="91"/>
                      </a:lnTo>
                      <a:lnTo>
                        <a:pt x="608" y="90"/>
                      </a:lnTo>
                      <a:lnTo>
                        <a:pt x="608" y="90"/>
                      </a:lnTo>
                      <a:lnTo>
                        <a:pt x="610" y="89"/>
                      </a:lnTo>
                      <a:lnTo>
                        <a:pt x="610" y="89"/>
                      </a:lnTo>
                      <a:lnTo>
                        <a:pt x="611" y="89"/>
                      </a:lnTo>
                      <a:lnTo>
                        <a:pt x="611" y="89"/>
                      </a:lnTo>
                      <a:lnTo>
                        <a:pt x="611" y="89"/>
                      </a:lnTo>
                      <a:lnTo>
                        <a:pt x="611" y="87"/>
                      </a:lnTo>
                      <a:lnTo>
                        <a:pt x="612" y="86"/>
                      </a:lnTo>
                      <a:lnTo>
                        <a:pt x="612" y="85"/>
                      </a:lnTo>
                      <a:lnTo>
                        <a:pt x="613" y="85"/>
                      </a:lnTo>
                      <a:lnTo>
                        <a:pt x="613" y="85"/>
                      </a:lnTo>
                      <a:lnTo>
                        <a:pt x="614" y="85"/>
                      </a:lnTo>
                      <a:lnTo>
                        <a:pt x="614" y="85"/>
                      </a:lnTo>
                      <a:lnTo>
                        <a:pt x="615" y="86"/>
                      </a:lnTo>
                      <a:lnTo>
                        <a:pt x="614" y="86"/>
                      </a:lnTo>
                      <a:lnTo>
                        <a:pt x="615" y="86"/>
                      </a:lnTo>
                      <a:lnTo>
                        <a:pt x="615" y="87"/>
                      </a:lnTo>
                      <a:lnTo>
                        <a:pt x="617" y="86"/>
                      </a:lnTo>
                      <a:lnTo>
                        <a:pt x="617" y="86"/>
                      </a:lnTo>
                      <a:lnTo>
                        <a:pt x="617" y="86"/>
                      </a:lnTo>
                      <a:lnTo>
                        <a:pt x="617" y="86"/>
                      </a:lnTo>
                      <a:lnTo>
                        <a:pt x="618" y="86"/>
                      </a:lnTo>
                      <a:lnTo>
                        <a:pt x="618" y="85"/>
                      </a:lnTo>
                      <a:lnTo>
                        <a:pt x="618" y="85"/>
                      </a:lnTo>
                      <a:lnTo>
                        <a:pt x="618" y="85"/>
                      </a:lnTo>
                      <a:lnTo>
                        <a:pt x="619" y="85"/>
                      </a:lnTo>
                      <a:lnTo>
                        <a:pt x="619" y="85"/>
                      </a:lnTo>
                      <a:lnTo>
                        <a:pt x="619" y="85"/>
                      </a:lnTo>
                      <a:lnTo>
                        <a:pt x="619" y="85"/>
                      </a:lnTo>
                      <a:lnTo>
                        <a:pt x="619" y="85"/>
                      </a:lnTo>
                      <a:lnTo>
                        <a:pt x="620" y="86"/>
                      </a:lnTo>
                      <a:lnTo>
                        <a:pt x="619" y="86"/>
                      </a:lnTo>
                      <a:lnTo>
                        <a:pt x="619" y="86"/>
                      </a:lnTo>
                      <a:lnTo>
                        <a:pt x="619" y="86"/>
                      </a:lnTo>
                      <a:lnTo>
                        <a:pt x="619" y="87"/>
                      </a:lnTo>
                      <a:lnTo>
                        <a:pt x="619" y="87"/>
                      </a:lnTo>
                      <a:lnTo>
                        <a:pt x="619" y="87"/>
                      </a:lnTo>
                      <a:lnTo>
                        <a:pt x="619" y="87"/>
                      </a:lnTo>
                      <a:lnTo>
                        <a:pt x="620" y="89"/>
                      </a:lnTo>
                      <a:lnTo>
                        <a:pt x="620" y="89"/>
                      </a:lnTo>
                      <a:lnTo>
                        <a:pt x="620" y="90"/>
                      </a:lnTo>
                      <a:lnTo>
                        <a:pt x="620" y="91"/>
                      </a:lnTo>
                      <a:lnTo>
                        <a:pt x="620" y="91"/>
                      </a:lnTo>
                      <a:lnTo>
                        <a:pt x="621" y="91"/>
                      </a:lnTo>
                      <a:lnTo>
                        <a:pt x="622" y="91"/>
                      </a:lnTo>
                      <a:lnTo>
                        <a:pt x="622" y="92"/>
                      </a:lnTo>
                      <a:lnTo>
                        <a:pt x="622" y="93"/>
                      </a:lnTo>
                      <a:lnTo>
                        <a:pt x="624" y="92"/>
                      </a:lnTo>
                      <a:lnTo>
                        <a:pt x="624" y="92"/>
                      </a:lnTo>
                      <a:lnTo>
                        <a:pt x="624" y="93"/>
                      </a:lnTo>
                      <a:lnTo>
                        <a:pt x="625" y="95"/>
                      </a:lnTo>
                      <a:lnTo>
                        <a:pt x="625" y="95"/>
                      </a:lnTo>
                      <a:lnTo>
                        <a:pt x="626" y="95"/>
                      </a:lnTo>
                      <a:lnTo>
                        <a:pt x="626" y="96"/>
                      </a:lnTo>
                      <a:lnTo>
                        <a:pt x="626" y="97"/>
                      </a:lnTo>
                      <a:lnTo>
                        <a:pt x="627" y="97"/>
                      </a:lnTo>
                      <a:lnTo>
                        <a:pt x="627" y="97"/>
                      </a:lnTo>
                      <a:lnTo>
                        <a:pt x="628" y="97"/>
                      </a:lnTo>
                      <a:lnTo>
                        <a:pt x="630" y="97"/>
                      </a:lnTo>
                      <a:lnTo>
                        <a:pt x="630" y="97"/>
                      </a:lnTo>
                      <a:lnTo>
                        <a:pt x="631" y="98"/>
                      </a:lnTo>
                      <a:lnTo>
                        <a:pt x="631" y="99"/>
                      </a:lnTo>
                      <a:lnTo>
                        <a:pt x="631" y="99"/>
                      </a:lnTo>
                      <a:lnTo>
                        <a:pt x="631" y="100"/>
                      </a:lnTo>
                      <a:lnTo>
                        <a:pt x="631" y="102"/>
                      </a:lnTo>
                      <a:lnTo>
                        <a:pt x="630" y="102"/>
                      </a:lnTo>
                      <a:lnTo>
                        <a:pt x="631" y="103"/>
                      </a:lnTo>
                      <a:lnTo>
                        <a:pt x="630" y="104"/>
                      </a:lnTo>
                      <a:lnTo>
                        <a:pt x="630" y="104"/>
                      </a:lnTo>
                      <a:lnTo>
                        <a:pt x="630" y="105"/>
                      </a:lnTo>
                      <a:lnTo>
                        <a:pt x="630" y="105"/>
                      </a:lnTo>
                      <a:lnTo>
                        <a:pt x="630" y="106"/>
                      </a:lnTo>
                      <a:lnTo>
                        <a:pt x="630" y="107"/>
                      </a:lnTo>
                      <a:lnTo>
                        <a:pt x="630" y="107"/>
                      </a:lnTo>
                      <a:lnTo>
                        <a:pt x="630" y="109"/>
                      </a:lnTo>
                      <a:lnTo>
                        <a:pt x="630" y="109"/>
                      </a:lnTo>
                      <a:lnTo>
                        <a:pt x="630" y="110"/>
                      </a:lnTo>
                      <a:lnTo>
                        <a:pt x="630" y="111"/>
                      </a:lnTo>
                      <a:lnTo>
                        <a:pt x="630" y="113"/>
                      </a:lnTo>
                      <a:lnTo>
                        <a:pt x="628" y="115"/>
                      </a:lnTo>
                      <a:lnTo>
                        <a:pt x="628" y="117"/>
                      </a:lnTo>
                      <a:lnTo>
                        <a:pt x="628" y="117"/>
                      </a:lnTo>
                      <a:lnTo>
                        <a:pt x="628" y="118"/>
                      </a:lnTo>
                      <a:lnTo>
                        <a:pt x="627" y="119"/>
                      </a:lnTo>
                      <a:lnTo>
                        <a:pt x="628" y="120"/>
                      </a:lnTo>
                      <a:lnTo>
                        <a:pt x="627" y="120"/>
                      </a:lnTo>
                      <a:lnTo>
                        <a:pt x="627" y="120"/>
                      </a:lnTo>
                      <a:lnTo>
                        <a:pt x="627" y="120"/>
                      </a:lnTo>
                      <a:lnTo>
                        <a:pt x="627" y="120"/>
                      </a:lnTo>
                      <a:lnTo>
                        <a:pt x="627" y="120"/>
                      </a:lnTo>
                      <a:lnTo>
                        <a:pt x="627" y="120"/>
                      </a:lnTo>
                      <a:lnTo>
                        <a:pt x="627" y="122"/>
                      </a:lnTo>
                      <a:lnTo>
                        <a:pt x="627" y="122"/>
                      </a:lnTo>
                      <a:lnTo>
                        <a:pt x="628" y="122"/>
                      </a:lnTo>
                      <a:lnTo>
                        <a:pt x="628" y="122"/>
                      </a:lnTo>
                      <a:lnTo>
                        <a:pt x="628" y="122"/>
                      </a:lnTo>
                      <a:lnTo>
                        <a:pt x="628" y="123"/>
                      </a:lnTo>
                      <a:lnTo>
                        <a:pt x="628" y="124"/>
                      </a:lnTo>
                      <a:lnTo>
                        <a:pt x="628" y="124"/>
                      </a:lnTo>
                      <a:lnTo>
                        <a:pt x="628" y="124"/>
                      </a:lnTo>
                      <a:lnTo>
                        <a:pt x="630" y="125"/>
                      </a:lnTo>
                      <a:lnTo>
                        <a:pt x="630" y="126"/>
                      </a:lnTo>
                      <a:lnTo>
                        <a:pt x="630" y="126"/>
                      </a:lnTo>
                      <a:lnTo>
                        <a:pt x="628" y="127"/>
                      </a:lnTo>
                      <a:lnTo>
                        <a:pt x="627" y="129"/>
                      </a:lnTo>
                      <a:lnTo>
                        <a:pt x="627" y="129"/>
                      </a:lnTo>
                      <a:lnTo>
                        <a:pt x="627" y="129"/>
                      </a:lnTo>
                      <a:lnTo>
                        <a:pt x="627" y="129"/>
                      </a:lnTo>
                      <a:lnTo>
                        <a:pt x="627" y="130"/>
                      </a:lnTo>
                      <a:lnTo>
                        <a:pt x="627" y="130"/>
                      </a:lnTo>
                      <a:lnTo>
                        <a:pt x="626" y="131"/>
                      </a:lnTo>
                      <a:lnTo>
                        <a:pt x="626" y="131"/>
                      </a:lnTo>
                      <a:lnTo>
                        <a:pt x="626" y="132"/>
                      </a:lnTo>
                      <a:lnTo>
                        <a:pt x="626" y="132"/>
                      </a:lnTo>
                      <a:lnTo>
                        <a:pt x="626" y="132"/>
                      </a:lnTo>
                      <a:lnTo>
                        <a:pt x="626" y="132"/>
                      </a:lnTo>
                      <a:lnTo>
                        <a:pt x="627" y="132"/>
                      </a:lnTo>
                      <a:lnTo>
                        <a:pt x="627" y="133"/>
                      </a:lnTo>
                      <a:lnTo>
                        <a:pt x="628" y="135"/>
                      </a:lnTo>
                      <a:lnTo>
                        <a:pt x="630" y="135"/>
                      </a:lnTo>
                      <a:lnTo>
                        <a:pt x="630" y="136"/>
                      </a:lnTo>
                      <a:lnTo>
                        <a:pt x="630" y="137"/>
                      </a:lnTo>
                      <a:lnTo>
                        <a:pt x="630" y="138"/>
                      </a:lnTo>
                      <a:lnTo>
                        <a:pt x="631" y="139"/>
                      </a:lnTo>
                      <a:lnTo>
                        <a:pt x="631" y="140"/>
                      </a:lnTo>
                      <a:lnTo>
                        <a:pt x="631" y="140"/>
                      </a:lnTo>
                      <a:lnTo>
                        <a:pt x="632" y="139"/>
                      </a:lnTo>
                      <a:lnTo>
                        <a:pt x="633" y="139"/>
                      </a:lnTo>
                      <a:lnTo>
                        <a:pt x="633" y="140"/>
                      </a:lnTo>
                      <a:lnTo>
                        <a:pt x="634" y="140"/>
                      </a:lnTo>
                      <a:lnTo>
                        <a:pt x="634" y="140"/>
                      </a:lnTo>
                      <a:lnTo>
                        <a:pt x="634" y="140"/>
                      </a:lnTo>
                      <a:lnTo>
                        <a:pt x="634" y="140"/>
                      </a:lnTo>
                      <a:lnTo>
                        <a:pt x="634" y="140"/>
                      </a:lnTo>
                      <a:lnTo>
                        <a:pt x="634" y="140"/>
                      </a:lnTo>
                      <a:lnTo>
                        <a:pt x="634" y="140"/>
                      </a:lnTo>
                      <a:lnTo>
                        <a:pt x="634" y="140"/>
                      </a:lnTo>
                      <a:lnTo>
                        <a:pt x="634" y="142"/>
                      </a:lnTo>
                      <a:lnTo>
                        <a:pt x="634" y="142"/>
                      </a:lnTo>
                      <a:lnTo>
                        <a:pt x="635" y="142"/>
                      </a:lnTo>
                      <a:lnTo>
                        <a:pt x="634" y="143"/>
                      </a:lnTo>
                      <a:lnTo>
                        <a:pt x="634" y="144"/>
                      </a:lnTo>
                      <a:lnTo>
                        <a:pt x="634" y="144"/>
                      </a:lnTo>
                      <a:lnTo>
                        <a:pt x="634" y="145"/>
                      </a:lnTo>
                      <a:lnTo>
                        <a:pt x="633" y="145"/>
                      </a:lnTo>
                      <a:lnTo>
                        <a:pt x="632" y="144"/>
                      </a:lnTo>
                      <a:lnTo>
                        <a:pt x="633" y="147"/>
                      </a:lnTo>
                      <a:lnTo>
                        <a:pt x="633" y="149"/>
                      </a:lnTo>
                      <a:lnTo>
                        <a:pt x="634" y="149"/>
                      </a:lnTo>
                      <a:lnTo>
                        <a:pt x="634" y="151"/>
                      </a:lnTo>
                      <a:lnTo>
                        <a:pt x="634" y="151"/>
                      </a:lnTo>
                      <a:lnTo>
                        <a:pt x="634" y="152"/>
                      </a:lnTo>
                      <a:lnTo>
                        <a:pt x="634" y="153"/>
                      </a:lnTo>
                      <a:lnTo>
                        <a:pt x="634" y="154"/>
                      </a:lnTo>
                      <a:lnTo>
                        <a:pt x="634" y="154"/>
                      </a:lnTo>
                      <a:lnTo>
                        <a:pt x="634" y="156"/>
                      </a:lnTo>
                      <a:lnTo>
                        <a:pt x="634" y="157"/>
                      </a:lnTo>
                      <a:lnTo>
                        <a:pt x="633" y="157"/>
                      </a:lnTo>
                      <a:lnTo>
                        <a:pt x="634" y="158"/>
                      </a:lnTo>
                      <a:lnTo>
                        <a:pt x="633" y="159"/>
                      </a:lnTo>
                      <a:lnTo>
                        <a:pt x="633" y="162"/>
                      </a:lnTo>
                      <a:lnTo>
                        <a:pt x="632" y="163"/>
                      </a:lnTo>
                      <a:lnTo>
                        <a:pt x="632" y="163"/>
                      </a:lnTo>
                      <a:lnTo>
                        <a:pt x="632" y="163"/>
                      </a:lnTo>
                      <a:lnTo>
                        <a:pt x="632" y="163"/>
                      </a:lnTo>
                      <a:lnTo>
                        <a:pt x="632" y="163"/>
                      </a:lnTo>
                      <a:lnTo>
                        <a:pt x="632" y="163"/>
                      </a:lnTo>
                      <a:lnTo>
                        <a:pt x="632" y="164"/>
                      </a:lnTo>
                      <a:lnTo>
                        <a:pt x="632" y="164"/>
                      </a:lnTo>
                      <a:lnTo>
                        <a:pt x="633" y="164"/>
                      </a:lnTo>
                      <a:lnTo>
                        <a:pt x="632" y="164"/>
                      </a:lnTo>
                      <a:lnTo>
                        <a:pt x="633" y="165"/>
                      </a:lnTo>
                      <a:lnTo>
                        <a:pt x="633" y="166"/>
                      </a:lnTo>
                      <a:lnTo>
                        <a:pt x="632" y="167"/>
                      </a:lnTo>
                      <a:lnTo>
                        <a:pt x="632" y="167"/>
                      </a:lnTo>
                      <a:lnTo>
                        <a:pt x="631" y="167"/>
                      </a:lnTo>
                      <a:lnTo>
                        <a:pt x="631" y="167"/>
                      </a:lnTo>
                      <a:lnTo>
                        <a:pt x="630" y="167"/>
                      </a:lnTo>
                      <a:lnTo>
                        <a:pt x="630" y="169"/>
                      </a:lnTo>
                      <a:lnTo>
                        <a:pt x="630" y="169"/>
                      </a:lnTo>
                      <a:lnTo>
                        <a:pt x="630" y="169"/>
                      </a:lnTo>
                      <a:lnTo>
                        <a:pt x="631" y="170"/>
                      </a:lnTo>
                      <a:lnTo>
                        <a:pt x="632" y="171"/>
                      </a:lnTo>
                      <a:lnTo>
                        <a:pt x="632" y="173"/>
                      </a:lnTo>
                      <a:lnTo>
                        <a:pt x="633" y="173"/>
                      </a:lnTo>
                      <a:lnTo>
                        <a:pt x="633" y="173"/>
                      </a:lnTo>
                      <a:lnTo>
                        <a:pt x="633" y="174"/>
                      </a:lnTo>
                      <a:lnTo>
                        <a:pt x="634" y="174"/>
                      </a:lnTo>
                      <a:lnTo>
                        <a:pt x="634" y="174"/>
                      </a:lnTo>
                      <a:lnTo>
                        <a:pt x="634" y="174"/>
                      </a:lnTo>
                      <a:lnTo>
                        <a:pt x="634" y="174"/>
                      </a:lnTo>
                      <a:lnTo>
                        <a:pt x="634" y="174"/>
                      </a:lnTo>
                      <a:lnTo>
                        <a:pt x="634" y="176"/>
                      </a:lnTo>
                      <a:lnTo>
                        <a:pt x="634" y="176"/>
                      </a:lnTo>
                      <a:lnTo>
                        <a:pt x="634" y="177"/>
                      </a:lnTo>
                      <a:lnTo>
                        <a:pt x="634" y="177"/>
                      </a:lnTo>
                      <a:lnTo>
                        <a:pt x="634" y="178"/>
                      </a:lnTo>
                      <a:lnTo>
                        <a:pt x="634" y="179"/>
                      </a:lnTo>
                      <a:lnTo>
                        <a:pt x="634" y="180"/>
                      </a:lnTo>
                      <a:lnTo>
                        <a:pt x="633" y="180"/>
                      </a:lnTo>
                      <a:lnTo>
                        <a:pt x="632" y="180"/>
                      </a:lnTo>
                      <a:lnTo>
                        <a:pt x="632" y="182"/>
                      </a:lnTo>
                      <a:lnTo>
                        <a:pt x="632" y="182"/>
                      </a:lnTo>
                      <a:lnTo>
                        <a:pt x="632" y="182"/>
                      </a:lnTo>
                      <a:lnTo>
                        <a:pt x="632" y="182"/>
                      </a:lnTo>
                      <a:lnTo>
                        <a:pt x="632" y="183"/>
                      </a:lnTo>
                      <a:lnTo>
                        <a:pt x="632" y="183"/>
                      </a:lnTo>
                      <a:lnTo>
                        <a:pt x="633" y="184"/>
                      </a:lnTo>
                      <a:lnTo>
                        <a:pt x="633" y="184"/>
                      </a:lnTo>
                      <a:lnTo>
                        <a:pt x="634" y="185"/>
                      </a:lnTo>
                      <a:lnTo>
                        <a:pt x="634" y="185"/>
                      </a:lnTo>
                      <a:lnTo>
                        <a:pt x="634" y="185"/>
                      </a:lnTo>
                      <a:lnTo>
                        <a:pt x="634" y="186"/>
                      </a:lnTo>
                      <a:lnTo>
                        <a:pt x="635" y="186"/>
                      </a:lnTo>
                      <a:lnTo>
                        <a:pt x="637" y="187"/>
                      </a:lnTo>
                      <a:lnTo>
                        <a:pt x="637" y="187"/>
                      </a:lnTo>
                      <a:lnTo>
                        <a:pt x="638" y="187"/>
                      </a:lnTo>
                      <a:lnTo>
                        <a:pt x="638" y="187"/>
                      </a:lnTo>
                      <a:lnTo>
                        <a:pt x="638" y="187"/>
                      </a:lnTo>
                      <a:lnTo>
                        <a:pt x="638" y="187"/>
                      </a:lnTo>
                      <a:lnTo>
                        <a:pt x="638" y="187"/>
                      </a:lnTo>
                      <a:lnTo>
                        <a:pt x="639" y="187"/>
                      </a:lnTo>
                      <a:lnTo>
                        <a:pt x="639" y="187"/>
                      </a:lnTo>
                      <a:lnTo>
                        <a:pt x="639" y="187"/>
                      </a:lnTo>
                      <a:lnTo>
                        <a:pt x="639" y="187"/>
                      </a:lnTo>
                      <a:lnTo>
                        <a:pt x="639" y="187"/>
                      </a:lnTo>
                      <a:lnTo>
                        <a:pt x="640" y="189"/>
                      </a:lnTo>
                      <a:lnTo>
                        <a:pt x="639" y="190"/>
                      </a:lnTo>
                      <a:lnTo>
                        <a:pt x="640" y="190"/>
                      </a:lnTo>
                      <a:lnTo>
                        <a:pt x="640" y="190"/>
                      </a:lnTo>
                      <a:lnTo>
                        <a:pt x="641" y="190"/>
                      </a:lnTo>
                      <a:lnTo>
                        <a:pt x="641" y="190"/>
                      </a:lnTo>
                      <a:lnTo>
                        <a:pt x="642" y="191"/>
                      </a:lnTo>
                      <a:lnTo>
                        <a:pt x="644" y="191"/>
                      </a:lnTo>
                      <a:lnTo>
                        <a:pt x="644" y="192"/>
                      </a:lnTo>
                      <a:lnTo>
                        <a:pt x="645" y="192"/>
                      </a:lnTo>
                      <a:lnTo>
                        <a:pt x="645" y="192"/>
                      </a:lnTo>
                      <a:lnTo>
                        <a:pt x="646" y="192"/>
                      </a:lnTo>
                      <a:lnTo>
                        <a:pt x="647" y="192"/>
                      </a:lnTo>
                      <a:lnTo>
                        <a:pt x="648" y="192"/>
                      </a:lnTo>
                      <a:lnTo>
                        <a:pt x="650" y="192"/>
                      </a:lnTo>
                      <a:lnTo>
                        <a:pt x="650" y="193"/>
                      </a:lnTo>
                      <a:lnTo>
                        <a:pt x="651" y="193"/>
                      </a:lnTo>
                      <a:lnTo>
                        <a:pt x="651" y="194"/>
                      </a:lnTo>
                      <a:lnTo>
                        <a:pt x="652" y="194"/>
                      </a:lnTo>
                      <a:lnTo>
                        <a:pt x="652" y="194"/>
                      </a:lnTo>
                      <a:lnTo>
                        <a:pt x="652" y="196"/>
                      </a:lnTo>
                      <a:lnTo>
                        <a:pt x="651" y="197"/>
                      </a:lnTo>
                      <a:lnTo>
                        <a:pt x="651" y="198"/>
                      </a:lnTo>
                      <a:lnTo>
                        <a:pt x="651" y="199"/>
                      </a:lnTo>
                      <a:lnTo>
                        <a:pt x="652" y="199"/>
                      </a:lnTo>
                      <a:lnTo>
                        <a:pt x="652" y="200"/>
                      </a:lnTo>
                      <a:lnTo>
                        <a:pt x="652" y="200"/>
                      </a:lnTo>
                      <a:lnTo>
                        <a:pt x="652" y="200"/>
                      </a:lnTo>
                      <a:lnTo>
                        <a:pt x="653" y="202"/>
                      </a:lnTo>
                      <a:lnTo>
                        <a:pt x="653" y="202"/>
                      </a:lnTo>
                      <a:lnTo>
                        <a:pt x="654" y="202"/>
                      </a:lnTo>
                      <a:lnTo>
                        <a:pt x="654" y="200"/>
                      </a:lnTo>
                      <a:lnTo>
                        <a:pt x="654" y="200"/>
                      </a:lnTo>
                      <a:lnTo>
                        <a:pt x="654" y="200"/>
                      </a:lnTo>
                      <a:lnTo>
                        <a:pt x="654" y="199"/>
                      </a:lnTo>
                      <a:lnTo>
                        <a:pt x="654" y="198"/>
                      </a:lnTo>
                      <a:lnTo>
                        <a:pt x="654" y="198"/>
                      </a:lnTo>
                      <a:lnTo>
                        <a:pt x="655" y="198"/>
                      </a:lnTo>
                      <a:lnTo>
                        <a:pt x="655" y="198"/>
                      </a:lnTo>
                      <a:lnTo>
                        <a:pt x="655" y="198"/>
                      </a:lnTo>
                      <a:lnTo>
                        <a:pt x="655" y="199"/>
                      </a:lnTo>
                      <a:lnTo>
                        <a:pt x="655" y="199"/>
                      </a:lnTo>
                      <a:lnTo>
                        <a:pt x="655" y="199"/>
                      </a:lnTo>
                      <a:lnTo>
                        <a:pt x="655" y="199"/>
                      </a:lnTo>
                      <a:lnTo>
                        <a:pt x="654" y="199"/>
                      </a:lnTo>
                      <a:lnTo>
                        <a:pt x="654" y="200"/>
                      </a:lnTo>
                      <a:lnTo>
                        <a:pt x="654" y="202"/>
                      </a:lnTo>
                      <a:lnTo>
                        <a:pt x="655" y="200"/>
                      </a:lnTo>
                      <a:lnTo>
                        <a:pt x="655" y="202"/>
                      </a:lnTo>
                      <a:lnTo>
                        <a:pt x="655" y="202"/>
                      </a:lnTo>
                      <a:lnTo>
                        <a:pt x="655" y="202"/>
                      </a:lnTo>
                      <a:lnTo>
                        <a:pt x="655" y="202"/>
                      </a:lnTo>
                      <a:lnTo>
                        <a:pt x="655" y="203"/>
                      </a:lnTo>
                      <a:lnTo>
                        <a:pt x="657" y="203"/>
                      </a:lnTo>
                      <a:lnTo>
                        <a:pt x="657" y="203"/>
                      </a:lnTo>
                      <a:lnTo>
                        <a:pt x="657" y="203"/>
                      </a:lnTo>
                      <a:lnTo>
                        <a:pt x="657" y="203"/>
                      </a:lnTo>
                      <a:lnTo>
                        <a:pt x="658" y="204"/>
                      </a:lnTo>
                      <a:lnTo>
                        <a:pt x="658" y="205"/>
                      </a:lnTo>
                      <a:lnTo>
                        <a:pt x="658" y="204"/>
                      </a:lnTo>
                      <a:lnTo>
                        <a:pt x="659" y="205"/>
                      </a:lnTo>
                      <a:lnTo>
                        <a:pt x="659" y="205"/>
                      </a:lnTo>
                      <a:lnTo>
                        <a:pt x="660" y="205"/>
                      </a:lnTo>
                      <a:lnTo>
                        <a:pt x="662" y="205"/>
                      </a:lnTo>
                      <a:lnTo>
                        <a:pt x="662" y="205"/>
                      </a:lnTo>
                      <a:lnTo>
                        <a:pt x="662" y="205"/>
                      </a:lnTo>
                      <a:lnTo>
                        <a:pt x="661" y="205"/>
                      </a:lnTo>
                      <a:lnTo>
                        <a:pt x="661" y="205"/>
                      </a:lnTo>
                      <a:lnTo>
                        <a:pt x="661" y="205"/>
                      </a:lnTo>
                      <a:lnTo>
                        <a:pt x="661" y="205"/>
                      </a:lnTo>
                      <a:lnTo>
                        <a:pt x="661" y="206"/>
                      </a:lnTo>
                      <a:lnTo>
                        <a:pt x="661" y="206"/>
                      </a:lnTo>
                      <a:lnTo>
                        <a:pt x="662" y="206"/>
                      </a:lnTo>
                      <a:lnTo>
                        <a:pt x="662" y="207"/>
                      </a:lnTo>
                      <a:lnTo>
                        <a:pt x="664" y="209"/>
                      </a:lnTo>
                      <a:lnTo>
                        <a:pt x="664" y="209"/>
                      </a:lnTo>
                      <a:lnTo>
                        <a:pt x="664" y="209"/>
                      </a:lnTo>
                      <a:lnTo>
                        <a:pt x="664" y="209"/>
                      </a:lnTo>
                      <a:lnTo>
                        <a:pt x="664" y="209"/>
                      </a:lnTo>
                      <a:lnTo>
                        <a:pt x="665" y="209"/>
                      </a:lnTo>
                      <a:lnTo>
                        <a:pt x="665" y="207"/>
                      </a:lnTo>
                      <a:lnTo>
                        <a:pt x="665" y="207"/>
                      </a:lnTo>
                      <a:lnTo>
                        <a:pt x="665" y="207"/>
                      </a:lnTo>
                      <a:lnTo>
                        <a:pt x="665" y="207"/>
                      </a:lnTo>
                      <a:lnTo>
                        <a:pt x="665" y="206"/>
                      </a:lnTo>
                      <a:lnTo>
                        <a:pt x="665" y="206"/>
                      </a:lnTo>
                      <a:lnTo>
                        <a:pt x="664" y="206"/>
                      </a:lnTo>
                      <a:lnTo>
                        <a:pt x="664" y="206"/>
                      </a:lnTo>
                      <a:lnTo>
                        <a:pt x="664" y="206"/>
                      </a:lnTo>
                      <a:lnTo>
                        <a:pt x="665" y="206"/>
                      </a:lnTo>
                      <a:lnTo>
                        <a:pt x="665" y="206"/>
                      </a:lnTo>
                      <a:lnTo>
                        <a:pt x="665" y="205"/>
                      </a:lnTo>
                      <a:lnTo>
                        <a:pt x="665" y="205"/>
                      </a:lnTo>
                      <a:lnTo>
                        <a:pt x="665" y="205"/>
                      </a:lnTo>
                      <a:lnTo>
                        <a:pt x="666" y="206"/>
                      </a:lnTo>
                      <a:lnTo>
                        <a:pt x="666" y="206"/>
                      </a:lnTo>
                      <a:lnTo>
                        <a:pt x="666" y="206"/>
                      </a:lnTo>
                      <a:lnTo>
                        <a:pt x="666" y="207"/>
                      </a:lnTo>
                      <a:lnTo>
                        <a:pt x="666" y="207"/>
                      </a:lnTo>
                      <a:lnTo>
                        <a:pt x="665" y="207"/>
                      </a:lnTo>
                      <a:lnTo>
                        <a:pt x="666" y="209"/>
                      </a:lnTo>
                      <a:lnTo>
                        <a:pt x="666" y="209"/>
                      </a:lnTo>
                      <a:lnTo>
                        <a:pt x="667" y="210"/>
                      </a:lnTo>
                      <a:lnTo>
                        <a:pt x="667" y="210"/>
                      </a:lnTo>
                      <a:lnTo>
                        <a:pt x="668" y="211"/>
                      </a:lnTo>
                      <a:lnTo>
                        <a:pt x="668" y="212"/>
                      </a:lnTo>
                      <a:lnTo>
                        <a:pt x="668" y="213"/>
                      </a:lnTo>
                      <a:lnTo>
                        <a:pt x="670" y="213"/>
                      </a:lnTo>
                      <a:lnTo>
                        <a:pt x="670" y="216"/>
                      </a:lnTo>
                      <a:lnTo>
                        <a:pt x="670" y="216"/>
                      </a:lnTo>
                      <a:lnTo>
                        <a:pt x="670" y="217"/>
                      </a:lnTo>
                      <a:lnTo>
                        <a:pt x="670" y="218"/>
                      </a:lnTo>
                      <a:lnTo>
                        <a:pt x="670" y="219"/>
                      </a:lnTo>
                      <a:lnTo>
                        <a:pt x="667" y="218"/>
                      </a:lnTo>
                      <a:lnTo>
                        <a:pt x="667" y="217"/>
                      </a:lnTo>
                      <a:lnTo>
                        <a:pt x="667" y="218"/>
                      </a:lnTo>
                      <a:lnTo>
                        <a:pt x="666" y="219"/>
                      </a:lnTo>
                      <a:lnTo>
                        <a:pt x="666" y="220"/>
                      </a:lnTo>
                      <a:lnTo>
                        <a:pt x="665" y="222"/>
                      </a:lnTo>
                      <a:lnTo>
                        <a:pt x="666" y="223"/>
                      </a:lnTo>
                      <a:lnTo>
                        <a:pt x="667" y="224"/>
                      </a:lnTo>
                      <a:lnTo>
                        <a:pt x="670" y="224"/>
                      </a:lnTo>
                      <a:lnTo>
                        <a:pt x="671" y="226"/>
                      </a:lnTo>
                      <a:lnTo>
                        <a:pt x="671" y="227"/>
                      </a:lnTo>
                      <a:lnTo>
                        <a:pt x="672" y="229"/>
                      </a:lnTo>
                      <a:lnTo>
                        <a:pt x="673" y="230"/>
                      </a:lnTo>
                      <a:lnTo>
                        <a:pt x="672" y="231"/>
                      </a:lnTo>
                      <a:lnTo>
                        <a:pt x="671" y="232"/>
                      </a:lnTo>
                      <a:lnTo>
                        <a:pt x="672" y="234"/>
                      </a:lnTo>
                      <a:lnTo>
                        <a:pt x="671" y="236"/>
                      </a:lnTo>
                      <a:lnTo>
                        <a:pt x="672" y="238"/>
                      </a:lnTo>
                      <a:lnTo>
                        <a:pt x="673" y="238"/>
                      </a:lnTo>
                      <a:lnTo>
                        <a:pt x="674" y="239"/>
                      </a:lnTo>
                      <a:lnTo>
                        <a:pt x="674" y="240"/>
                      </a:lnTo>
                      <a:lnTo>
                        <a:pt x="674" y="240"/>
                      </a:lnTo>
                      <a:lnTo>
                        <a:pt x="674" y="240"/>
                      </a:lnTo>
                      <a:lnTo>
                        <a:pt x="672" y="242"/>
                      </a:lnTo>
                      <a:lnTo>
                        <a:pt x="672" y="244"/>
                      </a:lnTo>
                      <a:lnTo>
                        <a:pt x="672" y="247"/>
                      </a:lnTo>
                      <a:lnTo>
                        <a:pt x="673" y="250"/>
                      </a:lnTo>
                      <a:lnTo>
                        <a:pt x="672" y="251"/>
                      </a:lnTo>
                      <a:lnTo>
                        <a:pt x="672" y="253"/>
                      </a:lnTo>
                      <a:lnTo>
                        <a:pt x="672" y="256"/>
                      </a:lnTo>
                      <a:lnTo>
                        <a:pt x="673" y="258"/>
                      </a:lnTo>
                      <a:lnTo>
                        <a:pt x="675" y="258"/>
                      </a:lnTo>
                      <a:lnTo>
                        <a:pt x="673" y="256"/>
                      </a:lnTo>
                      <a:lnTo>
                        <a:pt x="675" y="252"/>
                      </a:lnTo>
                      <a:lnTo>
                        <a:pt x="675" y="252"/>
                      </a:lnTo>
                      <a:lnTo>
                        <a:pt x="675" y="253"/>
                      </a:lnTo>
                      <a:lnTo>
                        <a:pt x="675" y="253"/>
                      </a:lnTo>
                      <a:lnTo>
                        <a:pt x="675" y="254"/>
                      </a:lnTo>
                      <a:lnTo>
                        <a:pt x="675" y="254"/>
                      </a:lnTo>
                      <a:lnTo>
                        <a:pt x="675" y="254"/>
                      </a:lnTo>
                      <a:lnTo>
                        <a:pt x="674" y="256"/>
                      </a:lnTo>
                      <a:lnTo>
                        <a:pt x="674" y="256"/>
                      </a:lnTo>
                      <a:lnTo>
                        <a:pt x="674" y="256"/>
                      </a:lnTo>
                      <a:lnTo>
                        <a:pt x="674" y="256"/>
                      </a:lnTo>
                      <a:lnTo>
                        <a:pt x="674" y="256"/>
                      </a:lnTo>
                      <a:lnTo>
                        <a:pt x="674" y="256"/>
                      </a:lnTo>
                      <a:lnTo>
                        <a:pt x="675" y="256"/>
                      </a:lnTo>
                      <a:lnTo>
                        <a:pt x="675" y="256"/>
                      </a:lnTo>
                      <a:lnTo>
                        <a:pt x="675" y="254"/>
                      </a:lnTo>
                      <a:lnTo>
                        <a:pt x="677" y="254"/>
                      </a:lnTo>
                      <a:lnTo>
                        <a:pt x="677" y="253"/>
                      </a:lnTo>
                      <a:lnTo>
                        <a:pt x="677" y="253"/>
                      </a:lnTo>
                      <a:lnTo>
                        <a:pt x="678" y="253"/>
                      </a:lnTo>
                      <a:lnTo>
                        <a:pt x="678" y="253"/>
                      </a:lnTo>
                      <a:lnTo>
                        <a:pt x="678" y="253"/>
                      </a:lnTo>
                      <a:lnTo>
                        <a:pt x="678" y="253"/>
                      </a:lnTo>
                      <a:lnTo>
                        <a:pt x="678" y="253"/>
                      </a:lnTo>
                      <a:lnTo>
                        <a:pt x="678" y="253"/>
                      </a:lnTo>
                      <a:lnTo>
                        <a:pt x="679" y="252"/>
                      </a:lnTo>
                      <a:lnTo>
                        <a:pt x="679" y="254"/>
                      </a:lnTo>
                      <a:lnTo>
                        <a:pt x="679" y="257"/>
                      </a:lnTo>
                      <a:lnTo>
                        <a:pt x="679" y="257"/>
                      </a:lnTo>
                      <a:lnTo>
                        <a:pt x="679" y="257"/>
                      </a:lnTo>
                      <a:lnTo>
                        <a:pt x="679" y="257"/>
                      </a:lnTo>
                      <a:lnTo>
                        <a:pt x="679" y="257"/>
                      </a:lnTo>
                      <a:lnTo>
                        <a:pt x="679" y="257"/>
                      </a:lnTo>
                      <a:lnTo>
                        <a:pt x="680" y="258"/>
                      </a:lnTo>
                      <a:lnTo>
                        <a:pt x="680" y="259"/>
                      </a:lnTo>
                      <a:lnTo>
                        <a:pt x="680" y="258"/>
                      </a:lnTo>
                      <a:lnTo>
                        <a:pt x="680" y="258"/>
                      </a:lnTo>
                      <a:lnTo>
                        <a:pt x="680" y="257"/>
                      </a:lnTo>
                      <a:lnTo>
                        <a:pt x="680" y="256"/>
                      </a:lnTo>
                      <a:lnTo>
                        <a:pt x="680" y="253"/>
                      </a:lnTo>
                      <a:lnTo>
                        <a:pt x="679" y="252"/>
                      </a:lnTo>
                      <a:lnTo>
                        <a:pt x="679" y="252"/>
                      </a:lnTo>
                      <a:lnTo>
                        <a:pt x="680" y="251"/>
                      </a:lnTo>
                      <a:lnTo>
                        <a:pt x="680" y="251"/>
                      </a:lnTo>
                      <a:lnTo>
                        <a:pt x="680" y="252"/>
                      </a:lnTo>
                      <a:lnTo>
                        <a:pt x="681" y="252"/>
                      </a:lnTo>
                      <a:lnTo>
                        <a:pt x="681" y="253"/>
                      </a:lnTo>
                      <a:lnTo>
                        <a:pt x="681" y="253"/>
                      </a:lnTo>
                      <a:lnTo>
                        <a:pt x="681" y="256"/>
                      </a:lnTo>
                      <a:lnTo>
                        <a:pt x="682" y="257"/>
                      </a:lnTo>
                      <a:lnTo>
                        <a:pt x="682" y="258"/>
                      </a:lnTo>
                      <a:lnTo>
                        <a:pt x="682" y="260"/>
                      </a:lnTo>
                      <a:lnTo>
                        <a:pt x="684" y="259"/>
                      </a:lnTo>
                      <a:lnTo>
                        <a:pt x="684" y="258"/>
                      </a:lnTo>
                      <a:lnTo>
                        <a:pt x="684" y="257"/>
                      </a:lnTo>
                      <a:lnTo>
                        <a:pt x="685" y="256"/>
                      </a:lnTo>
                      <a:lnTo>
                        <a:pt x="686" y="256"/>
                      </a:lnTo>
                      <a:lnTo>
                        <a:pt x="686" y="254"/>
                      </a:lnTo>
                      <a:lnTo>
                        <a:pt x="687" y="254"/>
                      </a:lnTo>
                      <a:lnTo>
                        <a:pt x="688" y="254"/>
                      </a:lnTo>
                      <a:lnTo>
                        <a:pt x="688" y="254"/>
                      </a:lnTo>
                      <a:lnTo>
                        <a:pt x="688" y="257"/>
                      </a:lnTo>
                      <a:lnTo>
                        <a:pt x="690" y="258"/>
                      </a:lnTo>
                      <a:lnTo>
                        <a:pt x="690" y="258"/>
                      </a:lnTo>
                      <a:lnTo>
                        <a:pt x="690" y="258"/>
                      </a:lnTo>
                      <a:lnTo>
                        <a:pt x="690" y="259"/>
                      </a:lnTo>
                      <a:lnTo>
                        <a:pt x="690" y="262"/>
                      </a:lnTo>
                      <a:lnTo>
                        <a:pt x="691" y="262"/>
                      </a:lnTo>
                      <a:lnTo>
                        <a:pt x="690" y="263"/>
                      </a:lnTo>
                      <a:lnTo>
                        <a:pt x="690" y="265"/>
                      </a:lnTo>
                      <a:lnTo>
                        <a:pt x="690" y="267"/>
                      </a:lnTo>
                      <a:lnTo>
                        <a:pt x="688" y="270"/>
                      </a:lnTo>
                      <a:lnTo>
                        <a:pt x="687" y="271"/>
                      </a:lnTo>
                      <a:lnTo>
                        <a:pt x="687" y="273"/>
                      </a:lnTo>
                      <a:lnTo>
                        <a:pt x="687" y="276"/>
                      </a:lnTo>
                      <a:lnTo>
                        <a:pt x="686" y="276"/>
                      </a:lnTo>
                      <a:lnTo>
                        <a:pt x="687" y="277"/>
                      </a:lnTo>
                      <a:lnTo>
                        <a:pt x="687" y="279"/>
                      </a:lnTo>
                      <a:lnTo>
                        <a:pt x="686" y="280"/>
                      </a:lnTo>
                      <a:lnTo>
                        <a:pt x="687" y="280"/>
                      </a:lnTo>
                      <a:lnTo>
                        <a:pt x="688" y="280"/>
                      </a:lnTo>
                      <a:lnTo>
                        <a:pt x="688" y="279"/>
                      </a:lnTo>
                      <a:lnTo>
                        <a:pt x="691" y="279"/>
                      </a:lnTo>
                      <a:lnTo>
                        <a:pt x="692" y="280"/>
                      </a:lnTo>
                      <a:lnTo>
                        <a:pt x="692" y="281"/>
                      </a:lnTo>
                      <a:lnTo>
                        <a:pt x="692" y="283"/>
                      </a:lnTo>
                      <a:lnTo>
                        <a:pt x="693" y="284"/>
                      </a:lnTo>
                      <a:lnTo>
                        <a:pt x="692" y="286"/>
                      </a:lnTo>
                      <a:lnTo>
                        <a:pt x="692" y="287"/>
                      </a:lnTo>
                      <a:lnTo>
                        <a:pt x="692" y="289"/>
                      </a:lnTo>
                      <a:lnTo>
                        <a:pt x="692" y="290"/>
                      </a:lnTo>
                      <a:lnTo>
                        <a:pt x="694" y="291"/>
                      </a:lnTo>
                      <a:lnTo>
                        <a:pt x="695" y="291"/>
                      </a:lnTo>
                      <a:lnTo>
                        <a:pt x="697" y="292"/>
                      </a:lnTo>
                      <a:lnTo>
                        <a:pt x="698" y="292"/>
                      </a:lnTo>
                      <a:lnTo>
                        <a:pt x="698" y="293"/>
                      </a:lnTo>
                      <a:lnTo>
                        <a:pt x="699" y="293"/>
                      </a:lnTo>
                      <a:lnTo>
                        <a:pt x="700" y="293"/>
                      </a:lnTo>
                      <a:lnTo>
                        <a:pt x="700" y="294"/>
                      </a:lnTo>
                      <a:lnTo>
                        <a:pt x="700" y="296"/>
                      </a:lnTo>
                      <a:lnTo>
                        <a:pt x="700" y="297"/>
                      </a:lnTo>
                      <a:lnTo>
                        <a:pt x="701" y="298"/>
                      </a:lnTo>
                      <a:lnTo>
                        <a:pt x="701" y="299"/>
                      </a:lnTo>
                      <a:lnTo>
                        <a:pt x="701" y="300"/>
                      </a:lnTo>
                      <a:lnTo>
                        <a:pt x="701" y="301"/>
                      </a:lnTo>
                      <a:lnTo>
                        <a:pt x="701" y="304"/>
                      </a:lnTo>
                      <a:lnTo>
                        <a:pt x="702" y="304"/>
                      </a:lnTo>
                      <a:lnTo>
                        <a:pt x="702" y="304"/>
                      </a:lnTo>
                      <a:lnTo>
                        <a:pt x="702" y="305"/>
                      </a:lnTo>
                      <a:lnTo>
                        <a:pt x="704" y="306"/>
                      </a:lnTo>
                      <a:lnTo>
                        <a:pt x="705" y="306"/>
                      </a:lnTo>
                      <a:lnTo>
                        <a:pt x="706" y="307"/>
                      </a:lnTo>
                      <a:lnTo>
                        <a:pt x="706" y="309"/>
                      </a:lnTo>
                      <a:lnTo>
                        <a:pt x="706" y="310"/>
                      </a:lnTo>
                      <a:lnTo>
                        <a:pt x="706" y="310"/>
                      </a:lnTo>
                      <a:lnTo>
                        <a:pt x="707" y="311"/>
                      </a:lnTo>
                      <a:lnTo>
                        <a:pt x="707" y="313"/>
                      </a:lnTo>
                      <a:lnTo>
                        <a:pt x="706" y="312"/>
                      </a:lnTo>
                      <a:lnTo>
                        <a:pt x="706" y="313"/>
                      </a:lnTo>
                      <a:lnTo>
                        <a:pt x="707" y="314"/>
                      </a:lnTo>
                      <a:lnTo>
                        <a:pt x="707" y="316"/>
                      </a:lnTo>
                      <a:lnTo>
                        <a:pt x="708" y="316"/>
                      </a:lnTo>
                      <a:lnTo>
                        <a:pt x="710" y="317"/>
                      </a:lnTo>
                      <a:lnTo>
                        <a:pt x="711" y="319"/>
                      </a:lnTo>
                      <a:lnTo>
                        <a:pt x="711" y="321"/>
                      </a:lnTo>
                      <a:lnTo>
                        <a:pt x="713" y="324"/>
                      </a:lnTo>
                      <a:lnTo>
                        <a:pt x="712" y="326"/>
                      </a:lnTo>
                      <a:lnTo>
                        <a:pt x="712" y="327"/>
                      </a:lnTo>
                      <a:lnTo>
                        <a:pt x="712" y="332"/>
                      </a:lnTo>
                      <a:lnTo>
                        <a:pt x="712" y="331"/>
                      </a:lnTo>
                      <a:lnTo>
                        <a:pt x="712" y="334"/>
                      </a:lnTo>
                      <a:lnTo>
                        <a:pt x="712" y="336"/>
                      </a:lnTo>
                      <a:lnTo>
                        <a:pt x="710" y="337"/>
                      </a:lnTo>
                      <a:lnTo>
                        <a:pt x="710" y="339"/>
                      </a:lnTo>
                      <a:lnTo>
                        <a:pt x="708" y="343"/>
                      </a:lnTo>
                      <a:lnTo>
                        <a:pt x="707" y="344"/>
                      </a:lnTo>
                      <a:lnTo>
                        <a:pt x="707" y="346"/>
                      </a:lnTo>
                      <a:lnTo>
                        <a:pt x="706" y="346"/>
                      </a:lnTo>
                      <a:lnTo>
                        <a:pt x="706" y="347"/>
                      </a:lnTo>
                      <a:lnTo>
                        <a:pt x="704" y="349"/>
                      </a:lnTo>
                      <a:lnTo>
                        <a:pt x="704" y="350"/>
                      </a:lnTo>
                      <a:lnTo>
                        <a:pt x="705" y="351"/>
                      </a:lnTo>
                      <a:lnTo>
                        <a:pt x="705" y="353"/>
                      </a:lnTo>
                      <a:lnTo>
                        <a:pt x="706" y="354"/>
                      </a:lnTo>
                      <a:lnTo>
                        <a:pt x="707" y="356"/>
                      </a:lnTo>
                      <a:lnTo>
                        <a:pt x="708" y="357"/>
                      </a:lnTo>
                      <a:lnTo>
                        <a:pt x="708" y="358"/>
                      </a:lnTo>
                      <a:lnTo>
                        <a:pt x="708" y="358"/>
                      </a:lnTo>
                      <a:lnTo>
                        <a:pt x="707" y="360"/>
                      </a:lnTo>
                      <a:lnTo>
                        <a:pt x="707" y="360"/>
                      </a:lnTo>
                      <a:lnTo>
                        <a:pt x="707" y="361"/>
                      </a:lnTo>
                      <a:lnTo>
                        <a:pt x="707" y="361"/>
                      </a:lnTo>
                      <a:lnTo>
                        <a:pt x="708" y="363"/>
                      </a:lnTo>
                      <a:lnTo>
                        <a:pt x="708" y="364"/>
                      </a:lnTo>
                      <a:lnTo>
                        <a:pt x="708" y="364"/>
                      </a:lnTo>
                      <a:lnTo>
                        <a:pt x="708" y="365"/>
                      </a:lnTo>
                      <a:lnTo>
                        <a:pt x="707" y="366"/>
                      </a:lnTo>
                      <a:lnTo>
                        <a:pt x="707" y="366"/>
                      </a:lnTo>
                      <a:lnTo>
                        <a:pt x="707" y="367"/>
                      </a:lnTo>
                      <a:lnTo>
                        <a:pt x="705" y="367"/>
                      </a:lnTo>
                      <a:lnTo>
                        <a:pt x="704" y="369"/>
                      </a:lnTo>
                      <a:lnTo>
                        <a:pt x="702" y="372"/>
                      </a:lnTo>
                      <a:lnTo>
                        <a:pt x="702" y="373"/>
                      </a:lnTo>
                      <a:lnTo>
                        <a:pt x="701" y="374"/>
                      </a:lnTo>
                      <a:lnTo>
                        <a:pt x="704" y="377"/>
                      </a:lnTo>
                      <a:lnTo>
                        <a:pt x="704" y="377"/>
                      </a:lnTo>
                      <a:lnTo>
                        <a:pt x="704" y="378"/>
                      </a:lnTo>
                      <a:lnTo>
                        <a:pt x="704" y="378"/>
                      </a:lnTo>
                      <a:lnTo>
                        <a:pt x="702" y="380"/>
                      </a:lnTo>
                      <a:lnTo>
                        <a:pt x="702" y="381"/>
                      </a:lnTo>
                      <a:lnTo>
                        <a:pt x="702" y="383"/>
                      </a:lnTo>
                      <a:lnTo>
                        <a:pt x="700" y="383"/>
                      </a:lnTo>
                      <a:lnTo>
                        <a:pt x="700" y="384"/>
                      </a:lnTo>
                      <a:lnTo>
                        <a:pt x="699" y="385"/>
                      </a:lnTo>
                      <a:lnTo>
                        <a:pt x="699" y="386"/>
                      </a:lnTo>
                      <a:lnTo>
                        <a:pt x="700" y="387"/>
                      </a:lnTo>
                      <a:lnTo>
                        <a:pt x="699" y="389"/>
                      </a:lnTo>
                      <a:lnTo>
                        <a:pt x="698" y="390"/>
                      </a:lnTo>
                      <a:lnTo>
                        <a:pt x="697" y="392"/>
                      </a:lnTo>
                      <a:lnTo>
                        <a:pt x="697" y="392"/>
                      </a:lnTo>
                      <a:lnTo>
                        <a:pt x="695" y="394"/>
                      </a:lnTo>
                      <a:lnTo>
                        <a:pt x="695" y="394"/>
                      </a:lnTo>
                      <a:lnTo>
                        <a:pt x="695" y="394"/>
                      </a:lnTo>
                      <a:lnTo>
                        <a:pt x="695" y="396"/>
                      </a:lnTo>
                      <a:lnTo>
                        <a:pt x="695" y="396"/>
                      </a:lnTo>
                      <a:lnTo>
                        <a:pt x="695" y="396"/>
                      </a:lnTo>
                      <a:lnTo>
                        <a:pt x="695" y="396"/>
                      </a:lnTo>
                      <a:lnTo>
                        <a:pt x="695" y="396"/>
                      </a:lnTo>
                      <a:lnTo>
                        <a:pt x="695" y="396"/>
                      </a:lnTo>
                      <a:lnTo>
                        <a:pt x="695" y="397"/>
                      </a:lnTo>
                      <a:lnTo>
                        <a:pt x="692" y="397"/>
                      </a:lnTo>
                      <a:lnTo>
                        <a:pt x="693" y="398"/>
                      </a:lnTo>
                      <a:lnTo>
                        <a:pt x="693" y="398"/>
                      </a:lnTo>
                      <a:lnTo>
                        <a:pt x="691" y="399"/>
                      </a:lnTo>
                      <a:lnTo>
                        <a:pt x="690" y="403"/>
                      </a:lnTo>
                      <a:lnTo>
                        <a:pt x="688" y="405"/>
                      </a:lnTo>
                      <a:lnTo>
                        <a:pt x="688" y="409"/>
                      </a:lnTo>
                      <a:lnTo>
                        <a:pt x="686" y="411"/>
                      </a:lnTo>
                      <a:lnTo>
                        <a:pt x="685" y="413"/>
                      </a:lnTo>
                      <a:lnTo>
                        <a:pt x="685" y="413"/>
                      </a:lnTo>
                      <a:lnTo>
                        <a:pt x="684" y="413"/>
                      </a:lnTo>
                      <a:lnTo>
                        <a:pt x="681" y="414"/>
                      </a:lnTo>
                      <a:lnTo>
                        <a:pt x="681" y="416"/>
                      </a:lnTo>
                      <a:lnTo>
                        <a:pt x="681" y="417"/>
                      </a:lnTo>
                      <a:lnTo>
                        <a:pt x="680" y="418"/>
                      </a:lnTo>
                      <a:lnTo>
                        <a:pt x="680" y="419"/>
                      </a:lnTo>
                      <a:lnTo>
                        <a:pt x="679" y="420"/>
                      </a:lnTo>
                      <a:lnTo>
                        <a:pt x="678" y="423"/>
                      </a:lnTo>
                      <a:lnTo>
                        <a:pt x="677" y="424"/>
                      </a:lnTo>
                      <a:lnTo>
                        <a:pt x="675" y="426"/>
                      </a:lnTo>
                      <a:lnTo>
                        <a:pt x="675" y="426"/>
                      </a:lnTo>
                      <a:lnTo>
                        <a:pt x="674" y="426"/>
                      </a:lnTo>
                      <a:lnTo>
                        <a:pt x="674" y="427"/>
                      </a:lnTo>
                      <a:lnTo>
                        <a:pt x="674" y="428"/>
                      </a:lnTo>
                      <a:lnTo>
                        <a:pt x="674" y="430"/>
                      </a:lnTo>
                      <a:lnTo>
                        <a:pt x="674" y="430"/>
                      </a:lnTo>
                      <a:lnTo>
                        <a:pt x="672" y="431"/>
                      </a:lnTo>
                      <a:lnTo>
                        <a:pt x="672" y="431"/>
                      </a:lnTo>
                      <a:lnTo>
                        <a:pt x="671" y="432"/>
                      </a:lnTo>
                      <a:lnTo>
                        <a:pt x="671" y="433"/>
                      </a:lnTo>
                      <a:lnTo>
                        <a:pt x="671" y="433"/>
                      </a:lnTo>
                      <a:lnTo>
                        <a:pt x="671" y="434"/>
                      </a:lnTo>
                      <a:lnTo>
                        <a:pt x="671" y="436"/>
                      </a:lnTo>
                      <a:lnTo>
                        <a:pt x="670" y="437"/>
                      </a:lnTo>
                      <a:lnTo>
                        <a:pt x="668" y="439"/>
                      </a:lnTo>
                      <a:lnTo>
                        <a:pt x="666" y="440"/>
                      </a:lnTo>
                      <a:lnTo>
                        <a:pt x="665" y="443"/>
                      </a:lnTo>
                      <a:lnTo>
                        <a:pt x="662" y="445"/>
                      </a:lnTo>
                      <a:lnTo>
                        <a:pt x="662" y="447"/>
                      </a:lnTo>
                      <a:lnTo>
                        <a:pt x="661" y="447"/>
                      </a:lnTo>
                      <a:lnTo>
                        <a:pt x="661" y="448"/>
                      </a:lnTo>
                      <a:lnTo>
                        <a:pt x="660" y="448"/>
                      </a:lnTo>
                      <a:lnTo>
                        <a:pt x="660" y="450"/>
                      </a:lnTo>
                      <a:lnTo>
                        <a:pt x="659" y="451"/>
                      </a:lnTo>
                      <a:lnTo>
                        <a:pt x="657" y="452"/>
                      </a:lnTo>
                      <a:lnTo>
                        <a:pt x="657" y="452"/>
                      </a:lnTo>
                      <a:lnTo>
                        <a:pt x="657" y="453"/>
                      </a:lnTo>
                      <a:lnTo>
                        <a:pt x="657" y="453"/>
                      </a:lnTo>
                      <a:lnTo>
                        <a:pt x="655" y="454"/>
                      </a:lnTo>
                      <a:lnTo>
                        <a:pt x="653" y="457"/>
                      </a:lnTo>
                      <a:lnTo>
                        <a:pt x="652" y="460"/>
                      </a:lnTo>
                      <a:lnTo>
                        <a:pt x="651" y="460"/>
                      </a:lnTo>
                      <a:lnTo>
                        <a:pt x="651" y="460"/>
                      </a:lnTo>
                      <a:lnTo>
                        <a:pt x="650" y="461"/>
                      </a:lnTo>
                      <a:lnTo>
                        <a:pt x="648" y="463"/>
                      </a:lnTo>
                      <a:lnTo>
                        <a:pt x="647" y="463"/>
                      </a:lnTo>
                      <a:lnTo>
                        <a:pt x="645" y="464"/>
                      </a:lnTo>
                      <a:lnTo>
                        <a:pt x="645" y="465"/>
                      </a:lnTo>
                      <a:lnTo>
                        <a:pt x="645" y="466"/>
                      </a:lnTo>
                      <a:lnTo>
                        <a:pt x="641" y="466"/>
                      </a:lnTo>
                      <a:lnTo>
                        <a:pt x="641" y="466"/>
                      </a:lnTo>
                      <a:lnTo>
                        <a:pt x="641" y="467"/>
                      </a:lnTo>
                      <a:lnTo>
                        <a:pt x="641" y="468"/>
                      </a:lnTo>
                      <a:lnTo>
                        <a:pt x="640" y="468"/>
                      </a:lnTo>
                      <a:lnTo>
                        <a:pt x="639" y="470"/>
                      </a:lnTo>
                      <a:lnTo>
                        <a:pt x="639" y="471"/>
                      </a:lnTo>
                      <a:lnTo>
                        <a:pt x="638" y="472"/>
                      </a:lnTo>
                      <a:lnTo>
                        <a:pt x="635" y="472"/>
                      </a:lnTo>
                      <a:lnTo>
                        <a:pt x="634" y="472"/>
                      </a:lnTo>
                      <a:lnTo>
                        <a:pt x="633" y="472"/>
                      </a:lnTo>
                      <a:lnTo>
                        <a:pt x="632" y="473"/>
                      </a:lnTo>
                      <a:lnTo>
                        <a:pt x="631" y="476"/>
                      </a:lnTo>
                      <a:lnTo>
                        <a:pt x="631" y="476"/>
                      </a:lnTo>
                      <a:lnTo>
                        <a:pt x="630" y="477"/>
                      </a:lnTo>
                      <a:lnTo>
                        <a:pt x="630" y="476"/>
                      </a:lnTo>
                      <a:lnTo>
                        <a:pt x="630" y="476"/>
                      </a:lnTo>
                      <a:lnTo>
                        <a:pt x="630" y="476"/>
                      </a:lnTo>
                      <a:lnTo>
                        <a:pt x="630" y="476"/>
                      </a:lnTo>
                      <a:lnTo>
                        <a:pt x="630" y="476"/>
                      </a:lnTo>
                      <a:lnTo>
                        <a:pt x="628" y="476"/>
                      </a:lnTo>
                      <a:lnTo>
                        <a:pt x="627" y="477"/>
                      </a:lnTo>
                      <a:lnTo>
                        <a:pt x="627" y="477"/>
                      </a:lnTo>
                      <a:lnTo>
                        <a:pt x="627" y="478"/>
                      </a:lnTo>
                      <a:lnTo>
                        <a:pt x="627" y="478"/>
                      </a:lnTo>
                      <a:lnTo>
                        <a:pt x="627" y="478"/>
                      </a:lnTo>
                      <a:lnTo>
                        <a:pt x="627" y="478"/>
                      </a:lnTo>
                      <a:lnTo>
                        <a:pt x="627" y="478"/>
                      </a:lnTo>
                      <a:lnTo>
                        <a:pt x="627" y="478"/>
                      </a:lnTo>
                      <a:lnTo>
                        <a:pt x="626" y="478"/>
                      </a:lnTo>
                      <a:lnTo>
                        <a:pt x="624" y="480"/>
                      </a:lnTo>
                      <a:lnTo>
                        <a:pt x="621" y="481"/>
                      </a:lnTo>
                      <a:lnTo>
                        <a:pt x="621" y="483"/>
                      </a:lnTo>
                      <a:lnTo>
                        <a:pt x="620" y="484"/>
                      </a:lnTo>
                      <a:lnTo>
                        <a:pt x="619" y="486"/>
                      </a:lnTo>
                      <a:lnTo>
                        <a:pt x="617" y="488"/>
                      </a:lnTo>
                      <a:lnTo>
                        <a:pt x="615" y="491"/>
                      </a:lnTo>
                      <a:lnTo>
                        <a:pt x="614" y="492"/>
                      </a:lnTo>
                      <a:lnTo>
                        <a:pt x="612" y="494"/>
                      </a:lnTo>
                      <a:lnTo>
                        <a:pt x="610" y="498"/>
                      </a:lnTo>
                      <a:lnTo>
                        <a:pt x="606" y="501"/>
                      </a:lnTo>
                      <a:lnTo>
                        <a:pt x="605" y="503"/>
                      </a:lnTo>
                      <a:lnTo>
                        <a:pt x="602" y="505"/>
                      </a:lnTo>
                      <a:lnTo>
                        <a:pt x="600" y="507"/>
                      </a:lnTo>
                      <a:lnTo>
                        <a:pt x="599" y="510"/>
                      </a:lnTo>
                      <a:lnTo>
                        <a:pt x="599" y="512"/>
                      </a:lnTo>
                      <a:lnTo>
                        <a:pt x="599" y="512"/>
                      </a:lnTo>
                      <a:lnTo>
                        <a:pt x="597" y="513"/>
                      </a:lnTo>
                      <a:lnTo>
                        <a:pt x="598" y="513"/>
                      </a:lnTo>
                      <a:lnTo>
                        <a:pt x="594" y="516"/>
                      </a:lnTo>
                      <a:lnTo>
                        <a:pt x="594" y="519"/>
                      </a:lnTo>
                      <a:lnTo>
                        <a:pt x="594" y="520"/>
                      </a:lnTo>
                      <a:lnTo>
                        <a:pt x="593" y="521"/>
                      </a:lnTo>
                      <a:lnTo>
                        <a:pt x="592" y="521"/>
                      </a:lnTo>
                      <a:lnTo>
                        <a:pt x="590" y="520"/>
                      </a:lnTo>
                      <a:lnTo>
                        <a:pt x="588" y="523"/>
                      </a:lnTo>
                      <a:lnTo>
                        <a:pt x="586" y="526"/>
                      </a:lnTo>
                      <a:lnTo>
                        <a:pt x="584" y="525"/>
                      </a:lnTo>
                      <a:lnTo>
                        <a:pt x="581" y="528"/>
                      </a:lnTo>
                      <a:lnTo>
                        <a:pt x="579" y="533"/>
                      </a:lnTo>
                      <a:lnTo>
                        <a:pt x="579" y="533"/>
                      </a:lnTo>
                      <a:lnTo>
                        <a:pt x="578" y="536"/>
                      </a:lnTo>
                      <a:lnTo>
                        <a:pt x="577" y="538"/>
                      </a:lnTo>
                      <a:lnTo>
                        <a:pt x="575" y="540"/>
                      </a:lnTo>
                      <a:lnTo>
                        <a:pt x="571" y="540"/>
                      </a:lnTo>
                      <a:lnTo>
                        <a:pt x="570" y="544"/>
                      </a:lnTo>
                      <a:lnTo>
                        <a:pt x="570" y="546"/>
                      </a:lnTo>
                      <a:lnTo>
                        <a:pt x="568" y="548"/>
                      </a:lnTo>
                      <a:lnTo>
                        <a:pt x="566" y="550"/>
                      </a:lnTo>
                      <a:lnTo>
                        <a:pt x="566" y="550"/>
                      </a:lnTo>
                      <a:lnTo>
                        <a:pt x="564" y="553"/>
                      </a:lnTo>
                      <a:lnTo>
                        <a:pt x="562" y="554"/>
                      </a:lnTo>
                      <a:lnTo>
                        <a:pt x="560" y="556"/>
                      </a:lnTo>
                      <a:lnTo>
                        <a:pt x="561" y="559"/>
                      </a:lnTo>
                      <a:lnTo>
                        <a:pt x="560" y="559"/>
                      </a:lnTo>
                      <a:lnTo>
                        <a:pt x="558" y="563"/>
                      </a:lnTo>
                      <a:lnTo>
                        <a:pt x="557" y="565"/>
                      </a:lnTo>
                      <a:lnTo>
                        <a:pt x="557" y="565"/>
                      </a:lnTo>
                      <a:lnTo>
                        <a:pt x="554" y="568"/>
                      </a:lnTo>
                      <a:lnTo>
                        <a:pt x="553" y="570"/>
                      </a:lnTo>
                      <a:lnTo>
                        <a:pt x="551" y="570"/>
                      </a:lnTo>
                      <a:lnTo>
                        <a:pt x="551" y="570"/>
                      </a:lnTo>
                      <a:lnTo>
                        <a:pt x="550" y="573"/>
                      </a:lnTo>
                      <a:lnTo>
                        <a:pt x="548" y="573"/>
                      </a:lnTo>
                      <a:lnTo>
                        <a:pt x="547" y="573"/>
                      </a:lnTo>
                      <a:lnTo>
                        <a:pt x="546" y="572"/>
                      </a:lnTo>
                      <a:lnTo>
                        <a:pt x="544" y="575"/>
                      </a:lnTo>
                      <a:lnTo>
                        <a:pt x="541" y="574"/>
                      </a:lnTo>
                      <a:lnTo>
                        <a:pt x="540" y="574"/>
                      </a:lnTo>
                      <a:lnTo>
                        <a:pt x="539" y="573"/>
                      </a:lnTo>
                      <a:lnTo>
                        <a:pt x="537" y="575"/>
                      </a:lnTo>
                      <a:lnTo>
                        <a:pt x="534" y="575"/>
                      </a:lnTo>
                      <a:lnTo>
                        <a:pt x="532" y="575"/>
                      </a:lnTo>
                      <a:lnTo>
                        <a:pt x="530" y="575"/>
                      </a:lnTo>
                      <a:lnTo>
                        <a:pt x="528" y="575"/>
                      </a:lnTo>
                      <a:lnTo>
                        <a:pt x="526" y="574"/>
                      </a:lnTo>
                      <a:lnTo>
                        <a:pt x="524" y="577"/>
                      </a:lnTo>
                      <a:lnTo>
                        <a:pt x="522" y="577"/>
                      </a:lnTo>
                      <a:lnTo>
                        <a:pt x="520" y="577"/>
                      </a:lnTo>
                      <a:lnTo>
                        <a:pt x="519" y="577"/>
                      </a:lnTo>
                      <a:lnTo>
                        <a:pt x="514" y="578"/>
                      </a:lnTo>
                      <a:lnTo>
                        <a:pt x="517" y="578"/>
                      </a:lnTo>
                      <a:lnTo>
                        <a:pt x="515" y="577"/>
                      </a:lnTo>
                      <a:lnTo>
                        <a:pt x="512" y="580"/>
                      </a:lnTo>
                      <a:lnTo>
                        <a:pt x="513" y="578"/>
                      </a:lnTo>
                      <a:lnTo>
                        <a:pt x="512" y="578"/>
                      </a:lnTo>
                      <a:lnTo>
                        <a:pt x="508" y="579"/>
                      </a:lnTo>
                      <a:lnTo>
                        <a:pt x="506" y="581"/>
                      </a:lnTo>
                      <a:lnTo>
                        <a:pt x="506" y="581"/>
                      </a:lnTo>
                      <a:lnTo>
                        <a:pt x="505" y="583"/>
                      </a:lnTo>
                      <a:lnTo>
                        <a:pt x="502" y="584"/>
                      </a:lnTo>
                      <a:lnTo>
                        <a:pt x="499" y="587"/>
                      </a:lnTo>
                      <a:lnTo>
                        <a:pt x="500" y="587"/>
                      </a:lnTo>
                      <a:lnTo>
                        <a:pt x="497" y="588"/>
                      </a:lnTo>
                      <a:lnTo>
                        <a:pt x="493" y="593"/>
                      </a:lnTo>
                      <a:lnTo>
                        <a:pt x="495" y="591"/>
                      </a:lnTo>
                      <a:lnTo>
                        <a:pt x="494" y="592"/>
                      </a:lnTo>
                      <a:lnTo>
                        <a:pt x="491" y="593"/>
                      </a:lnTo>
                      <a:lnTo>
                        <a:pt x="488" y="593"/>
                      </a:lnTo>
                      <a:lnTo>
                        <a:pt x="488" y="593"/>
                      </a:lnTo>
                      <a:lnTo>
                        <a:pt x="486" y="594"/>
                      </a:lnTo>
                      <a:lnTo>
                        <a:pt x="485" y="595"/>
                      </a:lnTo>
                      <a:lnTo>
                        <a:pt x="484" y="597"/>
                      </a:lnTo>
                      <a:lnTo>
                        <a:pt x="483" y="598"/>
                      </a:lnTo>
                      <a:lnTo>
                        <a:pt x="483" y="599"/>
                      </a:lnTo>
                      <a:lnTo>
                        <a:pt x="480" y="601"/>
                      </a:lnTo>
                      <a:lnTo>
                        <a:pt x="479" y="599"/>
                      </a:lnTo>
                      <a:lnTo>
                        <a:pt x="478" y="598"/>
                      </a:lnTo>
                      <a:lnTo>
                        <a:pt x="474" y="597"/>
                      </a:lnTo>
                      <a:lnTo>
                        <a:pt x="473" y="595"/>
                      </a:lnTo>
                      <a:lnTo>
                        <a:pt x="473" y="593"/>
                      </a:lnTo>
                      <a:lnTo>
                        <a:pt x="470" y="591"/>
                      </a:lnTo>
                      <a:lnTo>
                        <a:pt x="468" y="590"/>
                      </a:lnTo>
                      <a:lnTo>
                        <a:pt x="467" y="587"/>
                      </a:lnTo>
                      <a:lnTo>
                        <a:pt x="463" y="583"/>
                      </a:lnTo>
                      <a:lnTo>
                        <a:pt x="461" y="584"/>
                      </a:lnTo>
                      <a:lnTo>
                        <a:pt x="463" y="585"/>
                      </a:lnTo>
                      <a:lnTo>
                        <a:pt x="465" y="588"/>
                      </a:lnTo>
                      <a:lnTo>
                        <a:pt x="465" y="588"/>
                      </a:lnTo>
                      <a:lnTo>
                        <a:pt x="463" y="586"/>
                      </a:lnTo>
                      <a:lnTo>
                        <a:pt x="461" y="585"/>
                      </a:lnTo>
                      <a:lnTo>
                        <a:pt x="459" y="584"/>
                      </a:lnTo>
                      <a:lnTo>
                        <a:pt x="459" y="583"/>
                      </a:lnTo>
                      <a:lnTo>
                        <a:pt x="458" y="583"/>
                      </a:lnTo>
                      <a:lnTo>
                        <a:pt x="455" y="583"/>
                      </a:lnTo>
                      <a:lnTo>
                        <a:pt x="453" y="584"/>
                      </a:lnTo>
                      <a:lnTo>
                        <a:pt x="452" y="585"/>
                      </a:lnTo>
                      <a:lnTo>
                        <a:pt x="451" y="586"/>
                      </a:lnTo>
                      <a:lnTo>
                        <a:pt x="446" y="586"/>
                      </a:lnTo>
                      <a:lnTo>
                        <a:pt x="446" y="586"/>
                      </a:lnTo>
                      <a:close/>
                      <a:moveTo>
                        <a:pt x="487" y="588"/>
                      </a:moveTo>
                      <a:lnTo>
                        <a:pt x="486" y="588"/>
                      </a:lnTo>
                      <a:lnTo>
                        <a:pt x="486" y="588"/>
                      </a:lnTo>
                      <a:lnTo>
                        <a:pt x="486" y="588"/>
                      </a:lnTo>
                      <a:lnTo>
                        <a:pt x="486" y="588"/>
                      </a:lnTo>
                      <a:lnTo>
                        <a:pt x="486" y="588"/>
                      </a:lnTo>
                      <a:lnTo>
                        <a:pt x="486" y="587"/>
                      </a:lnTo>
                      <a:lnTo>
                        <a:pt x="486" y="587"/>
                      </a:lnTo>
                      <a:lnTo>
                        <a:pt x="486" y="587"/>
                      </a:lnTo>
                      <a:lnTo>
                        <a:pt x="486" y="587"/>
                      </a:lnTo>
                      <a:lnTo>
                        <a:pt x="486" y="587"/>
                      </a:lnTo>
                      <a:lnTo>
                        <a:pt x="487" y="587"/>
                      </a:lnTo>
                      <a:lnTo>
                        <a:pt x="488" y="587"/>
                      </a:lnTo>
                      <a:lnTo>
                        <a:pt x="488" y="587"/>
                      </a:lnTo>
                      <a:lnTo>
                        <a:pt x="488" y="587"/>
                      </a:lnTo>
                      <a:lnTo>
                        <a:pt x="488" y="588"/>
                      </a:lnTo>
                      <a:lnTo>
                        <a:pt x="488" y="588"/>
                      </a:lnTo>
                      <a:lnTo>
                        <a:pt x="488" y="588"/>
                      </a:lnTo>
                      <a:lnTo>
                        <a:pt x="488" y="588"/>
                      </a:lnTo>
                      <a:lnTo>
                        <a:pt x="488" y="588"/>
                      </a:lnTo>
                      <a:lnTo>
                        <a:pt x="488" y="588"/>
                      </a:lnTo>
                      <a:lnTo>
                        <a:pt x="488" y="588"/>
                      </a:lnTo>
                      <a:lnTo>
                        <a:pt x="487" y="588"/>
                      </a:lnTo>
                      <a:lnTo>
                        <a:pt x="487" y="588"/>
                      </a:lnTo>
                      <a:lnTo>
                        <a:pt x="487" y="588"/>
                      </a:lnTo>
                      <a:lnTo>
                        <a:pt x="487" y="588"/>
                      </a:lnTo>
                      <a:close/>
                      <a:moveTo>
                        <a:pt x="470" y="584"/>
                      </a:moveTo>
                      <a:lnTo>
                        <a:pt x="470" y="584"/>
                      </a:lnTo>
                      <a:lnTo>
                        <a:pt x="470" y="584"/>
                      </a:lnTo>
                      <a:lnTo>
                        <a:pt x="470" y="584"/>
                      </a:lnTo>
                      <a:lnTo>
                        <a:pt x="470" y="584"/>
                      </a:lnTo>
                      <a:lnTo>
                        <a:pt x="468" y="584"/>
                      </a:lnTo>
                      <a:lnTo>
                        <a:pt x="468" y="583"/>
                      </a:lnTo>
                      <a:lnTo>
                        <a:pt x="468" y="583"/>
                      </a:lnTo>
                      <a:lnTo>
                        <a:pt x="468" y="583"/>
                      </a:lnTo>
                      <a:lnTo>
                        <a:pt x="467" y="584"/>
                      </a:lnTo>
                      <a:lnTo>
                        <a:pt x="467" y="584"/>
                      </a:lnTo>
                      <a:lnTo>
                        <a:pt x="466" y="584"/>
                      </a:lnTo>
                      <a:lnTo>
                        <a:pt x="466" y="584"/>
                      </a:lnTo>
                      <a:lnTo>
                        <a:pt x="466" y="584"/>
                      </a:lnTo>
                      <a:lnTo>
                        <a:pt x="466" y="583"/>
                      </a:lnTo>
                      <a:lnTo>
                        <a:pt x="467" y="583"/>
                      </a:lnTo>
                      <a:lnTo>
                        <a:pt x="467" y="583"/>
                      </a:lnTo>
                      <a:lnTo>
                        <a:pt x="468" y="583"/>
                      </a:lnTo>
                      <a:lnTo>
                        <a:pt x="468" y="581"/>
                      </a:lnTo>
                      <a:lnTo>
                        <a:pt x="470" y="581"/>
                      </a:lnTo>
                      <a:lnTo>
                        <a:pt x="470" y="581"/>
                      </a:lnTo>
                      <a:lnTo>
                        <a:pt x="470" y="581"/>
                      </a:lnTo>
                      <a:lnTo>
                        <a:pt x="470" y="581"/>
                      </a:lnTo>
                      <a:lnTo>
                        <a:pt x="470" y="581"/>
                      </a:lnTo>
                      <a:lnTo>
                        <a:pt x="470" y="583"/>
                      </a:lnTo>
                      <a:lnTo>
                        <a:pt x="470" y="584"/>
                      </a:lnTo>
                      <a:lnTo>
                        <a:pt x="470" y="584"/>
                      </a:lnTo>
                      <a:lnTo>
                        <a:pt x="470" y="584"/>
                      </a:lnTo>
                      <a:close/>
                      <a:moveTo>
                        <a:pt x="471" y="581"/>
                      </a:moveTo>
                      <a:lnTo>
                        <a:pt x="471" y="581"/>
                      </a:lnTo>
                      <a:lnTo>
                        <a:pt x="471" y="581"/>
                      </a:lnTo>
                      <a:lnTo>
                        <a:pt x="470" y="581"/>
                      </a:lnTo>
                      <a:lnTo>
                        <a:pt x="470" y="581"/>
                      </a:lnTo>
                      <a:lnTo>
                        <a:pt x="471" y="580"/>
                      </a:lnTo>
                      <a:lnTo>
                        <a:pt x="471" y="580"/>
                      </a:lnTo>
                      <a:lnTo>
                        <a:pt x="472" y="578"/>
                      </a:lnTo>
                      <a:lnTo>
                        <a:pt x="472" y="578"/>
                      </a:lnTo>
                      <a:lnTo>
                        <a:pt x="472" y="578"/>
                      </a:lnTo>
                      <a:lnTo>
                        <a:pt x="473" y="579"/>
                      </a:lnTo>
                      <a:lnTo>
                        <a:pt x="474" y="579"/>
                      </a:lnTo>
                      <a:lnTo>
                        <a:pt x="474" y="579"/>
                      </a:lnTo>
                      <a:lnTo>
                        <a:pt x="474" y="579"/>
                      </a:lnTo>
                      <a:lnTo>
                        <a:pt x="474" y="580"/>
                      </a:lnTo>
                      <a:lnTo>
                        <a:pt x="474" y="580"/>
                      </a:lnTo>
                      <a:lnTo>
                        <a:pt x="474" y="580"/>
                      </a:lnTo>
                      <a:lnTo>
                        <a:pt x="474" y="580"/>
                      </a:lnTo>
                      <a:lnTo>
                        <a:pt x="473" y="580"/>
                      </a:lnTo>
                      <a:lnTo>
                        <a:pt x="473" y="580"/>
                      </a:lnTo>
                      <a:lnTo>
                        <a:pt x="473" y="580"/>
                      </a:lnTo>
                      <a:lnTo>
                        <a:pt x="473" y="580"/>
                      </a:lnTo>
                      <a:lnTo>
                        <a:pt x="472" y="580"/>
                      </a:lnTo>
                      <a:lnTo>
                        <a:pt x="471" y="581"/>
                      </a:lnTo>
                      <a:lnTo>
                        <a:pt x="471" y="581"/>
                      </a:lnTo>
                      <a:close/>
                      <a:moveTo>
                        <a:pt x="364" y="536"/>
                      </a:moveTo>
                      <a:lnTo>
                        <a:pt x="364" y="536"/>
                      </a:lnTo>
                      <a:lnTo>
                        <a:pt x="364" y="536"/>
                      </a:lnTo>
                      <a:lnTo>
                        <a:pt x="364" y="536"/>
                      </a:lnTo>
                      <a:lnTo>
                        <a:pt x="363" y="536"/>
                      </a:lnTo>
                      <a:lnTo>
                        <a:pt x="363" y="536"/>
                      </a:lnTo>
                      <a:lnTo>
                        <a:pt x="363" y="534"/>
                      </a:lnTo>
                      <a:lnTo>
                        <a:pt x="363" y="534"/>
                      </a:lnTo>
                      <a:lnTo>
                        <a:pt x="363" y="534"/>
                      </a:lnTo>
                      <a:lnTo>
                        <a:pt x="363" y="534"/>
                      </a:lnTo>
                      <a:lnTo>
                        <a:pt x="361" y="534"/>
                      </a:lnTo>
                      <a:lnTo>
                        <a:pt x="360" y="534"/>
                      </a:lnTo>
                      <a:lnTo>
                        <a:pt x="360" y="534"/>
                      </a:lnTo>
                      <a:lnTo>
                        <a:pt x="360" y="534"/>
                      </a:lnTo>
                      <a:lnTo>
                        <a:pt x="360" y="534"/>
                      </a:lnTo>
                      <a:lnTo>
                        <a:pt x="360" y="534"/>
                      </a:lnTo>
                      <a:lnTo>
                        <a:pt x="360" y="534"/>
                      </a:lnTo>
                      <a:lnTo>
                        <a:pt x="360" y="534"/>
                      </a:lnTo>
                      <a:lnTo>
                        <a:pt x="360" y="534"/>
                      </a:lnTo>
                      <a:lnTo>
                        <a:pt x="359" y="536"/>
                      </a:lnTo>
                      <a:lnTo>
                        <a:pt x="359" y="536"/>
                      </a:lnTo>
                      <a:lnTo>
                        <a:pt x="359" y="536"/>
                      </a:lnTo>
                      <a:lnTo>
                        <a:pt x="359" y="536"/>
                      </a:lnTo>
                      <a:lnTo>
                        <a:pt x="359" y="536"/>
                      </a:lnTo>
                      <a:lnTo>
                        <a:pt x="357" y="536"/>
                      </a:lnTo>
                      <a:lnTo>
                        <a:pt x="354" y="536"/>
                      </a:lnTo>
                      <a:lnTo>
                        <a:pt x="352" y="536"/>
                      </a:lnTo>
                      <a:lnTo>
                        <a:pt x="351" y="536"/>
                      </a:lnTo>
                      <a:lnTo>
                        <a:pt x="351" y="534"/>
                      </a:lnTo>
                      <a:lnTo>
                        <a:pt x="351" y="534"/>
                      </a:lnTo>
                      <a:lnTo>
                        <a:pt x="351" y="533"/>
                      </a:lnTo>
                      <a:lnTo>
                        <a:pt x="351" y="533"/>
                      </a:lnTo>
                      <a:lnTo>
                        <a:pt x="350" y="533"/>
                      </a:lnTo>
                      <a:lnTo>
                        <a:pt x="350" y="533"/>
                      </a:lnTo>
                      <a:lnTo>
                        <a:pt x="350" y="533"/>
                      </a:lnTo>
                      <a:lnTo>
                        <a:pt x="350" y="532"/>
                      </a:lnTo>
                      <a:lnTo>
                        <a:pt x="350" y="532"/>
                      </a:lnTo>
                      <a:lnTo>
                        <a:pt x="352" y="530"/>
                      </a:lnTo>
                      <a:lnTo>
                        <a:pt x="352" y="530"/>
                      </a:lnTo>
                      <a:lnTo>
                        <a:pt x="352" y="530"/>
                      </a:lnTo>
                      <a:lnTo>
                        <a:pt x="352" y="530"/>
                      </a:lnTo>
                      <a:lnTo>
                        <a:pt x="352" y="530"/>
                      </a:lnTo>
                      <a:lnTo>
                        <a:pt x="352" y="530"/>
                      </a:lnTo>
                      <a:lnTo>
                        <a:pt x="358" y="528"/>
                      </a:lnTo>
                      <a:lnTo>
                        <a:pt x="359" y="528"/>
                      </a:lnTo>
                      <a:lnTo>
                        <a:pt x="360" y="528"/>
                      </a:lnTo>
                      <a:lnTo>
                        <a:pt x="360" y="528"/>
                      </a:lnTo>
                      <a:lnTo>
                        <a:pt x="360" y="528"/>
                      </a:lnTo>
                      <a:lnTo>
                        <a:pt x="360" y="528"/>
                      </a:lnTo>
                      <a:lnTo>
                        <a:pt x="361" y="528"/>
                      </a:lnTo>
                      <a:lnTo>
                        <a:pt x="363" y="527"/>
                      </a:lnTo>
                      <a:lnTo>
                        <a:pt x="364" y="527"/>
                      </a:lnTo>
                      <a:lnTo>
                        <a:pt x="366" y="526"/>
                      </a:lnTo>
                      <a:lnTo>
                        <a:pt x="366" y="526"/>
                      </a:lnTo>
                      <a:lnTo>
                        <a:pt x="366" y="526"/>
                      </a:lnTo>
                      <a:lnTo>
                        <a:pt x="366" y="526"/>
                      </a:lnTo>
                      <a:lnTo>
                        <a:pt x="370" y="526"/>
                      </a:lnTo>
                      <a:lnTo>
                        <a:pt x="370" y="527"/>
                      </a:lnTo>
                      <a:lnTo>
                        <a:pt x="370" y="528"/>
                      </a:lnTo>
                      <a:lnTo>
                        <a:pt x="370" y="530"/>
                      </a:lnTo>
                      <a:lnTo>
                        <a:pt x="370" y="530"/>
                      </a:lnTo>
                      <a:lnTo>
                        <a:pt x="370" y="530"/>
                      </a:lnTo>
                      <a:lnTo>
                        <a:pt x="371" y="530"/>
                      </a:lnTo>
                      <a:lnTo>
                        <a:pt x="372" y="531"/>
                      </a:lnTo>
                      <a:lnTo>
                        <a:pt x="372" y="531"/>
                      </a:lnTo>
                      <a:lnTo>
                        <a:pt x="372" y="531"/>
                      </a:lnTo>
                      <a:lnTo>
                        <a:pt x="372" y="531"/>
                      </a:lnTo>
                      <a:lnTo>
                        <a:pt x="372" y="531"/>
                      </a:lnTo>
                      <a:lnTo>
                        <a:pt x="373" y="531"/>
                      </a:lnTo>
                      <a:lnTo>
                        <a:pt x="373" y="531"/>
                      </a:lnTo>
                      <a:lnTo>
                        <a:pt x="373" y="531"/>
                      </a:lnTo>
                      <a:lnTo>
                        <a:pt x="373" y="531"/>
                      </a:lnTo>
                      <a:lnTo>
                        <a:pt x="373" y="530"/>
                      </a:lnTo>
                      <a:lnTo>
                        <a:pt x="374" y="530"/>
                      </a:lnTo>
                      <a:lnTo>
                        <a:pt x="374" y="530"/>
                      </a:lnTo>
                      <a:lnTo>
                        <a:pt x="374" y="528"/>
                      </a:lnTo>
                      <a:lnTo>
                        <a:pt x="375" y="530"/>
                      </a:lnTo>
                      <a:lnTo>
                        <a:pt x="377" y="530"/>
                      </a:lnTo>
                      <a:lnTo>
                        <a:pt x="377" y="530"/>
                      </a:lnTo>
                      <a:lnTo>
                        <a:pt x="377" y="530"/>
                      </a:lnTo>
                      <a:lnTo>
                        <a:pt x="377" y="530"/>
                      </a:lnTo>
                      <a:lnTo>
                        <a:pt x="377" y="531"/>
                      </a:lnTo>
                      <a:lnTo>
                        <a:pt x="377" y="532"/>
                      </a:lnTo>
                      <a:lnTo>
                        <a:pt x="375" y="533"/>
                      </a:lnTo>
                      <a:lnTo>
                        <a:pt x="375" y="533"/>
                      </a:lnTo>
                      <a:lnTo>
                        <a:pt x="375" y="533"/>
                      </a:lnTo>
                      <a:lnTo>
                        <a:pt x="374" y="533"/>
                      </a:lnTo>
                      <a:lnTo>
                        <a:pt x="374" y="532"/>
                      </a:lnTo>
                      <a:lnTo>
                        <a:pt x="374" y="532"/>
                      </a:lnTo>
                      <a:lnTo>
                        <a:pt x="374" y="532"/>
                      </a:lnTo>
                      <a:lnTo>
                        <a:pt x="373" y="532"/>
                      </a:lnTo>
                      <a:lnTo>
                        <a:pt x="373" y="532"/>
                      </a:lnTo>
                      <a:lnTo>
                        <a:pt x="372" y="532"/>
                      </a:lnTo>
                      <a:lnTo>
                        <a:pt x="372" y="532"/>
                      </a:lnTo>
                      <a:lnTo>
                        <a:pt x="371" y="532"/>
                      </a:lnTo>
                      <a:lnTo>
                        <a:pt x="371" y="532"/>
                      </a:lnTo>
                      <a:lnTo>
                        <a:pt x="371" y="532"/>
                      </a:lnTo>
                      <a:lnTo>
                        <a:pt x="368" y="533"/>
                      </a:lnTo>
                      <a:lnTo>
                        <a:pt x="367" y="533"/>
                      </a:lnTo>
                      <a:lnTo>
                        <a:pt x="367" y="533"/>
                      </a:lnTo>
                      <a:lnTo>
                        <a:pt x="367" y="533"/>
                      </a:lnTo>
                      <a:lnTo>
                        <a:pt x="367" y="533"/>
                      </a:lnTo>
                      <a:lnTo>
                        <a:pt x="367" y="533"/>
                      </a:lnTo>
                      <a:lnTo>
                        <a:pt x="367" y="534"/>
                      </a:lnTo>
                      <a:lnTo>
                        <a:pt x="367" y="534"/>
                      </a:lnTo>
                      <a:lnTo>
                        <a:pt x="367" y="534"/>
                      </a:lnTo>
                      <a:lnTo>
                        <a:pt x="367" y="534"/>
                      </a:lnTo>
                      <a:lnTo>
                        <a:pt x="367" y="534"/>
                      </a:lnTo>
                      <a:lnTo>
                        <a:pt x="367" y="534"/>
                      </a:lnTo>
                      <a:lnTo>
                        <a:pt x="366" y="534"/>
                      </a:lnTo>
                      <a:lnTo>
                        <a:pt x="366" y="536"/>
                      </a:lnTo>
                      <a:lnTo>
                        <a:pt x="364" y="536"/>
                      </a:lnTo>
                      <a:lnTo>
                        <a:pt x="364" y="536"/>
                      </a:lnTo>
                      <a:lnTo>
                        <a:pt x="364" y="536"/>
                      </a:lnTo>
                      <a:close/>
                      <a:moveTo>
                        <a:pt x="357" y="514"/>
                      </a:moveTo>
                      <a:lnTo>
                        <a:pt x="355" y="516"/>
                      </a:lnTo>
                      <a:lnTo>
                        <a:pt x="355" y="514"/>
                      </a:lnTo>
                      <a:lnTo>
                        <a:pt x="355" y="514"/>
                      </a:lnTo>
                      <a:lnTo>
                        <a:pt x="355" y="514"/>
                      </a:lnTo>
                      <a:lnTo>
                        <a:pt x="355" y="514"/>
                      </a:lnTo>
                      <a:lnTo>
                        <a:pt x="355" y="514"/>
                      </a:lnTo>
                      <a:lnTo>
                        <a:pt x="355" y="514"/>
                      </a:lnTo>
                      <a:lnTo>
                        <a:pt x="355" y="514"/>
                      </a:lnTo>
                      <a:lnTo>
                        <a:pt x="355" y="514"/>
                      </a:lnTo>
                      <a:lnTo>
                        <a:pt x="355" y="514"/>
                      </a:lnTo>
                      <a:lnTo>
                        <a:pt x="357" y="514"/>
                      </a:lnTo>
                      <a:lnTo>
                        <a:pt x="357" y="514"/>
                      </a:lnTo>
                      <a:lnTo>
                        <a:pt x="357" y="514"/>
                      </a:lnTo>
                      <a:close/>
                      <a:moveTo>
                        <a:pt x="352" y="513"/>
                      </a:moveTo>
                      <a:lnTo>
                        <a:pt x="352" y="513"/>
                      </a:lnTo>
                      <a:lnTo>
                        <a:pt x="352" y="513"/>
                      </a:lnTo>
                      <a:lnTo>
                        <a:pt x="352" y="512"/>
                      </a:lnTo>
                      <a:lnTo>
                        <a:pt x="352" y="512"/>
                      </a:lnTo>
                      <a:lnTo>
                        <a:pt x="351" y="511"/>
                      </a:lnTo>
                      <a:lnTo>
                        <a:pt x="351" y="510"/>
                      </a:lnTo>
                      <a:lnTo>
                        <a:pt x="352" y="510"/>
                      </a:lnTo>
                      <a:lnTo>
                        <a:pt x="352" y="510"/>
                      </a:lnTo>
                      <a:lnTo>
                        <a:pt x="352" y="510"/>
                      </a:lnTo>
                      <a:lnTo>
                        <a:pt x="352" y="510"/>
                      </a:lnTo>
                      <a:lnTo>
                        <a:pt x="352" y="510"/>
                      </a:lnTo>
                      <a:lnTo>
                        <a:pt x="352" y="511"/>
                      </a:lnTo>
                      <a:lnTo>
                        <a:pt x="352" y="512"/>
                      </a:lnTo>
                      <a:lnTo>
                        <a:pt x="352" y="512"/>
                      </a:lnTo>
                      <a:lnTo>
                        <a:pt x="352" y="512"/>
                      </a:lnTo>
                      <a:lnTo>
                        <a:pt x="352" y="512"/>
                      </a:lnTo>
                      <a:lnTo>
                        <a:pt x="352" y="513"/>
                      </a:lnTo>
                      <a:lnTo>
                        <a:pt x="352" y="513"/>
                      </a:lnTo>
                      <a:lnTo>
                        <a:pt x="352" y="513"/>
                      </a:lnTo>
                      <a:close/>
                      <a:moveTo>
                        <a:pt x="54" y="510"/>
                      </a:moveTo>
                      <a:lnTo>
                        <a:pt x="53" y="510"/>
                      </a:lnTo>
                      <a:lnTo>
                        <a:pt x="53" y="510"/>
                      </a:lnTo>
                      <a:lnTo>
                        <a:pt x="53" y="510"/>
                      </a:lnTo>
                      <a:lnTo>
                        <a:pt x="53" y="510"/>
                      </a:lnTo>
                      <a:lnTo>
                        <a:pt x="53" y="510"/>
                      </a:lnTo>
                      <a:lnTo>
                        <a:pt x="53" y="510"/>
                      </a:lnTo>
                      <a:lnTo>
                        <a:pt x="53" y="510"/>
                      </a:lnTo>
                      <a:lnTo>
                        <a:pt x="53" y="510"/>
                      </a:lnTo>
                      <a:lnTo>
                        <a:pt x="53" y="510"/>
                      </a:lnTo>
                      <a:lnTo>
                        <a:pt x="53" y="510"/>
                      </a:lnTo>
                      <a:lnTo>
                        <a:pt x="54" y="510"/>
                      </a:lnTo>
                      <a:lnTo>
                        <a:pt x="54" y="510"/>
                      </a:lnTo>
                      <a:lnTo>
                        <a:pt x="54" y="510"/>
                      </a:lnTo>
                      <a:lnTo>
                        <a:pt x="54" y="510"/>
                      </a:lnTo>
                      <a:lnTo>
                        <a:pt x="54" y="510"/>
                      </a:lnTo>
                      <a:lnTo>
                        <a:pt x="54" y="510"/>
                      </a:lnTo>
                      <a:lnTo>
                        <a:pt x="54" y="510"/>
                      </a:lnTo>
                      <a:lnTo>
                        <a:pt x="54" y="510"/>
                      </a:lnTo>
                      <a:close/>
                      <a:moveTo>
                        <a:pt x="377" y="501"/>
                      </a:moveTo>
                      <a:lnTo>
                        <a:pt x="377" y="501"/>
                      </a:lnTo>
                      <a:lnTo>
                        <a:pt x="377" y="501"/>
                      </a:lnTo>
                      <a:lnTo>
                        <a:pt x="377" y="501"/>
                      </a:lnTo>
                      <a:lnTo>
                        <a:pt x="377" y="501"/>
                      </a:lnTo>
                      <a:lnTo>
                        <a:pt x="377" y="501"/>
                      </a:lnTo>
                      <a:lnTo>
                        <a:pt x="377" y="501"/>
                      </a:lnTo>
                      <a:lnTo>
                        <a:pt x="377" y="501"/>
                      </a:lnTo>
                      <a:lnTo>
                        <a:pt x="377" y="501"/>
                      </a:lnTo>
                      <a:lnTo>
                        <a:pt x="377" y="500"/>
                      </a:lnTo>
                      <a:lnTo>
                        <a:pt x="378" y="500"/>
                      </a:lnTo>
                      <a:lnTo>
                        <a:pt x="378" y="500"/>
                      </a:lnTo>
                      <a:lnTo>
                        <a:pt x="378" y="500"/>
                      </a:lnTo>
                      <a:lnTo>
                        <a:pt x="378" y="501"/>
                      </a:lnTo>
                      <a:lnTo>
                        <a:pt x="378" y="501"/>
                      </a:lnTo>
                      <a:lnTo>
                        <a:pt x="378" y="501"/>
                      </a:lnTo>
                      <a:lnTo>
                        <a:pt x="377" y="501"/>
                      </a:lnTo>
                      <a:lnTo>
                        <a:pt x="377" y="501"/>
                      </a:lnTo>
                      <a:lnTo>
                        <a:pt x="377" y="501"/>
                      </a:lnTo>
                      <a:lnTo>
                        <a:pt x="377" y="501"/>
                      </a:lnTo>
                      <a:close/>
                      <a:moveTo>
                        <a:pt x="124" y="494"/>
                      </a:moveTo>
                      <a:lnTo>
                        <a:pt x="124" y="494"/>
                      </a:lnTo>
                      <a:lnTo>
                        <a:pt x="124" y="494"/>
                      </a:lnTo>
                      <a:lnTo>
                        <a:pt x="124" y="494"/>
                      </a:lnTo>
                      <a:lnTo>
                        <a:pt x="124" y="494"/>
                      </a:lnTo>
                      <a:lnTo>
                        <a:pt x="124" y="493"/>
                      </a:lnTo>
                      <a:lnTo>
                        <a:pt x="124" y="493"/>
                      </a:lnTo>
                      <a:lnTo>
                        <a:pt x="124" y="493"/>
                      </a:lnTo>
                      <a:lnTo>
                        <a:pt x="124" y="493"/>
                      </a:lnTo>
                      <a:lnTo>
                        <a:pt x="125" y="493"/>
                      </a:lnTo>
                      <a:lnTo>
                        <a:pt x="125" y="493"/>
                      </a:lnTo>
                      <a:lnTo>
                        <a:pt x="125" y="493"/>
                      </a:lnTo>
                      <a:lnTo>
                        <a:pt x="124" y="494"/>
                      </a:lnTo>
                      <a:lnTo>
                        <a:pt x="124" y="494"/>
                      </a:lnTo>
                      <a:close/>
                      <a:moveTo>
                        <a:pt x="140" y="493"/>
                      </a:moveTo>
                      <a:lnTo>
                        <a:pt x="140" y="493"/>
                      </a:lnTo>
                      <a:lnTo>
                        <a:pt x="140" y="493"/>
                      </a:lnTo>
                      <a:lnTo>
                        <a:pt x="140" y="492"/>
                      </a:lnTo>
                      <a:lnTo>
                        <a:pt x="140" y="492"/>
                      </a:lnTo>
                      <a:lnTo>
                        <a:pt x="141" y="492"/>
                      </a:lnTo>
                      <a:lnTo>
                        <a:pt x="141" y="492"/>
                      </a:lnTo>
                      <a:lnTo>
                        <a:pt x="141" y="492"/>
                      </a:lnTo>
                      <a:lnTo>
                        <a:pt x="141" y="493"/>
                      </a:lnTo>
                      <a:lnTo>
                        <a:pt x="141" y="493"/>
                      </a:lnTo>
                      <a:lnTo>
                        <a:pt x="140" y="493"/>
                      </a:lnTo>
                      <a:lnTo>
                        <a:pt x="140" y="493"/>
                      </a:lnTo>
                      <a:close/>
                      <a:moveTo>
                        <a:pt x="335" y="486"/>
                      </a:moveTo>
                      <a:lnTo>
                        <a:pt x="334" y="486"/>
                      </a:lnTo>
                      <a:lnTo>
                        <a:pt x="334" y="486"/>
                      </a:lnTo>
                      <a:lnTo>
                        <a:pt x="334" y="486"/>
                      </a:lnTo>
                      <a:lnTo>
                        <a:pt x="335" y="485"/>
                      </a:lnTo>
                      <a:lnTo>
                        <a:pt x="335" y="485"/>
                      </a:lnTo>
                      <a:lnTo>
                        <a:pt x="337" y="485"/>
                      </a:lnTo>
                      <a:lnTo>
                        <a:pt x="337" y="485"/>
                      </a:lnTo>
                      <a:lnTo>
                        <a:pt x="337" y="485"/>
                      </a:lnTo>
                      <a:lnTo>
                        <a:pt x="337" y="485"/>
                      </a:lnTo>
                      <a:lnTo>
                        <a:pt x="337" y="485"/>
                      </a:lnTo>
                      <a:lnTo>
                        <a:pt x="337" y="485"/>
                      </a:lnTo>
                      <a:lnTo>
                        <a:pt x="337" y="486"/>
                      </a:lnTo>
                      <a:lnTo>
                        <a:pt x="335" y="486"/>
                      </a:lnTo>
                      <a:lnTo>
                        <a:pt x="335" y="486"/>
                      </a:lnTo>
                      <a:close/>
                      <a:moveTo>
                        <a:pt x="332" y="457"/>
                      </a:moveTo>
                      <a:lnTo>
                        <a:pt x="332" y="457"/>
                      </a:lnTo>
                      <a:lnTo>
                        <a:pt x="332" y="457"/>
                      </a:lnTo>
                      <a:lnTo>
                        <a:pt x="331" y="457"/>
                      </a:lnTo>
                      <a:lnTo>
                        <a:pt x="331" y="456"/>
                      </a:lnTo>
                      <a:lnTo>
                        <a:pt x="332" y="456"/>
                      </a:lnTo>
                      <a:lnTo>
                        <a:pt x="332" y="456"/>
                      </a:lnTo>
                      <a:lnTo>
                        <a:pt x="332" y="456"/>
                      </a:lnTo>
                      <a:lnTo>
                        <a:pt x="332" y="456"/>
                      </a:lnTo>
                      <a:lnTo>
                        <a:pt x="333" y="454"/>
                      </a:lnTo>
                      <a:lnTo>
                        <a:pt x="334" y="454"/>
                      </a:lnTo>
                      <a:lnTo>
                        <a:pt x="334" y="454"/>
                      </a:lnTo>
                      <a:lnTo>
                        <a:pt x="334" y="454"/>
                      </a:lnTo>
                      <a:lnTo>
                        <a:pt x="334" y="454"/>
                      </a:lnTo>
                      <a:lnTo>
                        <a:pt x="333" y="456"/>
                      </a:lnTo>
                      <a:lnTo>
                        <a:pt x="332" y="457"/>
                      </a:lnTo>
                      <a:lnTo>
                        <a:pt x="332" y="457"/>
                      </a:lnTo>
                      <a:close/>
                      <a:moveTo>
                        <a:pt x="27" y="454"/>
                      </a:moveTo>
                      <a:lnTo>
                        <a:pt x="27" y="454"/>
                      </a:lnTo>
                      <a:lnTo>
                        <a:pt x="26" y="454"/>
                      </a:lnTo>
                      <a:lnTo>
                        <a:pt x="26" y="453"/>
                      </a:lnTo>
                      <a:lnTo>
                        <a:pt x="27" y="453"/>
                      </a:lnTo>
                      <a:lnTo>
                        <a:pt x="27" y="453"/>
                      </a:lnTo>
                      <a:lnTo>
                        <a:pt x="27" y="453"/>
                      </a:lnTo>
                      <a:lnTo>
                        <a:pt x="27" y="453"/>
                      </a:lnTo>
                      <a:lnTo>
                        <a:pt x="27" y="453"/>
                      </a:lnTo>
                      <a:lnTo>
                        <a:pt x="27" y="453"/>
                      </a:lnTo>
                      <a:lnTo>
                        <a:pt x="27" y="454"/>
                      </a:lnTo>
                      <a:lnTo>
                        <a:pt x="27" y="454"/>
                      </a:lnTo>
                      <a:lnTo>
                        <a:pt x="27" y="454"/>
                      </a:lnTo>
                      <a:close/>
                      <a:moveTo>
                        <a:pt x="710" y="363"/>
                      </a:moveTo>
                      <a:lnTo>
                        <a:pt x="708" y="363"/>
                      </a:lnTo>
                      <a:lnTo>
                        <a:pt x="708" y="363"/>
                      </a:lnTo>
                      <a:lnTo>
                        <a:pt x="708" y="363"/>
                      </a:lnTo>
                      <a:lnTo>
                        <a:pt x="708" y="361"/>
                      </a:lnTo>
                      <a:lnTo>
                        <a:pt x="708" y="361"/>
                      </a:lnTo>
                      <a:lnTo>
                        <a:pt x="708" y="361"/>
                      </a:lnTo>
                      <a:lnTo>
                        <a:pt x="710" y="360"/>
                      </a:lnTo>
                      <a:lnTo>
                        <a:pt x="710" y="360"/>
                      </a:lnTo>
                      <a:lnTo>
                        <a:pt x="711" y="358"/>
                      </a:lnTo>
                      <a:lnTo>
                        <a:pt x="712" y="356"/>
                      </a:lnTo>
                      <a:lnTo>
                        <a:pt x="712" y="356"/>
                      </a:lnTo>
                      <a:lnTo>
                        <a:pt x="713" y="356"/>
                      </a:lnTo>
                      <a:lnTo>
                        <a:pt x="713" y="356"/>
                      </a:lnTo>
                      <a:lnTo>
                        <a:pt x="713" y="357"/>
                      </a:lnTo>
                      <a:lnTo>
                        <a:pt x="713" y="357"/>
                      </a:lnTo>
                      <a:lnTo>
                        <a:pt x="712" y="358"/>
                      </a:lnTo>
                      <a:lnTo>
                        <a:pt x="712" y="359"/>
                      </a:lnTo>
                      <a:lnTo>
                        <a:pt x="711" y="360"/>
                      </a:lnTo>
                      <a:lnTo>
                        <a:pt x="711" y="360"/>
                      </a:lnTo>
                      <a:lnTo>
                        <a:pt x="710" y="361"/>
                      </a:lnTo>
                      <a:lnTo>
                        <a:pt x="710" y="361"/>
                      </a:lnTo>
                      <a:lnTo>
                        <a:pt x="710" y="363"/>
                      </a:lnTo>
                      <a:lnTo>
                        <a:pt x="710" y="363"/>
                      </a:lnTo>
                      <a:lnTo>
                        <a:pt x="710" y="363"/>
                      </a:lnTo>
                      <a:lnTo>
                        <a:pt x="710" y="363"/>
                      </a:lnTo>
                      <a:close/>
                      <a:moveTo>
                        <a:pt x="713" y="352"/>
                      </a:moveTo>
                      <a:lnTo>
                        <a:pt x="712" y="356"/>
                      </a:lnTo>
                      <a:lnTo>
                        <a:pt x="712" y="353"/>
                      </a:lnTo>
                      <a:lnTo>
                        <a:pt x="713" y="352"/>
                      </a:lnTo>
                      <a:lnTo>
                        <a:pt x="713" y="352"/>
                      </a:lnTo>
                      <a:close/>
                      <a:moveTo>
                        <a:pt x="20" y="330"/>
                      </a:moveTo>
                      <a:lnTo>
                        <a:pt x="20" y="330"/>
                      </a:lnTo>
                      <a:lnTo>
                        <a:pt x="20" y="330"/>
                      </a:lnTo>
                      <a:lnTo>
                        <a:pt x="18" y="325"/>
                      </a:lnTo>
                      <a:lnTo>
                        <a:pt x="18" y="323"/>
                      </a:lnTo>
                      <a:lnTo>
                        <a:pt x="18" y="323"/>
                      </a:lnTo>
                      <a:lnTo>
                        <a:pt x="18" y="319"/>
                      </a:lnTo>
                      <a:lnTo>
                        <a:pt x="18" y="319"/>
                      </a:lnTo>
                      <a:lnTo>
                        <a:pt x="18" y="318"/>
                      </a:lnTo>
                      <a:lnTo>
                        <a:pt x="18" y="318"/>
                      </a:lnTo>
                      <a:lnTo>
                        <a:pt x="18" y="317"/>
                      </a:lnTo>
                      <a:lnTo>
                        <a:pt x="18" y="317"/>
                      </a:lnTo>
                      <a:lnTo>
                        <a:pt x="19" y="317"/>
                      </a:lnTo>
                      <a:lnTo>
                        <a:pt x="19" y="317"/>
                      </a:lnTo>
                      <a:lnTo>
                        <a:pt x="19" y="317"/>
                      </a:lnTo>
                      <a:lnTo>
                        <a:pt x="20" y="317"/>
                      </a:lnTo>
                      <a:lnTo>
                        <a:pt x="20" y="317"/>
                      </a:lnTo>
                      <a:lnTo>
                        <a:pt x="20" y="317"/>
                      </a:lnTo>
                      <a:lnTo>
                        <a:pt x="20" y="317"/>
                      </a:lnTo>
                      <a:lnTo>
                        <a:pt x="19" y="317"/>
                      </a:lnTo>
                      <a:lnTo>
                        <a:pt x="19" y="317"/>
                      </a:lnTo>
                      <a:lnTo>
                        <a:pt x="19" y="318"/>
                      </a:lnTo>
                      <a:lnTo>
                        <a:pt x="19" y="318"/>
                      </a:lnTo>
                      <a:lnTo>
                        <a:pt x="19" y="318"/>
                      </a:lnTo>
                      <a:lnTo>
                        <a:pt x="19" y="318"/>
                      </a:lnTo>
                      <a:lnTo>
                        <a:pt x="19" y="318"/>
                      </a:lnTo>
                      <a:lnTo>
                        <a:pt x="19" y="320"/>
                      </a:lnTo>
                      <a:lnTo>
                        <a:pt x="20" y="323"/>
                      </a:lnTo>
                      <a:lnTo>
                        <a:pt x="20" y="324"/>
                      </a:lnTo>
                      <a:lnTo>
                        <a:pt x="20" y="325"/>
                      </a:lnTo>
                      <a:lnTo>
                        <a:pt x="20" y="326"/>
                      </a:lnTo>
                      <a:lnTo>
                        <a:pt x="20" y="327"/>
                      </a:lnTo>
                      <a:lnTo>
                        <a:pt x="20" y="327"/>
                      </a:lnTo>
                      <a:lnTo>
                        <a:pt x="21" y="327"/>
                      </a:lnTo>
                      <a:lnTo>
                        <a:pt x="21" y="327"/>
                      </a:lnTo>
                      <a:lnTo>
                        <a:pt x="21" y="329"/>
                      </a:lnTo>
                      <a:lnTo>
                        <a:pt x="21" y="330"/>
                      </a:lnTo>
                      <a:lnTo>
                        <a:pt x="21" y="330"/>
                      </a:lnTo>
                      <a:lnTo>
                        <a:pt x="20" y="330"/>
                      </a:lnTo>
                      <a:lnTo>
                        <a:pt x="20" y="330"/>
                      </a:lnTo>
                      <a:close/>
                      <a:moveTo>
                        <a:pt x="719" y="314"/>
                      </a:moveTo>
                      <a:lnTo>
                        <a:pt x="718" y="314"/>
                      </a:lnTo>
                      <a:lnTo>
                        <a:pt x="718" y="313"/>
                      </a:lnTo>
                      <a:lnTo>
                        <a:pt x="718" y="313"/>
                      </a:lnTo>
                      <a:lnTo>
                        <a:pt x="718" y="313"/>
                      </a:lnTo>
                      <a:lnTo>
                        <a:pt x="718" y="313"/>
                      </a:lnTo>
                      <a:lnTo>
                        <a:pt x="718" y="312"/>
                      </a:lnTo>
                      <a:lnTo>
                        <a:pt x="718" y="312"/>
                      </a:lnTo>
                      <a:lnTo>
                        <a:pt x="718" y="312"/>
                      </a:lnTo>
                      <a:lnTo>
                        <a:pt x="717" y="312"/>
                      </a:lnTo>
                      <a:lnTo>
                        <a:pt x="717" y="312"/>
                      </a:lnTo>
                      <a:lnTo>
                        <a:pt x="717" y="311"/>
                      </a:lnTo>
                      <a:lnTo>
                        <a:pt x="717" y="310"/>
                      </a:lnTo>
                      <a:lnTo>
                        <a:pt x="717" y="309"/>
                      </a:lnTo>
                      <a:lnTo>
                        <a:pt x="718" y="309"/>
                      </a:lnTo>
                      <a:lnTo>
                        <a:pt x="718" y="309"/>
                      </a:lnTo>
                      <a:lnTo>
                        <a:pt x="719" y="309"/>
                      </a:lnTo>
                      <a:lnTo>
                        <a:pt x="719" y="310"/>
                      </a:lnTo>
                      <a:lnTo>
                        <a:pt x="719" y="311"/>
                      </a:lnTo>
                      <a:lnTo>
                        <a:pt x="719" y="311"/>
                      </a:lnTo>
                      <a:lnTo>
                        <a:pt x="720" y="311"/>
                      </a:lnTo>
                      <a:lnTo>
                        <a:pt x="720" y="312"/>
                      </a:lnTo>
                      <a:lnTo>
                        <a:pt x="720" y="313"/>
                      </a:lnTo>
                      <a:lnTo>
                        <a:pt x="720" y="313"/>
                      </a:lnTo>
                      <a:lnTo>
                        <a:pt x="719" y="314"/>
                      </a:lnTo>
                      <a:lnTo>
                        <a:pt x="719" y="314"/>
                      </a:lnTo>
                      <a:lnTo>
                        <a:pt x="719" y="314"/>
                      </a:lnTo>
                      <a:close/>
                      <a:moveTo>
                        <a:pt x="23" y="311"/>
                      </a:moveTo>
                      <a:lnTo>
                        <a:pt x="21" y="312"/>
                      </a:lnTo>
                      <a:lnTo>
                        <a:pt x="21" y="312"/>
                      </a:lnTo>
                      <a:lnTo>
                        <a:pt x="21" y="312"/>
                      </a:lnTo>
                      <a:lnTo>
                        <a:pt x="21" y="312"/>
                      </a:lnTo>
                      <a:lnTo>
                        <a:pt x="21" y="312"/>
                      </a:lnTo>
                      <a:lnTo>
                        <a:pt x="21" y="312"/>
                      </a:lnTo>
                      <a:lnTo>
                        <a:pt x="23" y="310"/>
                      </a:lnTo>
                      <a:lnTo>
                        <a:pt x="24" y="309"/>
                      </a:lnTo>
                      <a:lnTo>
                        <a:pt x="23" y="311"/>
                      </a:lnTo>
                      <a:lnTo>
                        <a:pt x="23" y="311"/>
                      </a:lnTo>
                      <a:close/>
                      <a:moveTo>
                        <a:pt x="25" y="305"/>
                      </a:moveTo>
                      <a:lnTo>
                        <a:pt x="24" y="306"/>
                      </a:lnTo>
                      <a:lnTo>
                        <a:pt x="24" y="306"/>
                      </a:lnTo>
                      <a:lnTo>
                        <a:pt x="25" y="304"/>
                      </a:lnTo>
                      <a:lnTo>
                        <a:pt x="25" y="304"/>
                      </a:lnTo>
                      <a:lnTo>
                        <a:pt x="26" y="301"/>
                      </a:lnTo>
                      <a:lnTo>
                        <a:pt x="26" y="301"/>
                      </a:lnTo>
                      <a:lnTo>
                        <a:pt x="26" y="301"/>
                      </a:lnTo>
                      <a:lnTo>
                        <a:pt x="26" y="301"/>
                      </a:lnTo>
                      <a:lnTo>
                        <a:pt x="26" y="303"/>
                      </a:lnTo>
                      <a:lnTo>
                        <a:pt x="26" y="303"/>
                      </a:lnTo>
                      <a:lnTo>
                        <a:pt x="25" y="305"/>
                      </a:lnTo>
                      <a:lnTo>
                        <a:pt x="25" y="305"/>
                      </a:lnTo>
                      <a:close/>
                      <a:moveTo>
                        <a:pt x="715" y="321"/>
                      </a:moveTo>
                      <a:lnTo>
                        <a:pt x="714" y="321"/>
                      </a:lnTo>
                      <a:lnTo>
                        <a:pt x="714" y="323"/>
                      </a:lnTo>
                      <a:lnTo>
                        <a:pt x="713" y="323"/>
                      </a:lnTo>
                      <a:lnTo>
                        <a:pt x="712" y="321"/>
                      </a:lnTo>
                      <a:lnTo>
                        <a:pt x="712" y="321"/>
                      </a:lnTo>
                      <a:lnTo>
                        <a:pt x="712" y="320"/>
                      </a:lnTo>
                      <a:lnTo>
                        <a:pt x="712" y="319"/>
                      </a:lnTo>
                      <a:lnTo>
                        <a:pt x="712" y="318"/>
                      </a:lnTo>
                      <a:lnTo>
                        <a:pt x="713" y="317"/>
                      </a:lnTo>
                      <a:lnTo>
                        <a:pt x="713" y="317"/>
                      </a:lnTo>
                      <a:lnTo>
                        <a:pt x="714" y="316"/>
                      </a:lnTo>
                      <a:lnTo>
                        <a:pt x="714" y="314"/>
                      </a:lnTo>
                      <a:lnTo>
                        <a:pt x="714" y="314"/>
                      </a:lnTo>
                      <a:lnTo>
                        <a:pt x="715" y="313"/>
                      </a:lnTo>
                      <a:lnTo>
                        <a:pt x="717" y="313"/>
                      </a:lnTo>
                      <a:lnTo>
                        <a:pt x="717" y="313"/>
                      </a:lnTo>
                      <a:lnTo>
                        <a:pt x="717" y="314"/>
                      </a:lnTo>
                      <a:lnTo>
                        <a:pt x="718" y="316"/>
                      </a:lnTo>
                      <a:lnTo>
                        <a:pt x="719" y="316"/>
                      </a:lnTo>
                      <a:lnTo>
                        <a:pt x="719" y="316"/>
                      </a:lnTo>
                      <a:lnTo>
                        <a:pt x="718" y="317"/>
                      </a:lnTo>
                      <a:lnTo>
                        <a:pt x="718" y="317"/>
                      </a:lnTo>
                      <a:lnTo>
                        <a:pt x="717" y="318"/>
                      </a:lnTo>
                      <a:lnTo>
                        <a:pt x="717" y="319"/>
                      </a:lnTo>
                      <a:lnTo>
                        <a:pt x="715" y="320"/>
                      </a:lnTo>
                      <a:lnTo>
                        <a:pt x="715" y="321"/>
                      </a:lnTo>
                      <a:lnTo>
                        <a:pt x="715" y="321"/>
                      </a:lnTo>
                      <a:close/>
                      <a:moveTo>
                        <a:pt x="698" y="284"/>
                      </a:moveTo>
                      <a:lnTo>
                        <a:pt x="698" y="284"/>
                      </a:lnTo>
                      <a:lnTo>
                        <a:pt x="698" y="284"/>
                      </a:lnTo>
                      <a:lnTo>
                        <a:pt x="698" y="284"/>
                      </a:lnTo>
                      <a:lnTo>
                        <a:pt x="698" y="284"/>
                      </a:lnTo>
                      <a:lnTo>
                        <a:pt x="697" y="283"/>
                      </a:lnTo>
                      <a:lnTo>
                        <a:pt x="697" y="283"/>
                      </a:lnTo>
                      <a:lnTo>
                        <a:pt x="697" y="281"/>
                      </a:lnTo>
                      <a:lnTo>
                        <a:pt x="697" y="281"/>
                      </a:lnTo>
                      <a:lnTo>
                        <a:pt x="698" y="281"/>
                      </a:lnTo>
                      <a:lnTo>
                        <a:pt x="698" y="281"/>
                      </a:lnTo>
                      <a:lnTo>
                        <a:pt x="698" y="281"/>
                      </a:lnTo>
                      <a:lnTo>
                        <a:pt x="698" y="281"/>
                      </a:lnTo>
                      <a:lnTo>
                        <a:pt x="698" y="283"/>
                      </a:lnTo>
                      <a:lnTo>
                        <a:pt x="698" y="283"/>
                      </a:lnTo>
                      <a:lnTo>
                        <a:pt x="698" y="284"/>
                      </a:lnTo>
                      <a:lnTo>
                        <a:pt x="698" y="284"/>
                      </a:lnTo>
                      <a:lnTo>
                        <a:pt x="698" y="284"/>
                      </a:lnTo>
                      <a:lnTo>
                        <a:pt x="698" y="284"/>
                      </a:lnTo>
                      <a:lnTo>
                        <a:pt x="698" y="284"/>
                      </a:lnTo>
                      <a:lnTo>
                        <a:pt x="698" y="284"/>
                      </a:lnTo>
                      <a:close/>
                      <a:moveTo>
                        <a:pt x="697" y="281"/>
                      </a:moveTo>
                      <a:lnTo>
                        <a:pt x="695" y="281"/>
                      </a:lnTo>
                      <a:lnTo>
                        <a:pt x="695" y="281"/>
                      </a:lnTo>
                      <a:lnTo>
                        <a:pt x="695" y="281"/>
                      </a:lnTo>
                      <a:lnTo>
                        <a:pt x="695" y="281"/>
                      </a:lnTo>
                      <a:lnTo>
                        <a:pt x="694" y="280"/>
                      </a:lnTo>
                      <a:lnTo>
                        <a:pt x="694" y="280"/>
                      </a:lnTo>
                      <a:lnTo>
                        <a:pt x="694" y="279"/>
                      </a:lnTo>
                      <a:lnTo>
                        <a:pt x="693" y="278"/>
                      </a:lnTo>
                      <a:lnTo>
                        <a:pt x="693" y="278"/>
                      </a:lnTo>
                      <a:lnTo>
                        <a:pt x="693" y="277"/>
                      </a:lnTo>
                      <a:lnTo>
                        <a:pt x="693" y="277"/>
                      </a:lnTo>
                      <a:lnTo>
                        <a:pt x="693" y="276"/>
                      </a:lnTo>
                      <a:lnTo>
                        <a:pt x="693" y="276"/>
                      </a:lnTo>
                      <a:lnTo>
                        <a:pt x="694" y="274"/>
                      </a:lnTo>
                      <a:lnTo>
                        <a:pt x="694" y="274"/>
                      </a:lnTo>
                      <a:lnTo>
                        <a:pt x="695" y="276"/>
                      </a:lnTo>
                      <a:lnTo>
                        <a:pt x="697" y="277"/>
                      </a:lnTo>
                      <a:lnTo>
                        <a:pt x="697" y="277"/>
                      </a:lnTo>
                      <a:lnTo>
                        <a:pt x="697" y="279"/>
                      </a:lnTo>
                      <a:lnTo>
                        <a:pt x="697" y="279"/>
                      </a:lnTo>
                      <a:lnTo>
                        <a:pt x="697" y="281"/>
                      </a:lnTo>
                      <a:lnTo>
                        <a:pt x="697" y="281"/>
                      </a:lnTo>
                      <a:lnTo>
                        <a:pt x="697" y="281"/>
                      </a:lnTo>
                      <a:lnTo>
                        <a:pt x="697" y="281"/>
                      </a:lnTo>
                      <a:lnTo>
                        <a:pt x="697" y="281"/>
                      </a:lnTo>
                      <a:lnTo>
                        <a:pt x="697" y="281"/>
                      </a:lnTo>
                      <a:close/>
                      <a:moveTo>
                        <a:pt x="694" y="270"/>
                      </a:moveTo>
                      <a:lnTo>
                        <a:pt x="694" y="270"/>
                      </a:lnTo>
                      <a:lnTo>
                        <a:pt x="694" y="270"/>
                      </a:lnTo>
                      <a:lnTo>
                        <a:pt x="694" y="270"/>
                      </a:lnTo>
                      <a:lnTo>
                        <a:pt x="694" y="270"/>
                      </a:lnTo>
                      <a:lnTo>
                        <a:pt x="694" y="270"/>
                      </a:lnTo>
                      <a:lnTo>
                        <a:pt x="694" y="269"/>
                      </a:lnTo>
                      <a:lnTo>
                        <a:pt x="694" y="269"/>
                      </a:lnTo>
                      <a:lnTo>
                        <a:pt x="694" y="269"/>
                      </a:lnTo>
                      <a:lnTo>
                        <a:pt x="694" y="269"/>
                      </a:lnTo>
                      <a:lnTo>
                        <a:pt x="694" y="269"/>
                      </a:lnTo>
                      <a:lnTo>
                        <a:pt x="694" y="270"/>
                      </a:lnTo>
                      <a:lnTo>
                        <a:pt x="694" y="270"/>
                      </a:lnTo>
                      <a:lnTo>
                        <a:pt x="694" y="270"/>
                      </a:lnTo>
                      <a:lnTo>
                        <a:pt x="694" y="270"/>
                      </a:lnTo>
                      <a:lnTo>
                        <a:pt x="694" y="270"/>
                      </a:lnTo>
                      <a:close/>
                      <a:moveTo>
                        <a:pt x="677" y="253"/>
                      </a:moveTo>
                      <a:lnTo>
                        <a:pt x="675" y="254"/>
                      </a:lnTo>
                      <a:lnTo>
                        <a:pt x="675" y="254"/>
                      </a:lnTo>
                      <a:lnTo>
                        <a:pt x="675" y="254"/>
                      </a:lnTo>
                      <a:lnTo>
                        <a:pt x="675" y="253"/>
                      </a:lnTo>
                      <a:lnTo>
                        <a:pt x="675" y="253"/>
                      </a:lnTo>
                      <a:lnTo>
                        <a:pt x="677" y="252"/>
                      </a:lnTo>
                      <a:lnTo>
                        <a:pt x="677" y="252"/>
                      </a:lnTo>
                      <a:lnTo>
                        <a:pt x="677" y="252"/>
                      </a:lnTo>
                      <a:lnTo>
                        <a:pt x="677" y="252"/>
                      </a:lnTo>
                      <a:lnTo>
                        <a:pt x="677" y="251"/>
                      </a:lnTo>
                      <a:lnTo>
                        <a:pt x="678" y="251"/>
                      </a:lnTo>
                      <a:lnTo>
                        <a:pt x="677" y="252"/>
                      </a:lnTo>
                      <a:lnTo>
                        <a:pt x="677" y="252"/>
                      </a:lnTo>
                      <a:lnTo>
                        <a:pt x="677" y="252"/>
                      </a:lnTo>
                      <a:lnTo>
                        <a:pt x="677" y="252"/>
                      </a:lnTo>
                      <a:lnTo>
                        <a:pt x="677" y="253"/>
                      </a:lnTo>
                      <a:lnTo>
                        <a:pt x="677" y="253"/>
                      </a:lnTo>
                      <a:lnTo>
                        <a:pt x="677" y="253"/>
                      </a:lnTo>
                      <a:close/>
                      <a:moveTo>
                        <a:pt x="690" y="252"/>
                      </a:moveTo>
                      <a:lnTo>
                        <a:pt x="690" y="252"/>
                      </a:lnTo>
                      <a:lnTo>
                        <a:pt x="690" y="252"/>
                      </a:lnTo>
                      <a:lnTo>
                        <a:pt x="690" y="252"/>
                      </a:lnTo>
                      <a:lnTo>
                        <a:pt x="690" y="252"/>
                      </a:lnTo>
                      <a:lnTo>
                        <a:pt x="690" y="251"/>
                      </a:lnTo>
                      <a:lnTo>
                        <a:pt x="690" y="251"/>
                      </a:lnTo>
                      <a:lnTo>
                        <a:pt x="690" y="250"/>
                      </a:lnTo>
                      <a:lnTo>
                        <a:pt x="691" y="250"/>
                      </a:lnTo>
                      <a:lnTo>
                        <a:pt x="691" y="250"/>
                      </a:lnTo>
                      <a:lnTo>
                        <a:pt x="691" y="250"/>
                      </a:lnTo>
                      <a:lnTo>
                        <a:pt x="691" y="250"/>
                      </a:lnTo>
                      <a:lnTo>
                        <a:pt x="691" y="250"/>
                      </a:lnTo>
                      <a:lnTo>
                        <a:pt x="691" y="250"/>
                      </a:lnTo>
                      <a:lnTo>
                        <a:pt x="691" y="251"/>
                      </a:lnTo>
                      <a:lnTo>
                        <a:pt x="691" y="251"/>
                      </a:lnTo>
                      <a:lnTo>
                        <a:pt x="691" y="251"/>
                      </a:lnTo>
                      <a:lnTo>
                        <a:pt x="691" y="251"/>
                      </a:lnTo>
                      <a:lnTo>
                        <a:pt x="691" y="252"/>
                      </a:lnTo>
                      <a:lnTo>
                        <a:pt x="691" y="252"/>
                      </a:lnTo>
                      <a:lnTo>
                        <a:pt x="690" y="252"/>
                      </a:lnTo>
                      <a:lnTo>
                        <a:pt x="690" y="252"/>
                      </a:lnTo>
                      <a:lnTo>
                        <a:pt x="690" y="252"/>
                      </a:lnTo>
                      <a:close/>
                      <a:moveTo>
                        <a:pt x="680" y="250"/>
                      </a:moveTo>
                      <a:lnTo>
                        <a:pt x="680" y="250"/>
                      </a:lnTo>
                      <a:lnTo>
                        <a:pt x="680" y="250"/>
                      </a:lnTo>
                      <a:lnTo>
                        <a:pt x="680" y="250"/>
                      </a:lnTo>
                      <a:lnTo>
                        <a:pt x="679" y="250"/>
                      </a:lnTo>
                      <a:lnTo>
                        <a:pt x="680" y="249"/>
                      </a:lnTo>
                      <a:lnTo>
                        <a:pt x="680" y="249"/>
                      </a:lnTo>
                      <a:lnTo>
                        <a:pt x="680" y="247"/>
                      </a:lnTo>
                      <a:lnTo>
                        <a:pt x="680" y="246"/>
                      </a:lnTo>
                      <a:lnTo>
                        <a:pt x="680" y="246"/>
                      </a:lnTo>
                      <a:lnTo>
                        <a:pt x="680" y="246"/>
                      </a:lnTo>
                      <a:lnTo>
                        <a:pt x="681" y="246"/>
                      </a:lnTo>
                      <a:lnTo>
                        <a:pt x="681" y="246"/>
                      </a:lnTo>
                      <a:lnTo>
                        <a:pt x="681" y="246"/>
                      </a:lnTo>
                      <a:lnTo>
                        <a:pt x="681" y="246"/>
                      </a:lnTo>
                      <a:lnTo>
                        <a:pt x="681" y="247"/>
                      </a:lnTo>
                      <a:lnTo>
                        <a:pt x="681" y="249"/>
                      </a:lnTo>
                      <a:lnTo>
                        <a:pt x="680" y="249"/>
                      </a:lnTo>
                      <a:lnTo>
                        <a:pt x="680" y="250"/>
                      </a:lnTo>
                      <a:lnTo>
                        <a:pt x="680" y="250"/>
                      </a:lnTo>
                      <a:lnTo>
                        <a:pt x="680" y="250"/>
                      </a:lnTo>
                      <a:lnTo>
                        <a:pt x="680" y="250"/>
                      </a:lnTo>
                      <a:lnTo>
                        <a:pt x="680" y="250"/>
                      </a:lnTo>
                      <a:close/>
                      <a:moveTo>
                        <a:pt x="690" y="240"/>
                      </a:moveTo>
                      <a:lnTo>
                        <a:pt x="690" y="240"/>
                      </a:lnTo>
                      <a:lnTo>
                        <a:pt x="690" y="240"/>
                      </a:lnTo>
                      <a:lnTo>
                        <a:pt x="690" y="240"/>
                      </a:lnTo>
                      <a:lnTo>
                        <a:pt x="690" y="240"/>
                      </a:lnTo>
                      <a:lnTo>
                        <a:pt x="691" y="239"/>
                      </a:lnTo>
                      <a:lnTo>
                        <a:pt x="691" y="240"/>
                      </a:lnTo>
                      <a:lnTo>
                        <a:pt x="691" y="240"/>
                      </a:lnTo>
                      <a:lnTo>
                        <a:pt x="690" y="240"/>
                      </a:lnTo>
                      <a:lnTo>
                        <a:pt x="690" y="240"/>
                      </a:lnTo>
                      <a:lnTo>
                        <a:pt x="690" y="240"/>
                      </a:lnTo>
                      <a:lnTo>
                        <a:pt x="690" y="240"/>
                      </a:lnTo>
                      <a:lnTo>
                        <a:pt x="690" y="240"/>
                      </a:lnTo>
                      <a:close/>
                      <a:moveTo>
                        <a:pt x="690" y="239"/>
                      </a:moveTo>
                      <a:lnTo>
                        <a:pt x="690" y="239"/>
                      </a:lnTo>
                      <a:lnTo>
                        <a:pt x="688" y="238"/>
                      </a:lnTo>
                      <a:lnTo>
                        <a:pt x="688" y="238"/>
                      </a:lnTo>
                      <a:lnTo>
                        <a:pt x="688" y="238"/>
                      </a:lnTo>
                      <a:lnTo>
                        <a:pt x="690" y="238"/>
                      </a:lnTo>
                      <a:lnTo>
                        <a:pt x="690" y="238"/>
                      </a:lnTo>
                      <a:lnTo>
                        <a:pt x="690" y="238"/>
                      </a:lnTo>
                      <a:lnTo>
                        <a:pt x="690" y="238"/>
                      </a:lnTo>
                      <a:lnTo>
                        <a:pt x="690" y="238"/>
                      </a:lnTo>
                      <a:lnTo>
                        <a:pt x="690" y="238"/>
                      </a:lnTo>
                      <a:lnTo>
                        <a:pt x="690" y="239"/>
                      </a:lnTo>
                      <a:lnTo>
                        <a:pt x="690" y="239"/>
                      </a:lnTo>
                      <a:lnTo>
                        <a:pt x="690" y="239"/>
                      </a:lnTo>
                      <a:close/>
                      <a:moveTo>
                        <a:pt x="78" y="227"/>
                      </a:moveTo>
                      <a:lnTo>
                        <a:pt x="78" y="227"/>
                      </a:lnTo>
                      <a:lnTo>
                        <a:pt x="78" y="227"/>
                      </a:lnTo>
                      <a:lnTo>
                        <a:pt x="78" y="227"/>
                      </a:lnTo>
                      <a:lnTo>
                        <a:pt x="77" y="226"/>
                      </a:lnTo>
                      <a:lnTo>
                        <a:pt x="77" y="226"/>
                      </a:lnTo>
                      <a:lnTo>
                        <a:pt x="77" y="227"/>
                      </a:lnTo>
                      <a:lnTo>
                        <a:pt x="77" y="227"/>
                      </a:lnTo>
                      <a:lnTo>
                        <a:pt x="77" y="227"/>
                      </a:lnTo>
                      <a:lnTo>
                        <a:pt x="77" y="227"/>
                      </a:lnTo>
                      <a:lnTo>
                        <a:pt x="77" y="227"/>
                      </a:lnTo>
                      <a:lnTo>
                        <a:pt x="77" y="227"/>
                      </a:lnTo>
                      <a:lnTo>
                        <a:pt x="77" y="227"/>
                      </a:lnTo>
                      <a:lnTo>
                        <a:pt x="77" y="226"/>
                      </a:lnTo>
                      <a:lnTo>
                        <a:pt x="77" y="226"/>
                      </a:lnTo>
                      <a:lnTo>
                        <a:pt x="77" y="226"/>
                      </a:lnTo>
                      <a:lnTo>
                        <a:pt x="77" y="226"/>
                      </a:lnTo>
                      <a:lnTo>
                        <a:pt x="78" y="225"/>
                      </a:lnTo>
                      <a:lnTo>
                        <a:pt x="79" y="224"/>
                      </a:lnTo>
                      <a:lnTo>
                        <a:pt x="79" y="224"/>
                      </a:lnTo>
                      <a:lnTo>
                        <a:pt x="79" y="223"/>
                      </a:lnTo>
                      <a:lnTo>
                        <a:pt x="79" y="223"/>
                      </a:lnTo>
                      <a:lnTo>
                        <a:pt x="79" y="223"/>
                      </a:lnTo>
                      <a:lnTo>
                        <a:pt x="79" y="223"/>
                      </a:lnTo>
                      <a:lnTo>
                        <a:pt x="79" y="223"/>
                      </a:lnTo>
                      <a:lnTo>
                        <a:pt x="79" y="223"/>
                      </a:lnTo>
                      <a:lnTo>
                        <a:pt x="79" y="224"/>
                      </a:lnTo>
                      <a:lnTo>
                        <a:pt x="79" y="225"/>
                      </a:lnTo>
                      <a:lnTo>
                        <a:pt x="79" y="225"/>
                      </a:lnTo>
                      <a:lnTo>
                        <a:pt x="79" y="225"/>
                      </a:lnTo>
                      <a:lnTo>
                        <a:pt x="79" y="225"/>
                      </a:lnTo>
                      <a:lnTo>
                        <a:pt x="78" y="227"/>
                      </a:lnTo>
                      <a:lnTo>
                        <a:pt x="78" y="227"/>
                      </a:lnTo>
                      <a:lnTo>
                        <a:pt x="78" y="227"/>
                      </a:lnTo>
                      <a:close/>
                      <a:moveTo>
                        <a:pt x="673" y="216"/>
                      </a:moveTo>
                      <a:lnTo>
                        <a:pt x="673" y="216"/>
                      </a:lnTo>
                      <a:lnTo>
                        <a:pt x="673" y="216"/>
                      </a:lnTo>
                      <a:lnTo>
                        <a:pt x="673" y="216"/>
                      </a:lnTo>
                      <a:lnTo>
                        <a:pt x="673" y="214"/>
                      </a:lnTo>
                      <a:lnTo>
                        <a:pt x="673" y="214"/>
                      </a:lnTo>
                      <a:lnTo>
                        <a:pt x="673" y="214"/>
                      </a:lnTo>
                      <a:lnTo>
                        <a:pt x="673" y="214"/>
                      </a:lnTo>
                      <a:lnTo>
                        <a:pt x="673" y="214"/>
                      </a:lnTo>
                      <a:lnTo>
                        <a:pt x="673" y="214"/>
                      </a:lnTo>
                      <a:lnTo>
                        <a:pt x="674" y="214"/>
                      </a:lnTo>
                      <a:lnTo>
                        <a:pt x="674" y="214"/>
                      </a:lnTo>
                      <a:lnTo>
                        <a:pt x="674" y="214"/>
                      </a:lnTo>
                      <a:lnTo>
                        <a:pt x="674" y="216"/>
                      </a:lnTo>
                      <a:lnTo>
                        <a:pt x="673" y="216"/>
                      </a:lnTo>
                      <a:lnTo>
                        <a:pt x="673" y="216"/>
                      </a:lnTo>
                      <a:close/>
                      <a:moveTo>
                        <a:pt x="673" y="211"/>
                      </a:moveTo>
                      <a:lnTo>
                        <a:pt x="673" y="211"/>
                      </a:lnTo>
                      <a:lnTo>
                        <a:pt x="673" y="211"/>
                      </a:lnTo>
                      <a:lnTo>
                        <a:pt x="673" y="209"/>
                      </a:lnTo>
                      <a:lnTo>
                        <a:pt x="673" y="207"/>
                      </a:lnTo>
                      <a:lnTo>
                        <a:pt x="673" y="207"/>
                      </a:lnTo>
                      <a:lnTo>
                        <a:pt x="673" y="207"/>
                      </a:lnTo>
                      <a:lnTo>
                        <a:pt x="674" y="207"/>
                      </a:lnTo>
                      <a:lnTo>
                        <a:pt x="674" y="207"/>
                      </a:lnTo>
                      <a:lnTo>
                        <a:pt x="674" y="209"/>
                      </a:lnTo>
                      <a:lnTo>
                        <a:pt x="674" y="210"/>
                      </a:lnTo>
                      <a:lnTo>
                        <a:pt x="673" y="211"/>
                      </a:lnTo>
                      <a:lnTo>
                        <a:pt x="673" y="211"/>
                      </a:lnTo>
                      <a:close/>
                      <a:moveTo>
                        <a:pt x="673" y="207"/>
                      </a:moveTo>
                      <a:lnTo>
                        <a:pt x="673" y="207"/>
                      </a:lnTo>
                      <a:lnTo>
                        <a:pt x="672" y="207"/>
                      </a:lnTo>
                      <a:lnTo>
                        <a:pt x="672" y="207"/>
                      </a:lnTo>
                      <a:lnTo>
                        <a:pt x="672" y="207"/>
                      </a:lnTo>
                      <a:lnTo>
                        <a:pt x="672" y="207"/>
                      </a:lnTo>
                      <a:lnTo>
                        <a:pt x="673" y="206"/>
                      </a:lnTo>
                      <a:lnTo>
                        <a:pt x="673" y="205"/>
                      </a:lnTo>
                      <a:lnTo>
                        <a:pt x="673" y="205"/>
                      </a:lnTo>
                      <a:lnTo>
                        <a:pt x="674" y="205"/>
                      </a:lnTo>
                      <a:lnTo>
                        <a:pt x="674" y="205"/>
                      </a:lnTo>
                      <a:lnTo>
                        <a:pt x="674" y="205"/>
                      </a:lnTo>
                      <a:lnTo>
                        <a:pt x="674" y="205"/>
                      </a:lnTo>
                      <a:lnTo>
                        <a:pt x="674" y="206"/>
                      </a:lnTo>
                      <a:lnTo>
                        <a:pt x="674" y="206"/>
                      </a:lnTo>
                      <a:lnTo>
                        <a:pt x="673" y="207"/>
                      </a:lnTo>
                      <a:lnTo>
                        <a:pt x="673" y="207"/>
                      </a:lnTo>
                      <a:lnTo>
                        <a:pt x="673" y="207"/>
                      </a:lnTo>
                      <a:lnTo>
                        <a:pt x="673" y="207"/>
                      </a:lnTo>
                      <a:close/>
                      <a:moveTo>
                        <a:pt x="665" y="205"/>
                      </a:moveTo>
                      <a:lnTo>
                        <a:pt x="665" y="205"/>
                      </a:lnTo>
                      <a:lnTo>
                        <a:pt x="665" y="205"/>
                      </a:lnTo>
                      <a:lnTo>
                        <a:pt x="665" y="205"/>
                      </a:lnTo>
                      <a:lnTo>
                        <a:pt x="665" y="205"/>
                      </a:lnTo>
                      <a:lnTo>
                        <a:pt x="665" y="204"/>
                      </a:lnTo>
                      <a:lnTo>
                        <a:pt x="665" y="204"/>
                      </a:lnTo>
                      <a:lnTo>
                        <a:pt x="665" y="204"/>
                      </a:lnTo>
                      <a:lnTo>
                        <a:pt x="665" y="204"/>
                      </a:lnTo>
                      <a:lnTo>
                        <a:pt x="665" y="204"/>
                      </a:lnTo>
                      <a:lnTo>
                        <a:pt x="665" y="204"/>
                      </a:lnTo>
                      <a:lnTo>
                        <a:pt x="666" y="205"/>
                      </a:lnTo>
                      <a:lnTo>
                        <a:pt x="666" y="205"/>
                      </a:lnTo>
                      <a:lnTo>
                        <a:pt x="665" y="205"/>
                      </a:lnTo>
                      <a:lnTo>
                        <a:pt x="665" y="205"/>
                      </a:lnTo>
                      <a:lnTo>
                        <a:pt x="665" y="205"/>
                      </a:lnTo>
                      <a:lnTo>
                        <a:pt x="665" y="205"/>
                      </a:lnTo>
                      <a:close/>
                      <a:moveTo>
                        <a:pt x="641" y="187"/>
                      </a:moveTo>
                      <a:lnTo>
                        <a:pt x="640" y="187"/>
                      </a:lnTo>
                      <a:lnTo>
                        <a:pt x="640" y="187"/>
                      </a:lnTo>
                      <a:lnTo>
                        <a:pt x="640" y="187"/>
                      </a:lnTo>
                      <a:lnTo>
                        <a:pt x="640" y="186"/>
                      </a:lnTo>
                      <a:lnTo>
                        <a:pt x="640" y="186"/>
                      </a:lnTo>
                      <a:lnTo>
                        <a:pt x="640" y="186"/>
                      </a:lnTo>
                      <a:lnTo>
                        <a:pt x="640" y="186"/>
                      </a:lnTo>
                      <a:lnTo>
                        <a:pt x="640" y="186"/>
                      </a:lnTo>
                      <a:lnTo>
                        <a:pt x="640" y="186"/>
                      </a:lnTo>
                      <a:lnTo>
                        <a:pt x="641" y="186"/>
                      </a:lnTo>
                      <a:lnTo>
                        <a:pt x="641" y="186"/>
                      </a:lnTo>
                      <a:lnTo>
                        <a:pt x="641" y="186"/>
                      </a:lnTo>
                      <a:lnTo>
                        <a:pt x="641" y="186"/>
                      </a:lnTo>
                      <a:lnTo>
                        <a:pt x="641" y="186"/>
                      </a:lnTo>
                      <a:lnTo>
                        <a:pt x="641" y="187"/>
                      </a:lnTo>
                      <a:lnTo>
                        <a:pt x="641" y="187"/>
                      </a:lnTo>
                      <a:close/>
                      <a:moveTo>
                        <a:pt x="634" y="173"/>
                      </a:moveTo>
                      <a:lnTo>
                        <a:pt x="634" y="173"/>
                      </a:lnTo>
                      <a:lnTo>
                        <a:pt x="633" y="173"/>
                      </a:lnTo>
                      <a:lnTo>
                        <a:pt x="633" y="173"/>
                      </a:lnTo>
                      <a:lnTo>
                        <a:pt x="633" y="173"/>
                      </a:lnTo>
                      <a:lnTo>
                        <a:pt x="633" y="173"/>
                      </a:lnTo>
                      <a:lnTo>
                        <a:pt x="633" y="172"/>
                      </a:lnTo>
                      <a:lnTo>
                        <a:pt x="633" y="172"/>
                      </a:lnTo>
                      <a:lnTo>
                        <a:pt x="633" y="172"/>
                      </a:lnTo>
                      <a:lnTo>
                        <a:pt x="633" y="172"/>
                      </a:lnTo>
                      <a:lnTo>
                        <a:pt x="633" y="172"/>
                      </a:lnTo>
                      <a:lnTo>
                        <a:pt x="633" y="171"/>
                      </a:lnTo>
                      <a:lnTo>
                        <a:pt x="633" y="171"/>
                      </a:lnTo>
                      <a:lnTo>
                        <a:pt x="633" y="171"/>
                      </a:lnTo>
                      <a:lnTo>
                        <a:pt x="632" y="170"/>
                      </a:lnTo>
                      <a:lnTo>
                        <a:pt x="632" y="170"/>
                      </a:lnTo>
                      <a:lnTo>
                        <a:pt x="632" y="170"/>
                      </a:lnTo>
                      <a:lnTo>
                        <a:pt x="632" y="170"/>
                      </a:lnTo>
                      <a:lnTo>
                        <a:pt x="632" y="170"/>
                      </a:lnTo>
                      <a:lnTo>
                        <a:pt x="632" y="170"/>
                      </a:lnTo>
                      <a:lnTo>
                        <a:pt x="632" y="170"/>
                      </a:lnTo>
                      <a:lnTo>
                        <a:pt x="632" y="170"/>
                      </a:lnTo>
                      <a:lnTo>
                        <a:pt x="631" y="169"/>
                      </a:lnTo>
                      <a:lnTo>
                        <a:pt x="631" y="169"/>
                      </a:lnTo>
                      <a:lnTo>
                        <a:pt x="632" y="169"/>
                      </a:lnTo>
                      <a:lnTo>
                        <a:pt x="632" y="169"/>
                      </a:lnTo>
                      <a:lnTo>
                        <a:pt x="632" y="169"/>
                      </a:lnTo>
                      <a:lnTo>
                        <a:pt x="632" y="169"/>
                      </a:lnTo>
                      <a:lnTo>
                        <a:pt x="633" y="170"/>
                      </a:lnTo>
                      <a:lnTo>
                        <a:pt x="634" y="170"/>
                      </a:lnTo>
                      <a:lnTo>
                        <a:pt x="635" y="172"/>
                      </a:lnTo>
                      <a:lnTo>
                        <a:pt x="635" y="172"/>
                      </a:lnTo>
                      <a:lnTo>
                        <a:pt x="635" y="172"/>
                      </a:lnTo>
                      <a:lnTo>
                        <a:pt x="634" y="173"/>
                      </a:lnTo>
                      <a:lnTo>
                        <a:pt x="634" y="173"/>
                      </a:lnTo>
                      <a:lnTo>
                        <a:pt x="634" y="173"/>
                      </a:lnTo>
                      <a:close/>
                      <a:moveTo>
                        <a:pt x="518" y="146"/>
                      </a:moveTo>
                      <a:lnTo>
                        <a:pt x="518" y="146"/>
                      </a:lnTo>
                      <a:lnTo>
                        <a:pt x="518" y="146"/>
                      </a:lnTo>
                      <a:lnTo>
                        <a:pt x="518" y="146"/>
                      </a:lnTo>
                      <a:lnTo>
                        <a:pt x="518" y="145"/>
                      </a:lnTo>
                      <a:lnTo>
                        <a:pt x="518" y="145"/>
                      </a:lnTo>
                      <a:lnTo>
                        <a:pt x="518" y="145"/>
                      </a:lnTo>
                      <a:lnTo>
                        <a:pt x="520" y="143"/>
                      </a:lnTo>
                      <a:lnTo>
                        <a:pt x="520" y="143"/>
                      </a:lnTo>
                      <a:lnTo>
                        <a:pt x="520" y="144"/>
                      </a:lnTo>
                      <a:lnTo>
                        <a:pt x="521" y="144"/>
                      </a:lnTo>
                      <a:lnTo>
                        <a:pt x="521" y="144"/>
                      </a:lnTo>
                      <a:lnTo>
                        <a:pt x="521" y="145"/>
                      </a:lnTo>
                      <a:lnTo>
                        <a:pt x="521" y="145"/>
                      </a:lnTo>
                      <a:lnTo>
                        <a:pt x="520" y="145"/>
                      </a:lnTo>
                      <a:lnTo>
                        <a:pt x="520" y="145"/>
                      </a:lnTo>
                      <a:lnTo>
                        <a:pt x="519" y="145"/>
                      </a:lnTo>
                      <a:lnTo>
                        <a:pt x="519" y="145"/>
                      </a:lnTo>
                      <a:lnTo>
                        <a:pt x="519" y="145"/>
                      </a:lnTo>
                      <a:lnTo>
                        <a:pt x="519" y="145"/>
                      </a:lnTo>
                      <a:lnTo>
                        <a:pt x="518" y="145"/>
                      </a:lnTo>
                      <a:lnTo>
                        <a:pt x="518" y="145"/>
                      </a:lnTo>
                      <a:lnTo>
                        <a:pt x="518" y="146"/>
                      </a:lnTo>
                      <a:lnTo>
                        <a:pt x="518" y="146"/>
                      </a:lnTo>
                      <a:lnTo>
                        <a:pt x="518" y="146"/>
                      </a:lnTo>
                      <a:close/>
                      <a:moveTo>
                        <a:pt x="513" y="140"/>
                      </a:moveTo>
                      <a:lnTo>
                        <a:pt x="513" y="140"/>
                      </a:lnTo>
                      <a:lnTo>
                        <a:pt x="513" y="139"/>
                      </a:lnTo>
                      <a:lnTo>
                        <a:pt x="513" y="139"/>
                      </a:lnTo>
                      <a:lnTo>
                        <a:pt x="513" y="139"/>
                      </a:lnTo>
                      <a:lnTo>
                        <a:pt x="514" y="139"/>
                      </a:lnTo>
                      <a:lnTo>
                        <a:pt x="514" y="139"/>
                      </a:lnTo>
                      <a:lnTo>
                        <a:pt x="514" y="139"/>
                      </a:lnTo>
                      <a:lnTo>
                        <a:pt x="514" y="139"/>
                      </a:lnTo>
                      <a:lnTo>
                        <a:pt x="514" y="139"/>
                      </a:lnTo>
                      <a:lnTo>
                        <a:pt x="514" y="139"/>
                      </a:lnTo>
                      <a:lnTo>
                        <a:pt x="513" y="140"/>
                      </a:lnTo>
                      <a:lnTo>
                        <a:pt x="513" y="140"/>
                      </a:lnTo>
                      <a:close/>
                      <a:moveTo>
                        <a:pt x="515" y="138"/>
                      </a:moveTo>
                      <a:lnTo>
                        <a:pt x="514" y="138"/>
                      </a:lnTo>
                      <a:lnTo>
                        <a:pt x="514" y="138"/>
                      </a:lnTo>
                      <a:lnTo>
                        <a:pt x="514" y="138"/>
                      </a:lnTo>
                      <a:lnTo>
                        <a:pt x="514" y="137"/>
                      </a:lnTo>
                      <a:lnTo>
                        <a:pt x="514" y="137"/>
                      </a:lnTo>
                      <a:lnTo>
                        <a:pt x="515" y="136"/>
                      </a:lnTo>
                      <a:lnTo>
                        <a:pt x="515" y="135"/>
                      </a:lnTo>
                      <a:lnTo>
                        <a:pt x="517" y="133"/>
                      </a:lnTo>
                      <a:lnTo>
                        <a:pt x="518" y="132"/>
                      </a:lnTo>
                      <a:lnTo>
                        <a:pt x="518" y="132"/>
                      </a:lnTo>
                      <a:lnTo>
                        <a:pt x="518" y="132"/>
                      </a:lnTo>
                      <a:lnTo>
                        <a:pt x="519" y="132"/>
                      </a:lnTo>
                      <a:lnTo>
                        <a:pt x="519" y="132"/>
                      </a:lnTo>
                      <a:lnTo>
                        <a:pt x="521" y="132"/>
                      </a:lnTo>
                      <a:lnTo>
                        <a:pt x="521" y="131"/>
                      </a:lnTo>
                      <a:lnTo>
                        <a:pt x="522" y="131"/>
                      </a:lnTo>
                      <a:lnTo>
                        <a:pt x="526" y="131"/>
                      </a:lnTo>
                      <a:lnTo>
                        <a:pt x="526" y="132"/>
                      </a:lnTo>
                      <a:lnTo>
                        <a:pt x="526" y="132"/>
                      </a:lnTo>
                      <a:lnTo>
                        <a:pt x="526" y="132"/>
                      </a:lnTo>
                      <a:lnTo>
                        <a:pt x="526" y="132"/>
                      </a:lnTo>
                      <a:lnTo>
                        <a:pt x="526" y="132"/>
                      </a:lnTo>
                      <a:lnTo>
                        <a:pt x="526" y="132"/>
                      </a:lnTo>
                      <a:lnTo>
                        <a:pt x="526" y="133"/>
                      </a:lnTo>
                      <a:lnTo>
                        <a:pt x="525" y="133"/>
                      </a:lnTo>
                      <a:lnTo>
                        <a:pt x="524" y="133"/>
                      </a:lnTo>
                      <a:lnTo>
                        <a:pt x="524" y="132"/>
                      </a:lnTo>
                      <a:lnTo>
                        <a:pt x="521" y="133"/>
                      </a:lnTo>
                      <a:lnTo>
                        <a:pt x="521" y="135"/>
                      </a:lnTo>
                      <a:lnTo>
                        <a:pt x="520" y="136"/>
                      </a:lnTo>
                      <a:lnTo>
                        <a:pt x="520" y="136"/>
                      </a:lnTo>
                      <a:lnTo>
                        <a:pt x="520" y="136"/>
                      </a:lnTo>
                      <a:lnTo>
                        <a:pt x="518" y="137"/>
                      </a:lnTo>
                      <a:lnTo>
                        <a:pt x="517" y="138"/>
                      </a:lnTo>
                      <a:lnTo>
                        <a:pt x="515" y="138"/>
                      </a:lnTo>
                      <a:lnTo>
                        <a:pt x="515" y="138"/>
                      </a:lnTo>
                      <a:close/>
                      <a:moveTo>
                        <a:pt x="474" y="118"/>
                      </a:moveTo>
                      <a:lnTo>
                        <a:pt x="474" y="118"/>
                      </a:lnTo>
                      <a:lnTo>
                        <a:pt x="473" y="118"/>
                      </a:lnTo>
                      <a:lnTo>
                        <a:pt x="473" y="118"/>
                      </a:lnTo>
                      <a:lnTo>
                        <a:pt x="473" y="117"/>
                      </a:lnTo>
                      <a:lnTo>
                        <a:pt x="473" y="117"/>
                      </a:lnTo>
                      <a:lnTo>
                        <a:pt x="473" y="117"/>
                      </a:lnTo>
                      <a:lnTo>
                        <a:pt x="473" y="117"/>
                      </a:lnTo>
                      <a:lnTo>
                        <a:pt x="473" y="117"/>
                      </a:lnTo>
                      <a:lnTo>
                        <a:pt x="474" y="116"/>
                      </a:lnTo>
                      <a:lnTo>
                        <a:pt x="474" y="116"/>
                      </a:lnTo>
                      <a:lnTo>
                        <a:pt x="474" y="116"/>
                      </a:lnTo>
                      <a:lnTo>
                        <a:pt x="475" y="117"/>
                      </a:lnTo>
                      <a:lnTo>
                        <a:pt x="475" y="117"/>
                      </a:lnTo>
                      <a:lnTo>
                        <a:pt x="475" y="117"/>
                      </a:lnTo>
                      <a:lnTo>
                        <a:pt x="475" y="117"/>
                      </a:lnTo>
                      <a:lnTo>
                        <a:pt x="474" y="118"/>
                      </a:lnTo>
                      <a:lnTo>
                        <a:pt x="474" y="118"/>
                      </a:lnTo>
                      <a:lnTo>
                        <a:pt x="474" y="118"/>
                      </a:lnTo>
                      <a:close/>
                      <a:moveTo>
                        <a:pt x="475" y="118"/>
                      </a:moveTo>
                      <a:lnTo>
                        <a:pt x="475" y="118"/>
                      </a:lnTo>
                      <a:lnTo>
                        <a:pt x="475" y="117"/>
                      </a:lnTo>
                      <a:lnTo>
                        <a:pt x="475" y="117"/>
                      </a:lnTo>
                      <a:lnTo>
                        <a:pt x="475" y="116"/>
                      </a:lnTo>
                      <a:lnTo>
                        <a:pt x="475" y="116"/>
                      </a:lnTo>
                      <a:lnTo>
                        <a:pt x="475" y="116"/>
                      </a:lnTo>
                      <a:lnTo>
                        <a:pt x="477" y="116"/>
                      </a:lnTo>
                      <a:lnTo>
                        <a:pt x="477" y="116"/>
                      </a:lnTo>
                      <a:lnTo>
                        <a:pt x="477" y="116"/>
                      </a:lnTo>
                      <a:lnTo>
                        <a:pt x="478" y="116"/>
                      </a:lnTo>
                      <a:lnTo>
                        <a:pt x="478" y="116"/>
                      </a:lnTo>
                      <a:lnTo>
                        <a:pt x="478" y="116"/>
                      </a:lnTo>
                      <a:lnTo>
                        <a:pt x="478" y="116"/>
                      </a:lnTo>
                      <a:lnTo>
                        <a:pt x="478" y="117"/>
                      </a:lnTo>
                      <a:lnTo>
                        <a:pt x="477" y="117"/>
                      </a:lnTo>
                      <a:lnTo>
                        <a:pt x="475" y="117"/>
                      </a:lnTo>
                      <a:lnTo>
                        <a:pt x="475" y="118"/>
                      </a:lnTo>
                      <a:lnTo>
                        <a:pt x="475" y="118"/>
                      </a:lnTo>
                      <a:close/>
                      <a:moveTo>
                        <a:pt x="481" y="119"/>
                      </a:moveTo>
                      <a:lnTo>
                        <a:pt x="481" y="119"/>
                      </a:lnTo>
                      <a:lnTo>
                        <a:pt x="480" y="119"/>
                      </a:lnTo>
                      <a:lnTo>
                        <a:pt x="480" y="118"/>
                      </a:lnTo>
                      <a:lnTo>
                        <a:pt x="480" y="118"/>
                      </a:lnTo>
                      <a:lnTo>
                        <a:pt x="479" y="117"/>
                      </a:lnTo>
                      <a:lnTo>
                        <a:pt x="479" y="117"/>
                      </a:lnTo>
                      <a:lnTo>
                        <a:pt x="479" y="116"/>
                      </a:lnTo>
                      <a:lnTo>
                        <a:pt x="479" y="116"/>
                      </a:lnTo>
                      <a:lnTo>
                        <a:pt x="480" y="116"/>
                      </a:lnTo>
                      <a:lnTo>
                        <a:pt x="480" y="115"/>
                      </a:lnTo>
                      <a:lnTo>
                        <a:pt x="480" y="115"/>
                      </a:lnTo>
                      <a:lnTo>
                        <a:pt x="481" y="115"/>
                      </a:lnTo>
                      <a:lnTo>
                        <a:pt x="481" y="115"/>
                      </a:lnTo>
                      <a:lnTo>
                        <a:pt x="481" y="116"/>
                      </a:lnTo>
                      <a:lnTo>
                        <a:pt x="481" y="116"/>
                      </a:lnTo>
                      <a:lnTo>
                        <a:pt x="481" y="118"/>
                      </a:lnTo>
                      <a:lnTo>
                        <a:pt x="481" y="118"/>
                      </a:lnTo>
                      <a:lnTo>
                        <a:pt x="481" y="118"/>
                      </a:lnTo>
                      <a:lnTo>
                        <a:pt x="481" y="119"/>
                      </a:lnTo>
                      <a:lnTo>
                        <a:pt x="481" y="119"/>
                      </a:lnTo>
                      <a:close/>
                      <a:moveTo>
                        <a:pt x="472" y="116"/>
                      </a:moveTo>
                      <a:lnTo>
                        <a:pt x="472" y="116"/>
                      </a:lnTo>
                      <a:lnTo>
                        <a:pt x="472" y="116"/>
                      </a:lnTo>
                      <a:lnTo>
                        <a:pt x="472" y="115"/>
                      </a:lnTo>
                      <a:lnTo>
                        <a:pt x="472" y="113"/>
                      </a:lnTo>
                      <a:lnTo>
                        <a:pt x="473" y="112"/>
                      </a:lnTo>
                      <a:lnTo>
                        <a:pt x="473" y="112"/>
                      </a:lnTo>
                      <a:lnTo>
                        <a:pt x="474" y="113"/>
                      </a:lnTo>
                      <a:lnTo>
                        <a:pt x="474" y="113"/>
                      </a:lnTo>
                      <a:lnTo>
                        <a:pt x="474" y="113"/>
                      </a:lnTo>
                      <a:lnTo>
                        <a:pt x="473" y="115"/>
                      </a:lnTo>
                      <a:lnTo>
                        <a:pt x="473" y="115"/>
                      </a:lnTo>
                      <a:lnTo>
                        <a:pt x="473" y="116"/>
                      </a:lnTo>
                      <a:lnTo>
                        <a:pt x="472" y="116"/>
                      </a:lnTo>
                      <a:lnTo>
                        <a:pt x="472" y="116"/>
                      </a:lnTo>
                      <a:close/>
                      <a:moveTo>
                        <a:pt x="478" y="115"/>
                      </a:moveTo>
                      <a:lnTo>
                        <a:pt x="478" y="116"/>
                      </a:lnTo>
                      <a:lnTo>
                        <a:pt x="478" y="115"/>
                      </a:lnTo>
                      <a:lnTo>
                        <a:pt x="478" y="115"/>
                      </a:lnTo>
                      <a:lnTo>
                        <a:pt x="478" y="115"/>
                      </a:lnTo>
                      <a:lnTo>
                        <a:pt x="478" y="113"/>
                      </a:lnTo>
                      <a:lnTo>
                        <a:pt x="478" y="113"/>
                      </a:lnTo>
                      <a:lnTo>
                        <a:pt x="479" y="113"/>
                      </a:lnTo>
                      <a:lnTo>
                        <a:pt x="479" y="112"/>
                      </a:lnTo>
                      <a:lnTo>
                        <a:pt x="479" y="112"/>
                      </a:lnTo>
                      <a:lnTo>
                        <a:pt x="479" y="112"/>
                      </a:lnTo>
                      <a:lnTo>
                        <a:pt x="479" y="113"/>
                      </a:lnTo>
                      <a:lnTo>
                        <a:pt x="479" y="115"/>
                      </a:lnTo>
                      <a:lnTo>
                        <a:pt x="478" y="115"/>
                      </a:lnTo>
                      <a:lnTo>
                        <a:pt x="478" y="115"/>
                      </a:lnTo>
                      <a:lnTo>
                        <a:pt x="478" y="115"/>
                      </a:lnTo>
                      <a:lnTo>
                        <a:pt x="478" y="115"/>
                      </a:lnTo>
                      <a:close/>
                      <a:moveTo>
                        <a:pt x="261" y="111"/>
                      </a:moveTo>
                      <a:lnTo>
                        <a:pt x="259" y="111"/>
                      </a:lnTo>
                      <a:lnTo>
                        <a:pt x="259" y="111"/>
                      </a:lnTo>
                      <a:lnTo>
                        <a:pt x="259" y="110"/>
                      </a:lnTo>
                      <a:lnTo>
                        <a:pt x="259" y="110"/>
                      </a:lnTo>
                      <a:lnTo>
                        <a:pt x="259" y="109"/>
                      </a:lnTo>
                      <a:lnTo>
                        <a:pt x="259" y="109"/>
                      </a:lnTo>
                      <a:lnTo>
                        <a:pt x="259" y="107"/>
                      </a:lnTo>
                      <a:lnTo>
                        <a:pt x="259" y="107"/>
                      </a:lnTo>
                      <a:lnTo>
                        <a:pt x="260" y="107"/>
                      </a:lnTo>
                      <a:lnTo>
                        <a:pt x="260" y="107"/>
                      </a:lnTo>
                      <a:lnTo>
                        <a:pt x="261" y="107"/>
                      </a:lnTo>
                      <a:lnTo>
                        <a:pt x="263" y="110"/>
                      </a:lnTo>
                      <a:lnTo>
                        <a:pt x="263" y="110"/>
                      </a:lnTo>
                      <a:lnTo>
                        <a:pt x="261" y="110"/>
                      </a:lnTo>
                      <a:lnTo>
                        <a:pt x="261" y="111"/>
                      </a:lnTo>
                      <a:lnTo>
                        <a:pt x="261" y="111"/>
                      </a:lnTo>
                      <a:close/>
                      <a:moveTo>
                        <a:pt x="258" y="109"/>
                      </a:moveTo>
                      <a:lnTo>
                        <a:pt x="258" y="109"/>
                      </a:lnTo>
                      <a:lnTo>
                        <a:pt x="258" y="109"/>
                      </a:lnTo>
                      <a:lnTo>
                        <a:pt x="257" y="109"/>
                      </a:lnTo>
                      <a:lnTo>
                        <a:pt x="257" y="109"/>
                      </a:lnTo>
                      <a:lnTo>
                        <a:pt x="257" y="109"/>
                      </a:lnTo>
                      <a:lnTo>
                        <a:pt x="257" y="109"/>
                      </a:lnTo>
                      <a:lnTo>
                        <a:pt x="257" y="107"/>
                      </a:lnTo>
                      <a:lnTo>
                        <a:pt x="257" y="107"/>
                      </a:lnTo>
                      <a:lnTo>
                        <a:pt x="259" y="107"/>
                      </a:lnTo>
                      <a:lnTo>
                        <a:pt x="259" y="107"/>
                      </a:lnTo>
                      <a:lnTo>
                        <a:pt x="259" y="107"/>
                      </a:lnTo>
                      <a:lnTo>
                        <a:pt x="259" y="107"/>
                      </a:lnTo>
                      <a:lnTo>
                        <a:pt x="259" y="107"/>
                      </a:lnTo>
                      <a:lnTo>
                        <a:pt x="259" y="107"/>
                      </a:lnTo>
                      <a:lnTo>
                        <a:pt x="259" y="107"/>
                      </a:lnTo>
                      <a:lnTo>
                        <a:pt x="259" y="109"/>
                      </a:lnTo>
                      <a:lnTo>
                        <a:pt x="258" y="109"/>
                      </a:lnTo>
                      <a:lnTo>
                        <a:pt x="258" y="109"/>
                      </a:lnTo>
                      <a:lnTo>
                        <a:pt x="258" y="109"/>
                      </a:lnTo>
                      <a:close/>
                      <a:moveTo>
                        <a:pt x="265" y="107"/>
                      </a:moveTo>
                      <a:lnTo>
                        <a:pt x="265" y="107"/>
                      </a:lnTo>
                      <a:lnTo>
                        <a:pt x="265" y="107"/>
                      </a:lnTo>
                      <a:lnTo>
                        <a:pt x="265" y="107"/>
                      </a:lnTo>
                      <a:lnTo>
                        <a:pt x="265" y="107"/>
                      </a:lnTo>
                      <a:lnTo>
                        <a:pt x="265" y="107"/>
                      </a:lnTo>
                      <a:lnTo>
                        <a:pt x="265" y="107"/>
                      </a:lnTo>
                      <a:lnTo>
                        <a:pt x="265" y="107"/>
                      </a:lnTo>
                      <a:lnTo>
                        <a:pt x="266" y="107"/>
                      </a:lnTo>
                      <a:lnTo>
                        <a:pt x="266" y="107"/>
                      </a:lnTo>
                      <a:lnTo>
                        <a:pt x="266" y="107"/>
                      </a:lnTo>
                      <a:lnTo>
                        <a:pt x="266" y="107"/>
                      </a:lnTo>
                      <a:lnTo>
                        <a:pt x="266" y="107"/>
                      </a:lnTo>
                      <a:lnTo>
                        <a:pt x="266" y="107"/>
                      </a:lnTo>
                      <a:lnTo>
                        <a:pt x="266" y="107"/>
                      </a:lnTo>
                      <a:lnTo>
                        <a:pt x="266" y="107"/>
                      </a:lnTo>
                      <a:lnTo>
                        <a:pt x="266" y="107"/>
                      </a:lnTo>
                      <a:lnTo>
                        <a:pt x="265" y="107"/>
                      </a:lnTo>
                      <a:lnTo>
                        <a:pt x="265" y="107"/>
                      </a:lnTo>
                      <a:close/>
                      <a:moveTo>
                        <a:pt x="326" y="106"/>
                      </a:moveTo>
                      <a:lnTo>
                        <a:pt x="326" y="106"/>
                      </a:lnTo>
                      <a:lnTo>
                        <a:pt x="325" y="105"/>
                      </a:lnTo>
                      <a:lnTo>
                        <a:pt x="325" y="105"/>
                      </a:lnTo>
                      <a:lnTo>
                        <a:pt x="325" y="105"/>
                      </a:lnTo>
                      <a:lnTo>
                        <a:pt x="325" y="105"/>
                      </a:lnTo>
                      <a:lnTo>
                        <a:pt x="325" y="105"/>
                      </a:lnTo>
                      <a:lnTo>
                        <a:pt x="325" y="103"/>
                      </a:lnTo>
                      <a:lnTo>
                        <a:pt x="325" y="103"/>
                      </a:lnTo>
                      <a:lnTo>
                        <a:pt x="325" y="103"/>
                      </a:lnTo>
                      <a:lnTo>
                        <a:pt x="325" y="103"/>
                      </a:lnTo>
                      <a:lnTo>
                        <a:pt x="325" y="103"/>
                      </a:lnTo>
                      <a:lnTo>
                        <a:pt x="325" y="103"/>
                      </a:lnTo>
                      <a:lnTo>
                        <a:pt x="326" y="104"/>
                      </a:lnTo>
                      <a:lnTo>
                        <a:pt x="326" y="105"/>
                      </a:lnTo>
                      <a:lnTo>
                        <a:pt x="326" y="105"/>
                      </a:lnTo>
                      <a:lnTo>
                        <a:pt x="326" y="106"/>
                      </a:lnTo>
                      <a:lnTo>
                        <a:pt x="326" y="106"/>
                      </a:lnTo>
                      <a:lnTo>
                        <a:pt x="326" y="106"/>
                      </a:lnTo>
                      <a:lnTo>
                        <a:pt x="326" y="106"/>
                      </a:lnTo>
                      <a:close/>
                      <a:moveTo>
                        <a:pt x="268" y="103"/>
                      </a:moveTo>
                      <a:lnTo>
                        <a:pt x="268" y="103"/>
                      </a:lnTo>
                      <a:lnTo>
                        <a:pt x="268" y="103"/>
                      </a:lnTo>
                      <a:lnTo>
                        <a:pt x="268" y="103"/>
                      </a:lnTo>
                      <a:lnTo>
                        <a:pt x="267" y="103"/>
                      </a:lnTo>
                      <a:lnTo>
                        <a:pt x="267" y="102"/>
                      </a:lnTo>
                      <a:lnTo>
                        <a:pt x="267" y="102"/>
                      </a:lnTo>
                      <a:lnTo>
                        <a:pt x="267" y="102"/>
                      </a:lnTo>
                      <a:lnTo>
                        <a:pt x="267" y="102"/>
                      </a:lnTo>
                      <a:lnTo>
                        <a:pt x="267" y="100"/>
                      </a:lnTo>
                      <a:lnTo>
                        <a:pt x="267" y="100"/>
                      </a:lnTo>
                      <a:lnTo>
                        <a:pt x="268" y="100"/>
                      </a:lnTo>
                      <a:lnTo>
                        <a:pt x="268" y="100"/>
                      </a:lnTo>
                      <a:lnTo>
                        <a:pt x="268" y="100"/>
                      </a:lnTo>
                      <a:lnTo>
                        <a:pt x="268" y="103"/>
                      </a:lnTo>
                      <a:lnTo>
                        <a:pt x="268" y="103"/>
                      </a:lnTo>
                      <a:lnTo>
                        <a:pt x="268" y="103"/>
                      </a:lnTo>
                      <a:lnTo>
                        <a:pt x="268" y="103"/>
                      </a:lnTo>
                      <a:close/>
                      <a:moveTo>
                        <a:pt x="331" y="103"/>
                      </a:moveTo>
                      <a:lnTo>
                        <a:pt x="331" y="103"/>
                      </a:lnTo>
                      <a:lnTo>
                        <a:pt x="330" y="103"/>
                      </a:lnTo>
                      <a:lnTo>
                        <a:pt x="330" y="102"/>
                      </a:lnTo>
                      <a:lnTo>
                        <a:pt x="330" y="100"/>
                      </a:lnTo>
                      <a:lnTo>
                        <a:pt x="330" y="99"/>
                      </a:lnTo>
                      <a:lnTo>
                        <a:pt x="330" y="99"/>
                      </a:lnTo>
                      <a:lnTo>
                        <a:pt x="330" y="99"/>
                      </a:lnTo>
                      <a:lnTo>
                        <a:pt x="330" y="99"/>
                      </a:lnTo>
                      <a:lnTo>
                        <a:pt x="330" y="99"/>
                      </a:lnTo>
                      <a:lnTo>
                        <a:pt x="330" y="99"/>
                      </a:lnTo>
                      <a:lnTo>
                        <a:pt x="330" y="100"/>
                      </a:lnTo>
                      <a:lnTo>
                        <a:pt x="330" y="100"/>
                      </a:lnTo>
                      <a:lnTo>
                        <a:pt x="330" y="100"/>
                      </a:lnTo>
                      <a:lnTo>
                        <a:pt x="331" y="102"/>
                      </a:lnTo>
                      <a:lnTo>
                        <a:pt x="331" y="103"/>
                      </a:lnTo>
                      <a:lnTo>
                        <a:pt x="331" y="103"/>
                      </a:lnTo>
                      <a:lnTo>
                        <a:pt x="331" y="103"/>
                      </a:lnTo>
                      <a:close/>
                      <a:moveTo>
                        <a:pt x="461" y="100"/>
                      </a:moveTo>
                      <a:lnTo>
                        <a:pt x="460" y="100"/>
                      </a:lnTo>
                      <a:lnTo>
                        <a:pt x="460" y="99"/>
                      </a:lnTo>
                      <a:lnTo>
                        <a:pt x="460" y="99"/>
                      </a:lnTo>
                      <a:lnTo>
                        <a:pt x="460" y="99"/>
                      </a:lnTo>
                      <a:lnTo>
                        <a:pt x="460" y="99"/>
                      </a:lnTo>
                      <a:lnTo>
                        <a:pt x="460" y="98"/>
                      </a:lnTo>
                      <a:lnTo>
                        <a:pt x="461" y="99"/>
                      </a:lnTo>
                      <a:lnTo>
                        <a:pt x="461" y="99"/>
                      </a:lnTo>
                      <a:lnTo>
                        <a:pt x="461" y="99"/>
                      </a:lnTo>
                      <a:lnTo>
                        <a:pt x="461" y="99"/>
                      </a:lnTo>
                      <a:lnTo>
                        <a:pt x="461" y="99"/>
                      </a:lnTo>
                      <a:lnTo>
                        <a:pt x="461" y="100"/>
                      </a:lnTo>
                      <a:lnTo>
                        <a:pt x="461" y="100"/>
                      </a:lnTo>
                      <a:lnTo>
                        <a:pt x="461" y="100"/>
                      </a:lnTo>
                      <a:lnTo>
                        <a:pt x="461" y="100"/>
                      </a:lnTo>
                      <a:close/>
                      <a:moveTo>
                        <a:pt x="352" y="99"/>
                      </a:moveTo>
                      <a:lnTo>
                        <a:pt x="352" y="99"/>
                      </a:lnTo>
                      <a:lnTo>
                        <a:pt x="352" y="99"/>
                      </a:lnTo>
                      <a:lnTo>
                        <a:pt x="352" y="99"/>
                      </a:lnTo>
                      <a:lnTo>
                        <a:pt x="352" y="99"/>
                      </a:lnTo>
                      <a:lnTo>
                        <a:pt x="352" y="98"/>
                      </a:lnTo>
                      <a:lnTo>
                        <a:pt x="352" y="98"/>
                      </a:lnTo>
                      <a:lnTo>
                        <a:pt x="352" y="98"/>
                      </a:lnTo>
                      <a:lnTo>
                        <a:pt x="352" y="98"/>
                      </a:lnTo>
                      <a:lnTo>
                        <a:pt x="352" y="98"/>
                      </a:lnTo>
                      <a:lnTo>
                        <a:pt x="352" y="98"/>
                      </a:lnTo>
                      <a:lnTo>
                        <a:pt x="352" y="98"/>
                      </a:lnTo>
                      <a:lnTo>
                        <a:pt x="352" y="98"/>
                      </a:lnTo>
                      <a:lnTo>
                        <a:pt x="352" y="99"/>
                      </a:lnTo>
                      <a:lnTo>
                        <a:pt x="352" y="99"/>
                      </a:lnTo>
                      <a:lnTo>
                        <a:pt x="352" y="99"/>
                      </a:lnTo>
                      <a:lnTo>
                        <a:pt x="352" y="99"/>
                      </a:lnTo>
                      <a:lnTo>
                        <a:pt x="352" y="99"/>
                      </a:lnTo>
                      <a:lnTo>
                        <a:pt x="352" y="99"/>
                      </a:lnTo>
                      <a:lnTo>
                        <a:pt x="352" y="99"/>
                      </a:lnTo>
                      <a:close/>
                      <a:moveTo>
                        <a:pt x="351" y="100"/>
                      </a:moveTo>
                      <a:lnTo>
                        <a:pt x="351" y="102"/>
                      </a:lnTo>
                      <a:lnTo>
                        <a:pt x="351" y="100"/>
                      </a:lnTo>
                      <a:lnTo>
                        <a:pt x="351" y="100"/>
                      </a:lnTo>
                      <a:lnTo>
                        <a:pt x="351" y="99"/>
                      </a:lnTo>
                      <a:lnTo>
                        <a:pt x="351" y="98"/>
                      </a:lnTo>
                      <a:lnTo>
                        <a:pt x="350" y="98"/>
                      </a:lnTo>
                      <a:lnTo>
                        <a:pt x="350" y="98"/>
                      </a:lnTo>
                      <a:lnTo>
                        <a:pt x="350" y="98"/>
                      </a:lnTo>
                      <a:lnTo>
                        <a:pt x="351" y="98"/>
                      </a:lnTo>
                      <a:lnTo>
                        <a:pt x="351" y="98"/>
                      </a:lnTo>
                      <a:lnTo>
                        <a:pt x="351" y="98"/>
                      </a:lnTo>
                      <a:lnTo>
                        <a:pt x="351" y="98"/>
                      </a:lnTo>
                      <a:lnTo>
                        <a:pt x="351" y="99"/>
                      </a:lnTo>
                      <a:lnTo>
                        <a:pt x="351" y="99"/>
                      </a:lnTo>
                      <a:lnTo>
                        <a:pt x="351" y="100"/>
                      </a:lnTo>
                      <a:lnTo>
                        <a:pt x="351" y="100"/>
                      </a:lnTo>
                      <a:lnTo>
                        <a:pt x="351" y="100"/>
                      </a:lnTo>
                      <a:close/>
                      <a:moveTo>
                        <a:pt x="273" y="95"/>
                      </a:moveTo>
                      <a:lnTo>
                        <a:pt x="273" y="95"/>
                      </a:lnTo>
                      <a:lnTo>
                        <a:pt x="273" y="95"/>
                      </a:lnTo>
                      <a:lnTo>
                        <a:pt x="272" y="95"/>
                      </a:lnTo>
                      <a:lnTo>
                        <a:pt x="272" y="95"/>
                      </a:lnTo>
                      <a:lnTo>
                        <a:pt x="272" y="95"/>
                      </a:lnTo>
                      <a:lnTo>
                        <a:pt x="272" y="95"/>
                      </a:lnTo>
                      <a:lnTo>
                        <a:pt x="273" y="93"/>
                      </a:lnTo>
                      <a:lnTo>
                        <a:pt x="273" y="92"/>
                      </a:lnTo>
                      <a:lnTo>
                        <a:pt x="273" y="92"/>
                      </a:lnTo>
                      <a:lnTo>
                        <a:pt x="274" y="91"/>
                      </a:lnTo>
                      <a:lnTo>
                        <a:pt x="274" y="91"/>
                      </a:lnTo>
                      <a:lnTo>
                        <a:pt x="274" y="91"/>
                      </a:lnTo>
                      <a:lnTo>
                        <a:pt x="274" y="91"/>
                      </a:lnTo>
                      <a:lnTo>
                        <a:pt x="274" y="91"/>
                      </a:lnTo>
                      <a:lnTo>
                        <a:pt x="274" y="91"/>
                      </a:lnTo>
                      <a:lnTo>
                        <a:pt x="274" y="92"/>
                      </a:lnTo>
                      <a:lnTo>
                        <a:pt x="274" y="92"/>
                      </a:lnTo>
                      <a:lnTo>
                        <a:pt x="274" y="93"/>
                      </a:lnTo>
                      <a:lnTo>
                        <a:pt x="273" y="95"/>
                      </a:lnTo>
                      <a:lnTo>
                        <a:pt x="273" y="95"/>
                      </a:lnTo>
                      <a:lnTo>
                        <a:pt x="273" y="95"/>
                      </a:lnTo>
                      <a:lnTo>
                        <a:pt x="273" y="95"/>
                      </a:lnTo>
                      <a:close/>
                      <a:moveTo>
                        <a:pt x="483" y="87"/>
                      </a:moveTo>
                      <a:lnTo>
                        <a:pt x="483" y="87"/>
                      </a:lnTo>
                      <a:lnTo>
                        <a:pt x="483" y="87"/>
                      </a:lnTo>
                      <a:lnTo>
                        <a:pt x="483" y="87"/>
                      </a:lnTo>
                      <a:lnTo>
                        <a:pt x="483" y="87"/>
                      </a:lnTo>
                      <a:lnTo>
                        <a:pt x="483" y="87"/>
                      </a:lnTo>
                      <a:lnTo>
                        <a:pt x="483" y="87"/>
                      </a:lnTo>
                      <a:lnTo>
                        <a:pt x="483" y="87"/>
                      </a:lnTo>
                      <a:lnTo>
                        <a:pt x="480" y="87"/>
                      </a:lnTo>
                      <a:lnTo>
                        <a:pt x="480" y="87"/>
                      </a:lnTo>
                      <a:lnTo>
                        <a:pt x="480" y="87"/>
                      </a:lnTo>
                      <a:lnTo>
                        <a:pt x="480" y="87"/>
                      </a:lnTo>
                      <a:lnTo>
                        <a:pt x="479" y="87"/>
                      </a:lnTo>
                      <a:lnTo>
                        <a:pt x="478" y="87"/>
                      </a:lnTo>
                      <a:lnTo>
                        <a:pt x="474" y="86"/>
                      </a:lnTo>
                      <a:lnTo>
                        <a:pt x="475" y="83"/>
                      </a:lnTo>
                      <a:lnTo>
                        <a:pt x="475" y="82"/>
                      </a:lnTo>
                      <a:lnTo>
                        <a:pt x="475" y="82"/>
                      </a:lnTo>
                      <a:lnTo>
                        <a:pt x="475" y="79"/>
                      </a:lnTo>
                      <a:lnTo>
                        <a:pt x="477" y="78"/>
                      </a:lnTo>
                      <a:lnTo>
                        <a:pt x="477" y="78"/>
                      </a:lnTo>
                      <a:lnTo>
                        <a:pt x="478" y="78"/>
                      </a:lnTo>
                      <a:lnTo>
                        <a:pt x="479" y="78"/>
                      </a:lnTo>
                      <a:lnTo>
                        <a:pt x="480" y="77"/>
                      </a:lnTo>
                      <a:lnTo>
                        <a:pt x="480" y="77"/>
                      </a:lnTo>
                      <a:lnTo>
                        <a:pt x="480" y="77"/>
                      </a:lnTo>
                      <a:lnTo>
                        <a:pt x="480" y="77"/>
                      </a:lnTo>
                      <a:lnTo>
                        <a:pt x="479" y="76"/>
                      </a:lnTo>
                      <a:lnTo>
                        <a:pt x="481" y="75"/>
                      </a:lnTo>
                      <a:lnTo>
                        <a:pt x="481" y="75"/>
                      </a:lnTo>
                      <a:lnTo>
                        <a:pt x="481" y="75"/>
                      </a:lnTo>
                      <a:lnTo>
                        <a:pt x="481" y="75"/>
                      </a:lnTo>
                      <a:lnTo>
                        <a:pt x="481" y="75"/>
                      </a:lnTo>
                      <a:lnTo>
                        <a:pt x="481" y="75"/>
                      </a:lnTo>
                      <a:lnTo>
                        <a:pt x="481" y="75"/>
                      </a:lnTo>
                      <a:lnTo>
                        <a:pt x="481" y="76"/>
                      </a:lnTo>
                      <a:lnTo>
                        <a:pt x="481" y="76"/>
                      </a:lnTo>
                      <a:lnTo>
                        <a:pt x="481" y="76"/>
                      </a:lnTo>
                      <a:lnTo>
                        <a:pt x="481" y="76"/>
                      </a:lnTo>
                      <a:lnTo>
                        <a:pt x="480" y="76"/>
                      </a:lnTo>
                      <a:lnTo>
                        <a:pt x="480" y="76"/>
                      </a:lnTo>
                      <a:lnTo>
                        <a:pt x="480" y="77"/>
                      </a:lnTo>
                      <a:lnTo>
                        <a:pt x="480" y="77"/>
                      </a:lnTo>
                      <a:lnTo>
                        <a:pt x="481" y="78"/>
                      </a:lnTo>
                      <a:lnTo>
                        <a:pt x="481" y="78"/>
                      </a:lnTo>
                      <a:lnTo>
                        <a:pt x="483" y="78"/>
                      </a:lnTo>
                      <a:lnTo>
                        <a:pt x="483" y="78"/>
                      </a:lnTo>
                      <a:lnTo>
                        <a:pt x="483" y="78"/>
                      </a:lnTo>
                      <a:lnTo>
                        <a:pt x="483" y="78"/>
                      </a:lnTo>
                      <a:lnTo>
                        <a:pt x="484" y="78"/>
                      </a:lnTo>
                      <a:lnTo>
                        <a:pt x="484" y="78"/>
                      </a:lnTo>
                      <a:lnTo>
                        <a:pt x="484" y="78"/>
                      </a:lnTo>
                      <a:lnTo>
                        <a:pt x="484" y="78"/>
                      </a:lnTo>
                      <a:lnTo>
                        <a:pt x="484" y="78"/>
                      </a:lnTo>
                      <a:lnTo>
                        <a:pt x="484" y="78"/>
                      </a:lnTo>
                      <a:lnTo>
                        <a:pt x="484" y="78"/>
                      </a:lnTo>
                      <a:lnTo>
                        <a:pt x="484" y="77"/>
                      </a:lnTo>
                      <a:lnTo>
                        <a:pt x="484" y="77"/>
                      </a:lnTo>
                      <a:lnTo>
                        <a:pt x="484" y="77"/>
                      </a:lnTo>
                      <a:lnTo>
                        <a:pt x="484" y="77"/>
                      </a:lnTo>
                      <a:lnTo>
                        <a:pt x="484" y="77"/>
                      </a:lnTo>
                      <a:lnTo>
                        <a:pt x="484" y="77"/>
                      </a:lnTo>
                      <a:lnTo>
                        <a:pt x="485" y="77"/>
                      </a:lnTo>
                      <a:lnTo>
                        <a:pt x="485" y="77"/>
                      </a:lnTo>
                      <a:lnTo>
                        <a:pt x="485" y="77"/>
                      </a:lnTo>
                      <a:lnTo>
                        <a:pt x="485" y="77"/>
                      </a:lnTo>
                      <a:lnTo>
                        <a:pt x="485" y="77"/>
                      </a:lnTo>
                      <a:lnTo>
                        <a:pt x="485" y="78"/>
                      </a:lnTo>
                      <a:lnTo>
                        <a:pt x="485" y="78"/>
                      </a:lnTo>
                      <a:lnTo>
                        <a:pt x="484" y="78"/>
                      </a:lnTo>
                      <a:lnTo>
                        <a:pt x="483" y="80"/>
                      </a:lnTo>
                      <a:lnTo>
                        <a:pt x="483" y="80"/>
                      </a:lnTo>
                      <a:lnTo>
                        <a:pt x="483" y="80"/>
                      </a:lnTo>
                      <a:lnTo>
                        <a:pt x="483" y="80"/>
                      </a:lnTo>
                      <a:lnTo>
                        <a:pt x="481" y="80"/>
                      </a:lnTo>
                      <a:lnTo>
                        <a:pt x="481" y="80"/>
                      </a:lnTo>
                      <a:lnTo>
                        <a:pt x="481" y="80"/>
                      </a:lnTo>
                      <a:lnTo>
                        <a:pt x="480" y="83"/>
                      </a:lnTo>
                      <a:lnTo>
                        <a:pt x="480" y="84"/>
                      </a:lnTo>
                      <a:lnTo>
                        <a:pt x="480" y="84"/>
                      </a:lnTo>
                      <a:lnTo>
                        <a:pt x="480" y="85"/>
                      </a:lnTo>
                      <a:lnTo>
                        <a:pt x="480" y="85"/>
                      </a:lnTo>
                      <a:lnTo>
                        <a:pt x="480" y="85"/>
                      </a:lnTo>
                      <a:lnTo>
                        <a:pt x="480" y="85"/>
                      </a:lnTo>
                      <a:lnTo>
                        <a:pt x="480" y="85"/>
                      </a:lnTo>
                      <a:lnTo>
                        <a:pt x="481" y="85"/>
                      </a:lnTo>
                      <a:lnTo>
                        <a:pt x="483" y="86"/>
                      </a:lnTo>
                      <a:lnTo>
                        <a:pt x="483" y="86"/>
                      </a:lnTo>
                      <a:lnTo>
                        <a:pt x="483" y="86"/>
                      </a:lnTo>
                      <a:lnTo>
                        <a:pt x="484" y="85"/>
                      </a:lnTo>
                      <a:lnTo>
                        <a:pt x="484" y="85"/>
                      </a:lnTo>
                      <a:lnTo>
                        <a:pt x="484" y="85"/>
                      </a:lnTo>
                      <a:lnTo>
                        <a:pt x="484" y="85"/>
                      </a:lnTo>
                      <a:lnTo>
                        <a:pt x="484" y="85"/>
                      </a:lnTo>
                      <a:lnTo>
                        <a:pt x="484" y="85"/>
                      </a:lnTo>
                      <a:lnTo>
                        <a:pt x="485" y="85"/>
                      </a:lnTo>
                      <a:lnTo>
                        <a:pt x="485" y="85"/>
                      </a:lnTo>
                      <a:lnTo>
                        <a:pt x="485" y="85"/>
                      </a:lnTo>
                      <a:lnTo>
                        <a:pt x="484" y="87"/>
                      </a:lnTo>
                      <a:lnTo>
                        <a:pt x="484" y="87"/>
                      </a:lnTo>
                      <a:lnTo>
                        <a:pt x="483" y="87"/>
                      </a:lnTo>
                      <a:lnTo>
                        <a:pt x="483" y="87"/>
                      </a:lnTo>
                      <a:close/>
                      <a:moveTo>
                        <a:pt x="301" y="79"/>
                      </a:moveTo>
                      <a:lnTo>
                        <a:pt x="301" y="80"/>
                      </a:lnTo>
                      <a:lnTo>
                        <a:pt x="300" y="79"/>
                      </a:lnTo>
                      <a:lnTo>
                        <a:pt x="300" y="79"/>
                      </a:lnTo>
                      <a:lnTo>
                        <a:pt x="300" y="79"/>
                      </a:lnTo>
                      <a:lnTo>
                        <a:pt x="300" y="79"/>
                      </a:lnTo>
                      <a:lnTo>
                        <a:pt x="300" y="79"/>
                      </a:lnTo>
                      <a:lnTo>
                        <a:pt x="299" y="80"/>
                      </a:lnTo>
                      <a:lnTo>
                        <a:pt x="299" y="80"/>
                      </a:lnTo>
                      <a:lnTo>
                        <a:pt x="299" y="79"/>
                      </a:lnTo>
                      <a:lnTo>
                        <a:pt x="299" y="79"/>
                      </a:lnTo>
                      <a:lnTo>
                        <a:pt x="299" y="79"/>
                      </a:lnTo>
                      <a:lnTo>
                        <a:pt x="299" y="79"/>
                      </a:lnTo>
                      <a:lnTo>
                        <a:pt x="299" y="79"/>
                      </a:lnTo>
                      <a:lnTo>
                        <a:pt x="300" y="79"/>
                      </a:lnTo>
                      <a:lnTo>
                        <a:pt x="300" y="79"/>
                      </a:lnTo>
                      <a:lnTo>
                        <a:pt x="300" y="79"/>
                      </a:lnTo>
                      <a:lnTo>
                        <a:pt x="301" y="79"/>
                      </a:lnTo>
                      <a:lnTo>
                        <a:pt x="301" y="79"/>
                      </a:lnTo>
                      <a:lnTo>
                        <a:pt x="301" y="79"/>
                      </a:lnTo>
                      <a:lnTo>
                        <a:pt x="301" y="79"/>
                      </a:lnTo>
                      <a:close/>
                      <a:moveTo>
                        <a:pt x="472" y="78"/>
                      </a:moveTo>
                      <a:lnTo>
                        <a:pt x="472" y="79"/>
                      </a:lnTo>
                      <a:lnTo>
                        <a:pt x="472" y="78"/>
                      </a:lnTo>
                      <a:lnTo>
                        <a:pt x="472" y="78"/>
                      </a:lnTo>
                      <a:lnTo>
                        <a:pt x="472" y="78"/>
                      </a:lnTo>
                      <a:lnTo>
                        <a:pt x="472" y="77"/>
                      </a:lnTo>
                      <a:lnTo>
                        <a:pt x="472" y="77"/>
                      </a:lnTo>
                      <a:lnTo>
                        <a:pt x="472" y="77"/>
                      </a:lnTo>
                      <a:lnTo>
                        <a:pt x="472" y="77"/>
                      </a:lnTo>
                      <a:lnTo>
                        <a:pt x="472" y="77"/>
                      </a:lnTo>
                      <a:lnTo>
                        <a:pt x="471" y="77"/>
                      </a:lnTo>
                      <a:lnTo>
                        <a:pt x="471" y="77"/>
                      </a:lnTo>
                      <a:lnTo>
                        <a:pt x="471" y="77"/>
                      </a:lnTo>
                      <a:lnTo>
                        <a:pt x="471" y="77"/>
                      </a:lnTo>
                      <a:lnTo>
                        <a:pt x="471" y="78"/>
                      </a:lnTo>
                      <a:lnTo>
                        <a:pt x="471" y="78"/>
                      </a:lnTo>
                      <a:lnTo>
                        <a:pt x="471" y="78"/>
                      </a:lnTo>
                      <a:lnTo>
                        <a:pt x="471" y="78"/>
                      </a:lnTo>
                      <a:lnTo>
                        <a:pt x="471" y="78"/>
                      </a:lnTo>
                      <a:lnTo>
                        <a:pt x="471" y="78"/>
                      </a:lnTo>
                      <a:lnTo>
                        <a:pt x="471" y="78"/>
                      </a:lnTo>
                      <a:lnTo>
                        <a:pt x="471" y="78"/>
                      </a:lnTo>
                      <a:lnTo>
                        <a:pt x="471" y="78"/>
                      </a:lnTo>
                      <a:lnTo>
                        <a:pt x="471" y="78"/>
                      </a:lnTo>
                      <a:lnTo>
                        <a:pt x="471" y="78"/>
                      </a:lnTo>
                      <a:lnTo>
                        <a:pt x="471" y="76"/>
                      </a:lnTo>
                      <a:lnTo>
                        <a:pt x="471" y="76"/>
                      </a:lnTo>
                      <a:lnTo>
                        <a:pt x="471" y="76"/>
                      </a:lnTo>
                      <a:lnTo>
                        <a:pt x="472" y="75"/>
                      </a:lnTo>
                      <a:lnTo>
                        <a:pt x="472" y="75"/>
                      </a:lnTo>
                      <a:lnTo>
                        <a:pt x="472" y="75"/>
                      </a:lnTo>
                      <a:lnTo>
                        <a:pt x="473" y="75"/>
                      </a:lnTo>
                      <a:lnTo>
                        <a:pt x="473" y="75"/>
                      </a:lnTo>
                      <a:lnTo>
                        <a:pt x="473" y="76"/>
                      </a:lnTo>
                      <a:lnTo>
                        <a:pt x="474" y="76"/>
                      </a:lnTo>
                      <a:lnTo>
                        <a:pt x="474" y="76"/>
                      </a:lnTo>
                      <a:lnTo>
                        <a:pt x="474" y="76"/>
                      </a:lnTo>
                      <a:lnTo>
                        <a:pt x="473" y="77"/>
                      </a:lnTo>
                      <a:lnTo>
                        <a:pt x="473" y="77"/>
                      </a:lnTo>
                      <a:lnTo>
                        <a:pt x="473" y="78"/>
                      </a:lnTo>
                      <a:lnTo>
                        <a:pt x="472" y="78"/>
                      </a:lnTo>
                      <a:lnTo>
                        <a:pt x="472" y="78"/>
                      </a:lnTo>
                      <a:lnTo>
                        <a:pt x="472" y="78"/>
                      </a:lnTo>
                      <a:close/>
                      <a:moveTo>
                        <a:pt x="472" y="71"/>
                      </a:moveTo>
                      <a:lnTo>
                        <a:pt x="472" y="72"/>
                      </a:lnTo>
                      <a:lnTo>
                        <a:pt x="472" y="71"/>
                      </a:lnTo>
                      <a:lnTo>
                        <a:pt x="472" y="69"/>
                      </a:lnTo>
                      <a:lnTo>
                        <a:pt x="472" y="69"/>
                      </a:lnTo>
                      <a:lnTo>
                        <a:pt x="472" y="69"/>
                      </a:lnTo>
                      <a:lnTo>
                        <a:pt x="472" y="69"/>
                      </a:lnTo>
                      <a:lnTo>
                        <a:pt x="472" y="69"/>
                      </a:lnTo>
                      <a:lnTo>
                        <a:pt x="472" y="69"/>
                      </a:lnTo>
                      <a:lnTo>
                        <a:pt x="472" y="69"/>
                      </a:lnTo>
                      <a:lnTo>
                        <a:pt x="473" y="70"/>
                      </a:lnTo>
                      <a:lnTo>
                        <a:pt x="472" y="71"/>
                      </a:lnTo>
                      <a:lnTo>
                        <a:pt x="472" y="71"/>
                      </a:lnTo>
                      <a:lnTo>
                        <a:pt x="472" y="71"/>
                      </a:lnTo>
                      <a:lnTo>
                        <a:pt x="472" y="71"/>
                      </a:lnTo>
                      <a:lnTo>
                        <a:pt x="472" y="71"/>
                      </a:lnTo>
                      <a:close/>
                      <a:moveTo>
                        <a:pt x="487" y="44"/>
                      </a:moveTo>
                      <a:lnTo>
                        <a:pt x="487" y="44"/>
                      </a:lnTo>
                      <a:lnTo>
                        <a:pt x="487" y="44"/>
                      </a:lnTo>
                      <a:lnTo>
                        <a:pt x="487" y="44"/>
                      </a:lnTo>
                      <a:lnTo>
                        <a:pt x="487" y="43"/>
                      </a:lnTo>
                      <a:lnTo>
                        <a:pt x="487" y="43"/>
                      </a:lnTo>
                      <a:lnTo>
                        <a:pt x="487" y="43"/>
                      </a:lnTo>
                      <a:lnTo>
                        <a:pt x="487" y="43"/>
                      </a:lnTo>
                      <a:lnTo>
                        <a:pt x="488" y="42"/>
                      </a:lnTo>
                      <a:lnTo>
                        <a:pt x="488" y="43"/>
                      </a:lnTo>
                      <a:lnTo>
                        <a:pt x="488" y="43"/>
                      </a:lnTo>
                      <a:lnTo>
                        <a:pt x="488" y="43"/>
                      </a:lnTo>
                      <a:lnTo>
                        <a:pt x="488" y="44"/>
                      </a:lnTo>
                      <a:lnTo>
                        <a:pt x="487" y="44"/>
                      </a:lnTo>
                      <a:lnTo>
                        <a:pt x="487" y="44"/>
                      </a:lnTo>
                      <a:lnTo>
                        <a:pt x="487" y="44"/>
                      </a:lnTo>
                      <a:close/>
                      <a:moveTo>
                        <a:pt x="408" y="44"/>
                      </a:moveTo>
                      <a:lnTo>
                        <a:pt x="408" y="44"/>
                      </a:lnTo>
                      <a:lnTo>
                        <a:pt x="408" y="44"/>
                      </a:lnTo>
                      <a:lnTo>
                        <a:pt x="408" y="44"/>
                      </a:lnTo>
                      <a:lnTo>
                        <a:pt x="408" y="44"/>
                      </a:lnTo>
                      <a:lnTo>
                        <a:pt x="408" y="43"/>
                      </a:lnTo>
                      <a:lnTo>
                        <a:pt x="408" y="43"/>
                      </a:lnTo>
                      <a:lnTo>
                        <a:pt x="408" y="43"/>
                      </a:lnTo>
                      <a:lnTo>
                        <a:pt x="408" y="43"/>
                      </a:lnTo>
                      <a:lnTo>
                        <a:pt x="408" y="43"/>
                      </a:lnTo>
                      <a:lnTo>
                        <a:pt x="408" y="43"/>
                      </a:lnTo>
                      <a:lnTo>
                        <a:pt x="408" y="42"/>
                      </a:lnTo>
                      <a:lnTo>
                        <a:pt x="408" y="42"/>
                      </a:lnTo>
                      <a:lnTo>
                        <a:pt x="410" y="42"/>
                      </a:lnTo>
                      <a:lnTo>
                        <a:pt x="410" y="43"/>
                      </a:lnTo>
                      <a:lnTo>
                        <a:pt x="410" y="43"/>
                      </a:lnTo>
                      <a:lnTo>
                        <a:pt x="410" y="43"/>
                      </a:lnTo>
                      <a:lnTo>
                        <a:pt x="410" y="43"/>
                      </a:lnTo>
                      <a:lnTo>
                        <a:pt x="410" y="43"/>
                      </a:lnTo>
                      <a:lnTo>
                        <a:pt x="410" y="43"/>
                      </a:lnTo>
                      <a:lnTo>
                        <a:pt x="408" y="44"/>
                      </a:lnTo>
                      <a:lnTo>
                        <a:pt x="408" y="44"/>
                      </a:lnTo>
                      <a:close/>
                      <a:moveTo>
                        <a:pt x="453" y="43"/>
                      </a:moveTo>
                      <a:lnTo>
                        <a:pt x="453" y="43"/>
                      </a:lnTo>
                      <a:lnTo>
                        <a:pt x="453" y="43"/>
                      </a:lnTo>
                      <a:lnTo>
                        <a:pt x="453" y="43"/>
                      </a:lnTo>
                      <a:lnTo>
                        <a:pt x="453" y="43"/>
                      </a:lnTo>
                      <a:lnTo>
                        <a:pt x="453" y="42"/>
                      </a:lnTo>
                      <a:lnTo>
                        <a:pt x="453" y="42"/>
                      </a:lnTo>
                      <a:lnTo>
                        <a:pt x="454" y="42"/>
                      </a:lnTo>
                      <a:lnTo>
                        <a:pt x="454" y="42"/>
                      </a:lnTo>
                      <a:lnTo>
                        <a:pt x="454" y="42"/>
                      </a:lnTo>
                      <a:lnTo>
                        <a:pt x="454" y="43"/>
                      </a:lnTo>
                      <a:lnTo>
                        <a:pt x="454" y="43"/>
                      </a:lnTo>
                      <a:lnTo>
                        <a:pt x="454" y="43"/>
                      </a:lnTo>
                      <a:lnTo>
                        <a:pt x="454" y="43"/>
                      </a:lnTo>
                      <a:lnTo>
                        <a:pt x="454" y="43"/>
                      </a:lnTo>
                      <a:lnTo>
                        <a:pt x="454" y="43"/>
                      </a:lnTo>
                      <a:lnTo>
                        <a:pt x="453" y="43"/>
                      </a:lnTo>
                      <a:lnTo>
                        <a:pt x="453" y="43"/>
                      </a:lnTo>
                      <a:lnTo>
                        <a:pt x="453" y="43"/>
                      </a:lnTo>
                      <a:close/>
                      <a:moveTo>
                        <a:pt x="455" y="42"/>
                      </a:moveTo>
                      <a:lnTo>
                        <a:pt x="454" y="42"/>
                      </a:lnTo>
                      <a:lnTo>
                        <a:pt x="454" y="42"/>
                      </a:lnTo>
                      <a:lnTo>
                        <a:pt x="454" y="42"/>
                      </a:lnTo>
                      <a:lnTo>
                        <a:pt x="454" y="42"/>
                      </a:lnTo>
                      <a:lnTo>
                        <a:pt x="454" y="42"/>
                      </a:lnTo>
                      <a:lnTo>
                        <a:pt x="454" y="42"/>
                      </a:lnTo>
                      <a:lnTo>
                        <a:pt x="454" y="40"/>
                      </a:lnTo>
                      <a:lnTo>
                        <a:pt x="455" y="40"/>
                      </a:lnTo>
                      <a:lnTo>
                        <a:pt x="455" y="40"/>
                      </a:lnTo>
                      <a:lnTo>
                        <a:pt x="455" y="42"/>
                      </a:lnTo>
                      <a:lnTo>
                        <a:pt x="455" y="42"/>
                      </a:lnTo>
                      <a:lnTo>
                        <a:pt x="455" y="42"/>
                      </a:lnTo>
                      <a:lnTo>
                        <a:pt x="455" y="42"/>
                      </a:lnTo>
                      <a:lnTo>
                        <a:pt x="455" y="42"/>
                      </a:lnTo>
                      <a:close/>
                      <a:moveTo>
                        <a:pt x="478" y="42"/>
                      </a:moveTo>
                      <a:lnTo>
                        <a:pt x="477" y="43"/>
                      </a:lnTo>
                      <a:lnTo>
                        <a:pt x="475" y="42"/>
                      </a:lnTo>
                      <a:lnTo>
                        <a:pt x="475" y="42"/>
                      </a:lnTo>
                      <a:lnTo>
                        <a:pt x="479" y="40"/>
                      </a:lnTo>
                      <a:lnTo>
                        <a:pt x="479" y="40"/>
                      </a:lnTo>
                      <a:lnTo>
                        <a:pt x="479" y="40"/>
                      </a:lnTo>
                      <a:lnTo>
                        <a:pt x="479" y="40"/>
                      </a:lnTo>
                      <a:lnTo>
                        <a:pt x="479" y="40"/>
                      </a:lnTo>
                      <a:lnTo>
                        <a:pt x="479" y="40"/>
                      </a:lnTo>
                      <a:lnTo>
                        <a:pt x="479" y="40"/>
                      </a:lnTo>
                      <a:lnTo>
                        <a:pt x="479" y="40"/>
                      </a:lnTo>
                      <a:lnTo>
                        <a:pt x="479" y="40"/>
                      </a:lnTo>
                      <a:lnTo>
                        <a:pt x="479" y="40"/>
                      </a:lnTo>
                      <a:lnTo>
                        <a:pt x="479" y="42"/>
                      </a:lnTo>
                      <a:lnTo>
                        <a:pt x="479" y="42"/>
                      </a:lnTo>
                      <a:lnTo>
                        <a:pt x="478" y="42"/>
                      </a:lnTo>
                      <a:lnTo>
                        <a:pt x="478" y="42"/>
                      </a:lnTo>
                      <a:close/>
                      <a:moveTo>
                        <a:pt x="458" y="39"/>
                      </a:moveTo>
                      <a:lnTo>
                        <a:pt x="457" y="39"/>
                      </a:lnTo>
                      <a:lnTo>
                        <a:pt x="457" y="39"/>
                      </a:lnTo>
                      <a:lnTo>
                        <a:pt x="457" y="39"/>
                      </a:lnTo>
                      <a:lnTo>
                        <a:pt x="457" y="39"/>
                      </a:lnTo>
                      <a:lnTo>
                        <a:pt x="457" y="39"/>
                      </a:lnTo>
                      <a:lnTo>
                        <a:pt x="457" y="39"/>
                      </a:lnTo>
                      <a:lnTo>
                        <a:pt x="457" y="39"/>
                      </a:lnTo>
                      <a:lnTo>
                        <a:pt x="457" y="39"/>
                      </a:lnTo>
                      <a:lnTo>
                        <a:pt x="458" y="39"/>
                      </a:lnTo>
                      <a:lnTo>
                        <a:pt x="458" y="39"/>
                      </a:lnTo>
                      <a:lnTo>
                        <a:pt x="458" y="39"/>
                      </a:lnTo>
                      <a:lnTo>
                        <a:pt x="458" y="39"/>
                      </a:lnTo>
                      <a:lnTo>
                        <a:pt x="458" y="39"/>
                      </a:lnTo>
                      <a:lnTo>
                        <a:pt x="458" y="39"/>
                      </a:lnTo>
                      <a:lnTo>
                        <a:pt x="458" y="39"/>
                      </a:lnTo>
                      <a:lnTo>
                        <a:pt x="458" y="39"/>
                      </a:lnTo>
                      <a:close/>
                      <a:moveTo>
                        <a:pt x="483" y="39"/>
                      </a:moveTo>
                      <a:lnTo>
                        <a:pt x="481" y="39"/>
                      </a:lnTo>
                      <a:lnTo>
                        <a:pt x="481" y="39"/>
                      </a:lnTo>
                      <a:lnTo>
                        <a:pt x="481" y="38"/>
                      </a:lnTo>
                      <a:lnTo>
                        <a:pt x="483" y="38"/>
                      </a:lnTo>
                      <a:lnTo>
                        <a:pt x="483" y="37"/>
                      </a:lnTo>
                      <a:lnTo>
                        <a:pt x="483" y="37"/>
                      </a:lnTo>
                      <a:lnTo>
                        <a:pt x="483" y="37"/>
                      </a:lnTo>
                      <a:lnTo>
                        <a:pt x="483" y="37"/>
                      </a:lnTo>
                      <a:lnTo>
                        <a:pt x="483" y="37"/>
                      </a:lnTo>
                      <a:lnTo>
                        <a:pt x="483" y="37"/>
                      </a:lnTo>
                      <a:lnTo>
                        <a:pt x="483" y="37"/>
                      </a:lnTo>
                      <a:lnTo>
                        <a:pt x="483" y="37"/>
                      </a:lnTo>
                      <a:lnTo>
                        <a:pt x="483" y="37"/>
                      </a:lnTo>
                      <a:lnTo>
                        <a:pt x="483" y="38"/>
                      </a:lnTo>
                      <a:lnTo>
                        <a:pt x="483" y="38"/>
                      </a:lnTo>
                      <a:lnTo>
                        <a:pt x="483" y="39"/>
                      </a:lnTo>
                      <a:lnTo>
                        <a:pt x="483" y="39"/>
                      </a:lnTo>
                      <a:lnTo>
                        <a:pt x="483" y="39"/>
                      </a:lnTo>
                      <a:close/>
                      <a:moveTo>
                        <a:pt x="377" y="37"/>
                      </a:moveTo>
                      <a:lnTo>
                        <a:pt x="375" y="38"/>
                      </a:lnTo>
                      <a:lnTo>
                        <a:pt x="373" y="36"/>
                      </a:lnTo>
                      <a:lnTo>
                        <a:pt x="373" y="36"/>
                      </a:lnTo>
                      <a:lnTo>
                        <a:pt x="373" y="36"/>
                      </a:lnTo>
                      <a:lnTo>
                        <a:pt x="373" y="36"/>
                      </a:lnTo>
                      <a:lnTo>
                        <a:pt x="371" y="37"/>
                      </a:lnTo>
                      <a:lnTo>
                        <a:pt x="371" y="37"/>
                      </a:lnTo>
                      <a:lnTo>
                        <a:pt x="371" y="37"/>
                      </a:lnTo>
                      <a:lnTo>
                        <a:pt x="371" y="37"/>
                      </a:lnTo>
                      <a:lnTo>
                        <a:pt x="370" y="37"/>
                      </a:lnTo>
                      <a:lnTo>
                        <a:pt x="370" y="37"/>
                      </a:lnTo>
                      <a:lnTo>
                        <a:pt x="368" y="37"/>
                      </a:lnTo>
                      <a:lnTo>
                        <a:pt x="367" y="37"/>
                      </a:lnTo>
                      <a:lnTo>
                        <a:pt x="367" y="37"/>
                      </a:lnTo>
                      <a:lnTo>
                        <a:pt x="367" y="37"/>
                      </a:lnTo>
                      <a:lnTo>
                        <a:pt x="367" y="37"/>
                      </a:lnTo>
                      <a:lnTo>
                        <a:pt x="367" y="36"/>
                      </a:lnTo>
                      <a:lnTo>
                        <a:pt x="367" y="36"/>
                      </a:lnTo>
                      <a:lnTo>
                        <a:pt x="367" y="36"/>
                      </a:lnTo>
                      <a:lnTo>
                        <a:pt x="368" y="35"/>
                      </a:lnTo>
                      <a:lnTo>
                        <a:pt x="368" y="33"/>
                      </a:lnTo>
                      <a:lnTo>
                        <a:pt x="368" y="33"/>
                      </a:lnTo>
                      <a:lnTo>
                        <a:pt x="368" y="35"/>
                      </a:lnTo>
                      <a:lnTo>
                        <a:pt x="370" y="35"/>
                      </a:lnTo>
                      <a:lnTo>
                        <a:pt x="370" y="35"/>
                      </a:lnTo>
                      <a:lnTo>
                        <a:pt x="370" y="35"/>
                      </a:lnTo>
                      <a:lnTo>
                        <a:pt x="370" y="35"/>
                      </a:lnTo>
                      <a:lnTo>
                        <a:pt x="370" y="35"/>
                      </a:lnTo>
                      <a:lnTo>
                        <a:pt x="370" y="35"/>
                      </a:lnTo>
                      <a:lnTo>
                        <a:pt x="371" y="35"/>
                      </a:lnTo>
                      <a:lnTo>
                        <a:pt x="371" y="35"/>
                      </a:lnTo>
                      <a:lnTo>
                        <a:pt x="371" y="35"/>
                      </a:lnTo>
                      <a:lnTo>
                        <a:pt x="371" y="33"/>
                      </a:lnTo>
                      <a:lnTo>
                        <a:pt x="371" y="33"/>
                      </a:lnTo>
                      <a:lnTo>
                        <a:pt x="371" y="31"/>
                      </a:lnTo>
                      <a:lnTo>
                        <a:pt x="371" y="30"/>
                      </a:lnTo>
                      <a:lnTo>
                        <a:pt x="373" y="27"/>
                      </a:lnTo>
                      <a:lnTo>
                        <a:pt x="373" y="27"/>
                      </a:lnTo>
                      <a:lnTo>
                        <a:pt x="374" y="27"/>
                      </a:lnTo>
                      <a:lnTo>
                        <a:pt x="374" y="27"/>
                      </a:lnTo>
                      <a:lnTo>
                        <a:pt x="374" y="29"/>
                      </a:lnTo>
                      <a:lnTo>
                        <a:pt x="374" y="29"/>
                      </a:lnTo>
                      <a:lnTo>
                        <a:pt x="374" y="30"/>
                      </a:lnTo>
                      <a:lnTo>
                        <a:pt x="374" y="30"/>
                      </a:lnTo>
                      <a:lnTo>
                        <a:pt x="375" y="31"/>
                      </a:lnTo>
                      <a:lnTo>
                        <a:pt x="375" y="35"/>
                      </a:lnTo>
                      <a:lnTo>
                        <a:pt x="377" y="35"/>
                      </a:lnTo>
                      <a:lnTo>
                        <a:pt x="378" y="35"/>
                      </a:lnTo>
                      <a:lnTo>
                        <a:pt x="378" y="36"/>
                      </a:lnTo>
                      <a:lnTo>
                        <a:pt x="378" y="36"/>
                      </a:lnTo>
                      <a:lnTo>
                        <a:pt x="378" y="36"/>
                      </a:lnTo>
                      <a:lnTo>
                        <a:pt x="378" y="36"/>
                      </a:lnTo>
                      <a:lnTo>
                        <a:pt x="378" y="36"/>
                      </a:lnTo>
                      <a:lnTo>
                        <a:pt x="378" y="36"/>
                      </a:lnTo>
                      <a:lnTo>
                        <a:pt x="378" y="37"/>
                      </a:lnTo>
                      <a:lnTo>
                        <a:pt x="378" y="37"/>
                      </a:lnTo>
                      <a:lnTo>
                        <a:pt x="378" y="37"/>
                      </a:lnTo>
                      <a:lnTo>
                        <a:pt x="377" y="37"/>
                      </a:lnTo>
                      <a:lnTo>
                        <a:pt x="377" y="37"/>
                      </a:lnTo>
                      <a:close/>
                      <a:moveTo>
                        <a:pt x="485" y="37"/>
                      </a:moveTo>
                      <a:lnTo>
                        <a:pt x="484" y="37"/>
                      </a:lnTo>
                      <a:lnTo>
                        <a:pt x="483" y="37"/>
                      </a:lnTo>
                      <a:lnTo>
                        <a:pt x="483" y="37"/>
                      </a:lnTo>
                      <a:lnTo>
                        <a:pt x="483" y="37"/>
                      </a:lnTo>
                      <a:lnTo>
                        <a:pt x="484" y="37"/>
                      </a:lnTo>
                      <a:lnTo>
                        <a:pt x="484" y="36"/>
                      </a:lnTo>
                      <a:lnTo>
                        <a:pt x="484" y="36"/>
                      </a:lnTo>
                      <a:lnTo>
                        <a:pt x="485" y="36"/>
                      </a:lnTo>
                      <a:lnTo>
                        <a:pt x="485" y="36"/>
                      </a:lnTo>
                      <a:lnTo>
                        <a:pt x="485" y="36"/>
                      </a:lnTo>
                      <a:lnTo>
                        <a:pt x="485" y="36"/>
                      </a:lnTo>
                      <a:lnTo>
                        <a:pt x="485" y="36"/>
                      </a:lnTo>
                      <a:lnTo>
                        <a:pt x="485" y="36"/>
                      </a:lnTo>
                      <a:lnTo>
                        <a:pt x="485" y="37"/>
                      </a:lnTo>
                      <a:lnTo>
                        <a:pt x="485" y="37"/>
                      </a:lnTo>
                      <a:close/>
                      <a:moveTo>
                        <a:pt x="474" y="35"/>
                      </a:moveTo>
                      <a:lnTo>
                        <a:pt x="474" y="35"/>
                      </a:lnTo>
                      <a:lnTo>
                        <a:pt x="473" y="35"/>
                      </a:lnTo>
                      <a:lnTo>
                        <a:pt x="473" y="35"/>
                      </a:lnTo>
                      <a:lnTo>
                        <a:pt x="473" y="35"/>
                      </a:lnTo>
                      <a:lnTo>
                        <a:pt x="473" y="35"/>
                      </a:lnTo>
                      <a:lnTo>
                        <a:pt x="473" y="35"/>
                      </a:lnTo>
                      <a:lnTo>
                        <a:pt x="473" y="35"/>
                      </a:lnTo>
                      <a:lnTo>
                        <a:pt x="473" y="35"/>
                      </a:lnTo>
                      <a:lnTo>
                        <a:pt x="473" y="35"/>
                      </a:lnTo>
                      <a:lnTo>
                        <a:pt x="473" y="35"/>
                      </a:lnTo>
                      <a:lnTo>
                        <a:pt x="473" y="33"/>
                      </a:lnTo>
                      <a:lnTo>
                        <a:pt x="474" y="33"/>
                      </a:lnTo>
                      <a:lnTo>
                        <a:pt x="474" y="33"/>
                      </a:lnTo>
                      <a:lnTo>
                        <a:pt x="475" y="33"/>
                      </a:lnTo>
                      <a:lnTo>
                        <a:pt x="475" y="33"/>
                      </a:lnTo>
                      <a:lnTo>
                        <a:pt x="475" y="33"/>
                      </a:lnTo>
                      <a:lnTo>
                        <a:pt x="475" y="33"/>
                      </a:lnTo>
                      <a:lnTo>
                        <a:pt x="474" y="35"/>
                      </a:lnTo>
                      <a:lnTo>
                        <a:pt x="474" y="35"/>
                      </a:lnTo>
                      <a:lnTo>
                        <a:pt x="474" y="35"/>
                      </a:lnTo>
                      <a:close/>
                      <a:moveTo>
                        <a:pt x="414" y="35"/>
                      </a:moveTo>
                      <a:lnTo>
                        <a:pt x="413" y="35"/>
                      </a:lnTo>
                      <a:lnTo>
                        <a:pt x="413" y="35"/>
                      </a:lnTo>
                      <a:lnTo>
                        <a:pt x="413" y="35"/>
                      </a:lnTo>
                      <a:lnTo>
                        <a:pt x="413" y="35"/>
                      </a:lnTo>
                      <a:lnTo>
                        <a:pt x="412" y="35"/>
                      </a:lnTo>
                      <a:lnTo>
                        <a:pt x="412" y="35"/>
                      </a:lnTo>
                      <a:lnTo>
                        <a:pt x="412" y="35"/>
                      </a:lnTo>
                      <a:lnTo>
                        <a:pt x="412" y="33"/>
                      </a:lnTo>
                      <a:lnTo>
                        <a:pt x="412" y="33"/>
                      </a:lnTo>
                      <a:lnTo>
                        <a:pt x="412" y="33"/>
                      </a:lnTo>
                      <a:lnTo>
                        <a:pt x="412" y="33"/>
                      </a:lnTo>
                      <a:lnTo>
                        <a:pt x="412" y="33"/>
                      </a:lnTo>
                      <a:lnTo>
                        <a:pt x="413" y="33"/>
                      </a:lnTo>
                      <a:lnTo>
                        <a:pt x="413" y="33"/>
                      </a:lnTo>
                      <a:lnTo>
                        <a:pt x="414" y="33"/>
                      </a:lnTo>
                      <a:lnTo>
                        <a:pt x="414" y="33"/>
                      </a:lnTo>
                      <a:lnTo>
                        <a:pt x="414" y="33"/>
                      </a:lnTo>
                      <a:lnTo>
                        <a:pt x="414" y="33"/>
                      </a:lnTo>
                      <a:lnTo>
                        <a:pt x="414" y="35"/>
                      </a:lnTo>
                      <a:lnTo>
                        <a:pt x="414" y="35"/>
                      </a:lnTo>
                      <a:lnTo>
                        <a:pt x="414" y="35"/>
                      </a:lnTo>
                      <a:lnTo>
                        <a:pt x="414" y="35"/>
                      </a:lnTo>
                      <a:lnTo>
                        <a:pt x="414" y="35"/>
                      </a:lnTo>
                      <a:lnTo>
                        <a:pt x="414" y="35"/>
                      </a:lnTo>
                      <a:lnTo>
                        <a:pt x="414" y="35"/>
                      </a:lnTo>
                      <a:close/>
                      <a:moveTo>
                        <a:pt x="430" y="32"/>
                      </a:moveTo>
                      <a:lnTo>
                        <a:pt x="427" y="33"/>
                      </a:lnTo>
                      <a:lnTo>
                        <a:pt x="427" y="33"/>
                      </a:lnTo>
                      <a:lnTo>
                        <a:pt x="427" y="33"/>
                      </a:lnTo>
                      <a:lnTo>
                        <a:pt x="427" y="33"/>
                      </a:lnTo>
                      <a:lnTo>
                        <a:pt x="427" y="33"/>
                      </a:lnTo>
                      <a:lnTo>
                        <a:pt x="427" y="33"/>
                      </a:lnTo>
                      <a:lnTo>
                        <a:pt x="427" y="32"/>
                      </a:lnTo>
                      <a:lnTo>
                        <a:pt x="428" y="32"/>
                      </a:lnTo>
                      <a:lnTo>
                        <a:pt x="428" y="32"/>
                      </a:lnTo>
                      <a:lnTo>
                        <a:pt x="428" y="32"/>
                      </a:lnTo>
                      <a:lnTo>
                        <a:pt x="430" y="32"/>
                      </a:lnTo>
                      <a:lnTo>
                        <a:pt x="430" y="32"/>
                      </a:lnTo>
                      <a:lnTo>
                        <a:pt x="430" y="32"/>
                      </a:lnTo>
                      <a:lnTo>
                        <a:pt x="430" y="32"/>
                      </a:lnTo>
                      <a:lnTo>
                        <a:pt x="430" y="32"/>
                      </a:lnTo>
                      <a:lnTo>
                        <a:pt x="430" y="32"/>
                      </a:lnTo>
                      <a:close/>
                      <a:moveTo>
                        <a:pt x="478" y="35"/>
                      </a:moveTo>
                      <a:lnTo>
                        <a:pt x="478" y="35"/>
                      </a:lnTo>
                      <a:lnTo>
                        <a:pt x="478" y="35"/>
                      </a:lnTo>
                      <a:lnTo>
                        <a:pt x="478" y="33"/>
                      </a:lnTo>
                      <a:lnTo>
                        <a:pt x="478" y="33"/>
                      </a:lnTo>
                      <a:lnTo>
                        <a:pt x="479" y="32"/>
                      </a:lnTo>
                      <a:lnTo>
                        <a:pt x="479" y="32"/>
                      </a:lnTo>
                      <a:lnTo>
                        <a:pt x="479" y="32"/>
                      </a:lnTo>
                      <a:lnTo>
                        <a:pt x="480" y="32"/>
                      </a:lnTo>
                      <a:lnTo>
                        <a:pt x="480" y="32"/>
                      </a:lnTo>
                      <a:lnTo>
                        <a:pt x="480" y="32"/>
                      </a:lnTo>
                      <a:lnTo>
                        <a:pt x="483" y="31"/>
                      </a:lnTo>
                      <a:lnTo>
                        <a:pt x="483" y="31"/>
                      </a:lnTo>
                      <a:lnTo>
                        <a:pt x="483" y="30"/>
                      </a:lnTo>
                      <a:lnTo>
                        <a:pt x="484" y="30"/>
                      </a:lnTo>
                      <a:lnTo>
                        <a:pt x="484" y="30"/>
                      </a:lnTo>
                      <a:lnTo>
                        <a:pt x="483" y="31"/>
                      </a:lnTo>
                      <a:lnTo>
                        <a:pt x="483" y="31"/>
                      </a:lnTo>
                      <a:lnTo>
                        <a:pt x="483" y="31"/>
                      </a:lnTo>
                      <a:lnTo>
                        <a:pt x="483" y="31"/>
                      </a:lnTo>
                      <a:lnTo>
                        <a:pt x="481" y="32"/>
                      </a:lnTo>
                      <a:lnTo>
                        <a:pt x="480" y="32"/>
                      </a:lnTo>
                      <a:lnTo>
                        <a:pt x="479" y="33"/>
                      </a:lnTo>
                      <a:lnTo>
                        <a:pt x="478" y="35"/>
                      </a:lnTo>
                      <a:lnTo>
                        <a:pt x="478" y="35"/>
                      </a:lnTo>
                      <a:close/>
                      <a:moveTo>
                        <a:pt x="428" y="31"/>
                      </a:moveTo>
                      <a:lnTo>
                        <a:pt x="428" y="31"/>
                      </a:lnTo>
                      <a:lnTo>
                        <a:pt x="428" y="31"/>
                      </a:lnTo>
                      <a:lnTo>
                        <a:pt x="430" y="30"/>
                      </a:lnTo>
                      <a:lnTo>
                        <a:pt x="430" y="30"/>
                      </a:lnTo>
                      <a:lnTo>
                        <a:pt x="430" y="30"/>
                      </a:lnTo>
                      <a:lnTo>
                        <a:pt x="430" y="30"/>
                      </a:lnTo>
                      <a:lnTo>
                        <a:pt x="430" y="31"/>
                      </a:lnTo>
                      <a:lnTo>
                        <a:pt x="430" y="31"/>
                      </a:lnTo>
                      <a:lnTo>
                        <a:pt x="430" y="31"/>
                      </a:lnTo>
                      <a:lnTo>
                        <a:pt x="430" y="31"/>
                      </a:lnTo>
                      <a:lnTo>
                        <a:pt x="430" y="31"/>
                      </a:lnTo>
                      <a:lnTo>
                        <a:pt x="430" y="31"/>
                      </a:lnTo>
                      <a:lnTo>
                        <a:pt x="430" y="31"/>
                      </a:lnTo>
                      <a:lnTo>
                        <a:pt x="430" y="31"/>
                      </a:lnTo>
                      <a:lnTo>
                        <a:pt x="428" y="31"/>
                      </a:lnTo>
                      <a:lnTo>
                        <a:pt x="428" y="31"/>
                      </a:lnTo>
                      <a:lnTo>
                        <a:pt x="428" y="31"/>
                      </a:lnTo>
                      <a:lnTo>
                        <a:pt x="428" y="31"/>
                      </a:lnTo>
                      <a:lnTo>
                        <a:pt x="428" y="31"/>
                      </a:lnTo>
                      <a:lnTo>
                        <a:pt x="428" y="31"/>
                      </a:lnTo>
                      <a:close/>
                      <a:moveTo>
                        <a:pt x="384" y="39"/>
                      </a:moveTo>
                      <a:lnTo>
                        <a:pt x="384" y="39"/>
                      </a:lnTo>
                      <a:lnTo>
                        <a:pt x="383" y="38"/>
                      </a:lnTo>
                      <a:lnTo>
                        <a:pt x="383" y="38"/>
                      </a:lnTo>
                      <a:lnTo>
                        <a:pt x="383" y="38"/>
                      </a:lnTo>
                      <a:lnTo>
                        <a:pt x="381" y="38"/>
                      </a:lnTo>
                      <a:lnTo>
                        <a:pt x="381" y="38"/>
                      </a:lnTo>
                      <a:lnTo>
                        <a:pt x="379" y="37"/>
                      </a:lnTo>
                      <a:lnTo>
                        <a:pt x="379" y="37"/>
                      </a:lnTo>
                      <a:lnTo>
                        <a:pt x="377" y="33"/>
                      </a:lnTo>
                      <a:lnTo>
                        <a:pt x="377" y="33"/>
                      </a:lnTo>
                      <a:lnTo>
                        <a:pt x="375" y="33"/>
                      </a:lnTo>
                      <a:lnTo>
                        <a:pt x="375" y="33"/>
                      </a:lnTo>
                      <a:lnTo>
                        <a:pt x="375" y="30"/>
                      </a:lnTo>
                      <a:lnTo>
                        <a:pt x="374" y="25"/>
                      </a:lnTo>
                      <a:lnTo>
                        <a:pt x="374" y="25"/>
                      </a:lnTo>
                      <a:lnTo>
                        <a:pt x="374" y="24"/>
                      </a:lnTo>
                      <a:lnTo>
                        <a:pt x="375" y="24"/>
                      </a:lnTo>
                      <a:lnTo>
                        <a:pt x="375" y="24"/>
                      </a:lnTo>
                      <a:lnTo>
                        <a:pt x="375" y="24"/>
                      </a:lnTo>
                      <a:lnTo>
                        <a:pt x="375" y="24"/>
                      </a:lnTo>
                      <a:lnTo>
                        <a:pt x="375" y="24"/>
                      </a:lnTo>
                      <a:lnTo>
                        <a:pt x="378" y="26"/>
                      </a:lnTo>
                      <a:lnTo>
                        <a:pt x="378" y="27"/>
                      </a:lnTo>
                      <a:lnTo>
                        <a:pt x="380" y="29"/>
                      </a:lnTo>
                      <a:lnTo>
                        <a:pt x="383" y="27"/>
                      </a:lnTo>
                      <a:lnTo>
                        <a:pt x="383" y="27"/>
                      </a:lnTo>
                      <a:lnTo>
                        <a:pt x="384" y="27"/>
                      </a:lnTo>
                      <a:lnTo>
                        <a:pt x="384" y="27"/>
                      </a:lnTo>
                      <a:lnTo>
                        <a:pt x="384" y="27"/>
                      </a:lnTo>
                      <a:lnTo>
                        <a:pt x="384" y="26"/>
                      </a:lnTo>
                      <a:lnTo>
                        <a:pt x="384" y="26"/>
                      </a:lnTo>
                      <a:lnTo>
                        <a:pt x="384" y="26"/>
                      </a:lnTo>
                      <a:lnTo>
                        <a:pt x="385" y="27"/>
                      </a:lnTo>
                      <a:lnTo>
                        <a:pt x="386" y="27"/>
                      </a:lnTo>
                      <a:lnTo>
                        <a:pt x="387" y="26"/>
                      </a:lnTo>
                      <a:lnTo>
                        <a:pt x="387" y="26"/>
                      </a:lnTo>
                      <a:lnTo>
                        <a:pt x="388" y="26"/>
                      </a:lnTo>
                      <a:lnTo>
                        <a:pt x="388" y="25"/>
                      </a:lnTo>
                      <a:lnTo>
                        <a:pt x="388" y="25"/>
                      </a:lnTo>
                      <a:lnTo>
                        <a:pt x="388" y="25"/>
                      </a:lnTo>
                      <a:lnTo>
                        <a:pt x="388" y="25"/>
                      </a:lnTo>
                      <a:lnTo>
                        <a:pt x="388" y="25"/>
                      </a:lnTo>
                      <a:lnTo>
                        <a:pt x="388" y="26"/>
                      </a:lnTo>
                      <a:lnTo>
                        <a:pt x="388" y="26"/>
                      </a:lnTo>
                      <a:lnTo>
                        <a:pt x="388" y="26"/>
                      </a:lnTo>
                      <a:lnTo>
                        <a:pt x="388" y="27"/>
                      </a:lnTo>
                      <a:lnTo>
                        <a:pt x="388" y="27"/>
                      </a:lnTo>
                      <a:lnTo>
                        <a:pt x="390" y="29"/>
                      </a:lnTo>
                      <a:lnTo>
                        <a:pt x="390" y="29"/>
                      </a:lnTo>
                      <a:lnTo>
                        <a:pt x="390" y="29"/>
                      </a:lnTo>
                      <a:lnTo>
                        <a:pt x="390" y="29"/>
                      </a:lnTo>
                      <a:lnTo>
                        <a:pt x="390" y="29"/>
                      </a:lnTo>
                      <a:lnTo>
                        <a:pt x="390" y="27"/>
                      </a:lnTo>
                      <a:lnTo>
                        <a:pt x="390" y="27"/>
                      </a:lnTo>
                      <a:lnTo>
                        <a:pt x="390" y="26"/>
                      </a:lnTo>
                      <a:lnTo>
                        <a:pt x="390" y="25"/>
                      </a:lnTo>
                      <a:lnTo>
                        <a:pt x="390" y="25"/>
                      </a:lnTo>
                      <a:lnTo>
                        <a:pt x="391" y="24"/>
                      </a:lnTo>
                      <a:lnTo>
                        <a:pt x="391" y="24"/>
                      </a:lnTo>
                      <a:lnTo>
                        <a:pt x="391" y="24"/>
                      </a:lnTo>
                      <a:lnTo>
                        <a:pt x="391" y="24"/>
                      </a:lnTo>
                      <a:lnTo>
                        <a:pt x="391" y="24"/>
                      </a:lnTo>
                      <a:lnTo>
                        <a:pt x="391" y="24"/>
                      </a:lnTo>
                      <a:lnTo>
                        <a:pt x="391" y="24"/>
                      </a:lnTo>
                      <a:lnTo>
                        <a:pt x="393" y="25"/>
                      </a:lnTo>
                      <a:lnTo>
                        <a:pt x="393" y="25"/>
                      </a:lnTo>
                      <a:lnTo>
                        <a:pt x="393" y="25"/>
                      </a:lnTo>
                      <a:lnTo>
                        <a:pt x="395" y="29"/>
                      </a:lnTo>
                      <a:lnTo>
                        <a:pt x="395" y="29"/>
                      </a:lnTo>
                      <a:lnTo>
                        <a:pt x="395" y="29"/>
                      </a:lnTo>
                      <a:lnTo>
                        <a:pt x="395" y="29"/>
                      </a:lnTo>
                      <a:lnTo>
                        <a:pt x="395" y="30"/>
                      </a:lnTo>
                      <a:lnTo>
                        <a:pt x="395" y="30"/>
                      </a:lnTo>
                      <a:lnTo>
                        <a:pt x="395" y="30"/>
                      </a:lnTo>
                      <a:lnTo>
                        <a:pt x="394" y="30"/>
                      </a:lnTo>
                      <a:lnTo>
                        <a:pt x="394" y="30"/>
                      </a:lnTo>
                      <a:lnTo>
                        <a:pt x="394" y="30"/>
                      </a:lnTo>
                      <a:lnTo>
                        <a:pt x="393" y="32"/>
                      </a:lnTo>
                      <a:lnTo>
                        <a:pt x="390" y="35"/>
                      </a:lnTo>
                      <a:lnTo>
                        <a:pt x="390" y="35"/>
                      </a:lnTo>
                      <a:lnTo>
                        <a:pt x="390" y="35"/>
                      </a:lnTo>
                      <a:lnTo>
                        <a:pt x="390" y="36"/>
                      </a:lnTo>
                      <a:lnTo>
                        <a:pt x="390" y="36"/>
                      </a:lnTo>
                      <a:lnTo>
                        <a:pt x="390" y="36"/>
                      </a:lnTo>
                      <a:lnTo>
                        <a:pt x="387" y="37"/>
                      </a:lnTo>
                      <a:lnTo>
                        <a:pt x="385" y="38"/>
                      </a:lnTo>
                      <a:lnTo>
                        <a:pt x="384" y="39"/>
                      </a:lnTo>
                      <a:lnTo>
                        <a:pt x="384" y="39"/>
                      </a:lnTo>
                      <a:lnTo>
                        <a:pt x="384" y="39"/>
                      </a:lnTo>
                      <a:close/>
                      <a:moveTo>
                        <a:pt x="415" y="26"/>
                      </a:moveTo>
                      <a:lnTo>
                        <a:pt x="414" y="27"/>
                      </a:lnTo>
                      <a:lnTo>
                        <a:pt x="414" y="27"/>
                      </a:lnTo>
                      <a:lnTo>
                        <a:pt x="414" y="27"/>
                      </a:lnTo>
                      <a:lnTo>
                        <a:pt x="414" y="26"/>
                      </a:lnTo>
                      <a:lnTo>
                        <a:pt x="413" y="25"/>
                      </a:lnTo>
                      <a:lnTo>
                        <a:pt x="413" y="23"/>
                      </a:lnTo>
                      <a:lnTo>
                        <a:pt x="413" y="22"/>
                      </a:lnTo>
                      <a:lnTo>
                        <a:pt x="414" y="20"/>
                      </a:lnTo>
                      <a:lnTo>
                        <a:pt x="415" y="22"/>
                      </a:lnTo>
                      <a:lnTo>
                        <a:pt x="415" y="23"/>
                      </a:lnTo>
                      <a:lnTo>
                        <a:pt x="415" y="24"/>
                      </a:lnTo>
                      <a:lnTo>
                        <a:pt x="415" y="25"/>
                      </a:lnTo>
                      <a:lnTo>
                        <a:pt x="415" y="26"/>
                      </a:lnTo>
                      <a:lnTo>
                        <a:pt x="415" y="26"/>
                      </a:lnTo>
                      <a:lnTo>
                        <a:pt x="415" y="26"/>
                      </a:lnTo>
                      <a:close/>
                      <a:moveTo>
                        <a:pt x="484" y="30"/>
                      </a:moveTo>
                      <a:lnTo>
                        <a:pt x="484" y="30"/>
                      </a:lnTo>
                      <a:lnTo>
                        <a:pt x="484" y="30"/>
                      </a:lnTo>
                      <a:lnTo>
                        <a:pt x="484" y="30"/>
                      </a:lnTo>
                      <a:lnTo>
                        <a:pt x="484" y="29"/>
                      </a:lnTo>
                      <a:lnTo>
                        <a:pt x="484" y="29"/>
                      </a:lnTo>
                      <a:lnTo>
                        <a:pt x="486" y="25"/>
                      </a:lnTo>
                      <a:lnTo>
                        <a:pt x="488" y="22"/>
                      </a:lnTo>
                      <a:lnTo>
                        <a:pt x="488" y="22"/>
                      </a:lnTo>
                      <a:lnTo>
                        <a:pt x="488" y="20"/>
                      </a:lnTo>
                      <a:lnTo>
                        <a:pt x="490" y="20"/>
                      </a:lnTo>
                      <a:lnTo>
                        <a:pt x="490" y="20"/>
                      </a:lnTo>
                      <a:lnTo>
                        <a:pt x="490" y="20"/>
                      </a:lnTo>
                      <a:lnTo>
                        <a:pt x="490" y="20"/>
                      </a:lnTo>
                      <a:lnTo>
                        <a:pt x="490" y="20"/>
                      </a:lnTo>
                      <a:lnTo>
                        <a:pt x="490" y="20"/>
                      </a:lnTo>
                      <a:lnTo>
                        <a:pt x="490" y="20"/>
                      </a:lnTo>
                      <a:lnTo>
                        <a:pt x="488" y="24"/>
                      </a:lnTo>
                      <a:lnTo>
                        <a:pt x="488" y="24"/>
                      </a:lnTo>
                      <a:lnTo>
                        <a:pt x="485" y="29"/>
                      </a:lnTo>
                      <a:lnTo>
                        <a:pt x="485" y="30"/>
                      </a:lnTo>
                      <a:lnTo>
                        <a:pt x="485" y="30"/>
                      </a:lnTo>
                      <a:lnTo>
                        <a:pt x="484" y="30"/>
                      </a:lnTo>
                      <a:lnTo>
                        <a:pt x="484" y="30"/>
                      </a:lnTo>
                      <a:close/>
                      <a:moveTo>
                        <a:pt x="587" y="16"/>
                      </a:moveTo>
                      <a:lnTo>
                        <a:pt x="587" y="16"/>
                      </a:lnTo>
                      <a:lnTo>
                        <a:pt x="586" y="16"/>
                      </a:lnTo>
                      <a:lnTo>
                        <a:pt x="586" y="15"/>
                      </a:lnTo>
                      <a:lnTo>
                        <a:pt x="586" y="15"/>
                      </a:lnTo>
                      <a:lnTo>
                        <a:pt x="586" y="15"/>
                      </a:lnTo>
                      <a:lnTo>
                        <a:pt x="586" y="13"/>
                      </a:lnTo>
                      <a:lnTo>
                        <a:pt x="586" y="13"/>
                      </a:lnTo>
                      <a:lnTo>
                        <a:pt x="586" y="13"/>
                      </a:lnTo>
                      <a:lnTo>
                        <a:pt x="586" y="13"/>
                      </a:lnTo>
                      <a:lnTo>
                        <a:pt x="586" y="13"/>
                      </a:lnTo>
                      <a:lnTo>
                        <a:pt x="587" y="12"/>
                      </a:lnTo>
                      <a:lnTo>
                        <a:pt x="587" y="12"/>
                      </a:lnTo>
                      <a:lnTo>
                        <a:pt x="588" y="13"/>
                      </a:lnTo>
                      <a:lnTo>
                        <a:pt x="588" y="15"/>
                      </a:lnTo>
                      <a:lnTo>
                        <a:pt x="588" y="15"/>
                      </a:lnTo>
                      <a:lnTo>
                        <a:pt x="587" y="15"/>
                      </a:lnTo>
                      <a:lnTo>
                        <a:pt x="587" y="15"/>
                      </a:lnTo>
                      <a:lnTo>
                        <a:pt x="587" y="15"/>
                      </a:lnTo>
                      <a:lnTo>
                        <a:pt x="587" y="16"/>
                      </a:lnTo>
                      <a:lnTo>
                        <a:pt x="587" y="16"/>
                      </a:lnTo>
                      <a:lnTo>
                        <a:pt x="587" y="16"/>
                      </a:lnTo>
                      <a:close/>
                      <a:moveTo>
                        <a:pt x="588" y="13"/>
                      </a:moveTo>
                      <a:lnTo>
                        <a:pt x="588" y="13"/>
                      </a:lnTo>
                      <a:lnTo>
                        <a:pt x="588" y="13"/>
                      </a:lnTo>
                      <a:lnTo>
                        <a:pt x="588" y="13"/>
                      </a:lnTo>
                      <a:lnTo>
                        <a:pt x="588" y="12"/>
                      </a:lnTo>
                      <a:lnTo>
                        <a:pt x="588" y="12"/>
                      </a:lnTo>
                      <a:lnTo>
                        <a:pt x="588" y="12"/>
                      </a:lnTo>
                      <a:lnTo>
                        <a:pt x="588" y="12"/>
                      </a:lnTo>
                      <a:lnTo>
                        <a:pt x="588" y="12"/>
                      </a:lnTo>
                      <a:lnTo>
                        <a:pt x="588" y="12"/>
                      </a:lnTo>
                      <a:lnTo>
                        <a:pt x="588" y="12"/>
                      </a:lnTo>
                      <a:lnTo>
                        <a:pt x="588" y="12"/>
                      </a:lnTo>
                      <a:lnTo>
                        <a:pt x="588" y="11"/>
                      </a:lnTo>
                      <a:lnTo>
                        <a:pt x="588" y="11"/>
                      </a:lnTo>
                      <a:lnTo>
                        <a:pt x="588" y="11"/>
                      </a:lnTo>
                      <a:lnTo>
                        <a:pt x="590" y="11"/>
                      </a:lnTo>
                      <a:lnTo>
                        <a:pt x="590" y="11"/>
                      </a:lnTo>
                      <a:lnTo>
                        <a:pt x="590" y="12"/>
                      </a:lnTo>
                      <a:lnTo>
                        <a:pt x="590" y="12"/>
                      </a:lnTo>
                      <a:lnTo>
                        <a:pt x="590" y="12"/>
                      </a:lnTo>
                      <a:lnTo>
                        <a:pt x="590" y="12"/>
                      </a:lnTo>
                      <a:lnTo>
                        <a:pt x="590" y="12"/>
                      </a:lnTo>
                      <a:lnTo>
                        <a:pt x="590" y="12"/>
                      </a:lnTo>
                      <a:lnTo>
                        <a:pt x="590" y="12"/>
                      </a:lnTo>
                      <a:lnTo>
                        <a:pt x="590" y="12"/>
                      </a:lnTo>
                      <a:lnTo>
                        <a:pt x="588" y="13"/>
                      </a:lnTo>
                      <a:lnTo>
                        <a:pt x="588" y="13"/>
                      </a:lnTo>
                      <a:close/>
                      <a:moveTo>
                        <a:pt x="588" y="11"/>
                      </a:moveTo>
                      <a:lnTo>
                        <a:pt x="587" y="11"/>
                      </a:lnTo>
                      <a:lnTo>
                        <a:pt x="587" y="11"/>
                      </a:lnTo>
                      <a:lnTo>
                        <a:pt x="587" y="11"/>
                      </a:lnTo>
                      <a:lnTo>
                        <a:pt x="587" y="11"/>
                      </a:lnTo>
                      <a:lnTo>
                        <a:pt x="587" y="11"/>
                      </a:lnTo>
                      <a:lnTo>
                        <a:pt x="587" y="11"/>
                      </a:lnTo>
                      <a:lnTo>
                        <a:pt x="587" y="11"/>
                      </a:lnTo>
                      <a:lnTo>
                        <a:pt x="588" y="11"/>
                      </a:lnTo>
                      <a:lnTo>
                        <a:pt x="588" y="11"/>
                      </a:lnTo>
                      <a:lnTo>
                        <a:pt x="588" y="11"/>
                      </a:lnTo>
                      <a:lnTo>
                        <a:pt x="588" y="11"/>
                      </a:lnTo>
                      <a:lnTo>
                        <a:pt x="588" y="11"/>
                      </a:lnTo>
                      <a:lnTo>
                        <a:pt x="588" y="11"/>
                      </a:lnTo>
                      <a:lnTo>
                        <a:pt x="588" y="11"/>
                      </a:lnTo>
                      <a:close/>
                      <a:moveTo>
                        <a:pt x="590" y="11"/>
                      </a:moveTo>
                      <a:lnTo>
                        <a:pt x="590" y="11"/>
                      </a:lnTo>
                      <a:lnTo>
                        <a:pt x="590" y="11"/>
                      </a:lnTo>
                      <a:lnTo>
                        <a:pt x="590" y="11"/>
                      </a:lnTo>
                      <a:lnTo>
                        <a:pt x="590" y="11"/>
                      </a:lnTo>
                      <a:lnTo>
                        <a:pt x="590" y="11"/>
                      </a:lnTo>
                      <a:lnTo>
                        <a:pt x="590" y="10"/>
                      </a:lnTo>
                      <a:lnTo>
                        <a:pt x="590" y="10"/>
                      </a:lnTo>
                      <a:lnTo>
                        <a:pt x="590" y="11"/>
                      </a:lnTo>
                      <a:lnTo>
                        <a:pt x="590" y="11"/>
                      </a:lnTo>
                      <a:lnTo>
                        <a:pt x="590" y="11"/>
                      </a:lnTo>
                      <a:lnTo>
                        <a:pt x="590" y="11"/>
                      </a:lnTo>
                      <a:lnTo>
                        <a:pt x="590" y="11"/>
                      </a:lnTo>
                      <a:lnTo>
                        <a:pt x="590" y="11"/>
                      </a:lnTo>
                      <a:close/>
                      <a:moveTo>
                        <a:pt x="590" y="5"/>
                      </a:moveTo>
                      <a:lnTo>
                        <a:pt x="590" y="5"/>
                      </a:lnTo>
                      <a:lnTo>
                        <a:pt x="588" y="5"/>
                      </a:lnTo>
                      <a:lnTo>
                        <a:pt x="588" y="5"/>
                      </a:lnTo>
                      <a:lnTo>
                        <a:pt x="588" y="4"/>
                      </a:lnTo>
                      <a:lnTo>
                        <a:pt x="588" y="4"/>
                      </a:lnTo>
                      <a:lnTo>
                        <a:pt x="588" y="3"/>
                      </a:lnTo>
                      <a:lnTo>
                        <a:pt x="588" y="3"/>
                      </a:lnTo>
                      <a:lnTo>
                        <a:pt x="588" y="3"/>
                      </a:lnTo>
                      <a:lnTo>
                        <a:pt x="588" y="3"/>
                      </a:lnTo>
                      <a:lnTo>
                        <a:pt x="590" y="3"/>
                      </a:lnTo>
                      <a:lnTo>
                        <a:pt x="590" y="3"/>
                      </a:lnTo>
                      <a:lnTo>
                        <a:pt x="591" y="3"/>
                      </a:lnTo>
                      <a:lnTo>
                        <a:pt x="591" y="4"/>
                      </a:lnTo>
                      <a:lnTo>
                        <a:pt x="591" y="4"/>
                      </a:lnTo>
                      <a:lnTo>
                        <a:pt x="591" y="4"/>
                      </a:lnTo>
                      <a:lnTo>
                        <a:pt x="590" y="5"/>
                      </a:lnTo>
                      <a:lnTo>
                        <a:pt x="590" y="5"/>
                      </a:lnTo>
                      <a:lnTo>
                        <a:pt x="590" y="5"/>
                      </a:lnTo>
                      <a:close/>
                      <a:moveTo>
                        <a:pt x="587" y="4"/>
                      </a:moveTo>
                      <a:lnTo>
                        <a:pt x="587" y="4"/>
                      </a:lnTo>
                      <a:lnTo>
                        <a:pt x="587" y="4"/>
                      </a:lnTo>
                      <a:lnTo>
                        <a:pt x="587" y="4"/>
                      </a:lnTo>
                      <a:lnTo>
                        <a:pt x="586" y="3"/>
                      </a:lnTo>
                      <a:lnTo>
                        <a:pt x="586" y="3"/>
                      </a:lnTo>
                      <a:lnTo>
                        <a:pt x="586" y="3"/>
                      </a:lnTo>
                      <a:lnTo>
                        <a:pt x="587" y="2"/>
                      </a:lnTo>
                      <a:lnTo>
                        <a:pt x="587" y="0"/>
                      </a:lnTo>
                      <a:lnTo>
                        <a:pt x="587" y="0"/>
                      </a:lnTo>
                      <a:lnTo>
                        <a:pt x="587" y="0"/>
                      </a:lnTo>
                      <a:lnTo>
                        <a:pt x="587" y="0"/>
                      </a:lnTo>
                      <a:lnTo>
                        <a:pt x="587" y="0"/>
                      </a:lnTo>
                      <a:lnTo>
                        <a:pt x="588" y="0"/>
                      </a:lnTo>
                      <a:lnTo>
                        <a:pt x="588" y="2"/>
                      </a:lnTo>
                      <a:lnTo>
                        <a:pt x="588" y="2"/>
                      </a:lnTo>
                      <a:lnTo>
                        <a:pt x="588" y="2"/>
                      </a:lnTo>
                      <a:lnTo>
                        <a:pt x="588" y="2"/>
                      </a:lnTo>
                      <a:lnTo>
                        <a:pt x="588" y="2"/>
                      </a:lnTo>
                      <a:lnTo>
                        <a:pt x="588" y="3"/>
                      </a:lnTo>
                      <a:lnTo>
                        <a:pt x="588" y="3"/>
                      </a:lnTo>
                      <a:lnTo>
                        <a:pt x="588" y="3"/>
                      </a:lnTo>
                      <a:lnTo>
                        <a:pt x="587" y="4"/>
                      </a:lnTo>
                      <a:lnTo>
                        <a:pt x="587" y="4"/>
                      </a:lnTo>
                      <a:lnTo>
                        <a:pt x="587" y="4"/>
                      </a:lnTo>
                      <a:lnTo>
                        <a:pt x="587" y="4"/>
                      </a:lnTo>
                      <a:close/>
                      <a:moveTo>
                        <a:pt x="498" y="607"/>
                      </a:moveTo>
                      <a:lnTo>
                        <a:pt x="498" y="607"/>
                      </a:lnTo>
                      <a:lnTo>
                        <a:pt x="498" y="606"/>
                      </a:lnTo>
                      <a:lnTo>
                        <a:pt x="499" y="606"/>
                      </a:lnTo>
                      <a:lnTo>
                        <a:pt x="499" y="606"/>
                      </a:lnTo>
                      <a:lnTo>
                        <a:pt x="499" y="606"/>
                      </a:lnTo>
                      <a:lnTo>
                        <a:pt x="499" y="606"/>
                      </a:lnTo>
                      <a:lnTo>
                        <a:pt x="499" y="606"/>
                      </a:lnTo>
                      <a:lnTo>
                        <a:pt x="499" y="606"/>
                      </a:lnTo>
                      <a:lnTo>
                        <a:pt x="499" y="606"/>
                      </a:lnTo>
                      <a:lnTo>
                        <a:pt x="498" y="606"/>
                      </a:lnTo>
                      <a:lnTo>
                        <a:pt x="498" y="607"/>
                      </a:lnTo>
                      <a:lnTo>
                        <a:pt x="498" y="607"/>
                      </a:lnTo>
                      <a:lnTo>
                        <a:pt x="498" y="607"/>
                      </a:lnTo>
                      <a:lnTo>
                        <a:pt x="498" y="607"/>
                      </a:lnTo>
                      <a:close/>
                      <a:moveTo>
                        <a:pt x="499" y="607"/>
                      </a:moveTo>
                      <a:lnTo>
                        <a:pt x="499" y="607"/>
                      </a:lnTo>
                      <a:lnTo>
                        <a:pt x="499" y="607"/>
                      </a:lnTo>
                      <a:lnTo>
                        <a:pt x="499" y="607"/>
                      </a:lnTo>
                      <a:lnTo>
                        <a:pt x="499" y="607"/>
                      </a:lnTo>
                      <a:lnTo>
                        <a:pt x="498" y="607"/>
                      </a:lnTo>
                      <a:lnTo>
                        <a:pt x="498" y="607"/>
                      </a:lnTo>
                      <a:lnTo>
                        <a:pt x="499" y="606"/>
                      </a:lnTo>
                      <a:lnTo>
                        <a:pt x="499" y="606"/>
                      </a:lnTo>
                      <a:lnTo>
                        <a:pt x="499" y="606"/>
                      </a:lnTo>
                      <a:lnTo>
                        <a:pt x="499" y="606"/>
                      </a:lnTo>
                      <a:lnTo>
                        <a:pt x="499" y="606"/>
                      </a:lnTo>
                      <a:lnTo>
                        <a:pt x="500" y="606"/>
                      </a:lnTo>
                      <a:lnTo>
                        <a:pt x="500" y="606"/>
                      </a:lnTo>
                      <a:lnTo>
                        <a:pt x="499" y="606"/>
                      </a:lnTo>
                      <a:lnTo>
                        <a:pt x="499" y="606"/>
                      </a:lnTo>
                      <a:lnTo>
                        <a:pt x="499" y="607"/>
                      </a:lnTo>
                      <a:lnTo>
                        <a:pt x="499" y="607"/>
                      </a:lnTo>
                      <a:lnTo>
                        <a:pt x="499" y="607"/>
                      </a:lnTo>
                      <a:close/>
                      <a:moveTo>
                        <a:pt x="428" y="621"/>
                      </a:moveTo>
                      <a:lnTo>
                        <a:pt x="427" y="621"/>
                      </a:lnTo>
                      <a:lnTo>
                        <a:pt x="427" y="620"/>
                      </a:lnTo>
                      <a:lnTo>
                        <a:pt x="427" y="620"/>
                      </a:lnTo>
                      <a:lnTo>
                        <a:pt x="427" y="620"/>
                      </a:lnTo>
                      <a:lnTo>
                        <a:pt x="428" y="620"/>
                      </a:lnTo>
                      <a:lnTo>
                        <a:pt x="428" y="619"/>
                      </a:lnTo>
                      <a:lnTo>
                        <a:pt x="428" y="619"/>
                      </a:lnTo>
                      <a:lnTo>
                        <a:pt x="428" y="619"/>
                      </a:lnTo>
                      <a:lnTo>
                        <a:pt x="430" y="618"/>
                      </a:lnTo>
                      <a:lnTo>
                        <a:pt x="430" y="618"/>
                      </a:lnTo>
                      <a:lnTo>
                        <a:pt x="430" y="618"/>
                      </a:lnTo>
                      <a:lnTo>
                        <a:pt x="430" y="618"/>
                      </a:lnTo>
                      <a:lnTo>
                        <a:pt x="430" y="618"/>
                      </a:lnTo>
                      <a:lnTo>
                        <a:pt x="428" y="617"/>
                      </a:lnTo>
                      <a:lnTo>
                        <a:pt x="428" y="617"/>
                      </a:lnTo>
                      <a:lnTo>
                        <a:pt x="428" y="617"/>
                      </a:lnTo>
                      <a:lnTo>
                        <a:pt x="428" y="617"/>
                      </a:lnTo>
                      <a:lnTo>
                        <a:pt x="428" y="617"/>
                      </a:lnTo>
                      <a:lnTo>
                        <a:pt x="430" y="615"/>
                      </a:lnTo>
                      <a:lnTo>
                        <a:pt x="432" y="612"/>
                      </a:lnTo>
                      <a:lnTo>
                        <a:pt x="432" y="612"/>
                      </a:lnTo>
                      <a:lnTo>
                        <a:pt x="432" y="612"/>
                      </a:lnTo>
                      <a:lnTo>
                        <a:pt x="433" y="612"/>
                      </a:lnTo>
                      <a:lnTo>
                        <a:pt x="433" y="612"/>
                      </a:lnTo>
                      <a:lnTo>
                        <a:pt x="433" y="611"/>
                      </a:lnTo>
                      <a:lnTo>
                        <a:pt x="434" y="611"/>
                      </a:lnTo>
                      <a:lnTo>
                        <a:pt x="434" y="611"/>
                      </a:lnTo>
                      <a:lnTo>
                        <a:pt x="434" y="611"/>
                      </a:lnTo>
                      <a:lnTo>
                        <a:pt x="434" y="611"/>
                      </a:lnTo>
                      <a:lnTo>
                        <a:pt x="434" y="611"/>
                      </a:lnTo>
                      <a:lnTo>
                        <a:pt x="434" y="610"/>
                      </a:lnTo>
                      <a:lnTo>
                        <a:pt x="434" y="610"/>
                      </a:lnTo>
                      <a:lnTo>
                        <a:pt x="434" y="610"/>
                      </a:lnTo>
                      <a:lnTo>
                        <a:pt x="435" y="610"/>
                      </a:lnTo>
                      <a:lnTo>
                        <a:pt x="435" y="610"/>
                      </a:lnTo>
                      <a:lnTo>
                        <a:pt x="435" y="610"/>
                      </a:lnTo>
                      <a:lnTo>
                        <a:pt x="435" y="610"/>
                      </a:lnTo>
                      <a:lnTo>
                        <a:pt x="435" y="610"/>
                      </a:lnTo>
                      <a:lnTo>
                        <a:pt x="437" y="610"/>
                      </a:lnTo>
                      <a:lnTo>
                        <a:pt x="437" y="610"/>
                      </a:lnTo>
                      <a:lnTo>
                        <a:pt x="437" y="611"/>
                      </a:lnTo>
                      <a:lnTo>
                        <a:pt x="437" y="611"/>
                      </a:lnTo>
                      <a:lnTo>
                        <a:pt x="435" y="614"/>
                      </a:lnTo>
                      <a:lnTo>
                        <a:pt x="435" y="614"/>
                      </a:lnTo>
                      <a:lnTo>
                        <a:pt x="434" y="617"/>
                      </a:lnTo>
                      <a:lnTo>
                        <a:pt x="434" y="617"/>
                      </a:lnTo>
                      <a:lnTo>
                        <a:pt x="434" y="617"/>
                      </a:lnTo>
                      <a:lnTo>
                        <a:pt x="433" y="618"/>
                      </a:lnTo>
                      <a:lnTo>
                        <a:pt x="433" y="618"/>
                      </a:lnTo>
                      <a:lnTo>
                        <a:pt x="432" y="619"/>
                      </a:lnTo>
                      <a:lnTo>
                        <a:pt x="432" y="619"/>
                      </a:lnTo>
                      <a:lnTo>
                        <a:pt x="430" y="620"/>
                      </a:lnTo>
                      <a:lnTo>
                        <a:pt x="428" y="620"/>
                      </a:lnTo>
                      <a:lnTo>
                        <a:pt x="428" y="621"/>
                      </a:lnTo>
                      <a:lnTo>
                        <a:pt x="428" y="621"/>
                      </a:lnTo>
                      <a:close/>
                      <a:moveTo>
                        <a:pt x="495" y="625"/>
                      </a:moveTo>
                      <a:lnTo>
                        <a:pt x="495" y="625"/>
                      </a:lnTo>
                      <a:lnTo>
                        <a:pt x="495" y="624"/>
                      </a:lnTo>
                      <a:lnTo>
                        <a:pt x="494" y="624"/>
                      </a:lnTo>
                      <a:lnTo>
                        <a:pt x="494" y="624"/>
                      </a:lnTo>
                      <a:lnTo>
                        <a:pt x="494" y="624"/>
                      </a:lnTo>
                      <a:lnTo>
                        <a:pt x="494" y="624"/>
                      </a:lnTo>
                      <a:lnTo>
                        <a:pt x="495" y="623"/>
                      </a:lnTo>
                      <a:lnTo>
                        <a:pt x="495" y="621"/>
                      </a:lnTo>
                      <a:lnTo>
                        <a:pt x="495" y="621"/>
                      </a:lnTo>
                      <a:lnTo>
                        <a:pt x="495" y="621"/>
                      </a:lnTo>
                      <a:lnTo>
                        <a:pt x="495" y="621"/>
                      </a:lnTo>
                      <a:lnTo>
                        <a:pt x="495" y="618"/>
                      </a:lnTo>
                      <a:lnTo>
                        <a:pt x="494" y="617"/>
                      </a:lnTo>
                      <a:lnTo>
                        <a:pt x="494" y="617"/>
                      </a:lnTo>
                      <a:lnTo>
                        <a:pt x="494" y="617"/>
                      </a:lnTo>
                      <a:lnTo>
                        <a:pt x="494" y="617"/>
                      </a:lnTo>
                      <a:lnTo>
                        <a:pt x="494" y="617"/>
                      </a:lnTo>
                      <a:lnTo>
                        <a:pt x="494" y="617"/>
                      </a:lnTo>
                      <a:lnTo>
                        <a:pt x="494" y="615"/>
                      </a:lnTo>
                      <a:lnTo>
                        <a:pt x="495" y="615"/>
                      </a:lnTo>
                      <a:lnTo>
                        <a:pt x="498" y="613"/>
                      </a:lnTo>
                      <a:lnTo>
                        <a:pt x="499" y="613"/>
                      </a:lnTo>
                      <a:lnTo>
                        <a:pt x="500" y="613"/>
                      </a:lnTo>
                      <a:lnTo>
                        <a:pt x="500" y="613"/>
                      </a:lnTo>
                      <a:lnTo>
                        <a:pt x="500" y="613"/>
                      </a:lnTo>
                      <a:lnTo>
                        <a:pt x="500" y="615"/>
                      </a:lnTo>
                      <a:lnTo>
                        <a:pt x="500" y="617"/>
                      </a:lnTo>
                      <a:lnTo>
                        <a:pt x="501" y="618"/>
                      </a:lnTo>
                      <a:lnTo>
                        <a:pt x="501" y="618"/>
                      </a:lnTo>
                      <a:lnTo>
                        <a:pt x="501" y="618"/>
                      </a:lnTo>
                      <a:lnTo>
                        <a:pt x="501" y="618"/>
                      </a:lnTo>
                      <a:lnTo>
                        <a:pt x="501" y="618"/>
                      </a:lnTo>
                      <a:lnTo>
                        <a:pt x="501" y="618"/>
                      </a:lnTo>
                      <a:lnTo>
                        <a:pt x="502" y="618"/>
                      </a:lnTo>
                      <a:lnTo>
                        <a:pt x="502" y="619"/>
                      </a:lnTo>
                      <a:lnTo>
                        <a:pt x="500" y="623"/>
                      </a:lnTo>
                      <a:lnTo>
                        <a:pt x="500" y="624"/>
                      </a:lnTo>
                      <a:lnTo>
                        <a:pt x="500" y="624"/>
                      </a:lnTo>
                      <a:lnTo>
                        <a:pt x="500" y="624"/>
                      </a:lnTo>
                      <a:lnTo>
                        <a:pt x="499" y="624"/>
                      </a:lnTo>
                      <a:lnTo>
                        <a:pt x="499" y="624"/>
                      </a:lnTo>
                      <a:lnTo>
                        <a:pt x="499" y="624"/>
                      </a:lnTo>
                      <a:lnTo>
                        <a:pt x="497" y="624"/>
                      </a:lnTo>
                      <a:lnTo>
                        <a:pt x="495" y="625"/>
                      </a:lnTo>
                      <a:lnTo>
                        <a:pt x="495" y="625"/>
                      </a:lnTo>
                      <a:close/>
                      <a:moveTo>
                        <a:pt x="497" y="628"/>
                      </a:moveTo>
                      <a:lnTo>
                        <a:pt x="497" y="627"/>
                      </a:lnTo>
                      <a:lnTo>
                        <a:pt x="497" y="627"/>
                      </a:lnTo>
                      <a:lnTo>
                        <a:pt x="497" y="627"/>
                      </a:lnTo>
                      <a:lnTo>
                        <a:pt x="497" y="626"/>
                      </a:lnTo>
                      <a:lnTo>
                        <a:pt x="497" y="626"/>
                      </a:lnTo>
                      <a:lnTo>
                        <a:pt x="497" y="626"/>
                      </a:lnTo>
                      <a:lnTo>
                        <a:pt x="493" y="627"/>
                      </a:lnTo>
                      <a:lnTo>
                        <a:pt x="493" y="627"/>
                      </a:lnTo>
                      <a:lnTo>
                        <a:pt x="493" y="627"/>
                      </a:lnTo>
                      <a:lnTo>
                        <a:pt x="493" y="627"/>
                      </a:lnTo>
                      <a:lnTo>
                        <a:pt x="493" y="627"/>
                      </a:lnTo>
                      <a:lnTo>
                        <a:pt x="493" y="627"/>
                      </a:lnTo>
                      <a:lnTo>
                        <a:pt x="492" y="626"/>
                      </a:lnTo>
                      <a:lnTo>
                        <a:pt x="492" y="626"/>
                      </a:lnTo>
                      <a:lnTo>
                        <a:pt x="492" y="626"/>
                      </a:lnTo>
                      <a:lnTo>
                        <a:pt x="492" y="626"/>
                      </a:lnTo>
                      <a:lnTo>
                        <a:pt x="492" y="626"/>
                      </a:lnTo>
                      <a:lnTo>
                        <a:pt x="492" y="626"/>
                      </a:lnTo>
                      <a:lnTo>
                        <a:pt x="492" y="625"/>
                      </a:lnTo>
                      <a:lnTo>
                        <a:pt x="493" y="625"/>
                      </a:lnTo>
                      <a:lnTo>
                        <a:pt x="494" y="625"/>
                      </a:lnTo>
                      <a:lnTo>
                        <a:pt x="494" y="625"/>
                      </a:lnTo>
                      <a:lnTo>
                        <a:pt x="494" y="625"/>
                      </a:lnTo>
                      <a:lnTo>
                        <a:pt x="494" y="625"/>
                      </a:lnTo>
                      <a:lnTo>
                        <a:pt x="494" y="625"/>
                      </a:lnTo>
                      <a:lnTo>
                        <a:pt x="495" y="625"/>
                      </a:lnTo>
                      <a:lnTo>
                        <a:pt x="495" y="625"/>
                      </a:lnTo>
                      <a:lnTo>
                        <a:pt x="495" y="625"/>
                      </a:lnTo>
                      <a:lnTo>
                        <a:pt x="495" y="625"/>
                      </a:lnTo>
                      <a:lnTo>
                        <a:pt x="495" y="625"/>
                      </a:lnTo>
                      <a:lnTo>
                        <a:pt x="497" y="625"/>
                      </a:lnTo>
                      <a:lnTo>
                        <a:pt x="498" y="624"/>
                      </a:lnTo>
                      <a:lnTo>
                        <a:pt x="499" y="624"/>
                      </a:lnTo>
                      <a:lnTo>
                        <a:pt x="499" y="624"/>
                      </a:lnTo>
                      <a:lnTo>
                        <a:pt x="499" y="624"/>
                      </a:lnTo>
                      <a:lnTo>
                        <a:pt x="499" y="624"/>
                      </a:lnTo>
                      <a:lnTo>
                        <a:pt x="499" y="624"/>
                      </a:lnTo>
                      <a:lnTo>
                        <a:pt x="499" y="624"/>
                      </a:lnTo>
                      <a:lnTo>
                        <a:pt x="500" y="626"/>
                      </a:lnTo>
                      <a:lnTo>
                        <a:pt x="500" y="626"/>
                      </a:lnTo>
                      <a:lnTo>
                        <a:pt x="500" y="626"/>
                      </a:lnTo>
                      <a:lnTo>
                        <a:pt x="500" y="627"/>
                      </a:lnTo>
                      <a:lnTo>
                        <a:pt x="500" y="627"/>
                      </a:lnTo>
                      <a:lnTo>
                        <a:pt x="499" y="627"/>
                      </a:lnTo>
                      <a:lnTo>
                        <a:pt x="499" y="626"/>
                      </a:lnTo>
                      <a:lnTo>
                        <a:pt x="499" y="627"/>
                      </a:lnTo>
                      <a:lnTo>
                        <a:pt x="498" y="627"/>
                      </a:lnTo>
                      <a:lnTo>
                        <a:pt x="497" y="627"/>
                      </a:lnTo>
                      <a:lnTo>
                        <a:pt x="497" y="628"/>
                      </a:lnTo>
                      <a:lnTo>
                        <a:pt x="497" y="628"/>
                      </a:lnTo>
                      <a:close/>
                      <a:moveTo>
                        <a:pt x="445" y="627"/>
                      </a:moveTo>
                      <a:lnTo>
                        <a:pt x="444" y="627"/>
                      </a:lnTo>
                      <a:lnTo>
                        <a:pt x="444" y="627"/>
                      </a:lnTo>
                      <a:lnTo>
                        <a:pt x="444" y="627"/>
                      </a:lnTo>
                      <a:lnTo>
                        <a:pt x="444" y="627"/>
                      </a:lnTo>
                      <a:lnTo>
                        <a:pt x="444" y="627"/>
                      </a:lnTo>
                      <a:lnTo>
                        <a:pt x="445" y="626"/>
                      </a:lnTo>
                      <a:lnTo>
                        <a:pt x="445" y="626"/>
                      </a:lnTo>
                      <a:lnTo>
                        <a:pt x="446" y="626"/>
                      </a:lnTo>
                      <a:lnTo>
                        <a:pt x="446" y="626"/>
                      </a:lnTo>
                      <a:lnTo>
                        <a:pt x="446" y="626"/>
                      </a:lnTo>
                      <a:lnTo>
                        <a:pt x="446" y="626"/>
                      </a:lnTo>
                      <a:lnTo>
                        <a:pt x="446" y="626"/>
                      </a:lnTo>
                      <a:lnTo>
                        <a:pt x="446" y="626"/>
                      </a:lnTo>
                      <a:lnTo>
                        <a:pt x="446" y="627"/>
                      </a:lnTo>
                      <a:lnTo>
                        <a:pt x="445" y="627"/>
                      </a:lnTo>
                      <a:lnTo>
                        <a:pt x="445" y="627"/>
                      </a:lnTo>
                      <a:lnTo>
                        <a:pt x="445" y="627"/>
                      </a:lnTo>
                      <a:close/>
                      <a:moveTo>
                        <a:pt x="440" y="630"/>
                      </a:moveTo>
                      <a:lnTo>
                        <a:pt x="440" y="630"/>
                      </a:lnTo>
                      <a:lnTo>
                        <a:pt x="440" y="630"/>
                      </a:lnTo>
                      <a:lnTo>
                        <a:pt x="440" y="630"/>
                      </a:lnTo>
                      <a:lnTo>
                        <a:pt x="440" y="630"/>
                      </a:lnTo>
                      <a:lnTo>
                        <a:pt x="441" y="628"/>
                      </a:lnTo>
                      <a:lnTo>
                        <a:pt x="443" y="626"/>
                      </a:lnTo>
                      <a:lnTo>
                        <a:pt x="444" y="626"/>
                      </a:lnTo>
                      <a:lnTo>
                        <a:pt x="444" y="626"/>
                      </a:lnTo>
                      <a:lnTo>
                        <a:pt x="444" y="626"/>
                      </a:lnTo>
                      <a:lnTo>
                        <a:pt x="443" y="627"/>
                      </a:lnTo>
                      <a:lnTo>
                        <a:pt x="443" y="628"/>
                      </a:lnTo>
                      <a:lnTo>
                        <a:pt x="443" y="628"/>
                      </a:lnTo>
                      <a:lnTo>
                        <a:pt x="441" y="630"/>
                      </a:lnTo>
                      <a:lnTo>
                        <a:pt x="440" y="630"/>
                      </a:lnTo>
                      <a:lnTo>
                        <a:pt x="440" y="630"/>
                      </a:lnTo>
                      <a:lnTo>
                        <a:pt x="440" y="630"/>
                      </a:lnTo>
                      <a:lnTo>
                        <a:pt x="440" y="630"/>
                      </a:lnTo>
                      <a:close/>
                      <a:moveTo>
                        <a:pt x="494" y="630"/>
                      </a:moveTo>
                      <a:lnTo>
                        <a:pt x="494" y="630"/>
                      </a:lnTo>
                      <a:lnTo>
                        <a:pt x="494" y="628"/>
                      </a:lnTo>
                      <a:lnTo>
                        <a:pt x="494" y="628"/>
                      </a:lnTo>
                      <a:lnTo>
                        <a:pt x="494" y="628"/>
                      </a:lnTo>
                      <a:lnTo>
                        <a:pt x="494" y="628"/>
                      </a:lnTo>
                      <a:lnTo>
                        <a:pt x="494" y="628"/>
                      </a:lnTo>
                      <a:lnTo>
                        <a:pt x="495" y="627"/>
                      </a:lnTo>
                      <a:lnTo>
                        <a:pt x="495" y="627"/>
                      </a:lnTo>
                      <a:lnTo>
                        <a:pt x="497" y="627"/>
                      </a:lnTo>
                      <a:lnTo>
                        <a:pt x="497" y="628"/>
                      </a:lnTo>
                      <a:lnTo>
                        <a:pt x="495" y="630"/>
                      </a:lnTo>
                      <a:lnTo>
                        <a:pt x="495" y="630"/>
                      </a:lnTo>
                      <a:lnTo>
                        <a:pt x="494" y="630"/>
                      </a:lnTo>
                      <a:lnTo>
                        <a:pt x="494" y="630"/>
                      </a:lnTo>
                      <a:lnTo>
                        <a:pt x="494" y="630"/>
                      </a:lnTo>
                      <a:close/>
                      <a:moveTo>
                        <a:pt x="441" y="633"/>
                      </a:moveTo>
                      <a:lnTo>
                        <a:pt x="441" y="633"/>
                      </a:lnTo>
                      <a:lnTo>
                        <a:pt x="441" y="633"/>
                      </a:lnTo>
                      <a:lnTo>
                        <a:pt x="441" y="633"/>
                      </a:lnTo>
                      <a:lnTo>
                        <a:pt x="441" y="633"/>
                      </a:lnTo>
                      <a:lnTo>
                        <a:pt x="441" y="632"/>
                      </a:lnTo>
                      <a:lnTo>
                        <a:pt x="441" y="632"/>
                      </a:lnTo>
                      <a:lnTo>
                        <a:pt x="443" y="631"/>
                      </a:lnTo>
                      <a:lnTo>
                        <a:pt x="443" y="631"/>
                      </a:lnTo>
                      <a:lnTo>
                        <a:pt x="443" y="631"/>
                      </a:lnTo>
                      <a:lnTo>
                        <a:pt x="444" y="632"/>
                      </a:lnTo>
                      <a:lnTo>
                        <a:pt x="444" y="632"/>
                      </a:lnTo>
                      <a:lnTo>
                        <a:pt x="441" y="633"/>
                      </a:lnTo>
                      <a:lnTo>
                        <a:pt x="441" y="633"/>
                      </a:lnTo>
                      <a:lnTo>
                        <a:pt x="441" y="633"/>
                      </a:lnTo>
                      <a:close/>
                      <a:moveTo>
                        <a:pt x="432" y="693"/>
                      </a:moveTo>
                      <a:lnTo>
                        <a:pt x="431" y="693"/>
                      </a:lnTo>
                      <a:lnTo>
                        <a:pt x="430" y="693"/>
                      </a:lnTo>
                      <a:lnTo>
                        <a:pt x="430" y="693"/>
                      </a:lnTo>
                      <a:lnTo>
                        <a:pt x="430" y="693"/>
                      </a:lnTo>
                      <a:lnTo>
                        <a:pt x="430" y="693"/>
                      </a:lnTo>
                      <a:lnTo>
                        <a:pt x="430" y="693"/>
                      </a:lnTo>
                      <a:lnTo>
                        <a:pt x="430" y="693"/>
                      </a:lnTo>
                      <a:lnTo>
                        <a:pt x="430" y="693"/>
                      </a:lnTo>
                      <a:lnTo>
                        <a:pt x="428" y="693"/>
                      </a:lnTo>
                      <a:lnTo>
                        <a:pt x="427" y="693"/>
                      </a:lnTo>
                      <a:lnTo>
                        <a:pt x="427" y="692"/>
                      </a:lnTo>
                      <a:lnTo>
                        <a:pt x="427" y="692"/>
                      </a:lnTo>
                      <a:lnTo>
                        <a:pt x="426" y="692"/>
                      </a:lnTo>
                      <a:lnTo>
                        <a:pt x="423" y="691"/>
                      </a:lnTo>
                      <a:lnTo>
                        <a:pt x="421" y="691"/>
                      </a:lnTo>
                      <a:lnTo>
                        <a:pt x="421" y="691"/>
                      </a:lnTo>
                      <a:lnTo>
                        <a:pt x="421" y="691"/>
                      </a:lnTo>
                      <a:lnTo>
                        <a:pt x="421" y="691"/>
                      </a:lnTo>
                      <a:lnTo>
                        <a:pt x="423" y="691"/>
                      </a:lnTo>
                      <a:lnTo>
                        <a:pt x="423" y="691"/>
                      </a:lnTo>
                      <a:lnTo>
                        <a:pt x="423" y="691"/>
                      </a:lnTo>
                      <a:lnTo>
                        <a:pt x="421" y="691"/>
                      </a:lnTo>
                      <a:lnTo>
                        <a:pt x="421" y="691"/>
                      </a:lnTo>
                      <a:lnTo>
                        <a:pt x="421" y="691"/>
                      </a:lnTo>
                      <a:lnTo>
                        <a:pt x="419" y="691"/>
                      </a:lnTo>
                      <a:lnTo>
                        <a:pt x="419" y="691"/>
                      </a:lnTo>
                      <a:lnTo>
                        <a:pt x="418" y="691"/>
                      </a:lnTo>
                      <a:lnTo>
                        <a:pt x="418" y="688"/>
                      </a:lnTo>
                      <a:lnTo>
                        <a:pt x="418" y="687"/>
                      </a:lnTo>
                      <a:lnTo>
                        <a:pt x="418" y="687"/>
                      </a:lnTo>
                      <a:lnTo>
                        <a:pt x="418" y="687"/>
                      </a:lnTo>
                      <a:lnTo>
                        <a:pt x="420" y="687"/>
                      </a:lnTo>
                      <a:lnTo>
                        <a:pt x="421" y="687"/>
                      </a:lnTo>
                      <a:lnTo>
                        <a:pt x="421" y="687"/>
                      </a:lnTo>
                      <a:lnTo>
                        <a:pt x="421" y="687"/>
                      </a:lnTo>
                      <a:lnTo>
                        <a:pt x="421" y="687"/>
                      </a:lnTo>
                      <a:lnTo>
                        <a:pt x="421" y="687"/>
                      </a:lnTo>
                      <a:lnTo>
                        <a:pt x="423" y="688"/>
                      </a:lnTo>
                      <a:lnTo>
                        <a:pt x="424" y="688"/>
                      </a:lnTo>
                      <a:lnTo>
                        <a:pt x="424" y="688"/>
                      </a:lnTo>
                      <a:lnTo>
                        <a:pt x="424" y="688"/>
                      </a:lnTo>
                      <a:lnTo>
                        <a:pt x="424" y="687"/>
                      </a:lnTo>
                      <a:lnTo>
                        <a:pt x="424" y="686"/>
                      </a:lnTo>
                      <a:lnTo>
                        <a:pt x="424" y="686"/>
                      </a:lnTo>
                      <a:lnTo>
                        <a:pt x="424" y="686"/>
                      </a:lnTo>
                      <a:lnTo>
                        <a:pt x="424" y="686"/>
                      </a:lnTo>
                      <a:lnTo>
                        <a:pt x="423" y="686"/>
                      </a:lnTo>
                      <a:lnTo>
                        <a:pt x="423" y="687"/>
                      </a:lnTo>
                      <a:lnTo>
                        <a:pt x="423" y="687"/>
                      </a:lnTo>
                      <a:lnTo>
                        <a:pt x="421" y="687"/>
                      </a:lnTo>
                      <a:lnTo>
                        <a:pt x="421" y="687"/>
                      </a:lnTo>
                      <a:lnTo>
                        <a:pt x="418" y="686"/>
                      </a:lnTo>
                      <a:lnTo>
                        <a:pt x="418" y="686"/>
                      </a:lnTo>
                      <a:lnTo>
                        <a:pt x="418" y="686"/>
                      </a:lnTo>
                      <a:lnTo>
                        <a:pt x="418" y="686"/>
                      </a:lnTo>
                      <a:lnTo>
                        <a:pt x="418" y="684"/>
                      </a:lnTo>
                      <a:lnTo>
                        <a:pt x="418" y="683"/>
                      </a:lnTo>
                      <a:lnTo>
                        <a:pt x="418" y="679"/>
                      </a:lnTo>
                      <a:lnTo>
                        <a:pt x="418" y="679"/>
                      </a:lnTo>
                      <a:lnTo>
                        <a:pt x="418" y="679"/>
                      </a:lnTo>
                      <a:lnTo>
                        <a:pt x="418" y="679"/>
                      </a:lnTo>
                      <a:lnTo>
                        <a:pt x="418" y="679"/>
                      </a:lnTo>
                      <a:lnTo>
                        <a:pt x="418" y="679"/>
                      </a:lnTo>
                      <a:lnTo>
                        <a:pt x="418" y="679"/>
                      </a:lnTo>
                      <a:lnTo>
                        <a:pt x="417" y="679"/>
                      </a:lnTo>
                      <a:lnTo>
                        <a:pt x="417" y="679"/>
                      </a:lnTo>
                      <a:lnTo>
                        <a:pt x="417" y="679"/>
                      </a:lnTo>
                      <a:lnTo>
                        <a:pt x="417" y="679"/>
                      </a:lnTo>
                      <a:lnTo>
                        <a:pt x="417" y="679"/>
                      </a:lnTo>
                      <a:lnTo>
                        <a:pt x="417" y="678"/>
                      </a:lnTo>
                      <a:lnTo>
                        <a:pt x="417" y="677"/>
                      </a:lnTo>
                      <a:lnTo>
                        <a:pt x="417" y="677"/>
                      </a:lnTo>
                      <a:lnTo>
                        <a:pt x="418" y="675"/>
                      </a:lnTo>
                      <a:lnTo>
                        <a:pt x="419" y="673"/>
                      </a:lnTo>
                      <a:lnTo>
                        <a:pt x="419" y="672"/>
                      </a:lnTo>
                      <a:lnTo>
                        <a:pt x="419" y="672"/>
                      </a:lnTo>
                      <a:lnTo>
                        <a:pt x="418" y="672"/>
                      </a:lnTo>
                      <a:lnTo>
                        <a:pt x="418" y="672"/>
                      </a:lnTo>
                      <a:lnTo>
                        <a:pt x="418" y="672"/>
                      </a:lnTo>
                      <a:lnTo>
                        <a:pt x="418" y="672"/>
                      </a:lnTo>
                      <a:lnTo>
                        <a:pt x="418" y="672"/>
                      </a:lnTo>
                      <a:lnTo>
                        <a:pt x="419" y="668"/>
                      </a:lnTo>
                      <a:lnTo>
                        <a:pt x="420" y="665"/>
                      </a:lnTo>
                      <a:lnTo>
                        <a:pt x="420" y="665"/>
                      </a:lnTo>
                      <a:lnTo>
                        <a:pt x="421" y="664"/>
                      </a:lnTo>
                      <a:lnTo>
                        <a:pt x="423" y="664"/>
                      </a:lnTo>
                      <a:lnTo>
                        <a:pt x="423" y="664"/>
                      </a:lnTo>
                      <a:lnTo>
                        <a:pt x="423" y="665"/>
                      </a:lnTo>
                      <a:lnTo>
                        <a:pt x="423" y="665"/>
                      </a:lnTo>
                      <a:lnTo>
                        <a:pt x="424" y="666"/>
                      </a:lnTo>
                      <a:lnTo>
                        <a:pt x="424" y="666"/>
                      </a:lnTo>
                      <a:lnTo>
                        <a:pt x="424" y="667"/>
                      </a:lnTo>
                      <a:lnTo>
                        <a:pt x="424" y="667"/>
                      </a:lnTo>
                      <a:lnTo>
                        <a:pt x="424" y="667"/>
                      </a:lnTo>
                      <a:lnTo>
                        <a:pt x="424" y="667"/>
                      </a:lnTo>
                      <a:lnTo>
                        <a:pt x="424" y="667"/>
                      </a:lnTo>
                      <a:lnTo>
                        <a:pt x="423" y="668"/>
                      </a:lnTo>
                      <a:lnTo>
                        <a:pt x="423" y="668"/>
                      </a:lnTo>
                      <a:lnTo>
                        <a:pt x="423" y="670"/>
                      </a:lnTo>
                      <a:lnTo>
                        <a:pt x="423" y="670"/>
                      </a:lnTo>
                      <a:lnTo>
                        <a:pt x="423" y="670"/>
                      </a:lnTo>
                      <a:lnTo>
                        <a:pt x="423" y="670"/>
                      </a:lnTo>
                      <a:lnTo>
                        <a:pt x="423" y="670"/>
                      </a:lnTo>
                      <a:lnTo>
                        <a:pt x="426" y="666"/>
                      </a:lnTo>
                      <a:lnTo>
                        <a:pt x="426" y="666"/>
                      </a:lnTo>
                      <a:lnTo>
                        <a:pt x="426" y="666"/>
                      </a:lnTo>
                      <a:lnTo>
                        <a:pt x="426" y="665"/>
                      </a:lnTo>
                      <a:lnTo>
                        <a:pt x="426" y="665"/>
                      </a:lnTo>
                      <a:lnTo>
                        <a:pt x="426" y="665"/>
                      </a:lnTo>
                      <a:lnTo>
                        <a:pt x="426" y="665"/>
                      </a:lnTo>
                      <a:lnTo>
                        <a:pt x="425" y="665"/>
                      </a:lnTo>
                      <a:lnTo>
                        <a:pt x="425" y="665"/>
                      </a:lnTo>
                      <a:lnTo>
                        <a:pt x="424" y="663"/>
                      </a:lnTo>
                      <a:lnTo>
                        <a:pt x="424" y="661"/>
                      </a:lnTo>
                      <a:lnTo>
                        <a:pt x="425" y="661"/>
                      </a:lnTo>
                      <a:lnTo>
                        <a:pt x="425" y="661"/>
                      </a:lnTo>
                      <a:lnTo>
                        <a:pt x="425" y="660"/>
                      </a:lnTo>
                      <a:lnTo>
                        <a:pt x="425" y="660"/>
                      </a:lnTo>
                      <a:lnTo>
                        <a:pt x="425" y="660"/>
                      </a:lnTo>
                      <a:lnTo>
                        <a:pt x="425" y="659"/>
                      </a:lnTo>
                      <a:lnTo>
                        <a:pt x="425" y="659"/>
                      </a:lnTo>
                      <a:lnTo>
                        <a:pt x="426" y="658"/>
                      </a:lnTo>
                      <a:lnTo>
                        <a:pt x="426" y="658"/>
                      </a:lnTo>
                      <a:lnTo>
                        <a:pt x="425" y="655"/>
                      </a:lnTo>
                      <a:lnTo>
                        <a:pt x="425" y="652"/>
                      </a:lnTo>
                      <a:lnTo>
                        <a:pt x="425" y="648"/>
                      </a:lnTo>
                      <a:lnTo>
                        <a:pt x="426" y="646"/>
                      </a:lnTo>
                      <a:lnTo>
                        <a:pt x="426" y="644"/>
                      </a:lnTo>
                      <a:lnTo>
                        <a:pt x="426" y="643"/>
                      </a:lnTo>
                      <a:lnTo>
                        <a:pt x="426" y="641"/>
                      </a:lnTo>
                      <a:lnTo>
                        <a:pt x="427" y="641"/>
                      </a:lnTo>
                      <a:lnTo>
                        <a:pt x="427" y="641"/>
                      </a:lnTo>
                      <a:lnTo>
                        <a:pt x="427" y="641"/>
                      </a:lnTo>
                      <a:lnTo>
                        <a:pt x="427" y="641"/>
                      </a:lnTo>
                      <a:lnTo>
                        <a:pt x="427" y="641"/>
                      </a:lnTo>
                      <a:lnTo>
                        <a:pt x="427" y="641"/>
                      </a:lnTo>
                      <a:lnTo>
                        <a:pt x="428" y="639"/>
                      </a:lnTo>
                      <a:lnTo>
                        <a:pt x="428" y="639"/>
                      </a:lnTo>
                      <a:lnTo>
                        <a:pt x="428" y="639"/>
                      </a:lnTo>
                      <a:lnTo>
                        <a:pt x="428" y="638"/>
                      </a:lnTo>
                      <a:lnTo>
                        <a:pt x="428" y="638"/>
                      </a:lnTo>
                      <a:lnTo>
                        <a:pt x="430" y="635"/>
                      </a:lnTo>
                      <a:lnTo>
                        <a:pt x="430" y="635"/>
                      </a:lnTo>
                      <a:lnTo>
                        <a:pt x="430" y="635"/>
                      </a:lnTo>
                      <a:lnTo>
                        <a:pt x="431" y="635"/>
                      </a:lnTo>
                      <a:lnTo>
                        <a:pt x="431" y="635"/>
                      </a:lnTo>
                      <a:lnTo>
                        <a:pt x="431" y="635"/>
                      </a:lnTo>
                      <a:lnTo>
                        <a:pt x="431" y="634"/>
                      </a:lnTo>
                      <a:lnTo>
                        <a:pt x="431" y="634"/>
                      </a:lnTo>
                      <a:lnTo>
                        <a:pt x="431" y="634"/>
                      </a:lnTo>
                      <a:lnTo>
                        <a:pt x="432" y="634"/>
                      </a:lnTo>
                      <a:lnTo>
                        <a:pt x="432" y="633"/>
                      </a:lnTo>
                      <a:lnTo>
                        <a:pt x="433" y="632"/>
                      </a:lnTo>
                      <a:lnTo>
                        <a:pt x="434" y="631"/>
                      </a:lnTo>
                      <a:lnTo>
                        <a:pt x="438" y="632"/>
                      </a:lnTo>
                      <a:lnTo>
                        <a:pt x="438" y="632"/>
                      </a:lnTo>
                      <a:lnTo>
                        <a:pt x="438" y="632"/>
                      </a:lnTo>
                      <a:lnTo>
                        <a:pt x="439" y="632"/>
                      </a:lnTo>
                      <a:lnTo>
                        <a:pt x="439" y="633"/>
                      </a:lnTo>
                      <a:lnTo>
                        <a:pt x="439" y="633"/>
                      </a:lnTo>
                      <a:lnTo>
                        <a:pt x="439" y="633"/>
                      </a:lnTo>
                      <a:lnTo>
                        <a:pt x="439" y="633"/>
                      </a:lnTo>
                      <a:lnTo>
                        <a:pt x="443" y="633"/>
                      </a:lnTo>
                      <a:lnTo>
                        <a:pt x="443" y="633"/>
                      </a:lnTo>
                      <a:lnTo>
                        <a:pt x="443" y="634"/>
                      </a:lnTo>
                      <a:lnTo>
                        <a:pt x="446" y="635"/>
                      </a:lnTo>
                      <a:lnTo>
                        <a:pt x="448" y="637"/>
                      </a:lnTo>
                      <a:lnTo>
                        <a:pt x="450" y="638"/>
                      </a:lnTo>
                      <a:lnTo>
                        <a:pt x="453" y="640"/>
                      </a:lnTo>
                      <a:lnTo>
                        <a:pt x="453" y="640"/>
                      </a:lnTo>
                      <a:lnTo>
                        <a:pt x="453" y="640"/>
                      </a:lnTo>
                      <a:lnTo>
                        <a:pt x="454" y="640"/>
                      </a:lnTo>
                      <a:lnTo>
                        <a:pt x="457" y="641"/>
                      </a:lnTo>
                      <a:lnTo>
                        <a:pt x="457" y="641"/>
                      </a:lnTo>
                      <a:lnTo>
                        <a:pt x="458" y="641"/>
                      </a:lnTo>
                      <a:lnTo>
                        <a:pt x="458" y="640"/>
                      </a:lnTo>
                      <a:lnTo>
                        <a:pt x="458" y="640"/>
                      </a:lnTo>
                      <a:lnTo>
                        <a:pt x="459" y="640"/>
                      </a:lnTo>
                      <a:lnTo>
                        <a:pt x="459" y="640"/>
                      </a:lnTo>
                      <a:lnTo>
                        <a:pt x="460" y="641"/>
                      </a:lnTo>
                      <a:lnTo>
                        <a:pt x="460" y="641"/>
                      </a:lnTo>
                      <a:lnTo>
                        <a:pt x="460" y="640"/>
                      </a:lnTo>
                      <a:lnTo>
                        <a:pt x="460" y="640"/>
                      </a:lnTo>
                      <a:lnTo>
                        <a:pt x="460" y="640"/>
                      </a:lnTo>
                      <a:lnTo>
                        <a:pt x="463" y="639"/>
                      </a:lnTo>
                      <a:lnTo>
                        <a:pt x="463" y="639"/>
                      </a:lnTo>
                      <a:lnTo>
                        <a:pt x="464" y="639"/>
                      </a:lnTo>
                      <a:lnTo>
                        <a:pt x="464" y="639"/>
                      </a:lnTo>
                      <a:lnTo>
                        <a:pt x="465" y="639"/>
                      </a:lnTo>
                      <a:lnTo>
                        <a:pt x="465" y="639"/>
                      </a:lnTo>
                      <a:lnTo>
                        <a:pt x="465" y="639"/>
                      </a:lnTo>
                      <a:lnTo>
                        <a:pt x="465" y="639"/>
                      </a:lnTo>
                      <a:lnTo>
                        <a:pt x="465" y="639"/>
                      </a:lnTo>
                      <a:lnTo>
                        <a:pt x="465" y="639"/>
                      </a:lnTo>
                      <a:lnTo>
                        <a:pt x="465" y="640"/>
                      </a:lnTo>
                      <a:lnTo>
                        <a:pt x="465" y="640"/>
                      </a:lnTo>
                      <a:lnTo>
                        <a:pt x="464" y="640"/>
                      </a:lnTo>
                      <a:lnTo>
                        <a:pt x="464" y="640"/>
                      </a:lnTo>
                      <a:lnTo>
                        <a:pt x="464" y="640"/>
                      </a:lnTo>
                      <a:lnTo>
                        <a:pt x="464" y="640"/>
                      </a:lnTo>
                      <a:lnTo>
                        <a:pt x="464" y="640"/>
                      </a:lnTo>
                      <a:lnTo>
                        <a:pt x="465" y="640"/>
                      </a:lnTo>
                      <a:lnTo>
                        <a:pt x="466" y="641"/>
                      </a:lnTo>
                      <a:lnTo>
                        <a:pt x="466" y="640"/>
                      </a:lnTo>
                      <a:lnTo>
                        <a:pt x="466" y="640"/>
                      </a:lnTo>
                      <a:lnTo>
                        <a:pt x="466" y="640"/>
                      </a:lnTo>
                      <a:lnTo>
                        <a:pt x="466" y="640"/>
                      </a:lnTo>
                      <a:lnTo>
                        <a:pt x="466" y="640"/>
                      </a:lnTo>
                      <a:lnTo>
                        <a:pt x="466" y="640"/>
                      </a:lnTo>
                      <a:lnTo>
                        <a:pt x="466" y="640"/>
                      </a:lnTo>
                      <a:lnTo>
                        <a:pt x="466" y="640"/>
                      </a:lnTo>
                      <a:lnTo>
                        <a:pt x="465" y="640"/>
                      </a:lnTo>
                      <a:lnTo>
                        <a:pt x="465" y="640"/>
                      </a:lnTo>
                      <a:lnTo>
                        <a:pt x="465" y="640"/>
                      </a:lnTo>
                      <a:lnTo>
                        <a:pt x="465" y="639"/>
                      </a:lnTo>
                      <a:lnTo>
                        <a:pt x="465" y="639"/>
                      </a:lnTo>
                      <a:lnTo>
                        <a:pt x="465" y="639"/>
                      </a:lnTo>
                      <a:lnTo>
                        <a:pt x="466" y="639"/>
                      </a:lnTo>
                      <a:lnTo>
                        <a:pt x="466" y="639"/>
                      </a:lnTo>
                      <a:lnTo>
                        <a:pt x="466" y="638"/>
                      </a:lnTo>
                      <a:lnTo>
                        <a:pt x="467" y="638"/>
                      </a:lnTo>
                      <a:lnTo>
                        <a:pt x="467" y="638"/>
                      </a:lnTo>
                      <a:lnTo>
                        <a:pt x="467" y="638"/>
                      </a:lnTo>
                      <a:lnTo>
                        <a:pt x="471" y="637"/>
                      </a:lnTo>
                      <a:lnTo>
                        <a:pt x="471" y="637"/>
                      </a:lnTo>
                      <a:lnTo>
                        <a:pt x="471" y="637"/>
                      </a:lnTo>
                      <a:lnTo>
                        <a:pt x="472" y="637"/>
                      </a:lnTo>
                      <a:lnTo>
                        <a:pt x="472" y="638"/>
                      </a:lnTo>
                      <a:lnTo>
                        <a:pt x="472" y="638"/>
                      </a:lnTo>
                      <a:lnTo>
                        <a:pt x="472" y="638"/>
                      </a:lnTo>
                      <a:lnTo>
                        <a:pt x="472" y="638"/>
                      </a:lnTo>
                      <a:lnTo>
                        <a:pt x="473" y="638"/>
                      </a:lnTo>
                      <a:lnTo>
                        <a:pt x="473" y="638"/>
                      </a:lnTo>
                      <a:lnTo>
                        <a:pt x="475" y="637"/>
                      </a:lnTo>
                      <a:lnTo>
                        <a:pt x="477" y="638"/>
                      </a:lnTo>
                      <a:lnTo>
                        <a:pt x="477" y="638"/>
                      </a:lnTo>
                      <a:lnTo>
                        <a:pt x="478" y="638"/>
                      </a:lnTo>
                      <a:lnTo>
                        <a:pt x="478" y="637"/>
                      </a:lnTo>
                      <a:lnTo>
                        <a:pt x="478" y="637"/>
                      </a:lnTo>
                      <a:lnTo>
                        <a:pt x="479" y="637"/>
                      </a:lnTo>
                      <a:lnTo>
                        <a:pt x="479" y="637"/>
                      </a:lnTo>
                      <a:lnTo>
                        <a:pt x="480" y="635"/>
                      </a:lnTo>
                      <a:lnTo>
                        <a:pt x="481" y="634"/>
                      </a:lnTo>
                      <a:lnTo>
                        <a:pt x="481" y="634"/>
                      </a:lnTo>
                      <a:lnTo>
                        <a:pt x="481" y="634"/>
                      </a:lnTo>
                      <a:lnTo>
                        <a:pt x="481" y="634"/>
                      </a:lnTo>
                      <a:lnTo>
                        <a:pt x="483" y="634"/>
                      </a:lnTo>
                      <a:lnTo>
                        <a:pt x="483" y="633"/>
                      </a:lnTo>
                      <a:lnTo>
                        <a:pt x="484" y="633"/>
                      </a:lnTo>
                      <a:lnTo>
                        <a:pt x="484" y="633"/>
                      </a:lnTo>
                      <a:lnTo>
                        <a:pt x="484" y="634"/>
                      </a:lnTo>
                      <a:lnTo>
                        <a:pt x="484" y="634"/>
                      </a:lnTo>
                      <a:lnTo>
                        <a:pt x="484" y="634"/>
                      </a:lnTo>
                      <a:lnTo>
                        <a:pt x="484" y="634"/>
                      </a:lnTo>
                      <a:lnTo>
                        <a:pt x="485" y="635"/>
                      </a:lnTo>
                      <a:lnTo>
                        <a:pt x="485" y="635"/>
                      </a:lnTo>
                      <a:lnTo>
                        <a:pt x="485" y="635"/>
                      </a:lnTo>
                      <a:lnTo>
                        <a:pt x="486" y="635"/>
                      </a:lnTo>
                      <a:lnTo>
                        <a:pt x="486" y="634"/>
                      </a:lnTo>
                      <a:lnTo>
                        <a:pt x="486" y="634"/>
                      </a:lnTo>
                      <a:lnTo>
                        <a:pt x="487" y="634"/>
                      </a:lnTo>
                      <a:lnTo>
                        <a:pt x="487" y="634"/>
                      </a:lnTo>
                      <a:lnTo>
                        <a:pt x="488" y="633"/>
                      </a:lnTo>
                      <a:lnTo>
                        <a:pt x="488" y="633"/>
                      </a:lnTo>
                      <a:lnTo>
                        <a:pt x="488" y="633"/>
                      </a:lnTo>
                      <a:lnTo>
                        <a:pt x="488" y="633"/>
                      </a:lnTo>
                      <a:lnTo>
                        <a:pt x="488" y="633"/>
                      </a:lnTo>
                      <a:lnTo>
                        <a:pt x="490" y="632"/>
                      </a:lnTo>
                      <a:lnTo>
                        <a:pt x="490" y="632"/>
                      </a:lnTo>
                      <a:lnTo>
                        <a:pt x="490" y="632"/>
                      </a:lnTo>
                      <a:lnTo>
                        <a:pt x="490" y="632"/>
                      </a:lnTo>
                      <a:lnTo>
                        <a:pt x="490" y="632"/>
                      </a:lnTo>
                      <a:lnTo>
                        <a:pt x="490" y="632"/>
                      </a:lnTo>
                      <a:lnTo>
                        <a:pt x="490" y="632"/>
                      </a:lnTo>
                      <a:lnTo>
                        <a:pt x="491" y="632"/>
                      </a:lnTo>
                      <a:lnTo>
                        <a:pt x="491" y="632"/>
                      </a:lnTo>
                      <a:lnTo>
                        <a:pt x="492" y="632"/>
                      </a:lnTo>
                      <a:lnTo>
                        <a:pt x="493" y="634"/>
                      </a:lnTo>
                      <a:lnTo>
                        <a:pt x="493" y="634"/>
                      </a:lnTo>
                      <a:lnTo>
                        <a:pt x="493" y="635"/>
                      </a:lnTo>
                      <a:lnTo>
                        <a:pt x="493" y="637"/>
                      </a:lnTo>
                      <a:lnTo>
                        <a:pt x="493" y="637"/>
                      </a:lnTo>
                      <a:lnTo>
                        <a:pt x="493" y="637"/>
                      </a:lnTo>
                      <a:lnTo>
                        <a:pt x="493" y="637"/>
                      </a:lnTo>
                      <a:lnTo>
                        <a:pt x="493" y="638"/>
                      </a:lnTo>
                      <a:lnTo>
                        <a:pt x="491" y="639"/>
                      </a:lnTo>
                      <a:lnTo>
                        <a:pt x="491" y="639"/>
                      </a:lnTo>
                      <a:lnTo>
                        <a:pt x="491" y="640"/>
                      </a:lnTo>
                      <a:lnTo>
                        <a:pt x="490" y="640"/>
                      </a:lnTo>
                      <a:lnTo>
                        <a:pt x="490" y="640"/>
                      </a:lnTo>
                      <a:lnTo>
                        <a:pt x="490" y="640"/>
                      </a:lnTo>
                      <a:lnTo>
                        <a:pt x="490" y="641"/>
                      </a:lnTo>
                      <a:lnTo>
                        <a:pt x="488" y="641"/>
                      </a:lnTo>
                      <a:lnTo>
                        <a:pt x="488" y="641"/>
                      </a:lnTo>
                      <a:lnTo>
                        <a:pt x="488" y="641"/>
                      </a:lnTo>
                      <a:lnTo>
                        <a:pt x="488" y="643"/>
                      </a:lnTo>
                      <a:lnTo>
                        <a:pt x="488" y="643"/>
                      </a:lnTo>
                      <a:lnTo>
                        <a:pt x="488" y="643"/>
                      </a:lnTo>
                      <a:lnTo>
                        <a:pt x="488" y="643"/>
                      </a:lnTo>
                      <a:lnTo>
                        <a:pt x="488" y="644"/>
                      </a:lnTo>
                      <a:lnTo>
                        <a:pt x="486" y="646"/>
                      </a:lnTo>
                      <a:lnTo>
                        <a:pt x="486" y="647"/>
                      </a:lnTo>
                      <a:lnTo>
                        <a:pt x="485" y="647"/>
                      </a:lnTo>
                      <a:lnTo>
                        <a:pt x="485" y="647"/>
                      </a:lnTo>
                      <a:lnTo>
                        <a:pt x="485" y="648"/>
                      </a:lnTo>
                      <a:lnTo>
                        <a:pt x="485" y="648"/>
                      </a:lnTo>
                      <a:lnTo>
                        <a:pt x="485" y="648"/>
                      </a:lnTo>
                      <a:lnTo>
                        <a:pt x="485" y="650"/>
                      </a:lnTo>
                      <a:lnTo>
                        <a:pt x="485" y="650"/>
                      </a:lnTo>
                      <a:lnTo>
                        <a:pt x="484" y="650"/>
                      </a:lnTo>
                      <a:lnTo>
                        <a:pt x="484" y="650"/>
                      </a:lnTo>
                      <a:lnTo>
                        <a:pt x="484" y="651"/>
                      </a:lnTo>
                      <a:lnTo>
                        <a:pt x="484" y="651"/>
                      </a:lnTo>
                      <a:lnTo>
                        <a:pt x="483" y="653"/>
                      </a:lnTo>
                      <a:lnTo>
                        <a:pt x="481" y="653"/>
                      </a:lnTo>
                      <a:lnTo>
                        <a:pt x="481" y="654"/>
                      </a:lnTo>
                      <a:lnTo>
                        <a:pt x="480" y="654"/>
                      </a:lnTo>
                      <a:lnTo>
                        <a:pt x="480" y="654"/>
                      </a:lnTo>
                      <a:lnTo>
                        <a:pt x="478" y="659"/>
                      </a:lnTo>
                      <a:lnTo>
                        <a:pt x="478" y="660"/>
                      </a:lnTo>
                      <a:lnTo>
                        <a:pt x="478" y="660"/>
                      </a:lnTo>
                      <a:lnTo>
                        <a:pt x="478" y="660"/>
                      </a:lnTo>
                      <a:lnTo>
                        <a:pt x="478" y="660"/>
                      </a:lnTo>
                      <a:lnTo>
                        <a:pt x="478" y="660"/>
                      </a:lnTo>
                      <a:lnTo>
                        <a:pt x="478" y="661"/>
                      </a:lnTo>
                      <a:lnTo>
                        <a:pt x="478" y="661"/>
                      </a:lnTo>
                      <a:lnTo>
                        <a:pt x="478" y="661"/>
                      </a:lnTo>
                      <a:lnTo>
                        <a:pt x="477" y="663"/>
                      </a:lnTo>
                      <a:lnTo>
                        <a:pt x="477" y="664"/>
                      </a:lnTo>
                      <a:lnTo>
                        <a:pt x="477" y="664"/>
                      </a:lnTo>
                      <a:lnTo>
                        <a:pt x="475" y="664"/>
                      </a:lnTo>
                      <a:lnTo>
                        <a:pt x="475" y="664"/>
                      </a:lnTo>
                      <a:lnTo>
                        <a:pt x="474" y="665"/>
                      </a:lnTo>
                      <a:lnTo>
                        <a:pt x="474" y="665"/>
                      </a:lnTo>
                      <a:lnTo>
                        <a:pt x="474" y="665"/>
                      </a:lnTo>
                      <a:lnTo>
                        <a:pt x="474" y="664"/>
                      </a:lnTo>
                      <a:lnTo>
                        <a:pt x="474" y="664"/>
                      </a:lnTo>
                      <a:lnTo>
                        <a:pt x="475" y="663"/>
                      </a:lnTo>
                      <a:lnTo>
                        <a:pt x="475" y="663"/>
                      </a:lnTo>
                      <a:lnTo>
                        <a:pt x="475" y="663"/>
                      </a:lnTo>
                      <a:lnTo>
                        <a:pt x="475" y="663"/>
                      </a:lnTo>
                      <a:lnTo>
                        <a:pt x="477" y="661"/>
                      </a:lnTo>
                      <a:lnTo>
                        <a:pt x="478" y="659"/>
                      </a:lnTo>
                      <a:lnTo>
                        <a:pt x="478" y="659"/>
                      </a:lnTo>
                      <a:lnTo>
                        <a:pt x="478" y="658"/>
                      </a:lnTo>
                      <a:lnTo>
                        <a:pt x="478" y="658"/>
                      </a:lnTo>
                      <a:lnTo>
                        <a:pt x="478" y="658"/>
                      </a:lnTo>
                      <a:lnTo>
                        <a:pt x="478" y="658"/>
                      </a:lnTo>
                      <a:lnTo>
                        <a:pt x="477" y="658"/>
                      </a:lnTo>
                      <a:lnTo>
                        <a:pt x="473" y="661"/>
                      </a:lnTo>
                      <a:lnTo>
                        <a:pt x="473" y="661"/>
                      </a:lnTo>
                      <a:lnTo>
                        <a:pt x="473" y="661"/>
                      </a:lnTo>
                      <a:lnTo>
                        <a:pt x="473" y="661"/>
                      </a:lnTo>
                      <a:lnTo>
                        <a:pt x="466" y="670"/>
                      </a:lnTo>
                      <a:lnTo>
                        <a:pt x="466" y="670"/>
                      </a:lnTo>
                      <a:lnTo>
                        <a:pt x="465" y="671"/>
                      </a:lnTo>
                      <a:lnTo>
                        <a:pt x="465" y="671"/>
                      </a:lnTo>
                      <a:lnTo>
                        <a:pt x="464" y="672"/>
                      </a:lnTo>
                      <a:lnTo>
                        <a:pt x="464" y="672"/>
                      </a:lnTo>
                      <a:lnTo>
                        <a:pt x="463" y="673"/>
                      </a:lnTo>
                      <a:lnTo>
                        <a:pt x="463" y="674"/>
                      </a:lnTo>
                      <a:lnTo>
                        <a:pt x="461" y="674"/>
                      </a:lnTo>
                      <a:lnTo>
                        <a:pt x="461" y="674"/>
                      </a:lnTo>
                      <a:lnTo>
                        <a:pt x="461" y="674"/>
                      </a:lnTo>
                      <a:lnTo>
                        <a:pt x="460" y="674"/>
                      </a:lnTo>
                      <a:lnTo>
                        <a:pt x="460" y="674"/>
                      </a:lnTo>
                      <a:lnTo>
                        <a:pt x="460" y="675"/>
                      </a:lnTo>
                      <a:lnTo>
                        <a:pt x="458" y="677"/>
                      </a:lnTo>
                      <a:lnTo>
                        <a:pt x="458" y="677"/>
                      </a:lnTo>
                      <a:lnTo>
                        <a:pt x="458" y="677"/>
                      </a:lnTo>
                      <a:lnTo>
                        <a:pt x="458" y="678"/>
                      </a:lnTo>
                      <a:lnTo>
                        <a:pt x="458" y="678"/>
                      </a:lnTo>
                      <a:lnTo>
                        <a:pt x="458" y="678"/>
                      </a:lnTo>
                      <a:lnTo>
                        <a:pt x="459" y="678"/>
                      </a:lnTo>
                      <a:lnTo>
                        <a:pt x="459" y="678"/>
                      </a:lnTo>
                      <a:lnTo>
                        <a:pt x="459" y="678"/>
                      </a:lnTo>
                      <a:lnTo>
                        <a:pt x="459" y="678"/>
                      </a:lnTo>
                      <a:lnTo>
                        <a:pt x="459" y="677"/>
                      </a:lnTo>
                      <a:lnTo>
                        <a:pt x="459" y="677"/>
                      </a:lnTo>
                      <a:lnTo>
                        <a:pt x="459" y="677"/>
                      </a:lnTo>
                      <a:lnTo>
                        <a:pt x="459" y="677"/>
                      </a:lnTo>
                      <a:lnTo>
                        <a:pt x="459" y="677"/>
                      </a:lnTo>
                      <a:lnTo>
                        <a:pt x="459" y="677"/>
                      </a:lnTo>
                      <a:lnTo>
                        <a:pt x="459" y="677"/>
                      </a:lnTo>
                      <a:lnTo>
                        <a:pt x="460" y="677"/>
                      </a:lnTo>
                      <a:lnTo>
                        <a:pt x="460" y="677"/>
                      </a:lnTo>
                      <a:lnTo>
                        <a:pt x="460" y="677"/>
                      </a:lnTo>
                      <a:lnTo>
                        <a:pt x="460" y="677"/>
                      </a:lnTo>
                      <a:lnTo>
                        <a:pt x="460" y="677"/>
                      </a:lnTo>
                      <a:lnTo>
                        <a:pt x="460" y="677"/>
                      </a:lnTo>
                      <a:lnTo>
                        <a:pt x="460" y="677"/>
                      </a:lnTo>
                      <a:lnTo>
                        <a:pt x="460" y="678"/>
                      </a:lnTo>
                      <a:lnTo>
                        <a:pt x="460" y="678"/>
                      </a:lnTo>
                      <a:lnTo>
                        <a:pt x="459" y="679"/>
                      </a:lnTo>
                      <a:lnTo>
                        <a:pt x="459" y="679"/>
                      </a:lnTo>
                      <a:lnTo>
                        <a:pt x="459" y="679"/>
                      </a:lnTo>
                      <a:lnTo>
                        <a:pt x="459" y="680"/>
                      </a:lnTo>
                      <a:lnTo>
                        <a:pt x="459" y="680"/>
                      </a:lnTo>
                      <a:lnTo>
                        <a:pt x="459" y="680"/>
                      </a:lnTo>
                      <a:lnTo>
                        <a:pt x="458" y="680"/>
                      </a:lnTo>
                      <a:lnTo>
                        <a:pt x="458" y="680"/>
                      </a:lnTo>
                      <a:lnTo>
                        <a:pt x="457" y="681"/>
                      </a:lnTo>
                      <a:lnTo>
                        <a:pt x="457" y="681"/>
                      </a:lnTo>
                      <a:lnTo>
                        <a:pt x="457" y="681"/>
                      </a:lnTo>
                      <a:lnTo>
                        <a:pt x="457" y="683"/>
                      </a:lnTo>
                      <a:lnTo>
                        <a:pt x="457" y="684"/>
                      </a:lnTo>
                      <a:lnTo>
                        <a:pt x="455" y="685"/>
                      </a:lnTo>
                      <a:lnTo>
                        <a:pt x="455" y="685"/>
                      </a:lnTo>
                      <a:lnTo>
                        <a:pt x="455" y="685"/>
                      </a:lnTo>
                      <a:lnTo>
                        <a:pt x="455" y="685"/>
                      </a:lnTo>
                      <a:lnTo>
                        <a:pt x="455" y="685"/>
                      </a:lnTo>
                      <a:lnTo>
                        <a:pt x="455" y="685"/>
                      </a:lnTo>
                      <a:lnTo>
                        <a:pt x="455" y="685"/>
                      </a:lnTo>
                      <a:lnTo>
                        <a:pt x="454" y="684"/>
                      </a:lnTo>
                      <a:lnTo>
                        <a:pt x="454" y="684"/>
                      </a:lnTo>
                      <a:lnTo>
                        <a:pt x="454" y="684"/>
                      </a:lnTo>
                      <a:lnTo>
                        <a:pt x="454" y="684"/>
                      </a:lnTo>
                      <a:lnTo>
                        <a:pt x="454" y="684"/>
                      </a:lnTo>
                      <a:lnTo>
                        <a:pt x="453" y="684"/>
                      </a:lnTo>
                      <a:lnTo>
                        <a:pt x="452" y="685"/>
                      </a:lnTo>
                      <a:lnTo>
                        <a:pt x="452" y="684"/>
                      </a:lnTo>
                      <a:lnTo>
                        <a:pt x="452" y="681"/>
                      </a:lnTo>
                      <a:lnTo>
                        <a:pt x="452" y="680"/>
                      </a:lnTo>
                      <a:lnTo>
                        <a:pt x="452" y="680"/>
                      </a:lnTo>
                      <a:lnTo>
                        <a:pt x="452" y="680"/>
                      </a:lnTo>
                      <a:lnTo>
                        <a:pt x="454" y="679"/>
                      </a:lnTo>
                      <a:lnTo>
                        <a:pt x="454" y="679"/>
                      </a:lnTo>
                      <a:lnTo>
                        <a:pt x="454" y="679"/>
                      </a:lnTo>
                      <a:lnTo>
                        <a:pt x="454" y="679"/>
                      </a:lnTo>
                      <a:lnTo>
                        <a:pt x="455" y="679"/>
                      </a:lnTo>
                      <a:lnTo>
                        <a:pt x="455" y="679"/>
                      </a:lnTo>
                      <a:lnTo>
                        <a:pt x="455" y="679"/>
                      </a:lnTo>
                      <a:lnTo>
                        <a:pt x="455" y="679"/>
                      </a:lnTo>
                      <a:lnTo>
                        <a:pt x="455" y="679"/>
                      </a:lnTo>
                      <a:lnTo>
                        <a:pt x="455" y="679"/>
                      </a:lnTo>
                      <a:lnTo>
                        <a:pt x="454" y="679"/>
                      </a:lnTo>
                      <a:lnTo>
                        <a:pt x="454" y="680"/>
                      </a:lnTo>
                      <a:lnTo>
                        <a:pt x="454" y="680"/>
                      </a:lnTo>
                      <a:lnTo>
                        <a:pt x="454" y="680"/>
                      </a:lnTo>
                      <a:lnTo>
                        <a:pt x="454" y="680"/>
                      </a:lnTo>
                      <a:lnTo>
                        <a:pt x="454" y="680"/>
                      </a:lnTo>
                      <a:lnTo>
                        <a:pt x="454" y="680"/>
                      </a:lnTo>
                      <a:lnTo>
                        <a:pt x="454" y="681"/>
                      </a:lnTo>
                      <a:lnTo>
                        <a:pt x="454" y="681"/>
                      </a:lnTo>
                      <a:lnTo>
                        <a:pt x="455" y="681"/>
                      </a:lnTo>
                      <a:lnTo>
                        <a:pt x="455" y="681"/>
                      </a:lnTo>
                      <a:lnTo>
                        <a:pt x="457" y="681"/>
                      </a:lnTo>
                      <a:lnTo>
                        <a:pt x="457" y="681"/>
                      </a:lnTo>
                      <a:lnTo>
                        <a:pt x="457" y="680"/>
                      </a:lnTo>
                      <a:lnTo>
                        <a:pt x="457" y="680"/>
                      </a:lnTo>
                      <a:lnTo>
                        <a:pt x="457" y="680"/>
                      </a:lnTo>
                      <a:lnTo>
                        <a:pt x="457" y="679"/>
                      </a:lnTo>
                      <a:lnTo>
                        <a:pt x="454" y="677"/>
                      </a:lnTo>
                      <a:lnTo>
                        <a:pt x="454" y="675"/>
                      </a:lnTo>
                      <a:lnTo>
                        <a:pt x="454" y="675"/>
                      </a:lnTo>
                      <a:lnTo>
                        <a:pt x="454" y="675"/>
                      </a:lnTo>
                      <a:lnTo>
                        <a:pt x="454" y="677"/>
                      </a:lnTo>
                      <a:lnTo>
                        <a:pt x="453" y="677"/>
                      </a:lnTo>
                      <a:lnTo>
                        <a:pt x="452" y="677"/>
                      </a:lnTo>
                      <a:lnTo>
                        <a:pt x="452" y="677"/>
                      </a:lnTo>
                      <a:lnTo>
                        <a:pt x="452" y="677"/>
                      </a:lnTo>
                      <a:lnTo>
                        <a:pt x="452" y="678"/>
                      </a:lnTo>
                      <a:lnTo>
                        <a:pt x="452" y="679"/>
                      </a:lnTo>
                      <a:lnTo>
                        <a:pt x="452" y="679"/>
                      </a:lnTo>
                      <a:lnTo>
                        <a:pt x="452" y="679"/>
                      </a:lnTo>
                      <a:lnTo>
                        <a:pt x="452" y="679"/>
                      </a:lnTo>
                      <a:lnTo>
                        <a:pt x="452" y="680"/>
                      </a:lnTo>
                      <a:lnTo>
                        <a:pt x="451" y="680"/>
                      </a:lnTo>
                      <a:lnTo>
                        <a:pt x="451" y="680"/>
                      </a:lnTo>
                      <a:lnTo>
                        <a:pt x="451" y="680"/>
                      </a:lnTo>
                      <a:lnTo>
                        <a:pt x="450" y="680"/>
                      </a:lnTo>
                      <a:lnTo>
                        <a:pt x="448" y="681"/>
                      </a:lnTo>
                      <a:lnTo>
                        <a:pt x="448" y="681"/>
                      </a:lnTo>
                      <a:lnTo>
                        <a:pt x="448" y="680"/>
                      </a:lnTo>
                      <a:lnTo>
                        <a:pt x="448" y="680"/>
                      </a:lnTo>
                      <a:lnTo>
                        <a:pt x="448" y="680"/>
                      </a:lnTo>
                      <a:lnTo>
                        <a:pt x="448" y="680"/>
                      </a:lnTo>
                      <a:lnTo>
                        <a:pt x="448" y="680"/>
                      </a:lnTo>
                      <a:lnTo>
                        <a:pt x="448" y="680"/>
                      </a:lnTo>
                      <a:lnTo>
                        <a:pt x="450" y="680"/>
                      </a:lnTo>
                      <a:lnTo>
                        <a:pt x="450" y="680"/>
                      </a:lnTo>
                      <a:lnTo>
                        <a:pt x="450" y="680"/>
                      </a:lnTo>
                      <a:lnTo>
                        <a:pt x="450" y="680"/>
                      </a:lnTo>
                      <a:lnTo>
                        <a:pt x="451" y="678"/>
                      </a:lnTo>
                      <a:lnTo>
                        <a:pt x="450" y="677"/>
                      </a:lnTo>
                      <a:lnTo>
                        <a:pt x="450" y="677"/>
                      </a:lnTo>
                      <a:lnTo>
                        <a:pt x="450" y="678"/>
                      </a:lnTo>
                      <a:lnTo>
                        <a:pt x="448" y="679"/>
                      </a:lnTo>
                      <a:lnTo>
                        <a:pt x="447" y="680"/>
                      </a:lnTo>
                      <a:lnTo>
                        <a:pt x="446" y="680"/>
                      </a:lnTo>
                      <a:lnTo>
                        <a:pt x="446" y="681"/>
                      </a:lnTo>
                      <a:lnTo>
                        <a:pt x="444" y="683"/>
                      </a:lnTo>
                      <a:lnTo>
                        <a:pt x="444" y="683"/>
                      </a:lnTo>
                      <a:lnTo>
                        <a:pt x="444" y="683"/>
                      </a:lnTo>
                      <a:lnTo>
                        <a:pt x="444" y="684"/>
                      </a:lnTo>
                      <a:lnTo>
                        <a:pt x="444" y="684"/>
                      </a:lnTo>
                      <a:lnTo>
                        <a:pt x="444" y="684"/>
                      </a:lnTo>
                      <a:lnTo>
                        <a:pt x="444" y="684"/>
                      </a:lnTo>
                      <a:lnTo>
                        <a:pt x="444" y="685"/>
                      </a:lnTo>
                      <a:lnTo>
                        <a:pt x="443" y="685"/>
                      </a:lnTo>
                      <a:lnTo>
                        <a:pt x="443" y="685"/>
                      </a:lnTo>
                      <a:lnTo>
                        <a:pt x="443" y="685"/>
                      </a:lnTo>
                      <a:lnTo>
                        <a:pt x="443" y="686"/>
                      </a:lnTo>
                      <a:lnTo>
                        <a:pt x="443" y="686"/>
                      </a:lnTo>
                      <a:lnTo>
                        <a:pt x="441" y="686"/>
                      </a:lnTo>
                      <a:lnTo>
                        <a:pt x="441" y="686"/>
                      </a:lnTo>
                      <a:lnTo>
                        <a:pt x="441" y="686"/>
                      </a:lnTo>
                      <a:lnTo>
                        <a:pt x="441" y="686"/>
                      </a:lnTo>
                      <a:lnTo>
                        <a:pt x="441" y="686"/>
                      </a:lnTo>
                      <a:lnTo>
                        <a:pt x="440" y="686"/>
                      </a:lnTo>
                      <a:lnTo>
                        <a:pt x="440" y="685"/>
                      </a:lnTo>
                      <a:lnTo>
                        <a:pt x="440" y="684"/>
                      </a:lnTo>
                      <a:lnTo>
                        <a:pt x="440" y="684"/>
                      </a:lnTo>
                      <a:lnTo>
                        <a:pt x="440" y="684"/>
                      </a:lnTo>
                      <a:lnTo>
                        <a:pt x="440" y="684"/>
                      </a:lnTo>
                      <a:lnTo>
                        <a:pt x="440" y="684"/>
                      </a:lnTo>
                      <a:lnTo>
                        <a:pt x="440" y="683"/>
                      </a:lnTo>
                      <a:lnTo>
                        <a:pt x="440" y="683"/>
                      </a:lnTo>
                      <a:lnTo>
                        <a:pt x="440" y="683"/>
                      </a:lnTo>
                      <a:lnTo>
                        <a:pt x="440" y="683"/>
                      </a:lnTo>
                      <a:lnTo>
                        <a:pt x="440" y="683"/>
                      </a:lnTo>
                      <a:lnTo>
                        <a:pt x="440" y="683"/>
                      </a:lnTo>
                      <a:lnTo>
                        <a:pt x="440" y="683"/>
                      </a:lnTo>
                      <a:lnTo>
                        <a:pt x="440" y="683"/>
                      </a:lnTo>
                      <a:lnTo>
                        <a:pt x="439" y="683"/>
                      </a:lnTo>
                      <a:lnTo>
                        <a:pt x="439" y="683"/>
                      </a:lnTo>
                      <a:lnTo>
                        <a:pt x="439" y="684"/>
                      </a:lnTo>
                      <a:lnTo>
                        <a:pt x="439" y="684"/>
                      </a:lnTo>
                      <a:lnTo>
                        <a:pt x="439" y="684"/>
                      </a:lnTo>
                      <a:lnTo>
                        <a:pt x="439" y="684"/>
                      </a:lnTo>
                      <a:lnTo>
                        <a:pt x="439" y="684"/>
                      </a:lnTo>
                      <a:lnTo>
                        <a:pt x="439" y="685"/>
                      </a:lnTo>
                      <a:lnTo>
                        <a:pt x="439" y="685"/>
                      </a:lnTo>
                      <a:lnTo>
                        <a:pt x="439" y="685"/>
                      </a:lnTo>
                      <a:lnTo>
                        <a:pt x="439" y="685"/>
                      </a:lnTo>
                      <a:lnTo>
                        <a:pt x="439" y="685"/>
                      </a:lnTo>
                      <a:lnTo>
                        <a:pt x="439" y="686"/>
                      </a:lnTo>
                      <a:lnTo>
                        <a:pt x="439" y="686"/>
                      </a:lnTo>
                      <a:lnTo>
                        <a:pt x="439" y="686"/>
                      </a:lnTo>
                      <a:lnTo>
                        <a:pt x="439" y="686"/>
                      </a:lnTo>
                      <a:lnTo>
                        <a:pt x="439" y="686"/>
                      </a:lnTo>
                      <a:lnTo>
                        <a:pt x="438" y="687"/>
                      </a:lnTo>
                      <a:lnTo>
                        <a:pt x="435" y="688"/>
                      </a:lnTo>
                      <a:lnTo>
                        <a:pt x="435" y="688"/>
                      </a:lnTo>
                      <a:lnTo>
                        <a:pt x="433" y="691"/>
                      </a:lnTo>
                      <a:lnTo>
                        <a:pt x="432" y="692"/>
                      </a:lnTo>
                      <a:lnTo>
                        <a:pt x="432" y="693"/>
                      </a:lnTo>
                      <a:lnTo>
                        <a:pt x="432" y="693"/>
                      </a:lnTo>
                      <a:lnTo>
                        <a:pt x="432" y="693"/>
                      </a:lnTo>
                      <a:lnTo>
                        <a:pt x="432" y="693"/>
                      </a:lnTo>
                      <a:close/>
                      <a:moveTo>
                        <a:pt x="478" y="667"/>
                      </a:moveTo>
                      <a:lnTo>
                        <a:pt x="477" y="667"/>
                      </a:lnTo>
                      <a:lnTo>
                        <a:pt x="477" y="666"/>
                      </a:lnTo>
                      <a:lnTo>
                        <a:pt x="477" y="666"/>
                      </a:lnTo>
                      <a:lnTo>
                        <a:pt x="477" y="666"/>
                      </a:lnTo>
                      <a:lnTo>
                        <a:pt x="477" y="666"/>
                      </a:lnTo>
                      <a:lnTo>
                        <a:pt x="477" y="666"/>
                      </a:lnTo>
                      <a:lnTo>
                        <a:pt x="478" y="666"/>
                      </a:lnTo>
                      <a:lnTo>
                        <a:pt x="478" y="666"/>
                      </a:lnTo>
                      <a:lnTo>
                        <a:pt x="478" y="666"/>
                      </a:lnTo>
                      <a:lnTo>
                        <a:pt x="478" y="666"/>
                      </a:lnTo>
                      <a:lnTo>
                        <a:pt x="478" y="667"/>
                      </a:lnTo>
                      <a:lnTo>
                        <a:pt x="478" y="667"/>
                      </a:lnTo>
                      <a:lnTo>
                        <a:pt x="478" y="667"/>
                      </a:lnTo>
                      <a:lnTo>
                        <a:pt x="478" y="667"/>
                      </a:lnTo>
                      <a:lnTo>
                        <a:pt x="478" y="667"/>
                      </a:lnTo>
                      <a:lnTo>
                        <a:pt x="478" y="667"/>
                      </a:lnTo>
                      <a:close/>
                      <a:moveTo>
                        <a:pt x="467" y="675"/>
                      </a:moveTo>
                      <a:lnTo>
                        <a:pt x="467" y="675"/>
                      </a:lnTo>
                      <a:lnTo>
                        <a:pt x="468" y="673"/>
                      </a:lnTo>
                      <a:lnTo>
                        <a:pt x="468" y="673"/>
                      </a:lnTo>
                      <a:lnTo>
                        <a:pt x="468" y="673"/>
                      </a:lnTo>
                      <a:lnTo>
                        <a:pt x="468" y="673"/>
                      </a:lnTo>
                      <a:lnTo>
                        <a:pt x="468" y="673"/>
                      </a:lnTo>
                      <a:lnTo>
                        <a:pt x="470" y="672"/>
                      </a:lnTo>
                      <a:lnTo>
                        <a:pt x="471" y="672"/>
                      </a:lnTo>
                      <a:lnTo>
                        <a:pt x="471" y="672"/>
                      </a:lnTo>
                      <a:lnTo>
                        <a:pt x="471" y="672"/>
                      </a:lnTo>
                      <a:lnTo>
                        <a:pt x="471" y="672"/>
                      </a:lnTo>
                      <a:lnTo>
                        <a:pt x="471" y="673"/>
                      </a:lnTo>
                      <a:lnTo>
                        <a:pt x="471" y="673"/>
                      </a:lnTo>
                      <a:lnTo>
                        <a:pt x="471" y="673"/>
                      </a:lnTo>
                      <a:lnTo>
                        <a:pt x="471" y="673"/>
                      </a:lnTo>
                      <a:lnTo>
                        <a:pt x="471" y="673"/>
                      </a:lnTo>
                      <a:lnTo>
                        <a:pt x="471" y="673"/>
                      </a:lnTo>
                      <a:lnTo>
                        <a:pt x="470" y="673"/>
                      </a:lnTo>
                      <a:lnTo>
                        <a:pt x="467" y="675"/>
                      </a:lnTo>
                      <a:lnTo>
                        <a:pt x="467" y="675"/>
                      </a:lnTo>
                      <a:lnTo>
                        <a:pt x="467" y="675"/>
                      </a:lnTo>
                      <a:close/>
                      <a:moveTo>
                        <a:pt x="448" y="686"/>
                      </a:moveTo>
                      <a:lnTo>
                        <a:pt x="448" y="684"/>
                      </a:lnTo>
                      <a:lnTo>
                        <a:pt x="448" y="684"/>
                      </a:lnTo>
                      <a:lnTo>
                        <a:pt x="448" y="684"/>
                      </a:lnTo>
                      <a:lnTo>
                        <a:pt x="451" y="683"/>
                      </a:lnTo>
                      <a:lnTo>
                        <a:pt x="451" y="683"/>
                      </a:lnTo>
                      <a:lnTo>
                        <a:pt x="451" y="683"/>
                      </a:lnTo>
                      <a:lnTo>
                        <a:pt x="451" y="683"/>
                      </a:lnTo>
                      <a:lnTo>
                        <a:pt x="451" y="683"/>
                      </a:lnTo>
                      <a:lnTo>
                        <a:pt x="451" y="684"/>
                      </a:lnTo>
                      <a:lnTo>
                        <a:pt x="451" y="685"/>
                      </a:lnTo>
                      <a:lnTo>
                        <a:pt x="451" y="685"/>
                      </a:lnTo>
                      <a:lnTo>
                        <a:pt x="450" y="686"/>
                      </a:lnTo>
                      <a:lnTo>
                        <a:pt x="450" y="686"/>
                      </a:lnTo>
                      <a:lnTo>
                        <a:pt x="448" y="686"/>
                      </a:lnTo>
                      <a:lnTo>
                        <a:pt x="448" y="686"/>
                      </a:lnTo>
                      <a:close/>
                      <a:moveTo>
                        <a:pt x="444" y="692"/>
                      </a:moveTo>
                      <a:lnTo>
                        <a:pt x="443" y="691"/>
                      </a:lnTo>
                      <a:lnTo>
                        <a:pt x="441" y="691"/>
                      </a:lnTo>
                      <a:lnTo>
                        <a:pt x="443" y="690"/>
                      </a:lnTo>
                      <a:lnTo>
                        <a:pt x="445" y="688"/>
                      </a:lnTo>
                      <a:lnTo>
                        <a:pt x="447" y="686"/>
                      </a:lnTo>
                      <a:lnTo>
                        <a:pt x="447" y="686"/>
                      </a:lnTo>
                      <a:lnTo>
                        <a:pt x="447" y="686"/>
                      </a:lnTo>
                      <a:lnTo>
                        <a:pt x="447" y="686"/>
                      </a:lnTo>
                      <a:lnTo>
                        <a:pt x="447" y="688"/>
                      </a:lnTo>
                      <a:lnTo>
                        <a:pt x="447" y="688"/>
                      </a:lnTo>
                      <a:lnTo>
                        <a:pt x="447" y="690"/>
                      </a:lnTo>
                      <a:lnTo>
                        <a:pt x="445" y="691"/>
                      </a:lnTo>
                      <a:lnTo>
                        <a:pt x="445" y="691"/>
                      </a:lnTo>
                      <a:lnTo>
                        <a:pt x="444" y="691"/>
                      </a:lnTo>
                      <a:lnTo>
                        <a:pt x="444" y="692"/>
                      </a:lnTo>
                      <a:lnTo>
                        <a:pt x="444" y="692"/>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566" name="Argentina">
                  <a:extLst>
                    <a:ext uri="{FF2B5EF4-FFF2-40B4-BE49-F238E27FC236}">
                      <a16:creationId xmlns:a16="http://schemas.microsoft.com/office/drawing/2014/main" id="{A253AFC0-A2F4-A94E-B896-82240D69193D}"/>
                    </a:ext>
                  </a:extLst>
                </p:cNvPr>
                <p:cNvSpPr>
                  <a:spLocks noEditPoints="1"/>
                </p:cNvSpPr>
                <p:nvPr/>
              </p:nvSpPr>
              <p:spPr bwMode="auto">
                <a:xfrm>
                  <a:off x="4585092" y="4639693"/>
                  <a:ext cx="400936" cy="1003069"/>
                </a:xfrm>
                <a:custGeom>
                  <a:avLst/>
                  <a:gdLst>
                    <a:gd name="T0" fmla="*/ 121 w 275"/>
                    <a:gd name="T1" fmla="*/ 26 h 688"/>
                    <a:gd name="T2" fmla="*/ 138 w 275"/>
                    <a:gd name="T3" fmla="*/ 38 h 688"/>
                    <a:gd name="T4" fmla="*/ 177 w 275"/>
                    <a:gd name="T5" fmla="*/ 58 h 688"/>
                    <a:gd name="T6" fmla="*/ 203 w 275"/>
                    <a:gd name="T7" fmla="*/ 73 h 688"/>
                    <a:gd name="T8" fmla="*/ 198 w 275"/>
                    <a:gd name="T9" fmla="*/ 89 h 688"/>
                    <a:gd name="T10" fmla="*/ 195 w 275"/>
                    <a:gd name="T11" fmla="*/ 105 h 688"/>
                    <a:gd name="T12" fmla="*/ 205 w 275"/>
                    <a:gd name="T13" fmla="*/ 114 h 688"/>
                    <a:gd name="T14" fmla="*/ 235 w 275"/>
                    <a:gd name="T15" fmla="*/ 114 h 688"/>
                    <a:gd name="T16" fmla="*/ 251 w 275"/>
                    <a:gd name="T17" fmla="*/ 107 h 688"/>
                    <a:gd name="T18" fmla="*/ 257 w 275"/>
                    <a:gd name="T19" fmla="*/ 80 h 688"/>
                    <a:gd name="T20" fmla="*/ 273 w 275"/>
                    <a:gd name="T21" fmla="*/ 110 h 688"/>
                    <a:gd name="T22" fmla="*/ 242 w 275"/>
                    <a:gd name="T23" fmla="*/ 137 h 688"/>
                    <a:gd name="T24" fmla="*/ 216 w 275"/>
                    <a:gd name="T25" fmla="*/ 188 h 688"/>
                    <a:gd name="T26" fmla="*/ 215 w 275"/>
                    <a:gd name="T27" fmla="*/ 215 h 688"/>
                    <a:gd name="T28" fmla="*/ 216 w 275"/>
                    <a:gd name="T29" fmla="*/ 251 h 688"/>
                    <a:gd name="T30" fmla="*/ 224 w 275"/>
                    <a:gd name="T31" fmla="*/ 267 h 688"/>
                    <a:gd name="T32" fmla="*/ 241 w 275"/>
                    <a:gd name="T33" fmla="*/ 274 h 688"/>
                    <a:gd name="T34" fmla="*/ 244 w 275"/>
                    <a:gd name="T35" fmla="*/ 287 h 688"/>
                    <a:gd name="T36" fmla="*/ 254 w 275"/>
                    <a:gd name="T37" fmla="*/ 297 h 688"/>
                    <a:gd name="T38" fmla="*/ 261 w 275"/>
                    <a:gd name="T39" fmla="*/ 305 h 688"/>
                    <a:gd name="T40" fmla="*/ 255 w 275"/>
                    <a:gd name="T41" fmla="*/ 322 h 688"/>
                    <a:gd name="T42" fmla="*/ 248 w 275"/>
                    <a:gd name="T43" fmla="*/ 338 h 688"/>
                    <a:gd name="T44" fmla="*/ 228 w 275"/>
                    <a:gd name="T45" fmla="*/ 345 h 688"/>
                    <a:gd name="T46" fmla="*/ 202 w 275"/>
                    <a:gd name="T47" fmla="*/ 350 h 688"/>
                    <a:gd name="T48" fmla="*/ 178 w 275"/>
                    <a:gd name="T49" fmla="*/ 350 h 688"/>
                    <a:gd name="T50" fmla="*/ 180 w 275"/>
                    <a:gd name="T51" fmla="*/ 356 h 688"/>
                    <a:gd name="T52" fmla="*/ 181 w 275"/>
                    <a:gd name="T53" fmla="*/ 371 h 688"/>
                    <a:gd name="T54" fmla="*/ 183 w 275"/>
                    <a:gd name="T55" fmla="*/ 391 h 688"/>
                    <a:gd name="T56" fmla="*/ 163 w 275"/>
                    <a:gd name="T57" fmla="*/ 395 h 688"/>
                    <a:gd name="T58" fmla="*/ 142 w 275"/>
                    <a:gd name="T59" fmla="*/ 389 h 688"/>
                    <a:gd name="T60" fmla="*/ 142 w 275"/>
                    <a:gd name="T61" fmla="*/ 396 h 688"/>
                    <a:gd name="T62" fmla="*/ 145 w 275"/>
                    <a:gd name="T63" fmla="*/ 408 h 688"/>
                    <a:gd name="T64" fmla="*/ 156 w 275"/>
                    <a:gd name="T65" fmla="*/ 418 h 688"/>
                    <a:gd name="T66" fmla="*/ 158 w 275"/>
                    <a:gd name="T67" fmla="*/ 418 h 688"/>
                    <a:gd name="T68" fmla="*/ 174 w 275"/>
                    <a:gd name="T69" fmla="*/ 418 h 688"/>
                    <a:gd name="T70" fmla="*/ 167 w 275"/>
                    <a:gd name="T71" fmla="*/ 431 h 688"/>
                    <a:gd name="T72" fmla="*/ 160 w 275"/>
                    <a:gd name="T73" fmla="*/ 429 h 688"/>
                    <a:gd name="T74" fmla="*/ 156 w 275"/>
                    <a:gd name="T75" fmla="*/ 443 h 688"/>
                    <a:gd name="T76" fmla="*/ 161 w 275"/>
                    <a:gd name="T77" fmla="*/ 459 h 688"/>
                    <a:gd name="T78" fmla="*/ 154 w 275"/>
                    <a:gd name="T79" fmla="*/ 476 h 688"/>
                    <a:gd name="T80" fmla="*/ 140 w 275"/>
                    <a:gd name="T81" fmla="*/ 478 h 688"/>
                    <a:gd name="T82" fmla="*/ 131 w 275"/>
                    <a:gd name="T83" fmla="*/ 496 h 688"/>
                    <a:gd name="T84" fmla="*/ 147 w 275"/>
                    <a:gd name="T85" fmla="*/ 511 h 688"/>
                    <a:gd name="T86" fmla="*/ 168 w 275"/>
                    <a:gd name="T87" fmla="*/ 519 h 688"/>
                    <a:gd name="T88" fmla="*/ 165 w 275"/>
                    <a:gd name="T89" fmla="*/ 532 h 688"/>
                    <a:gd name="T90" fmla="*/ 164 w 275"/>
                    <a:gd name="T91" fmla="*/ 543 h 688"/>
                    <a:gd name="T92" fmla="*/ 148 w 275"/>
                    <a:gd name="T93" fmla="*/ 564 h 688"/>
                    <a:gd name="T94" fmla="*/ 155 w 275"/>
                    <a:gd name="T95" fmla="*/ 572 h 688"/>
                    <a:gd name="T96" fmla="*/ 138 w 275"/>
                    <a:gd name="T97" fmla="*/ 572 h 688"/>
                    <a:gd name="T98" fmla="*/ 147 w 275"/>
                    <a:gd name="T99" fmla="*/ 581 h 688"/>
                    <a:gd name="T100" fmla="*/ 144 w 275"/>
                    <a:gd name="T101" fmla="*/ 599 h 688"/>
                    <a:gd name="T102" fmla="*/ 136 w 275"/>
                    <a:gd name="T103" fmla="*/ 608 h 688"/>
                    <a:gd name="T104" fmla="*/ 68 w 275"/>
                    <a:gd name="T105" fmla="*/ 581 h 688"/>
                    <a:gd name="T106" fmla="*/ 31 w 275"/>
                    <a:gd name="T107" fmla="*/ 421 h 688"/>
                    <a:gd name="T108" fmla="*/ 18 w 275"/>
                    <a:gd name="T109" fmla="*/ 245 h 688"/>
                    <a:gd name="T110" fmla="*/ 33 w 275"/>
                    <a:gd name="T111" fmla="*/ 26 h 688"/>
                    <a:gd name="T112" fmla="*/ 46 w 275"/>
                    <a:gd name="T113" fmla="*/ 2 h 688"/>
                    <a:gd name="T114" fmla="*/ 78 w 275"/>
                    <a:gd name="T115" fmla="*/ 20 h 688"/>
                    <a:gd name="T116" fmla="*/ 105 w 275"/>
                    <a:gd name="T117" fmla="*/ 8 h 688"/>
                    <a:gd name="T118" fmla="*/ 178 w 275"/>
                    <a:gd name="T119" fmla="*/ 648 h 688"/>
                    <a:gd name="T120" fmla="*/ 217 w 275"/>
                    <a:gd name="T121" fmla="*/ 671 h 688"/>
                    <a:gd name="T122" fmla="*/ 205 w 275"/>
                    <a:gd name="T123" fmla="*/ 671 h 688"/>
                    <a:gd name="T124" fmla="*/ 195 w 275"/>
                    <a:gd name="T125" fmla="*/ 675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75" h="688">
                      <a:moveTo>
                        <a:pt x="108" y="9"/>
                      </a:moveTo>
                      <a:lnTo>
                        <a:pt x="109" y="11"/>
                      </a:lnTo>
                      <a:lnTo>
                        <a:pt x="110" y="11"/>
                      </a:lnTo>
                      <a:lnTo>
                        <a:pt x="111" y="13"/>
                      </a:lnTo>
                      <a:lnTo>
                        <a:pt x="113" y="14"/>
                      </a:lnTo>
                      <a:lnTo>
                        <a:pt x="115" y="15"/>
                      </a:lnTo>
                      <a:lnTo>
                        <a:pt x="116" y="16"/>
                      </a:lnTo>
                      <a:lnTo>
                        <a:pt x="116" y="17"/>
                      </a:lnTo>
                      <a:lnTo>
                        <a:pt x="117" y="18"/>
                      </a:lnTo>
                      <a:lnTo>
                        <a:pt x="117" y="20"/>
                      </a:lnTo>
                      <a:lnTo>
                        <a:pt x="121" y="26"/>
                      </a:lnTo>
                      <a:lnTo>
                        <a:pt x="124" y="27"/>
                      </a:lnTo>
                      <a:lnTo>
                        <a:pt x="125" y="28"/>
                      </a:lnTo>
                      <a:lnTo>
                        <a:pt x="125" y="29"/>
                      </a:lnTo>
                      <a:lnTo>
                        <a:pt x="128" y="31"/>
                      </a:lnTo>
                      <a:lnTo>
                        <a:pt x="130" y="33"/>
                      </a:lnTo>
                      <a:lnTo>
                        <a:pt x="130" y="33"/>
                      </a:lnTo>
                      <a:lnTo>
                        <a:pt x="131" y="34"/>
                      </a:lnTo>
                      <a:lnTo>
                        <a:pt x="133" y="34"/>
                      </a:lnTo>
                      <a:lnTo>
                        <a:pt x="135" y="36"/>
                      </a:lnTo>
                      <a:lnTo>
                        <a:pt x="137" y="36"/>
                      </a:lnTo>
                      <a:lnTo>
                        <a:pt x="138" y="38"/>
                      </a:lnTo>
                      <a:lnTo>
                        <a:pt x="140" y="41"/>
                      </a:lnTo>
                      <a:lnTo>
                        <a:pt x="142" y="42"/>
                      </a:lnTo>
                      <a:lnTo>
                        <a:pt x="145" y="43"/>
                      </a:lnTo>
                      <a:lnTo>
                        <a:pt x="147" y="43"/>
                      </a:lnTo>
                      <a:lnTo>
                        <a:pt x="149" y="44"/>
                      </a:lnTo>
                      <a:lnTo>
                        <a:pt x="150" y="45"/>
                      </a:lnTo>
                      <a:lnTo>
                        <a:pt x="154" y="47"/>
                      </a:lnTo>
                      <a:lnTo>
                        <a:pt x="158" y="47"/>
                      </a:lnTo>
                      <a:lnTo>
                        <a:pt x="171" y="56"/>
                      </a:lnTo>
                      <a:lnTo>
                        <a:pt x="175" y="57"/>
                      </a:lnTo>
                      <a:lnTo>
                        <a:pt x="177" y="58"/>
                      </a:lnTo>
                      <a:lnTo>
                        <a:pt x="181" y="62"/>
                      </a:lnTo>
                      <a:lnTo>
                        <a:pt x="184" y="62"/>
                      </a:lnTo>
                      <a:lnTo>
                        <a:pt x="188" y="63"/>
                      </a:lnTo>
                      <a:lnTo>
                        <a:pt x="190" y="67"/>
                      </a:lnTo>
                      <a:lnTo>
                        <a:pt x="191" y="65"/>
                      </a:lnTo>
                      <a:lnTo>
                        <a:pt x="194" y="67"/>
                      </a:lnTo>
                      <a:lnTo>
                        <a:pt x="195" y="67"/>
                      </a:lnTo>
                      <a:lnTo>
                        <a:pt x="196" y="68"/>
                      </a:lnTo>
                      <a:lnTo>
                        <a:pt x="200" y="69"/>
                      </a:lnTo>
                      <a:lnTo>
                        <a:pt x="201" y="71"/>
                      </a:lnTo>
                      <a:lnTo>
                        <a:pt x="203" y="73"/>
                      </a:lnTo>
                      <a:lnTo>
                        <a:pt x="205" y="75"/>
                      </a:lnTo>
                      <a:lnTo>
                        <a:pt x="204" y="78"/>
                      </a:lnTo>
                      <a:lnTo>
                        <a:pt x="204" y="78"/>
                      </a:lnTo>
                      <a:lnTo>
                        <a:pt x="203" y="80"/>
                      </a:lnTo>
                      <a:lnTo>
                        <a:pt x="202" y="81"/>
                      </a:lnTo>
                      <a:lnTo>
                        <a:pt x="202" y="81"/>
                      </a:lnTo>
                      <a:lnTo>
                        <a:pt x="202" y="83"/>
                      </a:lnTo>
                      <a:lnTo>
                        <a:pt x="201" y="85"/>
                      </a:lnTo>
                      <a:lnTo>
                        <a:pt x="201" y="87"/>
                      </a:lnTo>
                      <a:lnTo>
                        <a:pt x="201" y="87"/>
                      </a:lnTo>
                      <a:lnTo>
                        <a:pt x="198" y="89"/>
                      </a:lnTo>
                      <a:lnTo>
                        <a:pt x="197" y="90"/>
                      </a:lnTo>
                      <a:lnTo>
                        <a:pt x="196" y="90"/>
                      </a:lnTo>
                      <a:lnTo>
                        <a:pt x="196" y="93"/>
                      </a:lnTo>
                      <a:lnTo>
                        <a:pt x="195" y="96"/>
                      </a:lnTo>
                      <a:lnTo>
                        <a:pt x="196" y="97"/>
                      </a:lnTo>
                      <a:lnTo>
                        <a:pt x="197" y="98"/>
                      </a:lnTo>
                      <a:lnTo>
                        <a:pt x="197" y="101"/>
                      </a:lnTo>
                      <a:lnTo>
                        <a:pt x="196" y="102"/>
                      </a:lnTo>
                      <a:lnTo>
                        <a:pt x="196" y="103"/>
                      </a:lnTo>
                      <a:lnTo>
                        <a:pt x="194" y="103"/>
                      </a:lnTo>
                      <a:lnTo>
                        <a:pt x="195" y="105"/>
                      </a:lnTo>
                      <a:lnTo>
                        <a:pt x="194" y="105"/>
                      </a:lnTo>
                      <a:lnTo>
                        <a:pt x="193" y="105"/>
                      </a:lnTo>
                      <a:lnTo>
                        <a:pt x="193" y="107"/>
                      </a:lnTo>
                      <a:lnTo>
                        <a:pt x="193" y="109"/>
                      </a:lnTo>
                      <a:lnTo>
                        <a:pt x="191" y="109"/>
                      </a:lnTo>
                      <a:lnTo>
                        <a:pt x="190" y="110"/>
                      </a:lnTo>
                      <a:lnTo>
                        <a:pt x="190" y="111"/>
                      </a:lnTo>
                      <a:lnTo>
                        <a:pt x="191" y="114"/>
                      </a:lnTo>
                      <a:lnTo>
                        <a:pt x="196" y="114"/>
                      </a:lnTo>
                      <a:lnTo>
                        <a:pt x="201" y="114"/>
                      </a:lnTo>
                      <a:lnTo>
                        <a:pt x="205" y="114"/>
                      </a:lnTo>
                      <a:lnTo>
                        <a:pt x="209" y="115"/>
                      </a:lnTo>
                      <a:lnTo>
                        <a:pt x="213" y="116"/>
                      </a:lnTo>
                      <a:lnTo>
                        <a:pt x="216" y="117"/>
                      </a:lnTo>
                      <a:lnTo>
                        <a:pt x="218" y="117"/>
                      </a:lnTo>
                      <a:lnTo>
                        <a:pt x="222" y="116"/>
                      </a:lnTo>
                      <a:lnTo>
                        <a:pt x="224" y="117"/>
                      </a:lnTo>
                      <a:lnTo>
                        <a:pt x="225" y="117"/>
                      </a:lnTo>
                      <a:lnTo>
                        <a:pt x="228" y="117"/>
                      </a:lnTo>
                      <a:lnTo>
                        <a:pt x="231" y="120"/>
                      </a:lnTo>
                      <a:lnTo>
                        <a:pt x="233" y="115"/>
                      </a:lnTo>
                      <a:lnTo>
                        <a:pt x="235" y="114"/>
                      </a:lnTo>
                      <a:lnTo>
                        <a:pt x="236" y="114"/>
                      </a:lnTo>
                      <a:lnTo>
                        <a:pt x="238" y="115"/>
                      </a:lnTo>
                      <a:lnTo>
                        <a:pt x="240" y="116"/>
                      </a:lnTo>
                      <a:lnTo>
                        <a:pt x="242" y="116"/>
                      </a:lnTo>
                      <a:lnTo>
                        <a:pt x="244" y="115"/>
                      </a:lnTo>
                      <a:lnTo>
                        <a:pt x="244" y="114"/>
                      </a:lnTo>
                      <a:lnTo>
                        <a:pt x="243" y="111"/>
                      </a:lnTo>
                      <a:lnTo>
                        <a:pt x="244" y="109"/>
                      </a:lnTo>
                      <a:lnTo>
                        <a:pt x="245" y="108"/>
                      </a:lnTo>
                      <a:lnTo>
                        <a:pt x="249" y="105"/>
                      </a:lnTo>
                      <a:lnTo>
                        <a:pt x="251" y="107"/>
                      </a:lnTo>
                      <a:lnTo>
                        <a:pt x="253" y="103"/>
                      </a:lnTo>
                      <a:lnTo>
                        <a:pt x="255" y="101"/>
                      </a:lnTo>
                      <a:lnTo>
                        <a:pt x="256" y="101"/>
                      </a:lnTo>
                      <a:lnTo>
                        <a:pt x="256" y="98"/>
                      </a:lnTo>
                      <a:lnTo>
                        <a:pt x="257" y="96"/>
                      </a:lnTo>
                      <a:lnTo>
                        <a:pt x="257" y="91"/>
                      </a:lnTo>
                      <a:lnTo>
                        <a:pt x="257" y="90"/>
                      </a:lnTo>
                      <a:lnTo>
                        <a:pt x="257" y="87"/>
                      </a:lnTo>
                      <a:lnTo>
                        <a:pt x="257" y="84"/>
                      </a:lnTo>
                      <a:lnTo>
                        <a:pt x="257" y="82"/>
                      </a:lnTo>
                      <a:lnTo>
                        <a:pt x="257" y="80"/>
                      </a:lnTo>
                      <a:lnTo>
                        <a:pt x="257" y="78"/>
                      </a:lnTo>
                      <a:lnTo>
                        <a:pt x="257" y="78"/>
                      </a:lnTo>
                      <a:lnTo>
                        <a:pt x="258" y="78"/>
                      </a:lnTo>
                      <a:lnTo>
                        <a:pt x="263" y="77"/>
                      </a:lnTo>
                      <a:lnTo>
                        <a:pt x="264" y="77"/>
                      </a:lnTo>
                      <a:lnTo>
                        <a:pt x="267" y="77"/>
                      </a:lnTo>
                      <a:lnTo>
                        <a:pt x="270" y="81"/>
                      </a:lnTo>
                      <a:lnTo>
                        <a:pt x="274" y="88"/>
                      </a:lnTo>
                      <a:lnTo>
                        <a:pt x="275" y="101"/>
                      </a:lnTo>
                      <a:lnTo>
                        <a:pt x="275" y="110"/>
                      </a:lnTo>
                      <a:lnTo>
                        <a:pt x="273" y="110"/>
                      </a:lnTo>
                      <a:lnTo>
                        <a:pt x="269" y="113"/>
                      </a:lnTo>
                      <a:lnTo>
                        <a:pt x="267" y="116"/>
                      </a:lnTo>
                      <a:lnTo>
                        <a:pt x="263" y="117"/>
                      </a:lnTo>
                      <a:lnTo>
                        <a:pt x="261" y="118"/>
                      </a:lnTo>
                      <a:lnTo>
                        <a:pt x="257" y="120"/>
                      </a:lnTo>
                      <a:lnTo>
                        <a:pt x="255" y="123"/>
                      </a:lnTo>
                      <a:lnTo>
                        <a:pt x="253" y="124"/>
                      </a:lnTo>
                      <a:lnTo>
                        <a:pt x="250" y="129"/>
                      </a:lnTo>
                      <a:lnTo>
                        <a:pt x="245" y="130"/>
                      </a:lnTo>
                      <a:lnTo>
                        <a:pt x="245" y="135"/>
                      </a:lnTo>
                      <a:lnTo>
                        <a:pt x="242" y="137"/>
                      </a:lnTo>
                      <a:lnTo>
                        <a:pt x="237" y="143"/>
                      </a:lnTo>
                      <a:lnTo>
                        <a:pt x="234" y="150"/>
                      </a:lnTo>
                      <a:lnTo>
                        <a:pt x="224" y="164"/>
                      </a:lnTo>
                      <a:lnTo>
                        <a:pt x="218" y="171"/>
                      </a:lnTo>
                      <a:lnTo>
                        <a:pt x="217" y="175"/>
                      </a:lnTo>
                      <a:lnTo>
                        <a:pt x="217" y="174"/>
                      </a:lnTo>
                      <a:lnTo>
                        <a:pt x="217" y="175"/>
                      </a:lnTo>
                      <a:lnTo>
                        <a:pt x="214" y="180"/>
                      </a:lnTo>
                      <a:lnTo>
                        <a:pt x="214" y="182"/>
                      </a:lnTo>
                      <a:lnTo>
                        <a:pt x="215" y="183"/>
                      </a:lnTo>
                      <a:lnTo>
                        <a:pt x="216" y="188"/>
                      </a:lnTo>
                      <a:lnTo>
                        <a:pt x="214" y="188"/>
                      </a:lnTo>
                      <a:lnTo>
                        <a:pt x="216" y="191"/>
                      </a:lnTo>
                      <a:lnTo>
                        <a:pt x="216" y="195"/>
                      </a:lnTo>
                      <a:lnTo>
                        <a:pt x="214" y="196"/>
                      </a:lnTo>
                      <a:lnTo>
                        <a:pt x="214" y="200"/>
                      </a:lnTo>
                      <a:lnTo>
                        <a:pt x="215" y="201"/>
                      </a:lnTo>
                      <a:lnTo>
                        <a:pt x="215" y="205"/>
                      </a:lnTo>
                      <a:lnTo>
                        <a:pt x="213" y="207"/>
                      </a:lnTo>
                      <a:lnTo>
                        <a:pt x="214" y="209"/>
                      </a:lnTo>
                      <a:lnTo>
                        <a:pt x="214" y="212"/>
                      </a:lnTo>
                      <a:lnTo>
                        <a:pt x="215" y="215"/>
                      </a:lnTo>
                      <a:lnTo>
                        <a:pt x="215" y="220"/>
                      </a:lnTo>
                      <a:lnTo>
                        <a:pt x="214" y="220"/>
                      </a:lnTo>
                      <a:lnTo>
                        <a:pt x="216" y="228"/>
                      </a:lnTo>
                      <a:lnTo>
                        <a:pt x="217" y="230"/>
                      </a:lnTo>
                      <a:lnTo>
                        <a:pt x="216" y="232"/>
                      </a:lnTo>
                      <a:lnTo>
                        <a:pt x="213" y="232"/>
                      </a:lnTo>
                      <a:lnTo>
                        <a:pt x="214" y="235"/>
                      </a:lnTo>
                      <a:lnTo>
                        <a:pt x="213" y="238"/>
                      </a:lnTo>
                      <a:lnTo>
                        <a:pt x="214" y="245"/>
                      </a:lnTo>
                      <a:lnTo>
                        <a:pt x="216" y="250"/>
                      </a:lnTo>
                      <a:lnTo>
                        <a:pt x="216" y="251"/>
                      </a:lnTo>
                      <a:lnTo>
                        <a:pt x="217" y="254"/>
                      </a:lnTo>
                      <a:lnTo>
                        <a:pt x="218" y="256"/>
                      </a:lnTo>
                      <a:lnTo>
                        <a:pt x="217" y="256"/>
                      </a:lnTo>
                      <a:lnTo>
                        <a:pt x="215" y="257"/>
                      </a:lnTo>
                      <a:lnTo>
                        <a:pt x="217" y="261"/>
                      </a:lnTo>
                      <a:lnTo>
                        <a:pt x="218" y="263"/>
                      </a:lnTo>
                      <a:lnTo>
                        <a:pt x="220" y="263"/>
                      </a:lnTo>
                      <a:lnTo>
                        <a:pt x="221" y="262"/>
                      </a:lnTo>
                      <a:lnTo>
                        <a:pt x="222" y="264"/>
                      </a:lnTo>
                      <a:lnTo>
                        <a:pt x="223" y="264"/>
                      </a:lnTo>
                      <a:lnTo>
                        <a:pt x="224" y="267"/>
                      </a:lnTo>
                      <a:lnTo>
                        <a:pt x="227" y="267"/>
                      </a:lnTo>
                      <a:lnTo>
                        <a:pt x="228" y="268"/>
                      </a:lnTo>
                      <a:lnTo>
                        <a:pt x="228" y="269"/>
                      </a:lnTo>
                      <a:lnTo>
                        <a:pt x="230" y="269"/>
                      </a:lnTo>
                      <a:lnTo>
                        <a:pt x="234" y="269"/>
                      </a:lnTo>
                      <a:lnTo>
                        <a:pt x="235" y="270"/>
                      </a:lnTo>
                      <a:lnTo>
                        <a:pt x="235" y="271"/>
                      </a:lnTo>
                      <a:lnTo>
                        <a:pt x="236" y="272"/>
                      </a:lnTo>
                      <a:lnTo>
                        <a:pt x="238" y="272"/>
                      </a:lnTo>
                      <a:lnTo>
                        <a:pt x="240" y="272"/>
                      </a:lnTo>
                      <a:lnTo>
                        <a:pt x="241" y="274"/>
                      </a:lnTo>
                      <a:lnTo>
                        <a:pt x="243" y="276"/>
                      </a:lnTo>
                      <a:lnTo>
                        <a:pt x="243" y="276"/>
                      </a:lnTo>
                      <a:lnTo>
                        <a:pt x="244" y="276"/>
                      </a:lnTo>
                      <a:lnTo>
                        <a:pt x="247" y="278"/>
                      </a:lnTo>
                      <a:lnTo>
                        <a:pt x="247" y="277"/>
                      </a:lnTo>
                      <a:lnTo>
                        <a:pt x="248" y="281"/>
                      </a:lnTo>
                      <a:lnTo>
                        <a:pt x="249" y="283"/>
                      </a:lnTo>
                      <a:lnTo>
                        <a:pt x="247" y="283"/>
                      </a:lnTo>
                      <a:lnTo>
                        <a:pt x="245" y="283"/>
                      </a:lnTo>
                      <a:lnTo>
                        <a:pt x="244" y="285"/>
                      </a:lnTo>
                      <a:lnTo>
                        <a:pt x="244" y="287"/>
                      </a:lnTo>
                      <a:lnTo>
                        <a:pt x="243" y="288"/>
                      </a:lnTo>
                      <a:lnTo>
                        <a:pt x="242" y="289"/>
                      </a:lnTo>
                      <a:lnTo>
                        <a:pt x="244" y="290"/>
                      </a:lnTo>
                      <a:lnTo>
                        <a:pt x="245" y="290"/>
                      </a:lnTo>
                      <a:lnTo>
                        <a:pt x="245" y="292"/>
                      </a:lnTo>
                      <a:lnTo>
                        <a:pt x="249" y="294"/>
                      </a:lnTo>
                      <a:lnTo>
                        <a:pt x="249" y="295"/>
                      </a:lnTo>
                      <a:lnTo>
                        <a:pt x="250" y="296"/>
                      </a:lnTo>
                      <a:lnTo>
                        <a:pt x="253" y="297"/>
                      </a:lnTo>
                      <a:lnTo>
                        <a:pt x="255" y="297"/>
                      </a:lnTo>
                      <a:lnTo>
                        <a:pt x="254" y="297"/>
                      </a:lnTo>
                      <a:lnTo>
                        <a:pt x="253" y="298"/>
                      </a:lnTo>
                      <a:lnTo>
                        <a:pt x="251" y="300"/>
                      </a:lnTo>
                      <a:lnTo>
                        <a:pt x="254" y="300"/>
                      </a:lnTo>
                      <a:lnTo>
                        <a:pt x="257" y="297"/>
                      </a:lnTo>
                      <a:lnTo>
                        <a:pt x="256" y="298"/>
                      </a:lnTo>
                      <a:lnTo>
                        <a:pt x="258" y="301"/>
                      </a:lnTo>
                      <a:lnTo>
                        <a:pt x="258" y="301"/>
                      </a:lnTo>
                      <a:lnTo>
                        <a:pt x="258" y="302"/>
                      </a:lnTo>
                      <a:lnTo>
                        <a:pt x="260" y="303"/>
                      </a:lnTo>
                      <a:lnTo>
                        <a:pt x="260" y="304"/>
                      </a:lnTo>
                      <a:lnTo>
                        <a:pt x="261" y="305"/>
                      </a:lnTo>
                      <a:lnTo>
                        <a:pt x="261" y="307"/>
                      </a:lnTo>
                      <a:lnTo>
                        <a:pt x="260" y="309"/>
                      </a:lnTo>
                      <a:lnTo>
                        <a:pt x="260" y="310"/>
                      </a:lnTo>
                      <a:lnTo>
                        <a:pt x="260" y="312"/>
                      </a:lnTo>
                      <a:lnTo>
                        <a:pt x="258" y="315"/>
                      </a:lnTo>
                      <a:lnTo>
                        <a:pt x="258" y="316"/>
                      </a:lnTo>
                      <a:lnTo>
                        <a:pt x="255" y="316"/>
                      </a:lnTo>
                      <a:lnTo>
                        <a:pt x="256" y="317"/>
                      </a:lnTo>
                      <a:lnTo>
                        <a:pt x="256" y="320"/>
                      </a:lnTo>
                      <a:lnTo>
                        <a:pt x="255" y="321"/>
                      </a:lnTo>
                      <a:lnTo>
                        <a:pt x="255" y="322"/>
                      </a:lnTo>
                      <a:lnTo>
                        <a:pt x="253" y="323"/>
                      </a:lnTo>
                      <a:lnTo>
                        <a:pt x="253" y="324"/>
                      </a:lnTo>
                      <a:lnTo>
                        <a:pt x="251" y="325"/>
                      </a:lnTo>
                      <a:lnTo>
                        <a:pt x="249" y="327"/>
                      </a:lnTo>
                      <a:lnTo>
                        <a:pt x="250" y="328"/>
                      </a:lnTo>
                      <a:lnTo>
                        <a:pt x="249" y="329"/>
                      </a:lnTo>
                      <a:lnTo>
                        <a:pt x="251" y="331"/>
                      </a:lnTo>
                      <a:lnTo>
                        <a:pt x="250" y="332"/>
                      </a:lnTo>
                      <a:lnTo>
                        <a:pt x="249" y="334"/>
                      </a:lnTo>
                      <a:lnTo>
                        <a:pt x="249" y="336"/>
                      </a:lnTo>
                      <a:lnTo>
                        <a:pt x="248" y="338"/>
                      </a:lnTo>
                      <a:lnTo>
                        <a:pt x="245" y="338"/>
                      </a:lnTo>
                      <a:lnTo>
                        <a:pt x="243" y="339"/>
                      </a:lnTo>
                      <a:lnTo>
                        <a:pt x="243" y="342"/>
                      </a:lnTo>
                      <a:lnTo>
                        <a:pt x="241" y="342"/>
                      </a:lnTo>
                      <a:lnTo>
                        <a:pt x="238" y="343"/>
                      </a:lnTo>
                      <a:lnTo>
                        <a:pt x="237" y="344"/>
                      </a:lnTo>
                      <a:lnTo>
                        <a:pt x="236" y="343"/>
                      </a:lnTo>
                      <a:lnTo>
                        <a:pt x="233" y="343"/>
                      </a:lnTo>
                      <a:lnTo>
                        <a:pt x="233" y="345"/>
                      </a:lnTo>
                      <a:lnTo>
                        <a:pt x="230" y="345"/>
                      </a:lnTo>
                      <a:lnTo>
                        <a:pt x="228" y="345"/>
                      </a:lnTo>
                      <a:lnTo>
                        <a:pt x="227" y="345"/>
                      </a:lnTo>
                      <a:lnTo>
                        <a:pt x="224" y="345"/>
                      </a:lnTo>
                      <a:lnTo>
                        <a:pt x="223" y="348"/>
                      </a:lnTo>
                      <a:lnTo>
                        <a:pt x="221" y="348"/>
                      </a:lnTo>
                      <a:lnTo>
                        <a:pt x="218" y="348"/>
                      </a:lnTo>
                      <a:lnTo>
                        <a:pt x="217" y="348"/>
                      </a:lnTo>
                      <a:lnTo>
                        <a:pt x="214" y="348"/>
                      </a:lnTo>
                      <a:lnTo>
                        <a:pt x="211" y="350"/>
                      </a:lnTo>
                      <a:lnTo>
                        <a:pt x="207" y="350"/>
                      </a:lnTo>
                      <a:lnTo>
                        <a:pt x="204" y="350"/>
                      </a:lnTo>
                      <a:lnTo>
                        <a:pt x="202" y="350"/>
                      </a:lnTo>
                      <a:lnTo>
                        <a:pt x="198" y="351"/>
                      </a:lnTo>
                      <a:lnTo>
                        <a:pt x="196" y="350"/>
                      </a:lnTo>
                      <a:lnTo>
                        <a:pt x="194" y="351"/>
                      </a:lnTo>
                      <a:lnTo>
                        <a:pt x="191" y="351"/>
                      </a:lnTo>
                      <a:lnTo>
                        <a:pt x="188" y="351"/>
                      </a:lnTo>
                      <a:lnTo>
                        <a:pt x="188" y="354"/>
                      </a:lnTo>
                      <a:lnTo>
                        <a:pt x="187" y="351"/>
                      </a:lnTo>
                      <a:lnTo>
                        <a:pt x="184" y="354"/>
                      </a:lnTo>
                      <a:lnTo>
                        <a:pt x="182" y="351"/>
                      </a:lnTo>
                      <a:lnTo>
                        <a:pt x="181" y="354"/>
                      </a:lnTo>
                      <a:lnTo>
                        <a:pt x="178" y="350"/>
                      </a:lnTo>
                      <a:lnTo>
                        <a:pt x="176" y="352"/>
                      </a:lnTo>
                      <a:lnTo>
                        <a:pt x="174" y="350"/>
                      </a:lnTo>
                      <a:lnTo>
                        <a:pt x="171" y="350"/>
                      </a:lnTo>
                      <a:lnTo>
                        <a:pt x="171" y="351"/>
                      </a:lnTo>
                      <a:lnTo>
                        <a:pt x="171" y="352"/>
                      </a:lnTo>
                      <a:lnTo>
                        <a:pt x="173" y="352"/>
                      </a:lnTo>
                      <a:lnTo>
                        <a:pt x="174" y="355"/>
                      </a:lnTo>
                      <a:lnTo>
                        <a:pt x="175" y="355"/>
                      </a:lnTo>
                      <a:lnTo>
                        <a:pt x="176" y="356"/>
                      </a:lnTo>
                      <a:lnTo>
                        <a:pt x="178" y="356"/>
                      </a:lnTo>
                      <a:lnTo>
                        <a:pt x="180" y="356"/>
                      </a:lnTo>
                      <a:lnTo>
                        <a:pt x="182" y="356"/>
                      </a:lnTo>
                      <a:lnTo>
                        <a:pt x="182" y="357"/>
                      </a:lnTo>
                      <a:lnTo>
                        <a:pt x="182" y="359"/>
                      </a:lnTo>
                      <a:lnTo>
                        <a:pt x="183" y="361"/>
                      </a:lnTo>
                      <a:lnTo>
                        <a:pt x="184" y="363"/>
                      </a:lnTo>
                      <a:lnTo>
                        <a:pt x="184" y="364"/>
                      </a:lnTo>
                      <a:lnTo>
                        <a:pt x="184" y="365"/>
                      </a:lnTo>
                      <a:lnTo>
                        <a:pt x="185" y="367"/>
                      </a:lnTo>
                      <a:lnTo>
                        <a:pt x="183" y="368"/>
                      </a:lnTo>
                      <a:lnTo>
                        <a:pt x="182" y="369"/>
                      </a:lnTo>
                      <a:lnTo>
                        <a:pt x="181" y="371"/>
                      </a:lnTo>
                      <a:lnTo>
                        <a:pt x="181" y="374"/>
                      </a:lnTo>
                      <a:lnTo>
                        <a:pt x="183" y="376"/>
                      </a:lnTo>
                      <a:lnTo>
                        <a:pt x="182" y="377"/>
                      </a:lnTo>
                      <a:lnTo>
                        <a:pt x="182" y="379"/>
                      </a:lnTo>
                      <a:lnTo>
                        <a:pt x="184" y="382"/>
                      </a:lnTo>
                      <a:lnTo>
                        <a:pt x="185" y="383"/>
                      </a:lnTo>
                      <a:lnTo>
                        <a:pt x="187" y="384"/>
                      </a:lnTo>
                      <a:lnTo>
                        <a:pt x="187" y="388"/>
                      </a:lnTo>
                      <a:lnTo>
                        <a:pt x="187" y="389"/>
                      </a:lnTo>
                      <a:lnTo>
                        <a:pt x="185" y="390"/>
                      </a:lnTo>
                      <a:lnTo>
                        <a:pt x="183" y="391"/>
                      </a:lnTo>
                      <a:lnTo>
                        <a:pt x="182" y="391"/>
                      </a:lnTo>
                      <a:lnTo>
                        <a:pt x="181" y="392"/>
                      </a:lnTo>
                      <a:lnTo>
                        <a:pt x="180" y="395"/>
                      </a:lnTo>
                      <a:lnTo>
                        <a:pt x="176" y="396"/>
                      </a:lnTo>
                      <a:lnTo>
                        <a:pt x="175" y="396"/>
                      </a:lnTo>
                      <a:lnTo>
                        <a:pt x="173" y="396"/>
                      </a:lnTo>
                      <a:lnTo>
                        <a:pt x="171" y="396"/>
                      </a:lnTo>
                      <a:lnTo>
                        <a:pt x="169" y="396"/>
                      </a:lnTo>
                      <a:lnTo>
                        <a:pt x="167" y="396"/>
                      </a:lnTo>
                      <a:lnTo>
                        <a:pt x="164" y="395"/>
                      </a:lnTo>
                      <a:lnTo>
                        <a:pt x="163" y="395"/>
                      </a:lnTo>
                      <a:lnTo>
                        <a:pt x="160" y="391"/>
                      </a:lnTo>
                      <a:lnTo>
                        <a:pt x="157" y="392"/>
                      </a:lnTo>
                      <a:lnTo>
                        <a:pt x="155" y="390"/>
                      </a:lnTo>
                      <a:lnTo>
                        <a:pt x="154" y="390"/>
                      </a:lnTo>
                      <a:lnTo>
                        <a:pt x="150" y="389"/>
                      </a:lnTo>
                      <a:lnTo>
                        <a:pt x="150" y="389"/>
                      </a:lnTo>
                      <a:lnTo>
                        <a:pt x="150" y="389"/>
                      </a:lnTo>
                      <a:lnTo>
                        <a:pt x="148" y="388"/>
                      </a:lnTo>
                      <a:lnTo>
                        <a:pt x="145" y="388"/>
                      </a:lnTo>
                      <a:lnTo>
                        <a:pt x="142" y="388"/>
                      </a:lnTo>
                      <a:lnTo>
                        <a:pt x="142" y="389"/>
                      </a:lnTo>
                      <a:lnTo>
                        <a:pt x="140" y="390"/>
                      </a:lnTo>
                      <a:lnTo>
                        <a:pt x="142" y="390"/>
                      </a:lnTo>
                      <a:lnTo>
                        <a:pt x="141" y="389"/>
                      </a:lnTo>
                      <a:lnTo>
                        <a:pt x="138" y="389"/>
                      </a:lnTo>
                      <a:lnTo>
                        <a:pt x="137" y="389"/>
                      </a:lnTo>
                      <a:lnTo>
                        <a:pt x="138" y="390"/>
                      </a:lnTo>
                      <a:lnTo>
                        <a:pt x="138" y="392"/>
                      </a:lnTo>
                      <a:lnTo>
                        <a:pt x="141" y="394"/>
                      </a:lnTo>
                      <a:lnTo>
                        <a:pt x="140" y="396"/>
                      </a:lnTo>
                      <a:lnTo>
                        <a:pt x="143" y="395"/>
                      </a:lnTo>
                      <a:lnTo>
                        <a:pt x="142" y="396"/>
                      </a:lnTo>
                      <a:lnTo>
                        <a:pt x="142" y="397"/>
                      </a:lnTo>
                      <a:lnTo>
                        <a:pt x="141" y="398"/>
                      </a:lnTo>
                      <a:lnTo>
                        <a:pt x="143" y="399"/>
                      </a:lnTo>
                      <a:lnTo>
                        <a:pt x="145" y="399"/>
                      </a:lnTo>
                      <a:lnTo>
                        <a:pt x="145" y="401"/>
                      </a:lnTo>
                      <a:lnTo>
                        <a:pt x="143" y="402"/>
                      </a:lnTo>
                      <a:lnTo>
                        <a:pt x="144" y="403"/>
                      </a:lnTo>
                      <a:lnTo>
                        <a:pt x="148" y="403"/>
                      </a:lnTo>
                      <a:lnTo>
                        <a:pt x="147" y="405"/>
                      </a:lnTo>
                      <a:lnTo>
                        <a:pt x="147" y="407"/>
                      </a:lnTo>
                      <a:lnTo>
                        <a:pt x="145" y="408"/>
                      </a:lnTo>
                      <a:lnTo>
                        <a:pt x="147" y="409"/>
                      </a:lnTo>
                      <a:lnTo>
                        <a:pt x="149" y="410"/>
                      </a:lnTo>
                      <a:lnTo>
                        <a:pt x="148" y="412"/>
                      </a:lnTo>
                      <a:lnTo>
                        <a:pt x="148" y="414"/>
                      </a:lnTo>
                      <a:lnTo>
                        <a:pt x="150" y="414"/>
                      </a:lnTo>
                      <a:lnTo>
                        <a:pt x="150" y="414"/>
                      </a:lnTo>
                      <a:lnTo>
                        <a:pt x="153" y="416"/>
                      </a:lnTo>
                      <a:lnTo>
                        <a:pt x="155" y="416"/>
                      </a:lnTo>
                      <a:lnTo>
                        <a:pt x="155" y="417"/>
                      </a:lnTo>
                      <a:lnTo>
                        <a:pt x="156" y="417"/>
                      </a:lnTo>
                      <a:lnTo>
                        <a:pt x="156" y="418"/>
                      </a:lnTo>
                      <a:lnTo>
                        <a:pt x="155" y="421"/>
                      </a:lnTo>
                      <a:lnTo>
                        <a:pt x="155" y="422"/>
                      </a:lnTo>
                      <a:lnTo>
                        <a:pt x="154" y="424"/>
                      </a:lnTo>
                      <a:lnTo>
                        <a:pt x="156" y="424"/>
                      </a:lnTo>
                      <a:lnTo>
                        <a:pt x="158" y="423"/>
                      </a:lnTo>
                      <a:lnTo>
                        <a:pt x="162" y="424"/>
                      </a:lnTo>
                      <a:lnTo>
                        <a:pt x="162" y="422"/>
                      </a:lnTo>
                      <a:lnTo>
                        <a:pt x="162" y="421"/>
                      </a:lnTo>
                      <a:lnTo>
                        <a:pt x="162" y="421"/>
                      </a:lnTo>
                      <a:lnTo>
                        <a:pt x="157" y="421"/>
                      </a:lnTo>
                      <a:lnTo>
                        <a:pt x="158" y="418"/>
                      </a:lnTo>
                      <a:lnTo>
                        <a:pt x="163" y="418"/>
                      </a:lnTo>
                      <a:lnTo>
                        <a:pt x="162" y="416"/>
                      </a:lnTo>
                      <a:lnTo>
                        <a:pt x="163" y="416"/>
                      </a:lnTo>
                      <a:lnTo>
                        <a:pt x="165" y="416"/>
                      </a:lnTo>
                      <a:lnTo>
                        <a:pt x="167" y="414"/>
                      </a:lnTo>
                      <a:lnTo>
                        <a:pt x="168" y="412"/>
                      </a:lnTo>
                      <a:lnTo>
                        <a:pt x="169" y="414"/>
                      </a:lnTo>
                      <a:lnTo>
                        <a:pt x="170" y="415"/>
                      </a:lnTo>
                      <a:lnTo>
                        <a:pt x="171" y="416"/>
                      </a:lnTo>
                      <a:lnTo>
                        <a:pt x="174" y="416"/>
                      </a:lnTo>
                      <a:lnTo>
                        <a:pt x="174" y="418"/>
                      </a:lnTo>
                      <a:lnTo>
                        <a:pt x="175" y="419"/>
                      </a:lnTo>
                      <a:lnTo>
                        <a:pt x="175" y="422"/>
                      </a:lnTo>
                      <a:lnTo>
                        <a:pt x="174" y="424"/>
                      </a:lnTo>
                      <a:lnTo>
                        <a:pt x="173" y="424"/>
                      </a:lnTo>
                      <a:lnTo>
                        <a:pt x="175" y="425"/>
                      </a:lnTo>
                      <a:lnTo>
                        <a:pt x="176" y="428"/>
                      </a:lnTo>
                      <a:lnTo>
                        <a:pt x="174" y="428"/>
                      </a:lnTo>
                      <a:lnTo>
                        <a:pt x="171" y="431"/>
                      </a:lnTo>
                      <a:lnTo>
                        <a:pt x="169" y="431"/>
                      </a:lnTo>
                      <a:lnTo>
                        <a:pt x="165" y="431"/>
                      </a:lnTo>
                      <a:lnTo>
                        <a:pt x="167" y="431"/>
                      </a:lnTo>
                      <a:lnTo>
                        <a:pt x="167" y="430"/>
                      </a:lnTo>
                      <a:lnTo>
                        <a:pt x="165" y="429"/>
                      </a:lnTo>
                      <a:lnTo>
                        <a:pt x="164" y="427"/>
                      </a:lnTo>
                      <a:lnTo>
                        <a:pt x="162" y="427"/>
                      </a:lnTo>
                      <a:lnTo>
                        <a:pt x="160" y="424"/>
                      </a:lnTo>
                      <a:lnTo>
                        <a:pt x="154" y="425"/>
                      </a:lnTo>
                      <a:lnTo>
                        <a:pt x="153" y="428"/>
                      </a:lnTo>
                      <a:lnTo>
                        <a:pt x="155" y="428"/>
                      </a:lnTo>
                      <a:lnTo>
                        <a:pt x="157" y="428"/>
                      </a:lnTo>
                      <a:lnTo>
                        <a:pt x="160" y="428"/>
                      </a:lnTo>
                      <a:lnTo>
                        <a:pt x="160" y="429"/>
                      </a:lnTo>
                      <a:lnTo>
                        <a:pt x="162" y="430"/>
                      </a:lnTo>
                      <a:lnTo>
                        <a:pt x="164" y="431"/>
                      </a:lnTo>
                      <a:lnTo>
                        <a:pt x="164" y="434"/>
                      </a:lnTo>
                      <a:lnTo>
                        <a:pt x="163" y="435"/>
                      </a:lnTo>
                      <a:lnTo>
                        <a:pt x="162" y="436"/>
                      </a:lnTo>
                      <a:lnTo>
                        <a:pt x="161" y="437"/>
                      </a:lnTo>
                      <a:lnTo>
                        <a:pt x="160" y="437"/>
                      </a:lnTo>
                      <a:lnTo>
                        <a:pt x="158" y="437"/>
                      </a:lnTo>
                      <a:lnTo>
                        <a:pt x="155" y="437"/>
                      </a:lnTo>
                      <a:lnTo>
                        <a:pt x="156" y="439"/>
                      </a:lnTo>
                      <a:lnTo>
                        <a:pt x="156" y="443"/>
                      </a:lnTo>
                      <a:lnTo>
                        <a:pt x="155" y="444"/>
                      </a:lnTo>
                      <a:lnTo>
                        <a:pt x="156" y="445"/>
                      </a:lnTo>
                      <a:lnTo>
                        <a:pt x="156" y="448"/>
                      </a:lnTo>
                      <a:lnTo>
                        <a:pt x="156" y="449"/>
                      </a:lnTo>
                      <a:lnTo>
                        <a:pt x="155" y="450"/>
                      </a:lnTo>
                      <a:lnTo>
                        <a:pt x="158" y="452"/>
                      </a:lnTo>
                      <a:lnTo>
                        <a:pt x="157" y="454"/>
                      </a:lnTo>
                      <a:lnTo>
                        <a:pt x="157" y="454"/>
                      </a:lnTo>
                      <a:lnTo>
                        <a:pt x="158" y="457"/>
                      </a:lnTo>
                      <a:lnTo>
                        <a:pt x="160" y="458"/>
                      </a:lnTo>
                      <a:lnTo>
                        <a:pt x="161" y="459"/>
                      </a:lnTo>
                      <a:lnTo>
                        <a:pt x="161" y="462"/>
                      </a:lnTo>
                      <a:lnTo>
                        <a:pt x="158" y="463"/>
                      </a:lnTo>
                      <a:lnTo>
                        <a:pt x="158" y="465"/>
                      </a:lnTo>
                      <a:lnTo>
                        <a:pt x="158" y="467"/>
                      </a:lnTo>
                      <a:lnTo>
                        <a:pt x="155" y="467"/>
                      </a:lnTo>
                      <a:lnTo>
                        <a:pt x="158" y="471"/>
                      </a:lnTo>
                      <a:lnTo>
                        <a:pt x="158" y="472"/>
                      </a:lnTo>
                      <a:lnTo>
                        <a:pt x="158" y="475"/>
                      </a:lnTo>
                      <a:lnTo>
                        <a:pt x="156" y="472"/>
                      </a:lnTo>
                      <a:lnTo>
                        <a:pt x="156" y="474"/>
                      </a:lnTo>
                      <a:lnTo>
                        <a:pt x="154" y="476"/>
                      </a:lnTo>
                      <a:lnTo>
                        <a:pt x="153" y="476"/>
                      </a:lnTo>
                      <a:lnTo>
                        <a:pt x="151" y="476"/>
                      </a:lnTo>
                      <a:lnTo>
                        <a:pt x="150" y="476"/>
                      </a:lnTo>
                      <a:lnTo>
                        <a:pt x="149" y="476"/>
                      </a:lnTo>
                      <a:lnTo>
                        <a:pt x="149" y="476"/>
                      </a:lnTo>
                      <a:lnTo>
                        <a:pt x="147" y="475"/>
                      </a:lnTo>
                      <a:lnTo>
                        <a:pt x="145" y="477"/>
                      </a:lnTo>
                      <a:lnTo>
                        <a:pt x="142" y="477"/>
                      </a:lnTo>
                      <a:lnTo>
                        <a:pt x="141" y="478"/>
                      </a:lnTo>
                      <a:lnTo>
                        <a:pt x="138" y="477"/>
                      </a:lnTo>
                      <a:lnTo>
                        <a:pt x="140" y="478"/>
                      </a:lnTo>
                      <a:lnTo>
                        <a:pt x="140" y="479"/>
                      </a:lnTo>
                      <a:lnTo>
                        <a:pt x="137" y="479"/>
                      </a:lnTo>
                      <a:lnTo>
                        <a:pt x="138" y="481"/>
                      </a:lnTo>
                      <a:lnTo>
                        <a:pt x="136" y="483"/>
                      </a:lnTo>
                      <a:lnTo>
                        <a:pt x="136" y="484"/>
                      </a:lnTo>
                      <a:lnTo>
                        <a:pt x="135" y="485"/>
                      </a:lnTo>
                      <a:lnTo>
                        <a:pt x="134" y="489"/>
                      </a:lnTo>
                      <a:lnTo>
                        <a:pt x="133" y="490"/>
                      </a:lnTo>
                      <a:lnTo>
                        <a:pt x="133" y="492"/>
                      </a:lnTo>
                      <a:lnTo>
                        <a:pt x="130" y="495"/>
                      </a:lnTo>
                      <a:lnTo>
                        <a:pt x="131" y="496"/>
                      </a:lnTo>
                      <a:lnTo>
                        <a:pt x="133" y="498"/>
                      </a:lnTo>
                      <a:lnTo>
                        <a:pt x="134" y="501"/>
                      </a:lnTo>
                      <a:lnTo>
                        <a:pt x="133" y="502"/>
                      </a:lnTo>
                      <a:lnTo>
                        <a:pt x="135" y="503"/>
                      </a:lnTo>
                      <a:lnTo>
                        <a:pt x="136" y="504"/>
                      </a:lnTo>
                      <a:lnTo>
                        <a:pt x="137" y="505"/>
                      </a:lnTo>
                      <a:lnTo>
                        <a:pt x="140" y="506"/>
                      </a:lnTo>
                      <a:lnTo>
                        <a:pt x="141" y="508"/>
                      </a:lnTo>
                      <a:lnTo>
                        <a:pt x="143" y="510"/>
                      </a:lnTo>
                      <a:lnTo>
                        <a:pt x="143" y="512"/>
                      </a:lnTo>
                      <a:lnTo>
                        <a:pt x="147" y="511"/>
                      </a:lnTo>
                      <a:lnTo>
                        <a:pt x="148" y="514"/>
                      </a:lnTo>
                      <a:lnTo>
                        <a:pt x="149" y="514"/>
                      </a:lnTo>
                      <a:lnTo>
                        <a:pt x="151" y="514"/>
                      </a:lnTo>
                      <a:lnTo>
                        <a:pt x="153" y="516"/>
                      </a:lnTo>
                      <a:lnTo>
                        <a:pt x="155" y="516"/>
                      </a:lnTo>
                      <a:lnTo>
                        <a:pt x="157" y="516"/>
                      </a:lnTo>
                      <a:lnTo>
                        <a:pt x="158" y="517"/>
                      </a:lnTo>
                      <a:lnTo>
                        <a:pt x="162" y="516"/>
                      </a:lnTo>
                      <a:lnTo>
                        <a:pt x="163" y="517"/>
                      </a:lnTo>
                      <a:lnTo>
                        <a:pt x="165" y="518"/>
                      </a:lnTo>
                      <a:lnTo>
                        <a:pt x="168" y="519"/>
                      </a:lnTo>
                      <a:lnTo>
                        <a:pt x="167" y="519"/>
                      </a:lnTo>
                      <a:lnTo>
                        <a:pt x="169" y="522"/>
                      </a:lnTo>
                      <a:lnTo>
                        <a:pt x="170" y="524"/>
                      </a:lnTo>
                      <a:lnTo>
                        <a:pt x="170" y="528"/>
                      </a:lnTo>
                      <a:lnTo>
                        <a:pt x="170" y="529"/>
                      </a:lnTo>
                      <a:lnTo>
                        <a:pt x="170" y="531"/>
                      </a:lnTo>
                      <a:lnTo>
                        <a:pt x="170" y="531"/>
                      </a:lnTo>
                      <a:lnTo>
                        <a:pt x="163" y="532"/>
                      </a:lnTo>
                      <a:lnTo>
                        <a:pt x="161" y="532"/>
                      </a:lnTo>
                      <a:lnTo>
                        <a:pt x="160" y="534"/>
                      </a:lnTo>
                      <a:lnTo>
                        <a:pt x="165" y="532"/>
                      </a:lnTo>
                      <a:lnTo>
                        <a:pt x="167" y="532"/>
                      </a:lnTo>
                      <a:lnTo>
                        <a:pt x="171" y="532"/>
                      </a:lnTo>
                      <a:lnTo>
                        <a:pt x="173" y="532"/>
                      </a:lnTo>
                      <a:lnTo>
                        <a:pt x="171" y="535"/>
                      </a:lnTo>
                      <a:lnTo>
                        <a:pt x="173" y="536"/>
                      </a:lnTo>
                      <a:lnTo>
                        <a:pt x="171" y="536"/>
                      </a:lnTo>
                      <a:lnTo>
                        <a:pt x="170" y="537"/>
                      </a:lnTo>
                      <a:lnTo>
                        <a:pt x="169" y="538"/>
                      </a:lnTo>
                      <a:lnTo>
                        <a:pt x="168" y="539"/>
                      </a:lnTo>
                      <a:lnTo>
                        <a:pt x="167" y="541"/>
                      </a:lnTo>
                      <a:lnTo>
                        <a:pt x="164" y="543"/>
                      </a:lnTo>
                      <a:lnTo>
                        <a:pt x="163" y="545"/>
                      </a:lnTo>
                      <a:lnTo>
                        <a:pt x="161" y="545"/>
                      </a:lnTo>
                      <a:lnTo>
                        <a:pt x="157" y="549"/>
                      </a:lnTo>
                      <a:lnTo>
                        <a:pt x="156" y="551"/>
                      </a:lnTo>
                      <a:lnTo>
                        <a:pt x="155" y="554"/>
                      </a:lnTo>
                      <a:lnTo>
                        <a:pt x="153" y="556"/>
                      </a:lnTo>
                      <a:lnTo>
                        <a:pt x="153" y="558"/>
                      </a:lnTo>
                      <a:lnTo>
                        <a:pt x="149" y="559"/>
                      </a:lnTo>
                      <a:lnTo>
                        <a:pt x="149" y="562"/>
                      </a:lnTo>
                      <a:lnTo>
                        <a:pt x="148" y="563"/>
                      </a:lnTo>
                      <a:lnTo>
                        <a:pt x="148" y="564"/>
                      </a:lnTo>
                      <a:lnTo>
                        <a:pt x="149" y="562"/>
                      </a:lnTo>
                      <a:lnTo>
                        <a:pt x="150" y="562"/>
                      </a:lnTo>
                      <a:lnTo>
                        <a:pt x="153" y="562"/>
                      </a:lnTo>
                      <a:lnTo>
                        <a:pt x="154" y="563"/>
                      </a:lnTo>
                      <a:lnTo>
                        <a:pt x="154" y="565"/>
                      </a:lnTo>
                      <a:lnTo>
                        <a:pt x="153" y="566"/>
                      </a:lnTo>
                      <a:lnTo>
                        <a:pt x="153" y="568"/>
                      </a:lnTo>
                      <a:lnTo>
                        <a:pt x="154" y="569"/>
                      </a:lnTo>
                      <a:lnTo>
                        <a:pt x="154" y="569"/>
                      </a:lnTo>
                      <a:lnTo>
                        <a:pt x="154" y="571"/>
                      </a:lnTo>
                      <a:lnTo>
                        <a:pt x="155" y="572"/>
                      </a:lnTo>
                      <a:lnTo>
                        <a:pt x="155" y="575"/>
                      </a:lnTo>
                      <a:lnTo>
                        <a:pt x="154" y="576"/>
                      </a:lnTo>
                      <a:lnTo>
                        <a:pt x="153" y="576"/>
                      </a:lnTo>
                      <a:lnTo>
                        <a:pt x="153" y="577"/>
                      </a:lnTo>
                      <a:lnTo>
                        <a:pt x="151" y="578"/>
                      </a:lnTo>
                      <a:lnTo>
                        <a:pt x="150" y="578"/>
                      </a:lnTo>
                      <a:lnTo>
                        <a:pt x="149" y="579"/>
                      </a:lnTo>
                      <a:lnTo>
                        <a:pt x="148" y="579"/>
                      </a:lnTo>
                      <a:lnTo>
                        <a:pt x="145" y="578"/>
                      </a:lnTo>
                      <a:lnTo>
                        <a:pt x="141" y="576"/>
                      </a:lnTo>
                      <a:lnTo>
                        <a:pt x="138" y="572"/>
                      </a:lnTo>
                      <a:lnTo>
                        <a:pt x="136" y="571"/>
                      </a:lnTo>
                      <a:lnTo>
                        <a:pt x="137" y="572"/>
                      </a:lnTo>
                      <a:lnTo>
                        <a:pt x="140" y="575"/>
                      </a:lnTo>
                      <a:lnTo>
                        <a:pt x="136" y="576"/>
                      </a:lnTo>
                      <a:lnTo>
                        <a:pt x="133" y="576"/>
                      </a:lnTo>
                      <a:lnTo>
                        <a:pt x="137" y="576"/>
                      </a:lnTo>
                      <a:lnTo>
                        <a:pt x="140" y="576"/>
                      </a:lnTo>
                      <a:lnTo>
                        <a:pt x="142" y="577"/>
                      </a:lnTo>
                      <a:lnTo>
                        <a:pt x="143" y="578"/>
                      </a:lnTo>
                      <a:lnTo>
                        <a:pt x="144" y="578"/>
                      </a:lnTo>
                      <a:lnTo>
                        <a:pt x="147" y="581"/>
                      </a:lnTo>
                      <a:lnTo>
                        <a:pt x="145" y="582"/>
                      </a:lnTo>
                      <a:lnTo>
                        <a:pt x="144" y="583"/>
                      </a:lnTo>
                      <a:lnTo>
                        <a:pt x="141" y="583"/>
                      </a:lnTo>
                      <a:lnTo>
                        <a:pt x="140" y="586"/>
                      </a:lnTo>
                      <a:lnTo>
                        <a:pt x="142" y="588"/>
                      </a:lnTo>
                      <a:lnTo>
                        <a:pt x="141" y="590"/>
                      </a:lnTo>
                      <a:lnTo>
                        <a:pt x="135" y="597"/>
                      </a:lnTo>
                      <a:lnTo>
                        <a:pt x="141" y="594"/>
                      </a:lnTo>
                      <a:lnTo>
                        <a:pt x="141" y="596"/>
                      </a:lnTo>
                      <a:lnTo>
                        <a:pt x="142" y="597"/>
                      </a:lnTo>
                      <a:lnTo>
                        <a:pt x="144" y="599"/>
                      </a:lnTo>
                      <a:lnTo>
                        <a:pt x="143" y="599"/>
                      </a:lnTo>
                      <a:lnTo>
                        <a:pt x="144" y="601"/>
                      </a:lnTo>
                      <a:lnTo>
                        <a:pt x="144" y="603"/>
                      </a:lnTo>
                      <a:lnTo>
                        <a:pt x="145" y="604"/>
                      </a:lnTo>
                      <a:lnTo>
                        <a:pt x="145" y="604"/>
                      </a:lnTo>
                      <a:lnTo>
                        <a:pt x="148" y="606"/>
                      </a:lnTo>
                      <a:lnTo>
                        <a:pt x="147" y="606"/>
                      </a:lnTo>
                      <a:lnTo>
                        <a:pt x="145" y="608"/>
                      </a:lnTo>
                      <a:lnTo>
                        <a:pt x="144" y="608"/>
                      </a:lnTo>
                      <a:lnTo>
                        <a:pt x="140" y="606"/>
                      </a:lnTo>
                      <a:lnTo>
                        <a:pt x="136" y="608"/>
                      </a:lnTo>
                      <a:lnTo>
                        <a:pt x="141" y="608"/>
                      </a:lnTo>
                      <a:lnTo>
                        <a:pt x="143" y="609"/>
                      </a:lnTo>
                      <a:lnTo>
                        <a:pt x="145" y="608"/>
                      </a:lnTo>
                      <a:lnTo>
                        <a:pt x="149" y="610"/>
                      </a:lnTo>
                      <a:lnTo>
                        <a:pt x="155" y="616"/>
                      </a:lnTo>
                      <a:lnTo>
                        <a:pt x="157" y="619"/>
                      </a:lnTo>
                      <a:lnTo>
                        <a:pt x="162" y="622"/>
                      </a:lnTo>
                      <a:lnTo>
                        <a:pt x="161" y="623"/>
                      </a:lnTo>
                      <a:lnTo>
                        <a:pt x="101" y="608"/>
                      </a:lnTo>
                      <a:lnTo>
                        <a:pt x="85" y="592"/>
                      </a:lnTo>
                      <a:lnTo>
                        <a:pt x="68" y="581"/>
                      </a:lnTo>
                      <a:lnTo>
                        <a:pt x="62" y="562"/>
                      </a:lnTo>
                      <a:lnTo>
                        <a:pt x="64" y="542"/>
                      </a:lnTo>
                      <a:lnTo>
                        <a:pt x="64" y="523"/>
                      </a:lnTo>
                      <a:lnTo>
                        <a:pt x="64" y="510"/>
                      </a:lnTo>
                      <a:lnTo>
                        <a:pt x="60" y="495"/>
                      </a:lnTo>
                      <a:lnTo>
                        <a:pt x="57" y="481"/>
                      </a:lnTo>
                      <a:lnTo>
                        <a:pt x="54" y="471"/>
                      </a:lnTo>
                      <a:lnTo>
                        <a:pt x="51" y="463"/>
                      </a:lnTo>
                      <a:lnTo>
                        <a:pt x="43" y="450"/>
                      </a:lnTo>
                      <a:lnTo>
                        <a:pt x="37" y="437"/>
                      </a:lnTo>
                      <a:lnTo>
                        <a:pt x="31" y="421"/>
                      </a:lnTo>
                      <a:lnTo>
                        <a:pt x="28" y="405"/>
                      </a:lnTo>
                      <a:lnTo>
                        <a:pt x="23" y="385"/>
                      </a:lnTo>
                      <a:lnTo>
                        <a:pt x="21" y="372"/>
                      </a:lnTo>
                      <a:lnTo>
                        <a:pt x="22" y="358"/>
                      </a:lnTo>
                      <a:lnTo>
                        <a:pt x="23" y="341"/>
                      </a:lnTo>
                      <a:lnTo>
                        <a:pt x="15" y="320"/>
                      </a:lnTo>
                      <a:lnTo>
                        <a:pt x="14" y="305"/>
                      </a:lnTo>
                      <a:lnTo>
                        <a:pt x="18" y="295"/>
                      </a:lnTo>
                      <a:lnTo>
                        <a:pt x="17" y="281"/>
                      </a:lnTo>
                      <a:lnTo>
                        <a:pt x="18" y="262"/>
                      </a:lnTo>
                      <a:lnTo>
                        <a:pt x="18" y="245"/>
                      </a:lnTo>
                      <a:lnTo>
                        <a:pt x="13" y="231"/>
                      </a:lnTo>
                      <a:lnTo>
                        <a:pt x="6" y="216"/>
                      </a:lnTo>
                      <a:lnTo>
                        <a:pt x="0" y="201"/>
                      </a:lnTo>
                      <a:lnTo>
                        <a:pt x="0" y="183"/>
                      </a:lnTo>
                      <a:lnTo>
                        <a:pt x="1" y="168"/>
                      </a:lnTo>
                      <a:lnTo>
                        <a:pt x="0" y="148"/>
                      </a:lnTo>
                      <a:lnTo>
                        <a:pt x="6" y="129"/>
                      </a:lnTo>
                      <a:lnTo>
                        <a:pt x="13" y="113"/>
                      </a:lnTo>
                      <a:lnTo>
                        <a:pt x="15" y="90"/>
                      </a:lnTo>
                      <a:lnTo>
                        <a:pt x="11" y="64"/>
                      </a:lnTo>
                      <a:lnTo>
                        <a:pt x="33" y="26"/>
                      </a:lnTo>
                      <a:lnTo>
                        <a:pt x="29" y="21"/>
                      </a:lnTo>
                      <a:lnTo>
                        <a:pt x="29" y="20"/>
                      </a:lnTo>
                      <a:lnTo>
                        <a:pt x="31" y="15"/>
                      </a:lnTo>
                      <a:lnTo>
                        <a:pt x="33" y="15"/>
                      </a:lnTo>
                      <a:lnTo>
                        <a:pt x="35" y="13"/>
                      </a:lnTo>
                      <a:lnTo>
                        <a:pt x="35" y="9"/>
                      </a:lnTo>
                      <a:lnTo>
                        <a:pt x="37" y="9"/>
                      </a:lnTo>
                      <a:lnTo>
                        <a:pt x="42" y="7"/>
                      </a:lnTo>
                      <a:lnTo>
                        <a:pt x="43" y="7"/>
                      </a:lnTo>
                      <a:lnTo>
                        <a:pt x="43" y="0"/>
                      </a:lnTo>
                      <a:lnTo>
                        <a:pt x="46" y="2"/>
                      </a:lnTo>
                      <a:lnTo>
                        <a:pt x="47" y="3"/>
                      </a:lnTo>
                      <a:lnTo>
                        <a:pt x="51" y="6"/>
                      </a:lnTo>
                      <a:lnTo>
                        <a:pt x="55" y="7"/>
                      </a:lnTo>
                      <a:lnTo>
                        <a:pt x="57" y="7"/>
                      </a:lnTo>
                      <a:lnTo>
                        <a:pt x="67" y="7"/>
                      </a:lnTo>
                      <a:lnTo>
                        <a:pt x="71" y="8"/>
                      </a:lnTo>
                      <a:lnTo>
                        <a:pt x="74" y="9"/>
                      </a:lnTo>
                      <a:lnTo>
                        <a:pt x="74" y="13"/>
                      </a:lnTo>
                      <a:lnTo>
                        <a:pt x="75" y="14"/>
                      </a:lnTo>
                      <a:lnTo>
                        <a:pt x="76" y="17"/>
                      </a:lnTo>
                      <a:lnTo>
                        <a:pt x="78" y="20"/>
                      </a:lnTo>
                      <a:lnTo>
                        <a:pt x="80" y="22"/>
                      </a:lnTo>
                      <a:lnTo>
                        <a:pt x="80" y="21"/>
                      </a:lnTo>
                      <a:lnTo>
                        <a:pt x="81" y="17"/>
                      </a:lnTo>
                      <a:lnTo>
                        <a:pt x="81" y="15"/>
                      </a:lnTo>
                      <a:lnTo>
                        <a:pt x="82" y="11"/>
                      </a:lnTo>
                      <a:lnTo>
                        <a:pt x="83" y="9"/>
                      </a:lnTo>
                      <a:lnTo>
                        <a:pt x="83" y="8"/>
                      </a:lnTo>
                      <a:lnTo>
                        <a:pt x="84" y="6"/>
                      </a:lnTo>
                      <a:lnTo>
                        <a:pt x="88" y="4"/>
                      </a:lnTo>
                      <a:lnTo>
                        <a:pt x="89" y="4"/>
                      </a:lnTo>
                      <a:lnTo>
                        <a:pt x="105" y="8"/>
                      </a:lnTo>
                      <a:lnTo>
                        <a:pt x="107" y="8"/>
                      </a:lnTo>
                      <a:lnTo>
                        <a:pt x="108" y="9"/>
                      </a:lnTo>
                      <a:lnTo>
                        <a:pt x="108" y="9"/>
                      </a:lnTo>
                      <a:lnTo>
                        <a:pt x="108" y="9"/>
                      </a:lnTo>
                      <a:lnTo>
                        <a:pt x="108" y="9"/>
                      </a:lnTo>
                      <a:close/>
                      <a:moveTo>
                        <a:pt x="164" y="631"/>
                      </a:moveTo>
                      <a:lnTo>
                        <a:pt x="165" y="632"/>
                      </a:lnTo>
                      <a:lnTo>
                        <a:pt x="170" y="636"/>
                      </a:lnTo>
                      <a:lnTo>
                        <a:pt x="170" y="641"/>
                      </a:lnTo>
                      <a:lnTo>
                        <a:pt x="174" y="645"/>
                      </a:lnTo>
                      <a:lnTo>
                        <a:pt x="178" y="648"/>
                      </a:lnTo>
                      <a:lnTo>
                        <a:pt x="180" y="649"/>
                      </a:lnTo>
                      <a:lnTo>
                        <a:pt x="183" y="652"/>
                      </a:lnTo>
                      <a:lnTo>
                        <a:pt x="185" y="655"/>
                      </a:lnTo>
                      <a:lnTo>
                        <a:pt x="190" y="658"/>
                      </a:lnTo>
                      <a:lnTo>
                        <a:pt x="195" y="661"/>
                      </a:lnTo>
                      <a:lnTo>
                        <a:pt x="200" y="663"/>
                      </a:lnTo>
                      <a:lnTo>
                        <a:pt x="203" y="664"/>
                      </a:lnTo>
                      <a:lnTo>
                        <a:pt x="205" y="666"/>
                      </a:lnTo>
                      <a:lnTo>
                        <a:pt x="211" y="668"/>
                      </a:lnTo>
                      <a:lnTo>
                        <a:pt x="214" y="670"/>
                      </a:lnTo>
                      <a:lnTo>
                        <a:pt x="217" y="671"/>
                      </a:lnTo>
                      <a:lnTo>
                        <a:pt x="223" y="673"/>
                      </a:lnTo>
                      <a:lnTo>
                        <a:pt x="228" y="673"/>
                      </a:lnTo>
                      <a:lnTo>
                        <a:pt x="230" y="675"/>
                      </a:lnTo>
                      <a:lnTo>
                        <a:pt x="233" y="676"/>
                      </a:lnTo>
                      <a:lnTo>
                        <a:pt x="228" y="679"/>
                      </a:lnTo>
                      <a:lnTo>
                        <a:pt x="225" y="679"/>
                      </a:lnTo>
                      <a:lnTo>
                        <a:pt x="220" y="681"/>
                      </a:lnTo>
                      <a:lnTo>
                        <a:pt x="217" y="676"/>
                      </a:lnTo>
                      <a:lnTo>
                        <a:pt x="213" y="675"/>
                      </a:lnTo>
                      <a:lnTo>
                        <a:pt x="209" y="673"/>
                      </a:lnTo>
                      <a:lnTo>
                        <a:pt x="205" y="671"/>
                      </a:lnTo>
                      <a:lnTo>
                        <a:pt x="214" y="678"/>
                      </a:lnTo>
                      <a:lnTo>
                        <a:pt x="214" y="684"/>
                      </a:lnTo>
                      <a:lnTo>
                        <a:pt x="211" y="683"/>
                      </a:lnTo>
                      <a:lnTo>
                        <a:pt x="211" y="685"/>
                      </a:lnTo>
                      <a:lnTo>
                        <a:pt x="205" y="684"/>
                      </a:lnTo>
                      <a:lnTo>
                        <a:pt x="203" y="686"/>
                      </a:lnTo>
                      <a:lnTo>
                        <a:pt x="197" y="688"/>
                      </a:lnTo>
                      <a:lnTo>
                        <a:pt x="195" y="685"/>
                      </a:lnTo>
                      <a:lnTo>
                        <a:pt x="195" y="683"/>
                      </a:lnTo>
                      <a:lnTo>
                        <a:pt x="196" y="678"/>
                      </a:lnTo>
                      <a:lnTo>
                        <a:pt x="195" y="675"/>
                      </a:lnTo>
                      <a:lnTo>
                        <a:pt x="183" y="675"/>
                      </a:lnTo>
                      <a:lnTo>
                        <a:pt x="180" y="672"/>
                      </a:lnTo>
                      <a:lnTo>
                        <a:pt x="178" y="669"/>
                      </a:lnTo>
                      <a:lnTo>
                        <a:pt x="162" y="635"/>
                      </a:lnTo>
                      <a:lnTo>
                        <a:pt x="164" y="631"/>
                      </a:lnTo>
                      <a:lnTo>
                        <a:pt x="164" y="631"/>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567" name="Angola">
                  <a:extLst>
                    <a:ext uri="{FF2B5EF4-FFF2-40B4-BE49-F238E27FC236}">
                      <a16:creationId xmlns:a16="http://schemas.microsoft.com/office/drawing/2014/main" id="{B046A8CB-32F7-5E46-8639-34B856C7A41F}"/>
                    </a:ext>
                  </a:extLst>
                </p:cNvPr>
                <p:cNvSpPr>
                  <a:spLocks noEditPoints="1"/>
                </p:cNvSpPr>
                <p:nvPr/>
              </p:nvSpPr>
              <p:spPr bwMode="auto">
                <a:xfrm>
                  <a:off x="6664126" y="4117747"/>
                  <a:ext cx="332413" cy="409684"/>
                </a:xfrm>
                <a:custGeom>
                  <a:avLst/>
                  <a:gdLst>
                    <a:gd name="T0" fmla="*/ 26 w 228"/>
                    <a:gd name="T1" fmla="*/ 259 h 281"/>
                    <a:gd name="T2" fmla="*/ 9 w 228"/>
                    <a:gd name="T3" fmla="*/ 262 h 281"/>
                    <a:gd name="T4" fmla="*/ 3 w 228"/>
                    <a:gd name="T5" fmla="*/ 257 h 281"/>
                    <a:gd name="T6" fmla="*/ 5 w 228"/>
                    <a:gd name="T7" fmla="*/ 258 h 281"/>
                    <a:gd name="T8" fmla="*/ 5 w 228"/>
                    <a:gd name="T9" fmla="*/ 253 h 281"/>
                    <a:gd name="T10" fmla="*/ 4 w 228"/>
                    <a:gd name="T11" fmla="*/ 234 h 281"/>
                    <a:gd name="T12" fmla="*/ 6 w 228"/>
                    <a:gd name="T13" fmla="*/ 234 h 281"/>
                    <a:gd name="T14" fmla="*/ 10 w 228"/>
                    <a:gd name="T15" fmla="*/ 227 h 281"/>
                    <a:gd name="T16" fmla="*/ 12 w 228"/>
                    <a:gd name="T17" fmla="*/ 218 h 281"/>
                    <a:gd name="T18" fmla="*/ 14 w 228"/>
                    <a:gd name="T19" fmla="*/ 202 h 281"/>
                    <a:gd name="T20" fmla="*/ 18 w 228"/>
                    <a:gd name="T21" fmla="*/ 195 h 281"/>
                    <a:gd name="T22" fmla="*/ 24 w 228"/>
                    <a:gd name="T23" fmla="*/ 189 h 281"/>
                    <a:gd name="T24" fmla="*/ 19 w 228"/>
                    <a:gd name="T25" fmla="*/ 186 h 281"/>
                    <a:gd name="T26" fmla="*/ 24 w 228"/>
                    <a:gd name="T27" fmla="*/ 181 h 281"/>
                    <a:gd name="T28" fmla="*/ 30 w 228"/>
                    <a:gd name="T29" fmla="*/ 169 h 281"/>
                    <a:gd name="T30" fmla="*/ 34 w 228"/>
                    <a:gd name="T31" fmla="*/ 169 h 281"/>
                    <a:gd name="T32" fmla="*/ 39 w 228"/>
                    <a:gd name="T33" fmla="*/ 162 h 281"/>
                    <a:gd name="T34" fmla="*/ 43 w 228"/>
                    <a:gd name="T35" fmla="*/ 144 h 281"/>
                    <a:gd name="T36" fmla="*/ 38 w 228"/>
                    <a:gd name="T37" fmla="*/ 124 h 281"/>
                    <a:gd name="T38" fmla="*/ 32 w 228"/>
                    <a:gd name="T39" fmla="*/ 110 h 281"/>
                    <a:gd name="T40" fmla="*/ 31 w 228"/>
                    <a:gd name="T41" fmla="*/ 101 h 281"/>
                    <a:gd name="T42" fmla="*/ 31 w 228"/>
                    <a:gd name="T43" fmla="*/ 94 h 281"/>
                    <a:gd name="T44" fmla="*/ 32 w 228"/>
                    <a:gd name="T45" fmla="*/ 91 h 281"/>
                    <a:gd name="T46" fmla="*/ 36 w 228"/>
                    <a:gd name="T47" fmla="*/ 87 h 281"/>
                    <a:gd name="T48" fmla="*/ 32 w 228"/>
                    <a:gd name="T49" fmla="*/ 73 h 281"/>
                    <a:gd name="T50" fmla="*/ 26 w 228"/>
                    <a:gd name="T51" fmla="*/ 57 h 281"/>
                    <a:gd name="T52" fmla="*/ 19 w 228"/>
                    <a:gd name="T53" fmla="*/ 41 h 281"/>
                    <a:gd name="T54" fmla="*/ 17 w 228"/>
                    <a:gd name="T55" fmla="*/ 35 h 281"/>
                    <a:gd name="T56" fmla="*/ 24 w 228"/>
                    <a:gd name="T57" fmla="*/ 34 h 281"/>
                    <a:gd name="T58" fmla="*/ 32 w 228"/>
                    <a:gd name="T59" fmla="*/ 31 h 281"/>
                    <a:gd name="T60" fmla="*/ 52 w 228"/>
                    <a:gd name="T61" fmla="*/ 31 h 281"/>
                    <a:gd name="T62" fmla="*/ 96 w 228"/>
                    <a:gd name="T63" fmla="*/ 31 h 281"/>
                    <a:gd name="T64" fmla="*/ 98 w 228"/>
                    <a:gd name="T65" fmla="*/ 41 h 281"/>
                    <a:gd name="T66" fmla="*/ 100 w 228"/>
                    <a:gd name="T67" fmla="*/ 53 h 281"/>
                    <a:gd name="T68" fmla="*/ 103 w 228"/>
                    <a:gd name="T69" fmla="*/ 62 h 281"/>
                    <a:gd name="T70" fmla="*/ 106 w 228"/>
                    <a:gd name="T71" fmla="*/ 67 h 281"/>
                    <a:gd name="T72" fmla="*/ 111 w 228"/>
                    <a:gd name="T73" fmla="*/ 73 h 281"/>
                    <a:gd name="T74" fmla="*/ 119 w 228"/>
                    <a:gd name="T75" fmla="*/ 75 h 281"/>
                    <a:gd name="T76" fmla="*/ 132 w 228"/>
                    <a:gd name="T77" fmla="*/ 73 h 281"/>
                    <a:gd name="T78" fmla="*/ 146 w 228"/>
                    <a:gd name="T79" fmla="*/ 61 h 281"/>
                    <a:gd name="T80" fmla="*/ 165 w 228"/>
                    <a:gd name="T81" fmla="*/ 60 h 281"/>
                    <a:gd name="T82" fmla="*/ 187 w 228"/>
                    <a:gd name="T83" fmla="*/ 73 h 281"/>
                    <a:gd name="T84" fmla="*/ 191 w 228"/>
                    <a:gd name="T85" fmla="*/ 87 h 281"/>
                    <a:gd name="T86" fmla="*/ 190 w 228"/>
                    <a:gd name="T87" fmla="*/ 110 h 281"/>
                    <a:gd name="T88" fmla="*/ 196 w 228"/>
                    <a:gd name="T89" fmla="*/ 121 h 281"/>
                    <a:gd name="T90" fmla="*/ 196 w 228"/>
                    <a:gd name="T91" fmla="*/ 138 h 281"/>
                    <a:gd name="T92" fmla="*/ 205 w 228"/>
                    <a:gd name="T93" fmla="*/ 139 h 281"/>
                    <a:gd name="T94" fmla="*/ 224 w 228"/>
                    <a:gd name="T95" fmla="*/ 138 h 281"/>
                    <a:gd name="T96" fmla="*/ 227 w 228"/>
                    <a:gd name="T97" fmla="*/ 153 h 281"/>
                    <a:gd name="T98" fmla="*/ 190 w 228"/>
                    <a:gd name="T99" fmla="*/ 245 h 281"/>
                    <a:gd name="T100" fmla="*/ 176 w 228"/>
                    <a:gd name="T101" fmla="*/ 280 h 281"/>
                    <a:gd name="T102" fmla="*/ 161 w 228"/>
                    <a:gd name="T103" fmla="*/ 280 h 281"/>
                    <a:gd name="T104" fmla="*/ 149 w 228"/>
                    <a:gd name="T105" fmla="*/ 278 h 281"/>
                    <a:gd name="T106" fmla="*/ 138 w 228"/>
                    <a:gd name="T107" fmla="*/ 276 h 281"/>
                    <a:gd name="T108" fmla="*/ 125 w 228"/>
                    <a:gd name="T109" fmla="*/ 271 h 281"/>
                    <a:gd name="T110" fmla="*/ 14 w 228"/>
                    <a:gd name="T111" fmla="*/ 30 h 281"/>
                    <a:gd name="T112" fmla="*/ 24 w 228"/>
                    <a:gd name="T113" fmla="*/ 11 h 281"/>
                    <a:gd name="T114" fmla="*/ 30 w 228"/>
                    <a:gd name="T115" fmla="*/ 5 h 281"/>
                    <a:gd name="T116" fmla="*/ 16 w 228"/>
                    <a:gd name="T117" fmla="*/ 8 h 281"/>
                    <a:gd name="T118" fmla="*/ 12 w 228"/>
                    <a:gd name="T119" fmla="*/ 15 h 2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28" h="281">
                      <a:moveTo>
                        <a:pt x="41" y="266"/>
                      </a:moveTo>
                      <a:lnTo>
                        <a:pt x="40" y="265"/>
                      </a:lnTo>
                      <a:lnTo>
                        <a:pt x="36" y="262"/>
                      </a:lnTo>
                      <a:lnTo>
                        <a:pt x="36" y="261"/>
                      </a:lnTo>
                      <a:lnTo>
                        <a:pt x="34" y="261"/>
                      </a:lnTo>
                      <a:lnTo>
                        <a:pt x="33" y="260"/>
                      </a:lnTo>
                      <a:lnTo>
                        <a:pt x="31" y="260"/>
                      </a:lnTo>
                      <a:lnTo>
                        <a:pt x="30" y="259"/>
                      </a:lnTo>
                      <a:lnTo>
                        <a:pt x="27" y="259"/>
                      </a:lnTo>
                      <a:lnTo>
                        <a:pt x="26" y="259"/>
                      </a:lnTo>
                      <a:lnTo>
                        <a:pt x="24" y="261"/>
                      </a:lnTo>
                      <a:lnTo>
                        <a:pt x="20" y="262"/>
                      </a:lnTo>
                      <a:lnTo>
                        <a:pt x="19" y="262"/>
                      </a:lnTo>
                      <a:lnTo>
                        <a:pt x="19" y="264"/>
                      </a:lnTo>
                      <a:lnTo>
                        <a:pt x="18" y="265"/>
                      </a:lnTo>
                      <a:lnTo>
                        <a:pt x="16" y="265"/>
                      </a:lnTo>
                      <a:lnTo>
                        <a:pt x="13" y="265"/>
                      </a:lnTo>
                      <a:lnTo>
                        <a:pt x="12" y="264"/>
                      </a:lnTo>
                      <a:lnTo>
                        <a:pt x="11" y="264"/>
                      </a:lnTo>
                      <a:lnTo>
                        <a:pt x="9" y="262"/>
                      </a:lnTo>
                      <a:lnTo>
                        <a:pt x="7" y="264"/>
                      </a:lnTo>
                      <a:lnTo>
                        <a:pt x="6" y="265"/>
                      </a:lnTo>
                      <a:lnTo>
                        <a:pt x="5" y="265"/>
                      </a:lnTo>
                      <a:lnTo>
                        <a:pt x="5" y="265"/>
                      </a:lnTo>
                      <a:lnTo>
                        <a:pt x="4" y="265"/>
                      </a:lnTo>
                      <a:lnTo>
                        <a:pt x="4" y="265"/>
                      </a:lnTo>
                      <a:lnTo>
                        <a:pt x="4" y="262"/>
                      </a:lnTo>
                      <a:lnTo>
                        <a:pt x="4" y="260"/>
                      </a:lnTo>
                      <a:lnTo>
                        <a:pt x="3" y="258"/>
                      </a:lnTo>
                      <a:lnTo>
                        <a:pt x="3" y="257"/>
                      </a:lnTo>
                      <a:lnTo>
                        <a:pt x="2" y="255"/>
                      </a:lnTo>
                      <a:lnTo>
                        <a:pt x="2" y="253"/>
                      </a:lnTo>
                      <a:lnTo>
                        <a:pt x="0" y="252"/>
                      </a:lnTo>
                      <a:lnTo>
                        <a:pt x="2" y="251"/>
                      </a:lnTo>
                      <a:lnTo>
                        <a:pt x="2" y="252"/>
                      </a:lnTo>
                      <a:lnTo>
                        <a:pt x="2" y="253"/>
                      </a:lnTo>
                      <a:lnTo>
                        <a:pt x="3" y="254"/>
                      </a:lnTo>
                      <a:lnTo>
                        <a:pt x="3" y="255"/>
                      </a:lnTo>
                      <a:lnTo>
                        <a:pt x="4" y="257"/>
                      </a:lnTo>
                      <a:lnTo>
                        <a:pt x="5" y="258"/>
                      </a:lnTo>
                      <a:lnTo>
                        <a:pt x="5" y="257"/>
                      </a:lnTo>
                      <a:lnTo>
                        <a:pt x="5" y="257"/>
                      </a:lnTo>
                      <a:lnTo>
                        <a:pt x="5" y="255"/>
                      </a:lnTo>
                      <a:lnTo>
                        <a:pt x="4" y="254"/>
                      </a:lnTo>
                      <a:lnTo>
                        <a:pt x="4" y="253"/>
                      </a:lnTo>
                      <a:lnTo>
                        <a:pt x="4" y="252"/>
                      </a:lnTo>
                      <a:lnTo>
                        <a:pt x="4" y="252"/>
                      </a:lnTo>
                      <a:lnTo>
                        <a:pt x="5" y="252"/>
                      </a:lnTo>
                      <a:lnTo>
                        <a:pt x="5" y="253"/>
                      </a:lnTo>
                      <a:lnTo>
                        <a:pt x="5" y="253"/>
                      </a:lnTo>
                      <a:lnTo>
                        <a:pt x="5" y="252"/>
                      </a:lnTo>
                      <a:lnTo>
                        <a:pt x="5" y="248"/>
                      </a:lnTo>
                      <a:lnTo>
                        <a:pt x="6" y="247"/>
                      </a:lnTo>
                      <a:lnTo>
                        <a:pt x="6" y="244"/>
                      </a:lnTo>
                      <a:lnTo>
                        <a:pt x="5" y="241"/>
                      </a:lnTo>
                      <a:lnTo>
                        <a:pt x="5" y="239"/>
                      </a:lnTo>
                      <a:lnTo>
                        <a:pt x="5" y="237"/>
                      </a:lnTo>
                      <a:lnTo>
                        <a:pt x="5" y="235"/>
                      </a:lnTo>
                      <a:lnTo>
                        <a:pt x="4" y="234"/>
                      </a:lnTo>
                      <a:lnTo>
                        <a:pt x="4" y="234"/>
                      </a:lnTo>
                      <a:lnTo>
                        <a:pt x="4" y="232"/>
                      </a:lnTo>
                      <a:lnTo>
                        <a:pt x="4" y="229"/>
                      </a:lnTo>
                      <a:lnTo>
                        <a:pt x="4" y="228"/>
                      </a:lnTo>
                      <a:lnTo>
                        <a:pt x="4" y="229"/>
                      </a:lnTo>
                      <a:lnTo>
                        <a:pt x="5" y="231"/>
                      </a:lnTo>
                      <a:lnTo>
                        <a:pt x="5" y="232"/>
                      </a:lnTo>
                      <a:lnTo>
                        <a:pt x="5" y="233"/>
                      </a:lnTo>
                      <a:lnTo>
                        <a:pt x="6" y="234"/>
                      </a:lnTo>
                      <a:lnTo>
                        <a:pt x="6" y="234"/>
                      </a:lnTo>
                      <a:lnTo>
                        <a:pt x="6" y="234"/>
                      </a:lnTo>
                      <a:lnTo>
                        <a:pt x="6" y="234"/>
                      </a:lnTo>
                      <a:lnTo>
                        <a:pt x="6" y="234"/>
                      </a:lnTo>
                      <a:lnTo>
                        <a:pt x="7" y="233"/>
                      </a:lnTo>
                      <a:lnTo>
                        <a:pt x="7" y="233"/>
                      </a:lnTo>
                      <a:lnTo>
                        <a:pt x="7" y="232"/>
                      </a:lnTo>
                      <a:lnTo>
                        <a:pt x="9" y="231"/>
                      </a:lnTo>
                      <a:lnTo>
                        <a:pt x="9" y="231"/>
                      </a:lnTo>
                      <a:lnTo>
                        <a:pt x="10" y="229"/>
                      </a:lnTo>
                      <a:lnTo>
                        <a:pt x="10" y="228"/>
                      </a:lnTo>
                      <a:lnTo>
                        <a:pt x="10" y="227"/>
                      </a:lnTo>
                      <a:lnTo>
                        <a:pt x="10" y="225"/>
                      </a:lnTo>
                      <a:lnTo>
                        <a:pt x="10" y="222"/>
                      </a:lnTo>
                      <a:lnTo>
                        <a:pt x="11" y="222"/>
                      </a:lnTo>
                      <a:lnTo>
                        <a:pt x="12" y="222"/>
                      </a:lnTo>
                      <a:lnTo>
                        <a:pt x="12" y="221"/>
                      </a:lnTo>
                      <a:lnTo>
                        <a:pt x="12" y="221"/>
                      </a:lnTo>
                      <a:lnTo>
                        <a:pt x="11" y="221"/>
                      </a:lnTo>
                      <a:lnTo>
                        <a:pt x="11" y="220"/>
                      </a:lnTo>
                      <a:lnTo>
                        <a:pt x="12" y="219"/>
                      </a:lnTo>
                      <a:lnTo>
                        <a:pt x="12" y="218"/>
                      </a:lnTo>
                      <a:lnTo>
                        <a:pt x="13" y="217"/>
                      </a:lnTo>
                      <a:lnTo>
                        <a:pt x="13" y="215"/>
                      </a:lnTo>
                      <a:lnTo>
                        <a:pt x="13" y="214"/>
                      </a:lnTo>
                      <a:lnTo>
                        <a:pt x="14" y="214"/>
                      </a:lnTo>
                      <a:lnTo>
                        <a:pt x="14" y="212"/>
                      </a:lnTo>
                      <a:lnTo>
                        <a:pt x="14" y="212"/>
                      </a:lnTo>
                      <a:lnTo>
                        <a:pt x="14" y="208"/>
                      </a:lnTo>
                      <a:lnTo>
                        <a:pt x="16" y="206"/>
                      </a:lnTo>
                      <a:lnTo>
                        <a:pt x="16" y="204"/>
                      </a:lnTo>
                      <a:lnTo>
                        <a:pt x="14" y="202"/>
                      </a:lnTo>
                      <a:lnTo>
                        <a:pt x="16" y="201"/>
                      </a:lnTo>
                      <a:lnTo>
                        <a:pt x="16" y="201"/>
                      </a:lnTo>
                      <a:lnTo>
                        <a:pt x="16" y="201"/>
                      </a:lnTo>
                      <a:lnTo>
                        <a:pt x="16" y="200"/>
                      </a:lnTo>
                      <a:lnTo>
                        <a:pt x="16" y="199"/>
                      </a:lnTo>
                      <a:lnTo>
                        <a:pt x="16" y="199"/>
                      </a:lnTo>
                      <a:lnTo>
                        <a:pt x="17" y="198"/>
                      </a:lnTo>
                      <a:lnTo>
                        <a:pt x="17" y="197"/>
                      </a:lnTo>
                      <a:lnTo>
                        <a:pt x="17" y="195"/>
                      </a:lnTo>
                      <a:lnTo>
                        <a:pt x="18" y="195"/>
                      </a:lnTo>
                      <a:lnTo>
                        <a:pt x="18" y="195"/>
                      </a:lnTo>
                      <a:lnTo>
                        <a:pt x="19" y="194"/>
                      </a:lnTo>
                      <a:lnTo>
                        <a:pt x="20" y="194"/>
                      </a:lnTo>
                      <a:lnTo>
                        <a:pt x="20" y="192"/>
                      </a:lnTo>
                      <a:lnTo>
                        <a:pt x="23" y="191"/>
                      </a:lnTo>
                      <a:lnTo>
                        <a:pt x="24" y="191"/>
                      </a:lnTo>
                      <a:lnTo>
                        <a:pt x="24" y="194"/>
                      </a:lnTo>
                      <a:lnTo>
                        <a:pt x="26" y="193"/>
                      </a:lnTo>
                      <a:lnTo>
                        <a:pt x="26" y="192"/>
                      </a:lnTo>
                      <a:lnTo>
                        <a:pt x="24" y="189"/>
                      </a:lnTo>
                      <a:lnTo>
                        <a:pt x="23" y="189"/>
                      </a:lnTo>
                      <a:lnTo>
                        <a:pt x="20" y="191"/>
                      </a:lnTo>
                      <a:lnTo>
                        <a:pt x="20" y="191"/>
                      </a:lnTo>
                      <a:lnTo>
                        <a:pt x="19" y="191"/>
                      </a:lnTo>
                      <a:lnTo>
                        <a:pt x="19" y="189"/>
                      </a:lnTo>
                      <a:lnTo>
                        <a:pt x="19" y="189"/>
                      </a:lnTo>
                      <a:lnTo>
                        <a:pt x="19" y="188"/>
                      </a:lnTo>
                      <a:lnTo>
                        <a:pt x="19" y="188"/>
                      </a:lnTo>
                      <a:lnTo>
                        <a:pt x="19" y="186"/>
                      </a:lnTo>
                      <a:lnTo>
                        <a:pt x="19" y="186"/>
                      </a:lnTo>
                      <a:lnTo>
                        <a:pt x="20" y="186"/>
                      </a:lnTo>
                      <a:lnTo>
                        <a:pt x="20" y="185"/>
                      </a:lnTo>
                      <a:lnTo>
                        <a:pt x="20" y="185"/>
                      </a:lnTo>
                      <a:lnTo>
                        <a:pt x="21" y="184"/>
                      </a:lnTo>
                      <a:lnTo>
                        <a:pt x="20" y="184"/>
                      </a:lnTo>
                      <a:lnTo>
                        <a:pt x="21" y="182"/>
                      </a:lnTo>
                      <a:lnTo>
                        <a:pt x="21" y="182"/>
                      </a:lnTo>
                      <a:lnTo>
                        <a:pt x="23" y="182"/>
                      </a:lnTo>
                      <a:lnTo>
                        <a:pt x="23" y="182"/>
                      </a:lnTo>
                      <a:lnTo>
                        <a:pt x="24" y="181"/>
                      </a:lnTo>
                      <a:lnTo>
                        <a:pt x="24" y="180"/>
                      </a:lnTo>
                      <a:lnTo>
                        <a:pt x="25" y="180"/>
                      </a:lnTo>
                      <a:lnTo>
                        <a:pt x="26" y="179"/>
                      </a:lnTo>
                      <a:lnTo>
                        <a:pt x="26" y="178"/>
                      </a:lnTo>
                      <a:lnTo>
                        <a:pt x="27" y="177"/>
                      </a:lnTo>
                      <a:lnTo>
                        <a:pt x="26" y="174"/>
                      </a:lnTo>
                      <a:lnTo>
                        <a:pt x="27" y="173"/>
                      </a:lnTo>
                      <a:lnTo>
                        <a:pt x="29" y="172"/>
                      </a:lnTo>
                      <a:lnTo>
                        <a:pt x="30" y="169"/>
                      </a:lnTo>
                      <a:lnTo>
                        <a:pt x="30" y="169"/>
                      </a:lnTo>
                      <a:lnTo>
                        <a:pt x="31" y="169"/>
                      </a:lnTo>
                      <a:lnTo>
                        <a:pt x="32" y="169"/>
                      </a:lnTo>
                      <a:lnTo>
                        <a:pt x="32" y="171"/>
                      </a:lnTo>
                      <a:lnTo>
                        <a:pt x="32" y="169"/>
                      </a:lnTo>
                      <a:lnTo>
                        <a:pt x="32" y="169"/>
                      </a:lnTo>
                      <a:lnTo>
                        <a:pt x="32" y="168"/>
                      </a:lnTo>
                      <a:lnTo>
                        <a:pt x="33" y="168"/>
                      </a:lnTo>
                      <a:lnTo>
                        <a:pt x="33" y="168"/>
                      </a:lnTo>
                      <a:lnTo>
                        <a:pt x="33" y="169"/>
                      </a:lnTo>
                      <a:lnTo>
                        <a:pt x="34" y="169"/>
                      </a:lnTo>
                      <a:lnTo>
                        <a:pt x="34" y="169"/>
                      </a:lnTo>
                      <a:lnTo>
                        <a:pt x="37" y="167"/>
                      </a:lnTo>
                      <a:lnTo>
                        <a:pt x="37" y="166"/>
                      </a:lnTo>
                      <a:lnTo>
                        <a:pt x="37" y="165"/>
                      </a:lnTo>
                      <a:lnTo>
                        <a:pt x="37" y="164"/>
                      </a:lnTo>
                      <a:lnTo>
                        <a:pt x="38" y="164"/>
                      </a:lnTo>
                      <a:lnTo>
                        <a:pt x="38" y="164"/>
                      </a:lnTo>
                      <a:lnTo>
                        <a:pt x="39" y="164"/>
                      </a:lnTo>
                      <a:lnTo>
                        <a:pt x="39" y="164"/>
                      </a:lnTo>
                      <a:lnTo>
                        <a:pt x="39" y="162"/>
                      </a:lnTo>
                      <a:lnTo>
                        <a:pt x="40" y="160"/>
                      </a:lnTo>
                      <a:lnTo>
                        <a:pt x="40" y="159"/>
                      </a:lnTo>
                      <a:lnTo>
                        <a:pt x="40" y="158"/>
                      </a:lnTo>
                      <a:lnTo>
                        <a:pt x="41" y="157"/>
                      </a:lnTo>
                      <a:lnTo>
                        <a:pt x="41" y="157"/>
                      </a:lnTo>
                      <a:lnTo>
                        <a:pt x="41" y="155"/>
                      </a:lnTo>
                      <a:lnTo>
                        <a:pt x="43" y="153"/>
                      </a:lnTo>
                      <a:lnTo>
                        <a:pt x="43" y="148"/>
                      </a:lnTo>
                      <a:lnTo>
                        <a:pt x="43" y="145"/>
                      </a:lnTo>
                      <a:lnTo>
                        <a:pt x="43" y="144"/>
                      </a:lnTo>
                      <a:lnTo>
                        <a:pt x="43" y="142"/>
                      </a:lnTo>
                      <a:lnTo>
                        <a:pt x="44" y="137"/>
                      </a:lnTo>
                      <a:lnTo>
                        <a:pt x="44" y="135"/>
                      </a:lnTo>
                      <a:lnTo>
                        <a:pt x="43" y="133"/>
                      </a:lnTo>
                      <a:lnTo>
                        <a:pt x="41" y="132"/>
                      </a:lnTo>
                      <a:lnTo>
                        <a:pt x="41" y="131"/>
                      </a:lnTo>
                      <a:lnTo>
                        <a:pt x="41" y="129"/>
                      </a:lnTo>
                      <a:lnTo>
                        <a:pt x="41" y="128"/>
                      </a:lnTo>
                      <a:lnTo>
                        <a:pt x="39" y="126"/>
                      </a:lnTo>
                      <a:lnTo>
                        <a:pt x="38" y="124"/>
                      </a:lnTo>
                      <a:lnTo>
                        <a:pt x="38" y="122"/>
                      </a:lnTo>
                      <a:lnTo>
                        <a:pt x="38" y="121"/>
                      </a:lnTo>
                      <a:lnTo>
                        <a:pt x="37" y="120"/>
                      </a:lnTo>
                      <a:lnTo>
                        <a:pt x="36" y="118"/>
                      </a:lnTo>
                      <a:lnTo>
                        <a:pt x="36" y="118"/>
                      </a:lnTo>
                      <a:lnTo>
                        <a:pt x="34" y="115"/>
                      </a:lnTo>
                      <a:lnTo>
                        <a:pt x="34" y="114"/>
                      </a:lnTo>
                      <a:lnTo>
                        <a:pt x="34" y="113"/>
                      </a:lnTo>
                      <a:lnTo>
                        <a:pt x="34" y="113"/>
                      </a:lnTo>
                      <a:lnTo>
                        <a:pt x="32" y="110"/>
                      </a:lnTo>
                      <a:lnTo>
                        <a:pt x="32" y="110"/>
                      </a:lnTo>
                      <a:lnTo>
                        <a:pt x="32" y="108"/>
                      </a:lnTo>
                      <a:lnTo>
                        <a:pt x="32" y="108"/>
                      </a:lnTo>
                      <a:lnTo>
                        <a:pt x="32" y="107"/>
                      </a:lnTo>
                      <a:lnTo>
                        <a:pt x="32" y="106"/>
                      </a:lnTo>
                      <a:lnTo>
                        <a:pt x="32" y="105"/>
                      </a:lnTo>
                      <a:lnTo>
                        <a:pt x="32" y="104"/>
                      </a:lnTo>
                      <a:lnTo>
                        <a:pt x="32" y="104"/>
                      </a:lnTo>
                      <a:lnTo>
                        <a:pt x="32" y="102"/>
                      </a:lnTo>
                      <a:lnTo>
                        <a:pt x="31" y="101"/>
                      </a:lnTo>
                      <a:lnTo>
                        <a:pt x="31" y="99"/>
                      </a:lnTo>
                      <a:lnTo>
                        <a:pt x="29" y="98"/>
                      </a:lnTo>
                      <a:lnTo>
                        <a:pt x="29" y="97"/>
                      </a:lnTo>
                      <a:lnTo>
                        <a:pt x="29" y="95"/>
                      </a:lnTo>
                      <a:lnTo>
                        <a:pt x="30" y="94"/>
                      </a:lnTo>
                      <a:lnTo>
                        <a:pt x="30" y="94"/>
                      </a:lnTo>
                      <a:lnTo>
                        <a:pt x="30" y="93"/>
                      </a:lnTo>
                      <a:lnTo>
                        <a:pt x="30" y="93"/>
                      </a:lnTo>
                      <a:lnTo>
                        <a:pt x="31" y="93"/>
                      </a:lnTo>
                      <a:lnTo>
                        <a:pt x="31" y="94"/>
                      </a:lnTo>
                      <a:lnTo>
                        <a:pt x="30" y="94"/>
                      </a:lnTo>
                      <a:lnTo>
                        <a:pt x="30" y="95"/>
                      </a:lnTo>
                      <a:lnTo>
                        <a:pt x="29" y="97"/>
                      </a:lnTo>
                      <a:lnTo>
                        <a:pt x="29" y="97"/>
                      </a:lnTo>
                      <a:lnTo>
                        <a:pt x="30" y="94"/>
                      </a:lnTo>
                      <a:lnTo>
                        <a:pt x="31" y="94"/>
                      </a:lnTo>
                      <a:lnTo>
                        <a:pt x="32" y="93"/>
                      </a:lnTo>
                      <a:lnTo>
                        <a:pt x="32" y="93"/>
                      </a:lnTo>
                      <a:lnTo>
                        <a:pt x="32" y="91"/>
                      </a:lnTo>
                      <a:lnTo>
                        <a:pt x="32" y="91"/>
                      </a:lnTo>
                      <a:lnTo>
                        <a:pt x="33" y="90"/>
                      </a:lnTo>
                      <a:lnTo>
                        <a:pt x="33" y="91"/>
                      </a:lnTo>
                      <a:lnTo>
                        <a:pt x="32" y="92"/>
                      </a:lnTo>
                      <a:lnTo>
                        <a:pt x="33" y="91"/>
                      </a:lnTo>
                      <a:lnTo>
                        <a:pt x="33" y="91"/>
                      </a:lnTo>
                      <a:lnTo>
                        <a:pt x="34" y="90"/>
                      </a:lnTo>
                      <a:lnTo>
                        <a:pt x="36" y="90"/>
                      </a:lnTo>
                      <a:lnTo>
                        <a:pt x="36" y="90"/>
                      </a:lnTo>
                      <a:lnTo>
                        <a:pt x="36" y="88"/>
                      </a:lnTo>
                      <a:lnTo>
                        <a:pt x="36" y="87"/>
                      </a:lnTo>
                      <a:lnTo>
                        <a:pt x="36" y="85"/>
                      </a:lnTo>
                      <a:lnTo>
                        <a:pt x="36" y="85"/>
                      </a:lnTo>
                      <a:lnTo>
                        <a:pt x="36" y="82"/>
                      </a:lnTo>
                      <a:lnTo>
                        <a:pt x="36" y="81"/>
                      </a:lnTo>
                      <a:lnTo>
                        <a:pt x="34" y="79"/>
                      </a:lnTo>
                      <a:lnTo>
                        <a:pt x="34" y="78"/>
                      </a:lnTo>
                      <a:lnTo>
                        <a:pt x="33" y="78"/>
                      </a:lnTo>
                      <a:lnTo>
                        <a:pt x="33" y="78"/>
                      </a:lnTo>
                      <a:lnTo>
                        <a:pt x="32" y="75"/>
                      </a:lnTo>
                      <a:lnTo>
                        <a:pt x="32" y="73"/>
                      </a:lnTo>
                      <a:lnTo>
                        <a:pt x="31" y="72"/>
                      </a:lnTo>
                      <a:lnTo>
                        <a:pt x="30" y="71"/>
                      </a:lnTo>
                      <a:lnTo>
                        <a:pt x="30" y="70"/>
                      </a:lnTo>
                      <a:lnTo>
                        <a:pt x="30" y="68"/>
                      </a:lnTo>
                      <a:lnTo>
                        <a:pt x="29" y="66"/>
                      </a:lnTo>
                      <a:lnTo>
                        <a:pt x="29" y="65"/>
                      </a:lnTo>
                      <a:lnTo>
                        <a:pt x="27" y="64"/>
                      </a:lnTo>
                      <a:lnTo>
                        <a:pt x="27" y="61"/>
                      </a:lnTo>
                      <a:lnTo>
                        <a:pt x="26" y="59"/>
                      </a:lnTo>
                      <a:lnTo>
                        <a:pt x="26" y="57"/>
                      </a:lnTo>
                      <a:lnTo>
                        <a:pt x="26" y="55"/>
                      </a:lnTo>
                      <a:lnTo>
                        <a:pt x="25" y="53"/>
                      </a:lnTo>
                      <a:lnTo>
                        <a:pt x="25" y="53"/>
                      </a:lnTo>
                      <a:lnTo>
                        <a:pt x="25" y="53"/>
                      </a:lnTo>
                      <a:lnTo>
                        <a:pt x="25" y="52"/>
                      </a:lnTo>
                      <a:lnTo>
                        <a:pt x="25" y="51"/>
                      </a:lnTo>
                      <a:lnTo>
                        <a:pt x="23" y="50"/>
                      </a:lnTo>
                      <a:lnTo>
                        <a:pt x="21" y="47"/>
                      </a:lnTo>
                      <a:lnTo>
                        <a:pt x="20" y="47"/>
                      </a:lnTo>
                      <a:lnTo>
                        <a:pt x="19" y="41"/>
                      </a:lnTo>
                      <a:lnTo>
                        <a:pt x="18" y="41"/>
                      </a:lnTo>
                      <a:lnTo>
                        <a:pt x="18" y="40"/>
                      </a:lnTo>
                      <a:lnTo>
                        <a:pt x="17" y="38"/>
                      </a:lnTo>
                      <a:lnTo>
                        <a:pt x="16" y="37"/>
                      </a:lnTo>
                      <a:lnTo>
                        <a:pt x="16" y="35"/>
                      </a:lnTo>
                      <a:lnTo>
                        <a:pt x="16" y="34"/>
                      </a:lnTo>
                      <a:lnTo>
                        <a:pt x="17" y="34"/>
                      </a:lnTo>
                      <a:lnTo>
                        <a:pt x="17" y="35"/>
                      </a:lnTo>
                      <a:lnTo>
                        <a:pt x="16" y="35"/>
                      </a:lnTo>
                      <a:lnTo>
                        <a:pt x="17" y="35"/>
                      </a:lnTo>
                      <a:lnTo>
                        <a:pt x="17" y="35"/>
                      </a:lnTo>
                      <a:lnTo>
                        <a:pt x="17" y="35"/>
                      </a:lnTo>
                      <a:lnTo>
                        <a:pt x="18" y="35"/>
                      </a:lnTo>
                      <a:lnTo>
                        <a:pt x="19" y="35"/>
                      </a:lnTo>
                      <a:lnTo>
                        <a:pt x="20" y="34"/>
                      </a:lnTo>
                      <a:lnTo>
                        <a:pt x="20" y="34"/>
                      </a:lnTo>
                      <a:lnTo>
                        <a:pt x="21" y="34"/>
                      </a:lnTo>
                      <a:lnTo>
                        <a:pt x="23" y="34"/>
                      </a:lnTo>
                      <a:lnTo>
                        <a:pt x="23" y="34"/>
                      </a:lnTo>
                      <a:lnTo>
                        <a:pt x="24" y="34"/>
                      </a:lnTo>
                      <a:lnTo>
                        <a:pt x="24" y="34"/>
                      </a:lnTo>
                      <a:lnTo>
                        <a:pt x="25" y="34"/>
                      </a:lnTo>
                      <a:lnTo>
                        <a:pt x="25" y="34"/>
                      </a:lnTo>
                      <a:lnTo>
                        <a:pt x="26" y="34"/>
                      </a:lnTo>
                      <a:lnTo>
                        <a:pt x="27" y="33"/>
                      </a:lnTo>
                      <a:lnTo>
                        <a:pt x="29" y="32"/>
                      </a:lnTo>
                      <a:lnTo>
                        <a:pt x="29" y="31"/>
                      </a:lnTo>
                      <a:lnTo>
                        <a:pt x="30" y="31"/>
                      </a:lnTo>
                      <a:lnTo>
                        <a:pt x="31" y="32"/>
                      </a:lnTo>
                      <a:lnTo>
                        <a:pt x="32" y="31"/>
                      </a:lnTo>
                      <a:lnTo>
                        <a:pt x="34" y="31"/>
                      </a:lnTo>
                      <a:lnTo>
                        <a:pt x="36" y="31"/>
                      </a:lnTo>
                      <a:lnTo>
                        <a:pt x="37" y="31"/>
                      </a:lnTo>
                      <a:lnTo>
                        <a:pt x="37" y="31"/>
                      </a:lnTo>
                      <a:lnTo>
                        <a:pt x="39" y="31"/>
                      </a:lnTo>
                      <a:lnTo>
                        <a:pt x="43" y="31"/>
                      </a:lnTo>
                      <a:lnTo>
                        <a:pt x="47" y="30"/>
                      </a:lnTo>
                      <a:lnTo>
                        <a:pt x="47" y="31"/>
                      </a:lnTo>
                      <a:lnTo>
                        <a:pt x="51" y="31"/>
                      </a:lnTo>
                      <a:lnTo>
                        <a:pt x="52" y="31"/>
                      </a:lnTo>
                      <a:lnTo>
                        <a:pt x="56" y="32"/>
                      </a:lnTo>
                      <a:lnTo>
                        <a:pt x="57" y="31"/>
                      </a:lnTo>
                      <a:lnTo>
                        <a:pt x="58" y="32"/>
                      </a:lnTo>
                      <a:lnTo>
                        <a:pt x="60" y="31"/>
                      </a:lnTo>
                      <a:lnTo>
                        <a:pt x="77" y="31"/>
                      </a:lnTo>
                      <a:lnTo>
                        <a:pt x="90" y="31"/>
                      </a:lnTo>
                      <a:lnTo>
                        <a:pt x="91" y="32"/>
                      </a:lnTo>
                      <a:lnTo>
                        <a:pt x="92" y="32"/>
                      </a:lnTo>
                      <a:lnTo>
                        <a:pt x="94" y="31"/>
                      </a:lnTo>
                      <a:lnTo>
                        <a:pt x="96" y="31"/>
                      </a:lnTo>
                      <a:lnTo>
                        <a:pt x="96" y="33"/>
                      </a:lnTo>
                      <a:lnTo>
                        <a:pt x="96" y="34"/>
                      </a:lnTo>
                      <a:lnTo>
                        <a:pt x="97" y="35"/>
                      </a:lnTo>
                      <a:lnTo>
                        <a:pt x="97" y="35"/>
                      </a:lnTo>
                      <a:lnTo>
                        <a:pt x="96" y="37"/>
                      </a:lnTo>
                      <a:lnTo>
                        <a:pt x="97" y="37"/>
                      </a:lnTo>
                      <a:lnTo>
                        <a:pt x="97" y="39"/>
                      </a:lnTo>
                      <a:lnTo>
                        <a:pt x="96" y="39"/>
                      </a:lnTo>
                      <a:lnTo>
                        <a:pt x="97" y="40"/>
                      </a:lnTo>
                      <a:lnTo>
                        <a:pt x="98" y="41"/>
                      </a:lnTo>
                      <a:lnTo>
                        <a:pt x="96" y="41"/>
                      </a:lnTo>
                      <a:lnTo>
                        <a:pt x="98" y="42"/>
                      </a:lnTo>
                      <a:lnTo>
                        <a:pt x="97" y="45"/>
                      </a:lnTo>
                      <a:lnTo>
                        <a:pt x="98" y="46"/>
                      </a:lnTo>
                      <a:lnTo>
                        <a:pt x="98" y="48"/>
                      </a:lnTo>
                      <a:lnTo>
                        <a:pt x="98" y="50"/>
                      </a:lnTo>
                      <a:lnTo>
                        <a:pt x="99" y="51"/>
                      </a:lnTo>
                      <a:lnTo>
                        <a:pt x="99" y="51"/>
                      </a:lnTo>
                      <a:lnTo>
                        <a:pt x="100" y="52"/>
                      </a:lnTo>
                      <a:lnTo>
                        <a:pt x="100" y="53"/>
                      </a:lnTo>
                      <a:lnTo>
                        <a:pt x="100" y="54"/>
                      </a:lnTo>
                      <a:lnTo>
                        <a:pt x="100" y="55"/>
                      </a:lnTo>
                      <a:lnTo>
                        <a:pt x="101" y="57"/>
                      </a:lnTo>
                      <a:lnTo>
                        <a:pt x="101" y="57"/>
                      </a:lnTo>
                      <a:lnTo>
                        <a:pt x="100" y="58"/>
                      </a:lnTo>
                      <a:lnTo>
                        <a:pt x="101" y="59"/>
                      </a:lnTo>
                      <a:lnTo>
                        <a:pt x="101" y="59"/>
                      </a:lnTo>
                      <a:lnTo>
                        <a:pt x="101" y="60"/>
                      </a:lnTo>
                      <a:lnTo>
                        <a:pt x="103" y="61"/>
                      </a:lnTo>
                      <a:lnTo>
                        <a:pt x="103" y="62"/>
                      </a:lnTo>
                      <a:lnTo>
                        <a:pt x="104" y="64"/>
                      </a:lnTo>
                      <a:lnTo>
                        <a:pt x="104" y="62"/>
                      </a:lnTo>
                      <a:lnTo>
                        <a:pt x="104" y="62"/>
                      </a:lnTo>
                      <a:lnTo>
                        <a:pt x="105" y="62"/>
                      </a:lnTo>
                      <a:lnTo>
                        <a:pt x="105" y="64"/>
                      </a:lnTo>
                      <a:lnTo>
                        <a:pt x="105" y="65"/>
                      </a:lnTo>
                      <a:lnTo>
                        <a:pt x="105" y="65"/>
                      </a:lnTo>
                      <a:lnTo>
                        <a:pt x="105" y="66"/>
                      </a:lnTo>
                      <a:lnTo>
                        <a:pt x="105" y="66"/>
                      </a:lnTo>
                      <a:lnTo>
                        <a:pt x="106" y="67"/>
                      </a:lnTo>
                      <a:lnTo>
                        <a:pt x="106" y="68"/>
                      </a:lnTo>
                      <a:lnTo>
                        <a:pt x="106" y="70"/>
                      </a:lnTo>
                      <a:lnTo>
                        <a:pt x="107" y="70"/>
                      </a:lnTo>
                      <a:lnTo>
                        <a:pt x="107" y="71"/>
                      </a:lnTo>
                      <a:lnTo>
                        <a:pt x="109" y="72"/>
                      </a:lnTo>
                      <a:lnTo>
                        <a:pt x="109" y="73"/>
                      </a:lnTo>
                      <a:lnTo>
                        <a:pt x="109" y="73"/>
                      </a:lnTo>
                      <a:lnTo>
                        <a:pt x="109" y="72"/>
                      </a:lnTo>
                      <a:lnTo>
                        <a:pt x="110" y="73"/>
                      </a:lnTo>
                      <a:lnTo>
                        <a:pt x="111" y="73"/>
                      </a:lnTo>
                      <a:lnTo>
                        <a:pt x="110" y="74"/>
                      </a:lnTo>
                      <a:lnTo>
                        <a:pt x="111" y="75"/>
                      </a:lnTo>
                      <a:lnTo>
                        <a:pt x="111" y="75"/>
                      </a:lnTo>
                      <a:lnTo>
                        <a:pt x="112" y="75"/>
                      </a:lnTo>
                      <a:lnTo>
                        <a:pt x="112" y="77"/>
                      </a:lnTo>
                      <a:lnTo>
                        <a:pt x="113" y="77"/>
                      </a:lnTo>
                      <a:lnTo>
                        <a:pt x="114" y="77"/>
                      </a:lnTo>
                      <a:lnTo>
                        <a:pt x="116" y="77"/>
                      </a:lnTo>
                      <a:lnTo>
                        <a:pt x="117" y="75"/>
                      </a:lnTo>
                      <a:lnTo>
                        <a:pt x="119" y="75"/>
                      </a:lnTo>
                      <a:lnTo>
                        <a:pt x="120" y="77"/>
                      </a:lnTo>
                      <a:lnTo>
                        <a:pt x="121" y="77"/>
                      </a:lnTo>
                      <a:lnTo>
                        <a:pt x="121" y="75"/>
                      </a:lnTo>
                      <a:lnTo>
                        <a:pt x="123" y="74"/>
                      </a:lnTo>
                      <a:lnTo>
                        <a:pt x="125" y="74"/>
                      </a:lnTo>
                      <a:lnTo>
                        <a:pt x="126" y="75"/>
                      </a:lnTo>
                      <a:lnTo>
                        <a:pt x="127" y="74"/>
                      </a:lnTo>
                      <a:lnTo>
                        <a:pt x="129" y="74"/>
                      </a:lnTo>
                      <a:lnTo>
                        <a:pt x="130" y="73"/>
                      </a:lnTo>
                      <a:lnTo>
                        <a:pt x="132" y="73"/>
                      </a:lnTo>
                      <a:lnTo>
                        <a:pt x="133" y="74"/>
                      </a:lnTo>
                      <a:lnTo>
                        <a:pt x="134" y="74"/>
                      </a:lnTo>
                      <a:lnTo>
                        <a:pt x="144" y="74"/>
                      </a:lnTo>
                      <a:lnTo>
                        <a:pt x="144" y="72"/>
                      </a:lnTo>
                      <a:lnTo>
                        <a:pt x="145" y="68"/>
                      </a:lnTo>
                      <a:lnTo>
                        <a:pt x="144" y="66"/>
                      </a:lnTo>
                      <a:lnTo>
                        <a:pt x="146" y="66"/>
                      </a:lnTo>
                      <a:lnTo>
                        <a:pt x="146" y="65"/>
                      </a:lnTo>
                      <a:lnTo>
                        <a:pt x="147" y="65"/>
                      </a:lnTo>
                      <a:lnTo>
                        <a:pt x="146" y="61"/>
                      </a:lnTo>
                      <a:lnTo>
                        <a:pt x="146" y="59"/>
                      </a:lnTo>
                      <a:lnTo>
                        <a:pt x="146" y="58"/>
                      </a:lnTo>
                      <a:lnTo>
                        <a:pt x="147" y="55"/>
                      </a:lnTo>
                      <a:lnTo>
                        <a:pt x="147" y="54"/>
                      </a:lnTo>
                      <a:lnTo>
                        <a:pt x="160" y="54"/>
                      </a:lnTo>
                      <a:lnTo>
                        <a:pt x="161" y="53"/>
                      </a:lnTo>
                      <a:lnTo>
                        <a:pt x="167" y="53"/>
                      </a:lnTo>
                      <a:lnTo>
                        <a:pt x="166" y="55"/>
                      </a:lnTo>
                      <a:lnTo>
                        <a:pt x="166" y="58"/>
                      </a:lnTo>
                      <a:lnTo>
                        <a:pt x="165" y="60"/>
                      </a:lnTo>
                      <a:lnTo>
                        <a:pt x="189" y="60"/>
                      </a:lnTo>
                      <a:lnTo>
                        <a:pt x="189" y="62"/>
                      </a:lnTo>
                      <a:lnTo>
                        <a:pt x="190" y="62"/>
                      </a:lnTo>
                      <a:lnTo>
                        <a:pt x="190" y="64"/>
                      </a:lnTo>
                      <a:lnTo>
                        <a:pt x="190" y="64"/>
                      </a:lnTo>
                      <a:lnTo>
                        <a:pt x="190" y="65"/>
                      </a:lnTo>
                      <a:lnTo>
                        <a:pt x="190" y="66"/>
                      </a:lnTo>
                      <a:lnTo>
                        <a:pt x="187" y="70"/>
                      </a:lnTo>
                      <a:lnTo>
                        <a:pt x="187" y="72"/>
                      </a:lnTo>
                      <a:lnTo>
                        <a:pt x="187" y="73"/>
                      </a:lnTo>
                      <a:lnTo>
                        <a:pt x="187" y="74"/>
                      </a:lnTo>
                      <a:lnTo>
                        <a:pt x="189" y="77"/>
                      </a:lnTo>
                      <a:lnTo>
                        <a:pt x="189" y="77"/>
                      </a:lnTo>
                      <a:lnTo>
                        <a:pt x="189" y="78"/>
                      </a:lnTo>
                      <a:lnTo>
                        <a:pt x="190" y="80"/>
                      </a:lnTo>
                      <a:lnTo>
                        <a:pt x="191" y="81"/>
                      </a:lnTo>
                      <a:lnTo>
                        <a:pt x="190" y="84"/>
                      </a:lnTo>
                      <a:lnTo>
                        <a:pt x="191" y="85"/>
                      </a:lnTo>
                      <a:lnTo>
                        <a:pt x="191" y="86"/>
                      </a:lnTo>
                      <a:lnTo>
                        <a:pt x="191" y="87"/>
                      </a:lnTo>
                      <a:lnTo>
                        <a:pt x="190" y="87"/>
                      </a:lnTo>
                      <a:lnTo>
                        <a:pt x="190" y="90"/>
                      </a:lnTo>
                      <a:lnTo>
                        <a:pt x="189" y="93"/>
                      </a:lnTo>
                      <a:lnTo>
                        <a:pt x="190" y="95"/>
                      </a:lnTo>
                      <a:lnTo>
                        <a:pt x="189" y="98"/>
                      </a:lnTo>
                      <a:lnTo>
                        <a:pt x="189" y="100"/>
                      </a:lnTo>
                      <a:lnTo>
                        <a:pt x="187" y="104"/>
                      </a:lnTo>
                      <a:lnTo>
                        <a:pt x="189" y="106"/>
                      </a:lnTo>
                      <a:lnTo>
                        <a:pt x="189" y="108"/>
                      </a:lnTo>
                      <a:lnTo>
                        <a:pt x="190" y="110"/>
                      </a:lnTo>
                      <a:lnTo>
                        <a:pt x="191" y="111"/>
                      </a:lnTo>
                      <a:lnTo>
                        <a:pt x="191" y="112"/>
                      </a:lnTo>
                      <a:lnTo>
                        <a:pt x="192" y="112"/>
                      </a:lnTo>
                      <a:lnTo>
                        <a:pt x="192" y="113"/>
                      </a:lnTo>
                      <a:lnTo>
                        <a:pt x="193" y="114"/>
                      </a:lnTo>
                      <a:lnTo>
                        <a:pt x="194" y="115"/>
                      </a:lnTo>
                      <a:lnTo>
                        <a:pt x="194" y="117"/>
                      </a:lnTo>
                      <a:lnTo>
                        <a:pt x="194" y="117"/>
                      </a:lnTo>
                      <a:lnTo>
                        <a:pt x="196" y="120"/>
                      </a:lnTo>
                      <a:lnTo>
                        <a:pt x="196" y="121"/>
                      </a:lnTo>
                      <a:lnTo>
                        <a:pt x="197" y="124"/>
                      </a:lnTo>
                      <a:lnTo>
                        <a:pt x="197" y="125"/>
                      </a:lnTo>
                      <a:lnTo>
                        <a:pt x="197" y="126"/>
                      </a:lnTo>
                      <a:lnTo>
                        <a:pt x="197" y="131"/>
                      </a:lnTo>
                      <a:lnTo>
                        <a:pt x="197" y="132"/>
                      </a:lnTo>
                      <a:lnTo>
                        <a:pt x="194" y="133"/>
                      </a:lnTo>
                      <a:lnTo>
                        <a:pt x="194" y="133"/>
                      </a:lnTo>
                      <a:lnTo>
                        <a:pt x="194" y="135"/>
                      </a:lnTo>
                      <a:lnTo>
                        <a:pt x="194" y="137"/>
                      </a:lnTo>
                      <a:lnTo>
                        <a:pt x="196" y="138"/>
                      </a:lnTo>
                      <a:lnTo>
                        <a:pt x="194" y="140"/>
                      </a:lnTo>
                      <a:lnTo>
                        <a:pt x="193" y="142"/>
                      </a:lnTo>
                      <a:lnTo>
                        <a:pt x="194" y="142"/>
                      </a:lnTo>
                      <a:lnTo>
                        <a:pt x="196" y="140"/>
                      </a:lnTo>
                      <a:lnTo>
                        <a:pt x="197" y="140"/>
                      </a:lnTo>
                      <a:lnTo>
                        <a:pt x="199" y="139"/>
                      </a:lnTo>
                      <a:lnTo>
                        <a:pt x="200" y="138"/>
                      </a:lnTo>
                      <a:lnTo>
                        <a:pt x="203" y="138"/>
                      </a:lnTo>
                      <a:lnTo>
                        <a:pt x="204" y="139"/>
                      </a:lnTo>
                      <a:lnTo>
                        <a:pt x="205" y="139"/>
                      </a:lnTo>
                      <a:lnTo>
                        <a:pt x="206" y="138"/>
                      </a:lnTo>
                      <a:lnTo>
                        <a:pt x="209" y="139"/>
                      </a:lnTo>
                      <a:lnTo>
                        <a:pt x="210" y="139"/>
                      </a:lnTo>
                      <a:lnTo>
                        <a:pt x="211" y="138"/>
                      </a:lnTo>
                      <a:lnTo>
                        <a:pt x="213" y="138"/>
                      </a:lnTo>
                      <a:lnTo>
                        <a:pt x="216" y="137"/>
                      </a:lnTo>
                      <a:lnTo>
                        <a:pt x="218" y="135"/>
                      </a:lnTo>
                      <a:lnTo>
                        <a:pt x="221" y="137"/>
                      </a:lnTo>
                      <a:lnTo>
                        <a:pt x="223" y="137"/>
                      </a:lnTo>
                      <a:lnTo>
                        <a:pt x="224" y="138"/>
                      </a:lnTo>
                      <a:lnTo>
                        <a:pt x="225" y="137"/>
                      </a:lnTo>
                      <a:lnTo>
                        <a:pt x="225" y="135"/>
                      </a:lnTo>
                      <a:lnTo>
                        <a:pt x="226" y="135"/>
                      </a:lnTo>
                      <a:lnTo>
                        <a:pt x="227" y="138"/>
                      </a:lnTo>
                      <a:lnTo>
                        <a:pt x="227" y="141"/>
                      </a:lnTo>
                      <a:lnTo>
                        <a:pt x="228" y="145"/>
                      </a:lnTo>
                      <a:lnTo>
                        <a:pt x="227" y="145"/>
                      </a:lnTo>
                      <a:lnTo>
                        <a:pt x="227" y="147"/>
                      </a:lnTo>
                      <a:lnTo>
                        <a:pt x="226" y="151"/>
                      </a:lnTo>
                      <a:lnTo>
                        <a:pt x="227" y="153"/>
                      </a:lnTo>
                      <a:lnTo>
                        <a:pt x="226" y="154"/>
                      </a:lnTo>
                      <a:lnTo>
                        <a:pt x="226" y="161"/>
                      </a:lnTo>
                      <a:lnTo>
                        <a:pt x="226" y="162"/>
                      </a:lnTo>
                      <a:lnTo>
                        <a:pt x="227" y="165"/>
                      </a:lnTo>
                      <a:lnTo>
                        <a:pt x="225" y="168"/>
                      </a:lnTo>
                      <a:lnTo>
                        <a:pt x="224" y="173"/>
                      </a:lnTo>
                      <a:lnTo>
                        <a:pt x="226" y="178"/>
                      </a:lnTo>
                      <a:lnTo>
                        <a:pt x="190" y="178"/>
                      </a:lnTo>
                      <a:lnTo>
                        <a:pt x="189" y="242"/>
                      </a:lnTo>
                      <a:lnTo>
                        <a:pt x="190" y="245"/>
                      </a:lnTo>
                      <a:lnTo>
                        <a:pt x="191" y="246"/>
                      </a:lnTo>
                      <a:lnTo>
                        <a:pt x="191" y="249"/>
                      </a:lnTo>
                      <a:lnTo>
                        <a:pt x="193" y="251"/>
                      </a:lnTo>
                      <a:lnTo>
                        <a:pt x="193" y="252"/>
                      </a:lnTo>
                      <a:lnTo>
                        <a:pt x="197" y="254"/>
                      </a:lnTo>
                      <a:lnTo>
                        <a:pt x="200" y="260"/>
                      </a:lnTo>
                      <a:lnTo>
                        <a:pt x="207" y="266"/>
                      </a:lnTo>
                      <a:lnTo>
                        <a:pt x="209" y="269"/>
                      </a:lnTo>
                      <a:lnTo>
                        <a:pt x="214" y="273"/>
                      </a:lnTo>
                      <a:lnTo>
                        <a:pt x="176" y="280"/>
                      </a:lnTo>
                      <a:lnTo>
                        <a:pt x="173" y="280"/>
                      </a:lnTo>
                      <a:lnTo>
                        <a:pt x="173" y="279"/>
                      </a:lnTo>
                      <a:lnTo>
                        <a:pt x="170" y="279"/>
                      </a:lnTo>
                      <a:lnTo>
                        <a:pt x="167" y="280"/>
                      </a:lnTo>
                      <a:lnTo>
                        <a:pt x="166" y="281"/>
                      </a:lnTo>
                      <a:lnTo>
                        <a:pt x="165" y="280"/>
                      </a:lnTo>
                      <a:lnTo>
                        <a:pt x="165" y="280"/>
                      </a:lnTo>
                      <a:lnTo>
                        <a:pt x="164" y="280"/>
                      </a:lnTo>
                      <a:lnTo>
                        <a:pt x="163" y="280"/>
                      </a:lnTo>
                      <a:lnTo>
                        <a:pt x="161" y="280"/>
                      </a:lnTo>
                      <a:lnTo>
                        <a:pt x="160" y="280"/>
                      </a:lnTo>
                      <a:lnTo>
                        <a:pt x="159" y="279"/>
                      </a:lnTo>
                      <a:lnTo>
                        <a:pt x="157" y="278"/>
                      </a:lnTo>
                      <a:lnTo>
                        <a:pt x="156" y="278"/>
                      </a:lnTo>
                      <a:lnTo>
                        <a:pt x="154" y="278"/>
                      </a:lnTo>
                      <a:lnTo>
                        <a:pt x="153" y="279"/>
                      </a:lnTo>
                      <a:lnTo>
                        <a:pt x="153" y="278"/>
                      </a:lnTo>
                      <a:lnTo>
                        <a:pt x="151" y="278"/>
                      </a:lnTo>
                      <a:lnTo>
                        <a:pt x="150" y="278"/>
                      </a:lnTo>
                      <a:lnTo>
                        <a:pt x="149" y="278"/>
                      </a:lnTo>
                      <a:lnTo>
                        <a:pt x="147" y="278"/>
                      </a:lnTo>
                      <a:lnTo>
                        <a:pt x="147" y="278"/>
                      </a:lnTo>
                      <a:lnTo>
                        <a:pt x="146" y="278"/>
                      </a:lnTo>
                      <a:lnTo>
                        <a:pt x="146" y="278"/>
                      </a:lnTo>
                      <a:lnTo>
                        <a:pt x="146" y="276"/>
                      </a:lnTo>
                      <a:lnTo>
                        <a:pt x="144" y="278"/>
                      </a:lnTo>
                      <a:lnTo>
                        <a:pt x="139" y="276"/>
                      </a:lnTo>
                      <a:lnTo>
                        <a:pt x="139" y="276"/>
                      </a:lnTo>
                      <a:lnTo>
                        <a:pt x="138" y="276"/>
                      </a:lnTo>
                      <a:lnTo>
                        <a:pt x="138" y="276"/>
                      </a:lnTo>
                      <a:lnTo>
                        <a:pt x="137" y="276"/>
                      </a:lnTo>
                      <a:lnTo>
                        <a:pt x="136" y="276"/>
                      </a:lnTo>
                      <a:lnTo>
                        <a:pt x="136" y="278"/>
                      </a:lnTo>
                      <a:lnTo>
                        <a:pt x="133" y="276"/>
                      </a:lnTo>
                      <a:lnTo>
                        <a:pt x="130" y="275"/>
                      </a:lnTo>
                      <a:lnTo>
                        <a:pt x="127" y="273"/>
                      </a:lnTo>
                      <a:lnTo>
                        <a:pt x="127" y="273"/>
                      </a:lnTo>
                      <a:lnTo>
                        <a:pt x="126" y="272"/>
                      </a:lnTo>
                      <a:lnTo>
                        <a:pt x="125" y="272"/>
                      </a:lnTo>
                      <a:lnTo>
                        <a:pt x="125" y="271"/>
                      </a:lnTo>
                      <a:lnTo>
                        <a:pt x="124" y="268"/>
                      </a:lnTo>
                      <a:lnTo>
                        <a:pt x="124" y="267"/>
                      </a:lnTo>
                      <a:lnTo>
                        <a:pt x="80" y="267"/>
                      </a:lnTo>
                      <a:lnTo>
                        <a:pt x="49" y="267"/>
                      </a:lnTo>
                      <a:lnTo>
                        <a:pt x="47" y="268"/>
                      </a:lnTo>
                      <a:lnTo>
                        <a:pt x="44" y="268"/>
                      </a:lnTo>
                      <a:lnTo>
                        <a:pt x="43" y="268"/>
                      </a:lnTo>
                      <a:lnTo>
                        <a:pt x="41" y="266"/>
                      </a:lnTo>
                      <a:lnTo>
                        <a:pt x="41" y="266"/>
                      </a:lnTo>
                      <a:close/>
                      <a:moveTo>
                        <a:pt x="14" y="30"/>
                      </a:moveTo>
                      <a:lnTo>
                        <a:pt x="16" y="28"/>
                      </a:lnTo>
                      <a:lnTo>
                        <a:pt x="20" y="27"/>
                      </a:lnTo>
                      <a:lnTo>
                        <a:pt x="20" y="15"/>
                      </a:lnTo>
                      <a:lnTo>
                        <a:pt x="19" y="15"/>
                      </a:lnTo>
                      <a:lnTo>
                        <a:pt x="19" y="13"/>
                      </a:lnTo>
                      <a:lnTo>
                        <a:pt x="20" y="13"/>
                      </a:lnTo>
                      <a:lnTo>
                        <a:pt x="21" y="13"/>
                      </a:lnTo>
                      <a:lnTo>
                        <a:pt x="23" y="12"/>
                      </a:lnTo>
                      <a:lnTo>
                        <a:pt x="24" y="12"/>
                      </a:lnTo>
                      <a:lnTo>
                        <a:pt x="24" y="11"/>
                      </a:lnTo>
                      <a:lnTo>
                        <a:pt x="25" y="10"/>
                      </a:lnTo>
                      <a:lnTo>
                        <a:pt x="25" y="8"/>
                      </a:lnTo>
                      <a:lnTo>
                        <a:pt x="25" y="7"/>
                      </a:lnTo>
                      <a:lnTo>
                        <a:pt x="26" y="7"/>
                      </a:lnTo>
                      <a:lnTo>
                        <a:pt x="27" y="7"/>
                      </a:lnTo>
                      <a:lnTo>
                        <a:pt x="30" y="6"/>
                      </a:lnTo>
                      <a:lnTo>
                        <a:pt x="30" y="6"/>
                      </a:lnTo>
                      <a:lnTo>
                        <a:pt x="31" y="6"/>
                      </a:lnTo>
                      <a:lnTo>
                        <a:pt x="31" y="5"/>
                      </a:lnTo>
                      <a:lnTo>
                        <a:pt x="30" y="5"/>
                      </a:lnTo>
                      <a:lnTo>
                        <a:pt x="27" y="2"/>
                      </a:lnTo>
                      <a:lnTo>
                        <a:pt x="27" y="1"/>
                      </a:lnTo>
                      <a:lnTo>
                        <a:pt x="25" y="1"/>
                      </a:lnTo>
                      <a:lnTo>
                        <a:pt x="25" y="0"/>
                      </a:lnTo>
                      <a:lnTo>
                        <a:pt x="24" y="2"/>
                      </a:lnTo>
                      <a:lnTo>
                        <a:pt x="23" y="4"/>
                      </a:lnTo>
                      <a:lnTo>
                        <a:pt x="18" y="5"/>
                      </a:lnTo>
                      <a:lnTo>
                        <a:pt x="17" y="8"/>
                      </a:lnTo>
                      <a:lnTo>
                        <a:pt x="16" y="8"/>
                      </a:lnTo>
                      <a:lnTo>
                        <a:pt x="16" y="8"/>
                      </a:lnTo>
                      <a:lnTo>
                        <a:pt x="14" y="10"/>
                      </a:lnTo>
                      <a:lnTo>
                        <a:pt x="14" y="11"/>
                      </a:lnTo>
                      <a:lnTo>
                        <a:pt x="12" y="12"/>
                      </a:lnTo>
                      <a:lnTo>
                        <a:pt x="11" y="13"/>
                      </a:lnTo>
                      <a:lnTo>
                        <a:pt x="12" y="13"/>
                      </a:lnTo>
                      <a:lnTo>
                        <a:pt x="13" y="13"/>
                      </a:lnTo>
                      <a:lnTo>
                        <a:pt x="12" y="14"/>
                      </a:lnTo>
                      <a:lnTo>
                        <a:pt x="11" y="13"/>
                      </a:lnTo>
                      <a:lnTo>
                        <a:pt x="12" y="14"/>
                      </a:lnTo>
                      <a:lnTo>
                        <a:pt x="12" y="15"/>
                      </a:lnTo>
                      <a:lnTo>
                        <a:pt x="13" y="15"/>
                      </a:lnTo>
                      <a:lnTo>
                        <a:pt x="13" y="19"/>
                      </a:lnTo>
                      <a:lnTo>
                        <a:pt x="14" y="22"/>
                      </a:lnTo>
                      <a:lnTo>
                        <a:pt x="14" y="22"/>
                      </a:lnTo>
                      <a:lnTo>
                        <a:pt x="14" y="24"/>
                      </a:lnTo>
                      <a:lnTo>
                        <a:pt x="13" y="27"/>
                      </a:lnTo>
                      <a:lnTo>
                        <a:pt x="14" y="30"/>
                      </a:lnTo>
                      <a:lnTo>
                        <a:pt x="14" y="30"/>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568" name="Algeria">
                  <a:extLst>
                    <a:ext uri="{FF2B5EF4-FFF2-40B4-BE49-F238E27FC236}">
                      <a16:creationId xmlns:a16="http://schemas.microsoft.com/office/drawing/2014/main" id="{9B6400BB-31CF-6C4C-96DD-33F8F4C3D508}"/>
                    </a:ext>
                  </a:extLst>
                </p:cNvPr>
                <p:cNvSpPr>
                  <a:spLocks/>
                </p:cNvSpPr>
                <p:nvPr/>
              </p:nvSpPr>
              <p:spPr bwMode="auto">
                <a:xfrm>
                  <a:off x="6142181" y="2877034"/>
                  <a:ext cx="530694" cy="540899"/>
                </a:xfrm>
                <a:custGeom>
                  <a:avLst/>
                  <a:gdLst>
                    <a:gd name="T0" fmla="*/ 122 w 364"/>
                    <a:gd name="T1" fmla="*/ 47 h 371"/>
                    <a:gd name="T2" fmla="*/ 122 w 364"/>
                    <a:gd name="T3" fmla="*/ 60 h 371"/>
                    <a:gd name="T4" fmla="*/ 123 w 364"/>
                    <a:gd name="T5" fmla="*/ 76 h 371"/>
                    <a:gd name="T6" fmla="*/ 125 w 364"/>
                    <a:gd name="T7" fmla="*/ 86 h 371"/>
                    <a:gd name="T8" fmla="*/ 131 w 364"/>
                    <a:gd name="T9" fmla="*/ 96 h 371"/>
                    <a:gd name="T10" fmla="*/ 127 w 364"/>
                    <a:gd name="T11" fmla="*/ 102 h 371"/>
                    <a:gd name="T12" fmla="*/ 100 w 364"/>
                    <a:gd name="T13" fmla="*/ 104 h 371"/>
                    <a:gd name="T14" fmla="*/ 85 w 364"/>
                    <a:gd name="T15" fmla="*/ 110 h 371"/>
                    <a:gd name="T16" fmla="*/ 88 w 364"/>
                    <a:gd name="T17" fmla="*/ 117 h 371"/>
                    <a:gd name="T18" fmla="*/ 87 w 364"/>
                    <a:gd name="T19" fmla="*/ 122 h 371"/>
                    <a:gd name="T20" fmla="*/ 84 w 364"/>
                    <a:gd name="T21" fmla="*/ 126 h 371"/>
                    <a:gd name="T22" fmla="*/ 77 w 364"/>
                    <a:gd name="T23" fmla="*/ 130 h 371"/>
                    <a:gd name="T24" fmla="*/ 68 w 364"/>
                    <a:gd name="T25" fmla="*/ 134 h 371"/>
                    <a:gd name="T26" fmla="*/ 55 w 364"/>
                    <a:gd name="T27" fmla="*/ 148 h 371"/>
                    <a:gd name="T28" fmla="*/ 38 w 364"/>
                    <a:gd name="T29" fmla="*/ 150 h 371"/>
                    <a:gd name="T30" fmla="*/ 23 w 364"/>
                    <a:gd name="T31" fmla="*/ 156 h 371"/>
                    <a:gd name="T32" fmla="*/ 10 w 364"/>
                    <a:gd name="T33" fmla="*/ 166 h 371"/>
                    <a:gd name="T34" fmla="*/ 0 w 364"/>
                    <a:gd name="T35" fmla="*/ 202 h 371"/>
                    <a:gd name="T36" fmla="*/ 176 w 364"/>
                    <a:gd name="T37" fmla="*/ 337 h 371"/>
                    <a:gd name="T38" fmla="*/ 187 w 364"/>
                    <a:gd name="T39" fmla="*/ 345 h 371"/>
                    <a:gd name="T40" fmla="*/ 197 w 364"/>
                    <a:gd name="T41" fmla="*/ 350 h 371"/>
                    <a:gd name="T42" fmla="*/ 209 w 364"/>
                    <a:gd name="T43" fmla="*/ 354 h 371"/>
                    <a:gd name="T44" fmla="*/ 207 w 364"/>
                    <a:gd name="T45" fmla="*/ 368 h 371"/>
                    <a:gd name="T46" fmla="*/ 356 w 364"/>
                    <a:gd name="T47" fmla="*/ 262 h 371"/>
                    <a:gd name="T48" fmla="*/ 329 w 364"/>
                    <a:gd name="T49" fmla="*/ 241 h 371"/>
                    <a:gd name="T50" fmla="*/ 327 w 364"/>
                    <a:gd name="T51" fmla="*/ 213 h 371"/>
                    <a:gd name="T52" fmla="*/ 324 w 364"/>
                    <a:gd name="T53" fmla="*/ 196 h 371"/>
                    <a:gd name="T54" fmla="*/ 322 w 364"/>
                    <a:gd name="T55" fmla="*/ 156 h 371"/>
                    <a:gd name="T56" fmla="*/ 309 w 364"/>
                    <a:gd name="T57" fmla="*/ 102 h 371"/>
                    <a:gd name="T58" fmla="*/ 285 w 364"/>
                    <a:gd name="T59" fmla="*/ 79 h 371"/>
                    <a:gd name="T60" fmla="*/ 287 w 364"/>
                    <a:gd name="T61" fmla="*/ 55 h 371"/>
                    <a:gd name="T62" fmla="*/ 294 w 364"/>
                    <a:gd name="T63" fmla="*/ 43 h 371"/>
                    <a:gd name="T64" fmla="*/ 294 w 364"/>
                    <a:gd name="T65" fmla="*/ 35 h 371"/>
                    <a:gd name="T66" fmla="*/ 294 w 364"/>
                    <a:gd name="T67" fmla="*/ 19 h 371"/>
                    <a:gd name="T68" fmla="*/ 294 w 364"/>
                    <a:gd name="T69" fmla="*/ 9 h 371"/>
                    <a:gd name="T70" fmla="*/ 296 w 364"/>
                    <a:gd name="T71" fmla="*/ 7 h 371"/>
                    <a:gd name="T72" fmla="*/ 297 w 364"/>
                    <a:gd name="T73" fmla="*/ 3 h 371"/>
                    <a:gd name="T74" fmla="*/ 291 w 364"/>
                    <a:gd name="T75" fmla="*/ 2 h 371"/>
                    <a:gd name="T76" fmla="*/ 283 w 364"/>
                    <a:gd name="T77" fmla="*/ 3 h 371"/>
                    <a:gd name="T78" fmla="*/ 280 w 364"/>
                    <a:gd name="T79" fmla="*/ 2 h 371"/>
                    <a:gd name="T80" fmla="*/ 276 w 364"/>
                    <a:gd name="T81" fmla="*/ 0 h 371"/>
                    <a:gd name="T82" fmla="*/ 274 w 364"/>
                    <a:gd name="T83" fmla="*/ 0 h 371"/>
                    <a:gd name="T84" fmla="*/ 272 w 364"/>
                    <a:gd name="T85" fmla="*/ 3 h 371"/>
                    <a:gd name="T86" fmla="*/ 268 w 364"/>
                    <a:gd name="T87" fmla="*/ 2 h 371"/>
                    <a:gd name="T88" fmla="*/ 263 w 364"/>
                    <a:gd name="T89" fmla="*/ 1 h 371"/>
                    <a:gd name="T90" fmla="*/ 258 w 364"/>
                    <a:gd name="T91" fmla="*/ 1 h 371"/>
                    <a:gd name="T92" fmla="*/ 249 w 364"/>
                    <a:gd name="T93" fmla="*/ 4 h 371"/>
                    <a:gd name="T94" fmla="*/ 238 w 364"/>
                    <a:gd name="T95" fmla="*/ 7 h 371"/>
                    <a:gd name="T96" fmla="*/ 223 w 364"/>
                    <a:gd name="T97" fmla="*/ 4 h 371"/>
                    <a:gd name="T98" fmla="*/ 208 w 364"/>
                    <a:gd name="T99" fmla="*/ 6 h 371"/>
                    <a:gd name="T100" fmla="*/ 202 w 364"/>
                    <a:gd name="T101" fmla="*/ 6 h 371"/>
                    <a:gd name="T102" fmla="*/ 192 w 364"/>
                    <a:gd name="T103" fmla="*/ 9 h 371"/>
                    <a:gd name="T104" fmla="*/ 172 w 364"/>
                    <a:gd name="T105" fmla="*/ 10 h 371"/>
                    <a:gd name="T106" fmla="*/ 164 w 364"/>
                    <a:gd name="T107" fmla="*/ 14 h 371"/>
                    <a:gd name="T108" fmla="*/ 157 w 364"/>
                    <a:gd name="T109" fmla="*/ 19 h 371"/>
                    <a:gd name="T110" fmla="*/ 149 w 364"/>
                    <a:gd name="T111" fmla="*/ 21 h 371"/>
                    <a:gd name="T112" fmla="*/ 141 w 364"/>
                    <a:gd name="T113" fmla="*/ 24 h 371"/>
                    <a:gd name="T114" fmla="*/ 130 w 364"/>
                    <a:gd name="T115" fmla="*/ 30 h 371"/>
                    <a:gd name="T116" fmla="*/ 122 w 364"/>
                    <a:gd name="T117" fmla="*/ 37 h 371"/>
                    <a:gd name="T118" fmla="*/ 114 w 364"/>
                    <a:gd name="T119" fmla="*/ 41 h 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64" h="371">
                      <a:moveTo>
                        <a:pt x="114" y="41"/>
                      </a:moveTo>
                      <a:lnTo>
                        <a:pt x="113" y="42"/>
                      </a:lnTo>
                      <a:lnTo>
                        <a:pt x="114" y="42"/>
                      </a:lnTo>
                      <a:lnTo>
                        <a:pt x="116" y="44"/>
                      </a:lnTo>
                      <a:lnTo>
                        <a:pt x="117" y="44"/>
                      </a:lnTo>
                      <a:lnTo>
                        <a:pt x="117" y="46"/>
                      </a:lnTo>
                      <a:lnTo>
                        <a:pt x="120" y="47"/>
                      </a:lnTo>
                      <a:lnTo>
                        <a:pt x="122" y="47"/>
                      </a:lnTo>
                      <a:lnTo>
                        <a:pt x="121" y="48"/>
                      </a:lnTo>
                      <a:lnTo>
                        <a:pt x="121" y="49"/>
                      </a:lnTo>
                      <a:lnTo>
                        <a:pt x="120" y="50"/>
                      </a:lnTo>
                      <a:lnTo>
                        <a:pt x="121" y="51"/>
                      </a:lnTo>
                      <a:lnTo>
                        <a:pt x="122" y="53"/>
                      </a:lnTo>
                      <a:lnTo>
                        <a:pt x="121" y="55"/>
                      </a:lnTo>
                      <a:lnTo>
                        <a:pt x="121" y="59"/>
                      </a:lnTo>
                      <a:lnTo>
                        <a:pt x="122" y="60"/>
                      </a:lnTo>
                      <a:lnTo>
                        <a:pt x="123" y="61"/>
                      </a:lnTo>
                      <a:lnTo>
                        <a:pt x="122" y="66"/>
                      </a:lnTo>
                      <a:lnTo>
                        <a:pt x="123" y="68"/>
                      </a:lnTo>
                      <a:lnTo>
                        <a:pt x="122" y="69"/>
                      </a:lnTo>
                      <a:lnTo>
                        <a:pt x="123" y="70"/>
                      </a:lnTo>
                      <a:lnTo>
                        <a:pt x="124" y="71"/>
                      </a:lnTo>
                      <a:lnTo>
                        <a:pt x="124" y="73"/>
                      </a:lnTo>
                      <a:lnTo>
                        <a:pt x="123" y="76"/>
                      </a:lnTo>
                      <a:lnTo>
                        <a:pt x="123" y="77"/>
                      </a:lnTo>
                      <a:lnTo>
                        <a:pt x="123" y="79"/>
                      </a:lnTo>
                      <a:lnTo>
                        <a:pt x="123" y="80"/>
                      </a:lnTo>
                      <a:lnTo>
                        <a:pt x="123" y="81"/>
                      </a:lnTo>
                      <a:lnTo>
                        <a:pt x="125" y="81"/>
                      </a:lnTo>
                      <a:lnTo>
                        <a:pt x="125" y="82"/>
                      </a:lnTo>
                      <a:lnTo>
                        <a:pt x="125" y="83"/>
                      </a:lnTo>
                      <a:lnTo>
                        <a:pt x="125" y="86"/>
                      </a:lnTo>
                      <a:lnTo>
                        <a:pt x="125" y="88"/>
                      </a:lnTo>
                      <a:lnTo>
                        <a:pt x="128" y="90"/>
                      </a:lnTo>
                      <a:lnTo>
                        <a:pt x="129" y="90"/>
                      </a:lnTo>
                      <a:lnTo>
                        <a:pt x="130" y="90"/>
                      </a:lnTo>
                      <a:lnTo>
                        <a:pt x="133" y="91"/>
                      </a:lnTo>
                      <a:lnTo>
                        <a:pt x="134" y="94"/>
                      </a:lnTo>
                      <a:lnTo>
                        <a:pt x="133" y="96"/>
                      </a:lnTo>
                      <a:lnTo>
                        <a:pt x="131" y="96"/>
                      </a:lnTo>
                      <a:lnTo>
                        <a:pt x="130" y="98"/>
                      </a:lnTo>
                      <a:lnTo>
                        <a:pt x="130" y="100"/>
                      </a:lnTo>
                      <a:lnTo>
                        <a:pt x="128" y="101"/>
                      </a:lnTo>
                      <a:lnTo>
                        <a:pt x="131" y="100"/>
                      </a:lnTo>
                      <a:lnTo>
                        <a:pt x="131" y="101"/>
                      </a:lnTo>
                      <a:lnTo>
                        <a:pt x="131" y="102"/>
                      </a:lnTo>
                      <a:lnTo>
                        <a:pt x="130" y="102"/>
                      </a:lnTo>
                      <a:lnTo>
                        <a:pt x="127" y="102"/>
                      </a:lnTo>
                      <a:lnTo>
                        <a:pt x="124" y="101"/>
                      </a:lnTo>
                      <a:lnTo>
                        <a:pt x="121" y="102"/>
                      </a:lnTo>
                      <a:lnTo>
                        <a:pt x="116" y="102"/>
                      </a:lnTo>
                      <a:lnTo>
                        <a:pt x="111" y="101"/>
                      </a:lnTo>
                      <a:lnTo>
                        <a:pt x="108" y="101"/>
                      </a:lnTo>
                      <a:lnTo>
                        <a:pt x="104" y="102"/>
                      </a:lnTo>
                      <a:lnTo>
                        <a:pt x="101" y="103"/>
                      </a:lnTo>
                      <a:lnTo>
                        <a:pt x="100" y="104"/>
                      </a:lnTo>
                      <a:lnTo>
                        <a:pt x="101" y="107"/>
                      </a:lnTo>
                      <a:lnTo>
                        <a:pt x="100" y="108"/>
                      </a:lnTo>
                      <a:lnTo>
                        <a:pt x="96" y="109"/>
                      </a:lnTo>
                      <a:lnTo>
                        <a:pt x="95" y="109"/>
                      </a:lnTo>
                      <a:lnTo>
                        <a:pt x="93" y="110"/>
                      </a:lnTo>
                      <a:lnTo>
                        <a:pt x="90" y="110"/>
                      </a:lnTo>
                      <a:lnTo>
                        <a:pt x="88" y="109"/>
                      </a:lnTo>
                      <a:lnTo>
                        <a:pt x="85" y="110"/>
                      </a:lnTo>
                      <a:lnTo>
                        <a:pt x="85" y="111"/>
                      </a:lnTo>
                      <a:lnTo>
                        <a:pt x="84" y="113"/>
                      </a:lnTo>
                      <a:lnTo>
                        <a:pt x="84" y="115"/>
                      </a:lnTo>
                      <a:lnTo>
                        <a:pt x="85" y="115"/>
                      </a:lnTo>
                      <a:lnTo>
                        <a:pt x="87" y="116"/>
                      </a:lnTo>
                      <a:lnTo>
                        <a:pt x="88" y="116"/>
                      </a:lnTo>
                      <a:lnTo>
                        <a:pt x="88" y="116"/>
                      </a:lnTo>
                      <a:lnTo>
                        <a:pt x="88" y="117"/>
                      </a:lnTo>
                      <a:lnTo>
                        <a:pt x="87" y="117"/>
                      </a:lnTo>
                      <a:lnTo>
                        <a:pt x="85" y="117"/>
                      </a:lnTo>
                      <a:lnTo>
                        <a:pt x="84" y="118"/>
                      </a:lnTo>
                      <a:lnTo>
                        <a:pt x="84" y="120"/>
                      </a:lnTo>
                      <a:lnTo>
                        <a:pt x="84" y="121"/>
                      </a:lnTo>
                      <a:lnTo>
                        <a:pt x="85" y="122"/>
                      </a:lnTo>
                      <a:lnTo>
                        <a:pt x="87" y="121"/>
                      </a:lnTo>
                      <a:lnTo>
                        <a:pt x="87" y="122"/>
                      </a:lnTo>
                      <a:lnTo>
                        <a:pt x="88" y="121"/>
                      </a:lnTo>
                      <a:lnTo>
                        <a:pt x="89" y="122"/>
                      </a:lnTo>
                      <a:lnTo>
                        <a:pt x="89" y="124"/>
                      </a:lnTo>
                      <a:lnTo>
                        <a:pt x="88" y="126"/>
                      </a:lnTo>
                      <a:lnTo>
                        <a:pt x="88" y="126"/>
                      </a:lnTo>
                      <a:lnTo>
                        <a:pt x="87" y="126"/>
                      </a:lnTo>
                      <a:lnTo>
                        <a:pt x="84" y="126"/>
                      </a:lnTo>
                      <a:lnTo>
                        <a:pt x="84" y="126"/>
                      </a:lnTo>
                      <a:lnTo>
                        <a:pt x="83" y="126"/>
                      </a:lnTo>
                      <a:lnTo>
                        <a:pt x="83" y="126"/>
                      </a:lnTo>
                      <a:lnTo>
                        <a:pt x="82" y="126"/>
                      </a:lnTo>
                      <a:lnTo>
                        <a:pt x="81" y="127"/>
                      </a:lnTo>
                      <a:lnTo>
                        <a:pt x="80" y="128"/>
                      </a:lnTo>
                      <a:lnTo>
                        <a:pt x="80" y="129"/>
                      </a:lnTo>
                      <a:lnTo>
                        <a:pt x="78" y="130"/>
                      </a:lnTo>
                      <a:lnTo>
                        <a:pt x="77" y="130"/>
                      </a:lnTo>
                      <a:lnTo>
                        <a:pt x="76" y="131"/>
                      </a:lnTo>
                      <a:lnTo>
                        <a:pt x="75" y="131"/>
                      </a:lnTo>
                      <a:lnTo>
                        <a:pt x="75" y="131"/>
                      </a:lnTo>
                      <a:lnTo>
                        <a:pt x="74" y="133"/>
                      </a:lnTo>
                      <a:lnTo>
                        <a:pt x="73" y="133"/>
                      </a:lnTo>
                      <a:lnTo>
                        <a:pt x="70" y="133"/>
                      </a:lnTo>
                      <a:lnTo>
                        <a:pt x="69" y="133"/>
                      </a:lnTo>
                      <a:lnTo>
                        <a:pt x="68" y="134"/>
                      </a:lnTo>
                      <a:lnTo>
                        <a:pt x="67" y="135"/>
                      </a:lnTo>
                      <a:lnTo>
                        <a:pt x="65" y="136"/>
                      </a:lnTo>
                      <a:lnTo>
                        <a:pt x="63" y="137"/>
                      </a:lnTo>
                      <a:lnTo>
                        <a:pt x="63" y="141"/>
                      </a:lnTo>
                      <a:lnTo>
                        <a:pt x="62" y="141"/>
                      </a:lnTo>
                      <a:lnTo>
                        <a:pt x="61" y="142"/>
                      </a:lnTo>
                      <a:lnTo>
                        <a:pt x="58" y="146"/>
                      </a:lnTo>
                      <a:lnTo>
                        <a:pt x="55" y="148"/>
                      </a:lnTo>
                      <a:lnTo>
                        <a:pt x="50" y="149"/>
                      </a:lnTo>
                      <a:lnTo>
                        <a:pt x="47" y="148"/>
                      </a:lnTo>
                      <a:lnTo>
                        <a:pt x="44" y="148"/>
                      </a:lnTo>
                      <a:lnTo>
                        <a:pt x="43" y="149"/>
                      </a:lnTo>
                      <a:lnTo>
                        <a:pt x="42" y="149"/>
                      </a:lnTo>
                      <a:lnTo>
                        <a:pt x="40" y="149"/>
                      </a:lnTo>
                      <a:lnTo>
                        <a:pt x="40" y="149"/>
                      </a:lnTo>
                      <a:lnTo>
                        <a:pt x="38" y="150"/>
                      </a:lnTo>
                      <a:lnTo>
                        <a:pt x="38" y="153"/>
                      </a:lnTo>
                      <a:lnTo>
                        <a:pt x="37" y="154"/>
                      </a:lnTo>
                      <a:lnTo>
                        <a:pt x="34" y="154"/>
                      </a:lnTo>
                      <a:lnTo>
                        <a:pt x="33" y="153"/>
                      </a:lnTo>
                      <a:lnTo>
                        <a:pt x="30" y="153"/>
                      </a:lnTo>
                      <a:lnTo>
                        <a:pt x="27" y="153"/>
                      </a:lnTo>
                      <a:lnTo>
                        <a:pt x="24" y="155"/>
                      </a:lnTo>
                      <a:lnTo>
                        <a:pt x="23" y="156"/>
                      </a:lnTo>
                      <a:lnTo>
                        <a:pt x="22" y="157"/>
                      </a:lnTo>
                      <a:lnTo>
                        <a:pt x="21" y="157"/>
                      </a:lnTo>
                      <a:lnTo>
                        <a:pt x="18" y="157"/>
                      </a:lnTo>
                      <a:lnTo>
                        <a:pt x="17" y="158"/>
                      </a:lnTo>
                      <a:lnTo>
                        <a:pt x="16" y="158"/>
                      </a:lnTo>
                      <a:lnTo>
                        <a:pt x="16" y="160"/>
                      </a:lnTo>
                      <a:lnTo>
                        <a:pt x="13" y="162"/>
                      </a:lnTo>
                      <a:lnTo>
                        <a:pt x="10" y="166"/>
                      </a:lnTo>
                      <a:lnTo>
                        <a:pt x="7" y="167"/>
                      </a:lnTo>
                      <a:lnTo>
                        <a:pt x="5" y="167"/>
                      </a:lnTo>
                      <a:lnTo>
                        <a:pt x="4" y="168"/>
                      </a:lnTo>
                      <a:lnTo>
                        <a:pt x="3" y="169"/>
                      </a:lnTo>
                      <a:lnTo>
                        <a:pt x="3" y="170"/>
                      </a:lnTo>
                      <a:lnTo>
                        <a:pt x="0" y="171"/>
                      </a:lnTo>
                      <a:lnTo>
                        <a:pt x="0" y="193"/>
                      </a:lnTo>
                      <a:lnTo>
                        <a:pt x="0" y="202"/>
                      </a:lnTo>
                      <a:lnTo>
                        <a:pt x="67" y="248"/>
                      </a:lnTo>
                      <a:lnTo>
                        <a:pt x="155" y="307"/>
                      </a:lnTo>
                      <a:lnTo>
                        <a:pt x="172" y="328"/>
                      </a:lnTo>
                      <a:lnTo>
                        <a:pt x="172" y="329"/>
                      </a:lnTo>
                      <a:lnTo>
                        <a:pt x="171" y="334"/>
                      </a:lnTo>
                      <a:lnTo>
                        <a:pt x="172" y="335"/>
                      </a:lnTo>
                      <a:lnTo>
                        <a:pt x="175" y="336"/>
                      </a:lnTo>
                      <a:lnTo>
                        <a:pt x="176" y="337"/>
                      </a:lnTo>
                      <a:lnTo>
                        <a:pt x="178" y="338"/>
                      </a:lnTo>
                      <a:lnTo>
                        <a:pt x="181" y="338"/>
                      </a:lnTo>
                      <a:lnTo>
                        <a:pt x="183" y="340"/>
                      </a:lnTo>
                      <a:lnTo>
                        <a:pt x="182" y="342"/>
                      </a:lnTo>
                      <a:lnTo>
                        <a:pt x="184" y="344"/>
                      </a:lnTo>
                      <a:lnTo>
                        <a:pt x="185" y="344"/>
                      </a:lnTo>
                      <a:lnTo>
                        <a:pt x="185" y="345"/>
                      </a:lnTo>
                      <a:lnTo>
                        <a:pt x="187" y="345"/>
                      </a:lnTo>
                      <a:lnTo>
                        <a:pt x="189" y="347"/>
                      </a:lnTo>
                      <a:lnTo>
                        <a:pt x="189" y="345"/>
                      </a:lnTo>
                      <a:lnTo>
                        <a:pt x="191" y="345"/>
                      </a:lnTo>
                      <a:lnTo>
                        <a:pt x="192" y="345"/>
                      </a:lnTo>
                      <a:lnTo>
                        <a:pt x="192" y="347"/>
                      </a:lnTo>
                      <a:lnTo>
                        <a:pt x="195" y="349"/>
                      </a:lnTo>
                      <a:lnTo>
                        <a:pt x="196" y="349"/>
                      </a:lnTo>
                      <a:lnTo>
                        <a:pt x="197" y="350"/>
                      </a:lnTo>
                      <a:lnTo>
                        <a:pt x="197" y="350"/>
                      </a:lnTo>
                      <a:lnTo>
                        <a:pt x="198" y="349"/>
                      </a:lnTo>
                      <a:lnTo>
                        <a:pt x="200" y="350"/>
                      </a:lnTo>
                      <a:lnTo>
                        <a:pt x="202" y="351"/>
                      </a:lnTo>
                      <a:lnTo>
                        <a:pt x="204" y="353"/>
                      </a:lnTo>
                      <a:lnTo>
                        <a:pt x="207" y="353"/>
                      </a:lnTo>
                      <a:lnTo>
                        <a:pt x="208" y="353"/>
                      </a:lnTo>
                      <a:lnTo>
                        <a:pt x="209" y="354"/>
                      </a:lnTo>
                      <a:lnTo>
                        <a:pt x="209" y="360"/>
                      </a:lnTo>
                      <a:lnTo>
                        <a:pt x="210" y="360"/>
                      </a:lnTo>
                      <a:lnTo>
                        <a:pt x="210" y="362"/>
                      </a:lnTo>
                      <a:lnTo>
                        <a:pt x="209" y="363"/>
                      </a:lnTo>
                      <a:lnTo>
                        <a:pt x="209" y="364"/>
                      </a:lnTo>
                      <a:lnTo>
                        <a:pt x="209" y="365"/>
                      </a:lnTo>
                      <a:lnTo>
                        <a:pt x="208" y="365"/>
                      </a:lnTo>
                      <a:lnTo>
                        <a:pt x="207" y="368"/>
                      </a:lnTo>
                      <a:lnTo>
                        <a:pt x="209" y="370"/>
                      </a:lnTo>
                      <a:lnTo>
                        <a:pt x="210" y="370"/>
                      </a:lnTo>
                      <a:lnTo>
                        <a:pt x="211" y="371"/>
                      </a:lnTo>
                      <a:lnTo>
                        <a:pt x="228" y="367"/>
                      </a:lnTo>
                      <a:lnTo>
                        <a:pt x="255" y="362"/>
                      </a:lnTo>
                      <a:lnTo>
                        <a:pt x="282" y="322"/>
                      </a:lnTo>
                      <a:lnTo>
                        <a:pt x="364" y="278"/>
                      </a:lnTo>
                      <a:lnTo>
                        <a:pt x="356" y="262"/>
                      </a:lnTo>
                      <a:lnTo>
                        <a:pt x="347" y="258"/>
                      </a:lnTo>
                      <a:lnTo>
                        <a:pt x="341" y="256"/>
                      </a:lnTo>
                      <a:lnTo>
                        <a:pt x="337" y="258"/>
                      </a:lnTo>
                      <a:lnTo>
                        <a:pt x="336" y="258"/>
                      </a:lnTo>
                      <a:lnTo>
                        <a:pt x="332" y="256"/>
                      </a:lnTo>
                      <a:lnTo>
                        <a:pt x="332" y="253"/>
                      </a:lnTo>
                      <a:lnTo>
                        <a:pt x="329" y="251"/>
                      </a:lnTo>
                      <a:lnTo>
                        <a:pt x="329" y="241"/>
                      </a:lnTo>
                      <a:lnTo>
                        <a:pt x="317" y="224"/>
                      </a:lnTo>
                      <a:lnTo>
                        <a:pt x="317" y="222"/>
                      </a:lnTo>
                      <a:lnTo>
                        <a:pt x="318" y="221"/>
                      </a:lnTo>
                      <a:lnTo>
                        <a:pt x="320" y="221"/>
                      </a:lnTo>
                      <a:lnTo>
                        <a:pt x="320" y="220"/>
                      </a:lnTo>
                      <a:lnTo>
                        <a:pt x="322" y="218"/>
                      </a:lnTo>
                      <a:lnTo>
                        <a:pt x="325" y="216"/>
                      </a:lnTo>
                      <a:lnTo>
                        <a:pt x="327" y="213"/>
                      </a:lnTo>
                      <a:lnTo>
                        <a:pt x="325" y="213"/>
                      </a:lnTo>
                      <a:lnTo>
                        <a:pt x="325" y="209"/>
                      </a:lnTo>
                      <a:lnTo>
                        <a:pt x="324" y="209"/>
                      </a:lnTo>
                      <a:lnTo>
                        <a:pt x="324" y="206"/>
                      </a:lnTo>
                      <a:lnTo>
                        <a:pt x="323" y="203"/>
                      </a:lnTo>
                      <a:lnTo>
                        <a:pt x="322" y="200"/>
                      </a:lnTo>
                      <a:lnTo>
                        <a:pt x="323" y="197"/>
                      </a:lnTo>
                      <a:lnTo>
                        <a:pt x="324" y="196"/>
                      </a:lnTo>
                      <a:lnTo>
                        <a:pt x="323" y="195"/>
                      </a:lnTo>
                      <a:lnTo>
                        <a:pt x="324" y="195"/>
                      </a:lnTo>
                      <a:lnTo>
                        <a:pt x="327" y="189"/>
                      </a:lnTo>
                      <a:lnTo>
                        <a:pt x="323" y="181"/>
                      </a:lnTo>
                      <a:lnTo>
                        <a:pt x="324" y="169"/>
                      </a:lnTo>
                      <a:lnTo>
                        <a:pt x="324" y="167"/>
                      </a:lnTo>
                      <a:lnTo>
                        <a:pt x="323" y="162"/>
                      </a:lnTo>
                      <a:lnTo>
                        <a:pt x="322" y="156"/>
                      </a:lnTo>
                      <a:lnTo>
                        <a:pt x="321" y="153"/>
                      </a:lnTo>
                      <a:lnTo>
                        <a:pt x="318" y="149"/>
                      </a:lnTo>
                      <a:lnTo>
                        <a:pt x="316" y="146"/>
                      </a:lnTo>
                      <a:lnTo>
                        <a:pt x="314" y="142"/>
                      </a:lnTo>
                      <a:lnTo>
                        <a:pt x="318" y="140"/>
                      </a:lnTo>
                      <a:lnTo>
                        <a:pt x="312" y="124"/>
                      </a:lnTo>
                      <a:lnTo>
                        <a:pt x="310" y="116"/>
                      </a:lnTo>
                      <a:lnTo>
                        <a:pt x="309" y="102"/>
                      </a:lnTo>
                      <a:lnTo>
                        <a:pt x="303" y="96"/>
                      </a:lnTo>
                      <a:lnTo>
                        <a:pt x="296" y="93"/>
                      </a:lnTo>
                      <a:lnTo>
                        <a:pt x="295" y="87"/>
                      </a:lnTo>
                      <a:lnTo>
                        <a:pt x="290" y="81"/>
                      </a:lnTo>
                      <a:lnTo>
                        <a:pt x="290" y="81"/>
                      </a:lnTo>
                      <a:lnTo>
                        <a:pt x="288" y="80"/>
                      </a:lnTo>
                      <a:lnTo>
                        <a:pt x="285" y="80"/>
                      </a:lnTo>
                      <a:lnTo>
                        <a:pt x="285" y="79"/>
                      </a:lnTo>
                      <a:lnTo>
                        <a:pt x="284" y="75"/>
                      </a:lnTo>
                      <a:lnTo>
                        <a:pt x="282" y="68"/>
                      </a:lnTo>
                      <a:lnTo>
                        <a:pt x="281" y="67"/>
                      </a:lnTo>
                      <a:lnTo>
                        <a:pt x="281" y="66"/>
                      </a:lnTo>
                      <a:lnTo>
                        <a:pt x="281" y="61"/>
                      </a:lnTo>
                      <a:lnTo>
                        <a:pt x="283" y="59"/>
                      </a:lnTo>
                      <a:lnTo>
                        <a:pt x="285" y="57"/>
                      </a:lnTo>
                      <a:lnTo>
                        <a:pt x="287" y="55"/>
                      </a:lnTo>
                      <a:lnTo>
                        <a:pt x="287" y="54"/>
                      </a:lnTo>
                      <a:lnTo>
                        <a:pt x="290" y="51"/>
                      </a:lnTo>
                      <a:lnTo>
                        <a:pt x="291" y="51"/>
                      </a:lnTo>
                      <a:lnTo>
                        <a:pt x="291" y="50"/>
                      </a:lnTo>
                      <a:lnTo>
                        <a:pt x="292" y="49"/>
                      </a:lnTo>
                      <a:lnTo>
                        <a:pt x="292" y="48"/>
                      </a:lnTo>
                      <a:lnTo>
                        <a:pt x="294" y="47"/>
                      </a:lnTo>
                      <a:lnTo>
                        <a:pt x="294" y="43"/>
                      </a:lnTo>
                      <a:lnTo>
                        <a:pt x="294" y="42"/>
                      </a:lnTo>
                      <a:lnTo>
                        <a:pt x="294" y="40"/>
                      </a:lnTo>
                      <a:lnTo>
                        <a:pt x="295" y="39"/>
                      </a:lnTo>
                      <a:lnTo>
                        <a:pt x="295" y="39"/>
                      </a:lnTo>
                      <a:lnTo>
                        <a:pt x="296" y="37"/>
                      </a:lnTo>
                      <a:lnTo>
                        <a:pt x="296" y="36"/>
                      </a:lnTo>
                      <a:lnTo>
                        <a:pt x="294" y="36"/>
                      </a:lnTo>
                      <a:lnTo>
                        <a:pt x="294" y="35"/>
                      </a:lnTo>
                      <a:lnTo>
                        <a:pt x="294" y="34"/>
                      </a:lnTo>
                      <a:lnTo>
                        <a:pt x="295" y="31"/>
                      </a:lnTo>
                      <a:lnTo>
                        <a:pt x="294" y="28"/>
                      </a:lnTo>
                      <a:lnTo>
                        <a:pt x="292" y="27"/>
                      </a:lnTo>
                      <a:lnTo>
                        <a:pt x="292" y="26"/>
                      </a:lnTo>
                      <a:lnTo>
                        <a:pt x="292" y="24"/>
                      </a:lnTo>
                      <a:lnTo>
                        <a:pt x="292" y="21"/>
                      </a:lnTo>
                      <a:lnTo>
                        <a:pt x="294" y="19"/>
                      </a:lnTo>
                      <a:lnTo>
                        <a:pt x="294" y="17"/>
                      </a:lnTo>
                      <a:lnTo>
                        <a:pt x="294" y="16"/>
                      </a:lnTo>
                      <a:lnTo>
                        <a:pt x="295" y="15"/>
                      </a:lnTo>
                      <a:lnTo>
                        <a:pt x="294" y="13"/>
                      </a:lnTo>
                      <a:lnTo>
                        <a:pt x="292" y="13"/>
                      </a:lnTo>
                      <a:lnTo>
                        <a:pt x="291" y="13"/>
                      </a:lnTo>
                      <a:lnTo>
                        <a:pt x="291" y="9"/>
                      </a:lnTo>
                      <a:lnTo>
                        <a:pt x="294" y="9"/>
                      </a:lnTo>
                      <a:lnTo>
                        <a:pt x="295" y="9"/>
                      </a:lnTo>
                      <a:lnTo>
                        <a:pt x="295" y="9"/>
                      </a:lnTo>
                      <a:lnTo>
                        <a:pt x="296" y="8"/>
                      </a:lnTo>
                      <a:lnTo>
                        <a:pt x="295" y="7"/>
                      </a:lnTo>
                      <a:lnTo>
                        <a:pt x="295" y="7"/>
                      </a:lnTo>
                      <a:lnTo>
                        <a:pt x="295" y="6"/>
                      </a:lnTo>
                      <a:lnTo>
                        <a:pt x="296" y="6"/>
                      </a:lnTo>
                      <a:lnTo>
                        <a:pt x="296" y="7"/>
                      </a:lnTo>
                      <a:lnTo>
                        <a:pt x="298" y="7"/>
                      </a:lnTo>
                      <a:lnTo>
                        <a:pt x="298" y="7"/>
                      </a:lnTo>
                      <a:lnTo>
                        <a:pt x="298" y="6"/>
                      </a:lnTo>
                      <a:lnTo>
                        <a:pt x="298" y="4"/>
                      </a:lnTo>
                      <a:lnTo>
                        <a:pt x="298" y="4"/>
                      </a:lnTo>
                      <a:lnTo>
                        <a:pt x="298" y="3"/>
                      </a:lnTo>
                      <a:lnTo>
                        <a:pt x="298" y="3"/>
                      </a:lnTo>
                      <a:lnTo>
                        <a:pt x="297" y="3"/>
                      </a:lnTo>
                      <a:lnTo>
                        <a:pt x="296" y="3"/>
                      </a:lnTo>
                      <a:lnTo>
                        <a:pt x="296" y="3"/>
                      </a:lnTo>
                      <a:lnTo>
                        <a:pt x="296" y="3"/>
                      </a:lnTo>
                      <a:lnTo>
                        <a:pt x="295" y="3"/>
                      </a:lnTo>
                      <a:lnTo>
                        <a:pt x="294" y="3"/>
                      </a:lnTo>
                      <a:lnTo>
                        <a:pt x="292" y="3"/>
                      </a:lnTo>
                      <a:lnTo>
                        <a:pt x="291" y="2"/>
                      </a:lnTo>
                      <a:lnTo>
                        <a:pt x="291" y="2"/>
                      </a:lnTo>
                      <a:lnTo>
                        <a:pt x="290" y="3"/>
                      </a:lnTo>
                      <a:lnTo>
                        <a:pt x="289" y="3"/>
                      </a:lnTo>
                      <a:lnTo>
                        <a:pt x="288" y="4"/>
                      </a:lnTo>
                      <a:lnTo>
                        <a:pt x="287" y="4"/>
                      </a:lnTo>
                      <a:lnTo>
                        <a:pt x="284" y="4"/>
                      </a:lnTo>
                      <a:lnTo>
                        <a:pt x="283" y="3"/>
                      </a:lnTo>
                      <a:lnTo>
                        <a:pt x="284" y="3"/>
                      </a:lnTo>
                      <a:lnTo>
                        <a:pt x="283" y="3"/>
                      </a:lnTo>
                      <a:lnTo>
                        <a:pt x="284" y="2"/>
                      </a:lnTo>
                      <a:lnTo>
                        <a:pt x="284" y="2"/>
                      </a:lnTo>
                      <a:lnTo>
                        <a:pt x="283" y="2"/>
                      </a:lnTo>
                      <a:lnTo>
                        <a:pt x="283" y="2"/>
                      </a:lnTo>
                      <a:lnTo>
                        <a:pt x="282" y="2"/>
                      </a:lnTo>
                      <a:lnTo>
                        <a:pt x="282" y="2"/>
                      </a:lnTo>
                      <a:lnTo>
                        <a:pt x="281" y="2"/>
                      </a:lnTo>
                      <a:lnTo>
                        <a:pt x="280" y="2"/>
                      </a:lnTo>
                      <a:lnTo>
                        <a:pt x="280" y="1"/>
                      </a:lnTo>
                      <a:lnTo>
                        <a:pt x="278" y="0"/>
                      </a:lnTo>
                      <a:lnTo>
                        <a:pt x="278" y="0"/>
                      </a:lnTo>
                      <a:lnTo>
                        <a:pt x="278" y="0"/>
                      </a:lnTo>
                      <a:lnTo>
                        <a:pt x="277" y="0"/>
                      </a:lnTo>
                      <a:lnTo>
                        <a:pt x="276" y="0"/>
                      </a:lnTo>
                      <a:lnTo>
                        <a:pt x="276" y="0"/>
                      </a:lnTo>
                      <a:lnTo>
                        <a:pt x="276" y="0"/>
                      </a:lnTo>
                      <a:lnTo>
                        <a:pt x="276" y="0"/>
                      </a:lnTo>
                      <a:lnTo>
                        <a:pt x="275" y="0"/>
                      </a:lnTo>
                      <a:lnTo>
                        <a:pt x="275" y="0"/>
                      </a:lnTo>
                      <a:lnTo>
                        <a:pt x="275" y="0"/>
                      </a:lnTo>
                      <a:lnTo>
                        <a:pt x="275" y="0"/>
                      </a:lnTo>
                      <a:lnTo>
                        <a:pt x="274" y="0"/>
                      </a:lnTo>
                      <a:lnTo>
                        <a:pt x="274" y="0"/>
                      </a:lnTo>
                      <a:lnTo>
                        <a:pt x="274" y="0"/>
                      </a:lnTo>
                      <a:lnTo>
                        <a:pt x="274" y="0"/>
                      </a:lnTo>
                      <a:lnTo>
                        <a:pt x="275" y="1"/>
                      </a:lnTo>
                      <a:lnTo>
                        <a:pt x="275" y="1"/>
                      </a:lnTo>
                      <a:lnTo>
                        <a:pt x="275" y="2"/>
                      </a:lnTo>
                      <a:lnTo>
                        <a:pt x="275" y="2"/>
                      </a:lnTo>
                      <a:lnTo>
                        <a:pt x="274" y="3"/>
                      </a:lnTo>
                      <a:lnTo>
                        <a:pt x="272" y="3"/>
                      </a:lnTo>
                      <a:lnTo>
                        <a:pt x="272" y="3"/>
                      </a:lnTo>
                      <a:lnTo>
                        <a:pt x="271" y="3"/>
                      </a:lnTo>
                      <a:lnTo>
                        <a:pt x="271" y="3"/>
                      </a:lnTo>
                      <a:lnTo>
                        <a:pt x="270" y="4"/>
                      </a:lnTo>
                      <a:lnTo>
                        <a:pt x="269" y="3"/>
                      </a:lnTo>
                      <a:lnTo>
                        <a:pt x="268" y="3"/>
                      </a:lnTo>
                      <a:lnTo>
                        <a:pt x="268" y="3"/>
                      </a:lnTo>
                      <a:lnTo>
                        <a:pt x="268" y="3"/>
                      </a:lnTo>
                      <a:lnTo>
                        <a:pt x="268" y="2"/>
                      </a:lnTo>
                      <a:lnTo>
                        <a:pt x="267" y="2"/>
                      </a:lnTo>
                      <a:lnTo>
                        <a:pt x="267" y="2"/>
                      </a:lnTo>
                      <a:lnTo>
                        <a:pt x="267" y="2"/>
                      </a:lnTo>
                      <a:lnTo>
                        <a:pt x="265" y="2"/>
                      </a:lnTo>
                      <a:lnTo>
                        <a:pt x="265" y="2"/>
                      </a:lnTo>
                      <a:lnTo>
                        <a:pt x="263" y="2"/>
                      </a:lnTo>
                      <a:lnTo>
                        <a:pt x="263" y="1"/>
                      </a:lnTo>
                      <a:lnTo>
                        <a:pt x="263" y="1"/>
                      </a:lnTo>
                      <a:lnTo>
                        <a:pt x="263" y="1"/>
                      </a:lnTo>
                      <a:lnTo>
                        <a:pt x="263" y="0"/>
                      </a:lnTo>
                      <a:lnTo>
                        <a:pt x="262" y="0"/>
                      </a:lnTo>
                      <a:lnTo>
                        <a:pt x="260" y="0"/>
                      </a:lnTo>
                      <a:lnTo>
                        <a:pt x="258" y="0"/>
                      </a:lnTo>
                      <a:lnTo>
                        <a:pt x="258" y="0"/>
                      </a:lnTo>
                      <a:lnTo>
                        <a:pt x="258" y="1"/>
                      </a:lnTo>
                      <a:lnTo>
                        <a:pt x="258" y="1"/>
                      </a:lnTo>
                      <a:lnTo>
                        <a:pt x="258" y="1"/>
                      </a:lnTo>
                      <a:lnTo>
                        <a:pt x="257" y="2"/>
                      </a:lnTo>
                      <a:lnTo>
                        <a:pt x="258" y="2"/>
                      </a:lnTo>
                      <a:lnTo>
                        <a:pt x="257" y="3"/>
                      </a:lnTo>
                      <a:lnTo>
                        <a:pt x="254" y="4"/>
                      </a:lnTo>
                      <a:lnTo>
                        <a:pt x="250" y="4"/>
                      </a:lnTo>
                      <a:lnTo>
                        <a:pt x="249" y="4"/>
                      </a:lnTo>
                      <a:lnTo>
                        <a:pt x="249" y="4"/>
                      </a:lnTo>
                      <a:lnTo>
                        <a:pt x="248" y="6"/>
                      </a:lnTo>
                      <a:lnTo>
                        <a:pt x="247" y="6"/>
                      </a:lnTo>
                      <a:lnTo>
                        <a:pt x="245" y="7"/>
                      </a:lnTo>
                      <a:lnTo>
                        <a:pt x="243" y="8"/>
                      </a:lnTo>
                      <a:lnTo>
                        <a:pt x="242" y="9"/>
                      </a:lnTo>
                      <a:lnTo>
                        <a:pt x="241" y="8"/>
                      </a:lnTo>
                      <a:lnTo>
                        <a:pt x="240" y="8"/>
                      </a:lnTo>
                      <a:lnTo>
                        <a:pt x="238" y="7"/>
                      </a:lnTo>
                      <a:lnTo>
                        <a:pt x="238" y="6"/>
                      </a:lnTo>
                      <a:lnTo>
                        <a:pt x="232" y="3"/>
                      </a:lnTo>
                      <a:lnTo>
                        <a:pt x="229" y="4"/>
                      </a:lnTo>
                      <a:lnTo>
                        <a:pt x="228" y="3"/>
                      </a:lnTo>
                      <a:lnTo>
                        <a:pt x="227" y="3"/>
                      </a:lnTo>
                      <a:lnTo>
                        <a:pt x="225" y="3"/>
                      </a:lnTo>
                      <a:lnTo>
                        <a:pt x="224" y="3"/>
                      </a:lnTo>
                      <a:lnTo>
                        <a:pt x="223" y="4"/>
                      </a:lnTo>
                      <a:lnTo>
                        <a:pt x="222" y="3"/>
                      </a:lnTo>
                      <a:lnTo>
                        <a:pt x="221" y="4"/>
                      </a:lnTo>
                      <a:lnTo>
                        <a:pt x="218" y="3"/>
                      </a:lnTo>
                      <a:lnTo>
                        <a:pt x="217" y="3"/>
                      </a:lnTo>
                      <a:lnTo>
                        <a:pt x="215" y="4"/>
                      </a:lnTo>
                      <a:lnTo>
                        <a:pt x="212" y="4"/>
                      </a:lnTo>
                      <a:lnTo>
                        <a:pt x="210" y="6"/>
                      </a:lnTo>
                      <a:lnTo>
                        <a:pt x="208" y="6"/>
                      </a:lnTo>
                      <a:lnTo>
                        <a:pt x="207" y="4"/>
                      </a:lnTo>
                      <a:lnTo>
                        <a:pt x="207" y="6"/>
                      </a:lnTo>
                      <a:lnTo>
                        <a:pt x="207" y="6"/>
                      </a:lnTo>
                      <a:lnTo>
                        <a:pt x="207" y="7"/>
                      </a:lnTo>
                      <a:lnTo>
                        <a:pt x="204" y="7"/>
                      </a:lnTo>
                      <a:lnTo>
                        <a:pt x="203" y="7"/>
                      </a:lnTo>
                      <a:lnTo>
                        <a:pt x="203" y="6"/>
                      </a:lnTo>
                      <a:lnTo>
                        <a:pt x="202" y="6"/>
                      </a:lnTo>
                      <a:lnTo>
                        <a:pt x="201" y="6"/>
                      </a:lnTo>
                      <a:lnTo>
                        <a:pt x="200" y="7"/>
                      </a:lnTo>
                      <a:lnTo>
                        <a:pt x="200" y="7"/>
                      </a:lnTo>
                      <a:lnTo>
                        <a:pt x="198" y="8"/>
                      </a:lnTo>
                      <a:lnTo>
                        <a:pt x="196" y="7"/>
                      </a:lnTo>
                      <a:lnTo>
                        <a:pt x="194" y="7"/>
                      </a:lnTo>
                      <a:lnTo>
                        <a:pt x="192" y="9"/>
                      </a:lnTo>
                      <a:lnTo>
                        <a:pt x="192" y="9"/>
                      </a:lnTo>
                      <a:lnTo>
                        <a:pt x="191" y="9"/>
                      </a:lnTo>
                      <a:lnTo>
                        <a:pt x="187" y="9"/>
                      </a:lnTo>
                      <a:lnTo>
                        <a:pt x="183" y="9"/>
                      </a:lnTo>
                      <a:lnTo>
                        <a:pt x="178" y="10"/>
                      </a:lnTo>
                      <a:lnTo>
                        <a:pt x="177" y="10"/>
                      </a:lnTo>
                      <a:lnTo>
                        <a:pt x="176" y="9"/>
                      </a:lnTo>
                      <a:lnTo>
                        <a:pt x="175" y="10"/>
                      </a:lnTo>
                      <a:lnTo>
                        <a:pt x="172" y="10"/>
                      </a:lnTo>
                      <a:lnTo>
                        <a:pt x="171" y="9"/>
                      </a:lnTo>
                      <a:lnTo>
                        <a:pt x="170" y="11"/>
                      </a:lnTo>
                      <a:lnTo>
                        <a:pt x="170" y="9"/>
                      </a:lnTo>
                      <a:lnTo>
                        <a:pt x="169" y="11"/>
                      </a:lnTo>
                      <a:lnTo>
                        <a:pt x="168" y="11"/>
                      </a:lnTo>
                      <a:lnTo>
                        <a:pt x="168" y="13"/>
                      </a:lnTo>
                      <a:lnTo>
                        <a:pt x="165" y="14"/>
                      </a:lnTo>
                      <a:lnTo>
                        <a:pt x="164" y="14"/>
                      </a:lnTo>
                      <a:lnTo>
                        <a:pt x="164" y="14"/>
                      </a:lnTo>
                      <a:lnTo>
                        <a:pt x="163" y="14"/>
                      </a:lnTo>
                      <a:lnTo>
                        <a:pt x="161" y="15"/>
                      </a:lnTo>
                      <a:lnTo>
                        <a:pt x="160" y="16"/>
                      </a:lnTo>
                      <a:lnTo>
                        <a:pt x="158" y="16"/>
                      </a:lnTo>
                      <a:lnTo>
                        <a:pt x="157" y="16"/>
                      </a:lnTo>
                      <a:lnTo>
                        <a:pt x="157" y="17"/>
                      </a:lnTo>
                      <a:lnTo>
                        <a:pt x="157" y="19"/>
                      </a:lnTo>
                      <a:lnTo>
                        <a:pt x="156" y="19"/>
                      </a:lnTo>
                      <a:lnTo>
                        <a:pt x="155" y="19"/>
                      </a:lnTo>
                      <a:lnTo>
                        <a:pt x="155" y="19"/>
                      </a:lnTo>
                      <a:lnTo>
                        <a:pt x="155" y="21"/>
                      </a:lnTo>
                      <a:lnTo>
                        <a:pt x="152" y="21"/>
                      </a:lnTo>
                      <a:lnTo>
                        <a:pt x="152" y="22"/>
                      </a:lnTo>
                      <a:lnTo>
                        <a:pt x="151" y="21"/>
                      </a:lnTo>
                      <a:lnTo>
                        <a:pt x="149" y="21"/>
                      </a:lnTo>
                      <a:lnTo>
                        <a:pt x="150" y="23"/>
                      </a:lnTo>
                      <a:lnTo>
                        <a:pt x="149" y="24"/>
                      </a:lnTo>
                      <a:lnTo>
                        <a:pt x="148" y="26"/>
                      </a:lnTo>
                      <a:lnTo>
                        <a:pt x="147" y="26"/>
                      </a:lnTo>
                      <a:lnTo>
                        <a:pt x="147" y="24"/>
                      </a:lnTo>
                      <a:lnTo>
                        <a:pt x="147" y="23"/>
                      </a:lnTo>
                      <a:lnTo>
                        <a:pt x="145" y="23"/>
                      </a:lnTo>
                      <a:lnTo>
                        <a:pt x="141" y="24"/>
                      </a:lnTo>
                      <a:lnTo>
                        <a:pt x="141" y="26"/>
                      </a:lnTo>
                      <a:lnTo>
                        <a:pt x="137" y="26"/>
                      </a:lnTo>
                      <a:lnTo>
                        <a:pt x="136" y="26"/>
                      </a:lnTo>
                      <a:lnTo>
                        <a:pt x="135" y="26"/>
                      </a:lnTo>
                      <a:lnTo>
                        <a:pt x="133" y="27"/>
                      </a:lnTo>
                      <a:lnTo>
                        <a:pt x="131" y="28"/>
                      </a:lnTo>
                      <a:lnTo>
                        <a:pt x="131" y="29"/>
                      </a:lnTo>
                      <a:lnTo>
                        <a:pt x="130" y="30"/>
                      </a:lnTo>
                      <a:lnTo>
                        <a:pt x="131" y="33"/>
                      </a:lnTo>
                      <a:lnTo>
                        <a:pt x="130" y="33"/>
                      </a:lnTo>
                      <a:lnTo>
                        <a:pt x="129" y="35"/>
                      </a:lnTo>
                      <a:lnTo>
                        <a:pt x="129" y="34"/>
                      </a:lnTo>
                      <a:lnTo>
                        <a:pt x="128" y="34"/>
                      </a:lnTo>
                      <a:lnTo>
                        <a:pt x="125" y="35"/>
                      </a:lnTo>
                      <a:lnTo>
                        <a:pt x="123" y="36"/>
                      </a:lnTo>
                      <a:lnTo>
                        <a:pt x="122" y="37"/>
                      </a:lnTo>
                      <a:lnTo>
                        <a:pt x="122" y="39"/>
                      </a:lnTo>
                      <a:lnTo>
                        <a:pt x="120" y="39"/>
                      </a:lnTo>
                      <a:lnTo>
                        <a:pt x="120" y="40"/>
                      </a:lnTo>
                      <a:lnTo>
                        <a:pt x="117" y="40"/>
                      </a:lnTo>
                      <a:lnTo>
                        <a:pt x="116" y="41"/>
                      </a:lnTo>
                      <a:lnTo>
                        <a:pt x="115" y="41"/>
                      </a:lnTo>
                      <a:lnTo>
                        <a:pt x="115" y="40"/>
                      </a:lnTo>
                      <a:lnTo>
                        <a:pt x="114" y="41"/>
                      </a:lnTo>
                      <a:lnTo>
                        <a:pt x="114" y="41"/>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grpSp>
        </p:grpSp>
        <p:grpSp>
          <p:nvGrpSpPr>
            <p:cNvPr id="360" name="RP">
              <a:extLst>
                <a:ext uri="{FF2B5EF4-FFF2-40B4-BE49-F238E27FC236}">
                  <a16:creationId xmlns:a16="http://schemas.microsoft.com/office/drawing/2014/main" id="{B26A1BC2-EA89-4B42-9E59-AD67E3DBF377}"/>
                </a:ext>
              </a:extLst>
            </p:cNvPr>
            <p:cNvGrpSpPr/>
            <p:nvPr/>
          </p:nvGrpSpPr>
          <p:grpSpPr>
            <a:xfrm>
              <a:off x="2294450" y="1642150"/>
              <a:ext cx="8419654" cy="3986032"/>
              <a:chOff x="2294450" y="1642150"/>
              <a:chExt cx="8419654" cy="3986032"/>
            </a:xfrm>
            <a:grpFill/>
          </p:grpSpPr>
          <p:sp>
            <p:nvSpPr>
              <p:cNvPr id="361" name="Moldova">
                <a:extLst>
                  <a:ext uri="{FF2B5EF4-FFF2-40B4-BE49-F238E27FC236}">
                    <a16:creationId xmlns:a16="http://schemas.microsoft.com/office/drawing/2014/main" id="{85AEF073-081F-0C4E-84A8-480054D1CCE4}"/>
                  </a:ext>
                </a:extLst>
              </p:cNvPr>
              <p:cNvSpPr>
                <a:spLocks/>
              </p:cNvSpPr>
              <p:nvPr/>
            </p:nvSpPr>
            <p:spPr bwMode="auto">
              <a:xfrm>
                <a:off x="6971753" y="2535873"/>
                <a:ext cx="90393" cy="83102"/>
              </a:xfrm>
              <a:custGeom>
                <a:avLst/>
                <a:gdLst>
                  <a:gd name="T0" fmla="*/ 41 w 62"/>
                  <a:gd name="T1" fmla="*/ 57 h 57"/>
                  <a:gd name="T2" fmla="*/ 40 w 62"/>
                  <a:gd name="T3" fmla="*/ 57 h 57"/>
                  <a:gd name="T4" fmla="*/ 39 w 62"/>
                  <a:gd name="T5" fmla="*/ 56 h 57"/>
                  <a:gd name="T6" fmla="*/ 37 w 62"/>
                  <a:gd name="T7" fmla="*/ 56 h 57"/>
                  <a:gd name="T8" fmla="*/ 36 w 62"/>
                  <a:gd name="T9" fmla="*/ 51 h 57"/>
                  <a:gd name="T10" fmla="*/ 36 w 62"/>
                  <a:gd name="T11" fmla="*/ 50 h 57"/>
                  <a:gd name="T12" fmla="*/ 36 w 62"/>
                  <a:gd name="T13" fmla="*/ 49 h 57"/>
                  <a:gd name="T14" fmla="*/ 35 w 62"/>
                  <a:gd name="T15" fmla="*/ 46 h 57"/>
                  <a:gd name="T16" fmla="*/ 36 w 62"/>
                  <a:gd name="T17" fmla="*/ 44 h 57"/>
                  <a:gd name="T18" fmla="*/ 35 w 62"/>
                  <a:gd name="T19" fmla="*/ 39 h 57"/>
                  <a:gd name="T20" fmla="*/ 34 w 62"/>
                  <a:gd name="T21" fmla="*/ 37 h 57"/>
                  <a:gd name="T22" fmla="*/ 33 w 62"/>
                  <a:gd name="T23" fmla="*/ 35 h 57"/>
                  <a:gd name="T24" fmla="*/ 33 w 62"/>
                  <a:gd name="T25" fmla="*/ 33 h 57"/>
                  <a:gd name="T26" fmla="*/ 33 w 62"/>
                  <a:gd name="T27" fmla="*/ 31 h 57"/>
                  <a:gd name="T28" fmla="*/ 30 w 62"/>
                  <a:gd name="T29" fmla="*/ 30 h 57"/>
                  <a:gd name="T30" fmla="*/ 28 w 62"/>
                  <a:gd name="T31" fmla="*/ 30 h 57"/>
                  <a:gd name="T32" fmla="*/ 25 w 62"/>
                  <a:gd name="T33" fmla="*/ 27 h 57"/>
                  <a:gd name="T34" fmla="*/ 21 w 62"/>
                  <a:gd name="T35" fmla="*/ 23 h 57"/>
                  <a:gd name="T36" fmla="*/ 17 w 62"/>
                  <a:gd name="T37" fmla="*/ 17 h 57"/>
                  <a:gd name="T38" fmla="*/ 17 w 62"/>
                  <a:gd name="T39" fmla="*/ 15 h 57"/>
                  <a:gd name="T40" fmla="*/ 15 w 62"/>
                  <a:gd name="T41" fmla="*/ 15 h 57"/>
                  <a:gd name="T42" fmla="*/ 14 w 62"/>
                  <a:gd name="T43" fmla="*/ 10 h 57"/>
                  <a:gd name="T44" fmla="*/ 8 w 62"/>
                  <a:gd name="T45" fmla="*/ 8 h 57"/>
                  <a:gd name="T46" fmla="*/ 3 w 62"/>
                  <a:gd name="T47" fmla="*/ 8 h 57"/>
                  <a:gd name="T48" fmla="*/ 2 w 62"/>
                  <a:gd name="T49" fmla="*/ 8 h 57"/>
                  <a:gd name="T50" fmla="*/ 0 w 62"/>
                  <a:gd name="T51" fmla="*/ 8 h 57"/>
                  <a:gd name="T52" fmla="*/ 6 w 62"/>
                  <a:gd name="T53" fmla="*/ 3 h 57"/>
                  <a:gd name="T54" fmla="*/ 20 w 62"/>
                  <a:gd name="T55" fmla="*/ 0 h 57"/>
                  <a:gd name="T56" fmla="*/ 33 w 62"/>
                  <a:gd name="T57" fmla="*/ 7 h 57"/>
                  <a:gd name="T58" fmla="*/ 40 w 62"/>
                  <a:gd name="T59" fmla="*/ 8 h 57"/>
                  <a:gd name="T60" fmla="*/ 45 w 62"/>
                  <a:gd name="T61" fmla="*/ 10 h 57"/>
                  <a:gd name="T62" fmla="*/ 46 w 62"/>
                  <a:gd name="T63" fmla="*/ 20 h 57"/>
                  <a:gd name="T64" fmla="*/ 52 w 62"/>
                  <a:gd name="T65" fmla="*/ 23 h 57"/>
                  <a:gd name="T66" fmla="*/ 55 w 62"/>
                  <a:gd name="T67" fmla="*/ 30 h 57"/>
                  <a:gd name="T68" fmla="*/ 60 w 62"/>
                  <a:gd name="T69" fmla="*/ 33 h 57"/>
                  <a:gd name="T70" fmla="*/ 62 w 62"/>
                  <a:gd name="T71" fmla="*/ 36 h 57"/>
                  <a:gd name="T72" fmla="*/ 61 w 62"/>
                  <a:gd name="T73" fmla="*/ 40 h 57"/>
                  <a:gd name="T74" fmla="*/ 57 w 62"/>
                  <a:gd name="T75" fmla="*/ 41 h 57"/>
                  <a:gd name="T76" fmla="*/ 55 w 62"/>
                  <a:gd name="T77" fmla="*/ 41 h 57"/>
                  <a:gd name="T78" fmla="*/ 53 w 62"/>
                  <a:gd name="T79" fmla="*/ 40 h 57"/>
                  <a:gd name="T80" fmla="*/ 48 w 62"/>
                  <a:gd name="T81" fmla="*/ 40 h 57"/>
                  <a:gd name="T82" fmla="*/ 47 w 62"/>
                  <a:gd name="T83" fmla="*/ 41 h 57"/>
                  <a:gd name="T84" fmla="*/ 48 w 62"/>
                  <a:gd name="T85" fmla="*/ 43 h 57"/>
                  <a:gd name="T86" fmla="*/ 47 w 62"/>
                  <a:gd name="T87" fmla="*/ 48 h 57"/>
                  <a:gd name="T88" fmla="*/ 45 w 62"/>
                  <a:gd name="T89" fmla="*/ 50 h 57"/>
                  <a:gd name="T90" fmla="*/ 43 w 62"/>
                  <a:gd name="T91" fmla="*/ 53 h 57"/>
                  <a:gd name="T92" fmla="*/ 41 w 62"/>
                  <a:gd name="T93" fmla="*/ 57 h 57"/>
                  <a:gd name="T94" fmla="*/ 41 w 62"/>
                  <a:gd name="T95"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62" h="57">
                    <a:moveTo>
                      <a:pt x="41" y="57"/>
                    </a:moveTo>
                    <a:lnTo>
                      <a:pt x="40" y="57"/>
                    </a:lnTo>
                    <a:lnTo>
                      <a:pt x="39" y="56"/>
                    </a:lnTo>
                    <a:lnTo>
                      <a:pt x="37" y="56"/>
                    </a:lnTo>
                    <a:lnTo>
                      <a:pt x="36" y="51"/>
                    </a:lnTo>
                    <a:lnTo>
                      <a:pt x="36" y="50"/>
                    </a:lnTo>
                    <a:lnTo>
                      <a:pt x="36" y="49"/>
                    </a:lnTo>
                    <a:lnTo>
                      <a:pt x="35" y="46"/>
                    </a:lnTo>
                    <a:lnTo>
                      <a:pt x="36" y="44"/>
                    </a:lnTo>
                    <a:lnTo>
                      <a:pt x="35" y="39"/>
                    </a:lnTo>
                    <a:lnTo>
                      <a:pt x="34" y="37"/>
                    </a:lnTo>
                    <a:lnTo>
                      <a:pt x="33" y="35"/>
                    </a:lnTo>
                    <a:lnTo>
                      <a:pt x="33" y="33"/>
                    </a:lnTo>
                    <a:lnTo>
                      <a:pt x="33" y="31"/>
                    </a:lnTo>
                    <a:lnTo>
                      <a:pt x="30" y="30"/>
                    </a:lnTo>
                    <a:lnTo>
                      <a:pt x="28" y="30"/>
                    </a:lnTo>
                    <a:lnTo>
                      <a:pt x="25" y="27"/>
                    </a:lnTo>
                    <a:lnTo>
                      <a:pt x="21" y="23"/>
                    </a:lnTo>
                    <a:lnTo>
                      <a:pt x="17" y="17"/>
                    </a:lnTo>
                    <a:lnTo>
                      <a:pt x="17" y="15"/>
                    </a:lnTo>
                    <a:lnTo>
                      <a:pt x="15" y="15"/>
                    </a:lnTo>
                    <a:lnTo>
                      <a:pt x="14" y="10"/>
                    </a:lnTo>
                    <a:lnTo>
                      <a:pt x="8" y="8"/>
                    </a:lnTo>
                    <a:lnTo>
                      <a:pt x="3" y="8"/>
                    </a:lnTo>
                    <a:lnTo>
                      <a:pt x="2" y="8"/>
                    </a:lnTo>
                    <a:lnTo>
                      <a:pt x="0" y="8"/>
                    </a:lnTo>
                    <a:lnTo>
                      <a:pt x="6" y="3"/>
                    </a:lnTo>
                    <a:lnTo>
                      <a:pt x="20" y="0"/>
                    </a:lnTo>
                    <a:lnTo>
                      <a:pt x="33" y="7"/>
                    </a:lnTo>
                    <a:lnTo>
                      <a:pt x="40" y="8"/>
                    </a:lnTo>
                    <a:lnTo>
                      <a:pt x="45" y="10"/>
                    </a:lnTo>
                    <a:lnTo>
                      <a:pt x="46" y="20"/>
                    </a:lnTo>
                    <a:lnTo>
                      <a:pt x="52" y="23"/>
                    </a:lnTo>
                    <a:lnTo>
                      <a:pt x="55" y="30"/>
                    </a:lnTo>
                    <a:lnTo>
                      <a:pt x="60" y="33"/>
                    </a:lnTo>
                    <a:lnTo>
                      <a:pt x="62" y="36"/>
                    </a:lnTo>
                    <a:lnTo>
                      <a:pt x="61" y="40"/>
                    </a:lnTo>
                    <a:lnTo>
                      <a:pt x="57" y="41"/>
                    </a:lnTo>
                    <a:lnTo>
                      <a:pt x="55" y="41"/>
                    </a:lnTo>
                    <a:lnTo>
                      <a:pt x="53" y="40"/>
                    </a:lnTo>
                    <a:lnTo>
                      <a:pt x="48" y="40"/>
                    </a:lnTo>
                    <a:lnTo>
                      <a:pt x="47" y="41"/>
                    </a:lnTo>
                    <a:lnTo>
                      <a:pt x="48" y="43"/>
                    </a:lnTo>
                    <a:lnTo>
                      <a:pt x="47" y="48"/>
                    </a:lnTo>
                    <a:lnTo>
                      <a:pt x="45" y="50"/>
                    </a:lnTo>
                    <a:lnTo>
                      <a:pt x="43" y="53"/>
                    </a:lnTo>
                    <a:lnTo>
                      <a:pt x="41" y="57"/>
                    </a:lnTo>
                    <a:lnTo>
                      <a:pt x="41" y="57"/>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62" name="Finland">
                <a:extLst>
                  <a:ext uri="{FF2B5EF4-FFF2-40B4-BE49-F238E27FC236}">
                    <a16:creationId xmlns:a16="http://schemas.microsoft.com/office/drawing/2014/main" id="{BB16F85E-7045-7A4E-A62C-900BEE135DF8}"/>
                  </a:ext>
                </a:extLst>
              </p:cNvPr>
              <p:cNvSpPr>
                <a:spLocks noEditPoints="1"/>
              </p:cNvSpPr>
              <p:nvPr/>
            </p:nvSpPr>
            <p:spPr bwMode="auto">
              <a:xfrm>
                <a:off x="6757434" y="1945404"/>
                <a:ext cx="255141" cy="272637"/>
              </a:xfrm>
              <a:custGeom>
                <a:avLst/>
                <a:gdLst>
                  <a:gd name="T0" fmla="*/ 27 w 175"/>
                  <a:gd name="T1" fmla="*/ 121 h 187"/>
                  <a:gd name="T2" fmla="*/ 28 w 175"/>
                  <a:gd name="T3" fmla="*/ 118 h 187"/>
                  <a:gd name="T4" fmla="*/ 17 w 175"/>
                  <a:gd name="T5" fmla="*/ 179 h 187"/>
                  <a:gd name="T6" fmla="*/ 15 w 175"/>
                  <a:gd name="T7" fmla="*/ 177 h 187"/>
                  <a:gd name="T8" fmla="*/ 16 w 175"/>
                  <a:gd name="T9" fmla="*/ 175 h 187"/>
                  <a:gd name="T10" fmla="*/ 20 w 175"/>
                  <a:gd name="T11" fmla="*/ 177 h 187"/>
                  <a:gd name="T12" fmla="*/ 20 w 175"/>
                  <a:gd name="T13" fmla="*/ 180 h 187"/>
                  <a:gd name="T14" fmla="*/ 29 w 175"/>
                  <a:gd name="T15" fmla="*/ 177 h 187"/>
                  <a:gd name="T16" fmla="*/ 12 w 175"/>
                  <a:gd name="T17" fmla="*/ 179 h 187"/>
                  <a:gd name="T18" fmla="*/ 13 w 175"/>
                  <a:gd name="T19" fmla="*/ 179 h 187"/>
                  <a:gd name="T20" fmla="*/ 22 w 175"/>
                  <a:gd name="T21" fmla="*/ 181 h 187"/>
                  <a:gd name="T22" fmla="*/ 21 w 175"/>
                  <a:gd name="T23" fmla="*/ 181 h 187"/>
                  <a:gd name="T24" fmla="*/ 53 w 175"/>
                  <a:gd name="T25" fmla="*/ 180 h 187"/>
                  <a:gd name="T26" fmla="*/ 56 w 175"/>
                  <a:gd name="T27" fmla="*/ 184 h 187"/>
                  <a:gd name="T28" fmla="*/ 49 w 175"/>
                  <a:gd name="T29" fmla="*/ 179 h 187"/>
                  <a:gd name="T30" fmla="*/ 68 w 175"/>
                  <a:gd name="T31" fmla="*/ 91 h 187"/>
                  <a:gd name="T32" fmla="*/ 70 w 175"/>
                  <a:gd name="T33" fmla="*/ 91 h 187"/>
                  <a:gd name="T34" fmla="*/ 137 w 175"/>
                  <a:gd name="T35" fmla="*/ 79 h 187"/>
                  <a:gd name="T36" fmla="*/ 155 w 175"/>
                  <a:gd name="T37" fmla="*/ 105 h 187"/>
                  <a:gd name="T38" fmla="*/ 141 w 175"/>
                  <a:gd name="T39" fmla="*/ 165 h 187"/>
                  <a:gd name="T40" fmla="*/ 126 w 175"/>
                  <a:gd name="T41" fmla="*/ 174 h 187"/>
                  <a:gd name="T42" fmla="*/ 121 w 175"/>
                  <a:gd name="T43" fmla="*/ 172 h 187"/>
                  <a:gd name="T44" fmla="*/ 115 w 175"/>
                  <a:gd name="T45" fmla="*/ 174 h 187"/>
                  <a:gd name="T46" fmla="*/ 110 w 175"/>
                  <a:gd name="T47" fmla="*/ 175 h 187"/>
                  <a:gd name="T48" fmla="*/ 106 w 175"/>
                  <a:gd name="T49" fmla="*/ 177 h 187"/>
                  <a:gd name="T50" fmla="*/ 100 w 175"/>
                  <a:gd name="T51" fmla="*/ 177 h 187"/>
                  <a:gd name="T52" fmla="*/ 94 w 175"/>
                  <a:gd name="T53" fmla="*/ 179 h 187"/>
                  <a:gd name="T54" fmla="*/ 86 w 175"/>
                  <a:gd name="T55" fmla="*/ 180 h 187"/>
                  <a:gd name="T56" fmla="*/ 82 w 175"/>
                  <a:gd name="T57" fmla="*/ 181 h 187"/>
                  <a:gd name="T58" fmla="*/ 73 w 175"/>
                  <a:gd name="T59" fmla="*/ 184 h 187"/>
                  <a:gd name="T60" fmla="*/ 63 w 175"/>
                  <a:gd name="T61" fmla="*/ 186 h 187"/>
                  <a:gd name="T62" fmla="*/ 67 w 175"/>
                  <a:gd name="T63" fmla="*/ 182 h 187"/>
                  <a:gd name="T64" fmla="*/ 60 w 175"/>
                  <a:gd name="T65" fmla="*/ 177 h 187"/>
                  <a:gd name="T66" fmla="*/ 53 w 175"/>
                  <a:gd name="T67" fmla="*/ 177 h 187"/>
                  <a:gd name="T68" fmla="*/ 45 w 175"/>
                  <a:gd name="T69" fmla="*/ 172 h 187"/>
                  <a:gd name="T70" fmla="*/ 39 w 175"/>
                  <a:gd name="T71" fmla="*/ 172 h 187"/>
                  <a:gd name="T72" fmla="*/ 35 w 175"/>
                  <a:gd name="T73" fmla="*/ 167 h 187"/>
                  <a:gd name="T74" fmla="*/ 37 w 175"/>
                  <a:gd name="T75" fmla="*/ 161 h 187"/>
                  <a:gd name="T76" fmla="*/ 39 w 175"/>
                  <a:gd name="T77" fmla="*/ 154 h 187"/>
                  <a:gd name="T78" fmla="*/ 32 w 175"/>
                  <a:gd name="T79" fmla="*/ 146 h 187"/>
                  <a:gd name="T80" fmla="*/ 28 w 175"/>
                  <a:gd name="T81" fmla="*/ 137 h 187"/>
                  <a:gd name="T82" fmla="*/ 28 w 175"/>
                  <a:gd name="T83" fmla="*/ 131 h 187"/>
                  <a:gd name="T84" fmla="*/ 32 w 175"/>
                  <a:gd name="T85" fmla="*/ 122 h 187"/>
                  <a:gd name="T86" fmla="*/ 40 w 175"/>
                  <a:gd name="T87" fmla="*/ 122 h 187"/>
                  <a:gd name="T88" fmla="*/ 41 w 175"/>
                  <a:gd name="T89" fmla="*/ 117 h 187"/>
                  <a:gd name="T90" fmla="*/ 48 w 175"/>
                  <a:gd name="T91" fmla="*/ 115 h 187"/>
                  <a:gd name="T92" fmla="*/ 53 w 175"/>
                  <a:gd name="T93" fmla="*/ 110 h 187"/>
                  <a:gd name="T94" fmla="*/ 60 w 175"/>
                  <a:gd name="T95" fmla="*/ 105 h 187"/>
                  <a:gd name="T96" fmla="*/ 66 w 175"/>
                  <a:gd name="T97" fmla="*/ 97 h 187"/>
                  <a:gd name="T98" fmla="*/ 73 w 175"/>
                  <a:gd name="T99" fmla="*/ 93 h 187"/>
                  <a:gd name="T100" fmla="*/ 76 w 175"/>
                  <a:gd name="T101" fmla="*/ 91 h 187"/>
                  <a:gd name="T102" fmla="*/ 77 w 175"/>
                  <a:gd name="T103" fmla="*/ 85 h 187"/>
                  <a:gd name="T104" fmla="*/ 68 w 175"/>
                  <a:gd name="T105" fmla="*/ 79 h 187"/>
                  <a:gd name="T106" fmla="*/ 63 w 175"/>
                  <a:gd name="T107" fmla="*/ 77 h 187"/>
                  <a:gd name="T108" fmla="*/ 52 w 175"/>
                  <a:gd name="T109" fmla="*/ 59 h 187"/>
                  <a:gd name="T110" fmla="*/ 42 w 175"/>
                  <a:gd name="T111" fmla="*/ 40 h 187"/>
                  <a:gd name="T112" fmla="*/ 27 w 175"/>
                  <a:gd name="T113" fmla="*/ 30 h 187"/>
                  <a:gd name="T114" fmla="*/ 7 w 175"/>
                  <a:gd name="T115" fmla="*/ 17 h 187"/>
                  <a:gd name="T116" fmla="*/ 65 w 175"/>
                  <a:gd name="T117" fmla="*/ 20 h 187"/>
                  <a:gd name="T118" fmla="*/ 110 w 175"/>
                  <a:gd name="T119" fmla="*/ 6 h 1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5" h="187">
                    <a:moveTo>
                      <a:pt x="28" y="124"/>
                    </a:moveTo>
                    <a:lnTo>
                      <a:pt x="28" y="124"/>
                    </a:lnTo>
                    <a:lnTo>
                      <a:pt x="28" y="124"/>
                    </a:lnTo>
                    <a:lnTo>
                      <a:pt x="28" y="124"/>
                    </a:lnTo>
                    <a:lnTo>
                      <a:pt x="27" y="124"/>
                    </a:lnTo>
                    <a:lnTo>
                      <a:pt x="27" y="124"/>
                    </a:lnTo>
                    <a:lnTo>
                      <a:pt x="27" y="124"/>
                    </a:lnTo>
                    <a:lnTo>
                      <a:pt x="27" y="124"/>
                    </a:lnTo>
                    <a:lnTo>
                      <a:pt x="27" y="124"/>
                    </a:lnTo>
                    <a:lnTo>
                      <a:pt x="27" y="124"/>
                    </a:lnTo>
                    <a:lnTo>
                      <a:pt x="26" y="124"/>
                    </a:lnTo>
                    <a:lnTo>
                      <a:pt x="26" y="124"/>
                    </a:lnTo>
                    <a:lnTo>
                      <a:pt x="26" y="124"/>
                    </a:lnTo>
                    <a:lnTo>
                      <a:pt x="26" y="122"/>
                    </a:lnTo>
                    <a:lnTo>
                      <a:pt x="26" y="122"/>
                    </a:lnTo>
                    <a:lnTo>
                      <a:pt x="26" y="122"/>
                    </a:lnTo>
                    <a:lnTo>
                      <a:pt x="26" y="122"/>
                    </a:lnTo>
                    <a:lnTo>
                      <a:pt x="27" y="122"/>
                    </a:lnTo>
                    <a:lnTo>
                      <a:pt x="27" y="121"/>
                    </a:lnTo>
                    <a:lnTo>
                      <a:pt x="27" y="122"/>
                    </a:lnTo>
                    <a:lnTo>
                      <a:pt x="28" y="122"/>
                    </a:lnTo>
                    <a:lnTo>
                      <a:pt x="28" y="122"/>
                    </a:lnTo>
                    <a:lnTo>
                      <a:pt x="28" y="122"/>
                    </a:lnTo>
                    <a:lnTo>
                      <a:pt x="28" y="122"/>
                    </a:lnTo>
                    <a:lnTo>
                      <a:pt x="29" y="122"/>
                    </a:lnTo>
                    <a:lnTo>
                      <a:pt x="29" y="121"/>
                    </a:lnTo>
                    <a:lnTo>
                      <a:pt x="30" y="121"/>
                    </a:lnTo>
                    <a:lnTo>
                      <a:pt x="29" y="122"/>
                    </a:lnTo>
                    <a:lnTo>
                      <a:pt x="30" y="124"/>
                    </a:lnTo>
                    <a:lnTo>
                      <a:pt x="29" y="124"/>
                    </a:lnTo>
                    <a:lnTo>
                      <a:pt x="30" y="124"/>
                    </a:lnTo>
                    <a:lnTo>
                      <a:pt x="29" y="124"/>
                    </a:lnTo>
                    <a:lnTo>
                      <a:pt x="28" y="124"/>
                    </a:lnTo>
                    <a:lnTo>
                      <a:pt x="28" y="124"/>
                    </a:lnTo>
                    <a:lnTo>
                      <a:pt x="28" y="124"/>
                    </a:lnTo>
                    <a:lnTo>
                      <a:pt x="28" y="124"/>
                    </a:lnTo>
                    <a:close/>
                    <a:moveTo>
                      <a:pt x="28" y="118"/>
                    </a:moveTo>
                    <a:lnTo>
                      <a:pt x="28" y="118"/>
                    </a:lnTo>
                    <a:lnTo>
                      <a:pt x="26" y="118"/>
                    </a:lnTo>
                    <a:lnTo>
                      <a:pt x="26" y="118"/>
                    </a:lnTo>
                    <a:lnTo>
                      <a:pt x="26" y="118"/>
                    </a:lnTo>
                    <a:lnTo>
                      <a:pt x="27" y="117"/>
                    </a:lnTo>
                    <a:lnTo>
                      <a:pt x="27" y="117"/>
                    </a:lnTo>
                    <a:lnTo>
                      <a:pt x="28" y="117"/>
                    </a:lnTo>
                    <a:lnTo>
                      <a:pt x="28" y="117"/>
                    </a:lnTo>
                    <a:lnTo>
                      <a:pt x="28" y="117"/>
                    </a:lnTo>
                    <a:lnTo>
                      <a:pt x="28" y="117"/>
                    </a:lnTo>
                    <a:lnTo>
                      <a:pt x="28" y="118"/>
                    </a:lnTo>
                    <a:lnTo>
                      <a:pt x="28" y="118"/>
                    </a:lnTo>
                    <a:lnTo>
                      <a:pt x="28" y="118"/>
                    </a:lnTo>
                    <a:lnTo>
                      <a:pt x="28" y="118"/>
                    </a:lnTo>
                    <a:close/>
                    <a:moveTo>
                      <a:pt x="19" y="181"/>
                    </a:moveTo>
                    <a:lnTo>
                      <a:pt x="19" y="180"/>
                    </a:lnTo>
                    <a:lnTo>
                      <a:pt x="17" y="180"/>
                    </a:lnTo>
                    <a:lnTo>
                      <a:pt x="17" y="180"/>
                    </a:lnTo>
                    <a:lnTo>
                      <a:pt x="17" y="180"/>
                    </a:lnTo>
                    <a:lnTo>
                      <a:pt x="17" y="179"/>
                    </a:lnTo>
                    <a:lnTo>
                      <a:pt x="17" y="179"/>
                    </a:lnTo>
                    <a:lnTo>
                      <a:pt x="17" y="179"/>
                    </a:lnTo>
                    <a:lnTo>
                      <a:pt x="17" y="180"/>
                    </a:lnTo>
                    <a:lnTo>
                      <a:pt x="17" y="180"/>
                    </a:lnTo>
                    <a:lnTo>
                      <a:pt x="17" y="180"/>
                    </a:lnTo>
                    <a:lnTo>
                      <a:pt x="17" y="180"/>
                    </a:lnTo>
                    <a:lnTo>
                      <a:pt x="17" y="180"/>
                    </a:lnTo>
                    <a:lnTo>
                      <a:pt x="16" y="180"/>
                    </a:lnTo>
                    <a:lnTo>
                      <a:pt x="16" y="180"/>
                    </a:lnTo>
                    <a:lnTo>
                      <a:pt x="15" y="179"/>
                    </a:lnTo>
                    <a:lnTo>
                      <a:pt x="15" y="179"/>
                    </a:lnTo>
                    <a:lnTo>
                      <a:pt x="14" y="178"/>
                    </a:lnTo>
                    <a:lnTo>
                      <a:pt x="14" y="178"/>
                    </a:lnTo>
                    <a:lnTo>
                      <a:pt x="14" y="177"/>
                    </a:lnTo>
                    <a:lnTo>
                      <a:pt x="14" y="177"/>
                    </a:lnTo>
                    <a:lnTo>
                      <a:pt x="15" y="175"/>
                    </a:lnTo>
                    <a:lnTo>
                      <a:pt x="15" y="175"/>
                    </a:lnTo>
                    <a:lnTo>
                      <a:pt x="15" y="177"/>
                    </a:lnTo>
                    <a:lnTo>
                      <a:pt x="15" y="177"/>
                    </a:lnTo>
                    <a:lnTo>
                      <a:pt x="15" y="177"/>
                    </a:lnTo>
                    <a:lnTo>
                      <a:pt x="15" y="177"/>
                    </a:lnTo>
                    <a:lnTo>
                      <a:pt x="16" y="178"/>
                    </a:lnTo>
                    <a:lnTo>
                      <a:pt x="16" y="178"/>
                    </a:lnTo>
                    <a:lnTo>
                      <a:pt x="16" y="178"/>
                    </a:lnTo>
                    <a:lnTo>
                      <a:pt x="16" y="178"/>
                    </a:lnTo>
                    <a:lnTo>
                      <a:pt x="17" y="177"/>
                    </a:lnTo>
                    <a:lnTo>
                      <a:pt x="17" y="175"/>
                    </a:lnTo>
                    <a:lnTo>
                      <a:pt x="17" y="175"/>
                    </a:lnTo>
                    <a:lnTo>
                      <a:pt x="17" y="175"/>
                    </a:lnTo>
                    <a:lnTo>
                      <a:pt x="17" y="175"/>
                    </a:lnTo>
                    <a:lnTo>
                      <a:pt x="16" y="175"/>
                    </a:lnTo>
                    <a:lnTo>
                      <a:pt x="16" y="175"/>
                    </a:lnTo>
                    <a:lnTo>
                      <a:pt x="16" y="175"/>
                    </a:lnTo>
                    <a:lnTo>
                      <a:pt x="16" y="175"/>
                    </a:lnTo>
                    <a:lnTo>
                      <a:pt x="16" y="175"/>
                    </a:lnTo>
                    <a:lnTo>
                      <a:pt x="16" y="175"/>
                    </a:lnTo>
                    <a:lnTo>
                      <a:pt x="16" y="175"/>
                    </a:lnTo>
                    <a:lnTo>
                      <a:pt x="16" y="175"/>
                    </a:lnTo>
                    <a:lnTo>
                      <a:pt x="16" y="175"/>
                    </a:lnTo>
                    <a:lnTo>
                      <a:pt x="16" y="175"/>
                    </a:lnTo>
                    <a:lnTo>
                      <a:pt x="15" y="174"/>
                    </a:lnTo>
                    <a:lnTo>
                      <a:pt x="15" y="174"/>
                    </a:lnTo>
                    <a:lnTo>
                      <a:pt x="15" y="174"/>
                    </a:lnTo>
                    <a:lnTo>
                      <a:pt x="15" y="174"/>
                    </a:lnTo>
                    <a:lnTo>
                      <a:pt x="16" y="174"/>
                    </a:lnTo>
                    <a:lnTo>
                      <a:pt x="16" y="174"/>
                    </a:lnTo>
                    <a:lnTo>
                      <a:pt x="16" y="174"/>
                    </a:lnTo>
                    <a:lnTo>
                      <a:pt x="20" y="174"/>
                    </a:lnTo>
                    <a:lnTo>
                      <a:pt x="22" y="177"/>
                    </a:lnTo>
                    <a:lnTo>
                      <a:pt x="22" y="178"/>
                    </a:lnTo>
                    <a:lnTo>
                      <a:pt x="21" y="178"/>
                    </a:lnTo>
                    <a:lnTo>
                      <a:pt x="21" y="178"/>
                    </a:lnTo>
                    <a:lnTo>
                      <a:pt x="20" y="178"/>
                    </a:lnTo>
                    <a:lnTo>
                      <a:pt x="20" y="178"/>
                    </a:lnTo>
                    <a:lnTo>
                      <a:pt x="20" y="178"/>
                    </a:lnTo>
                    <a:lnTo>
                      <a:pt x="20" y="178"/>
                    </a:lnTo>
                    <a:lnTo>
                      <a:pt x="20" y="177"/>
                    </a:lnTo>
                    <a:lnTo>
                      <a:pt x="20" y="177"/>
                    </a:lnTo>
                    <a:lnTo>
                      <a:pt x="20" y="177"/>
                    </a:lnTo>
                    <a:lnTo>
                      <a:pt x="20" y="175"/>
                    </a:lnTo>
                    <a:lnTo>
                      <a:pt x="20" y="175"/>
                    </a:lnTo>
                    <a:lnTo>
                      <a:pt x="19" y="175"/>
                    </a:lnTo>
                    <a:lnTo>
                      <a:pt x="19" y="175"/>
                    </a:lnTo>
                    <a:lnTo>
                      <a:pt x="19" y="175"/>
                    </a:lnTo>
                    <a:lnTo>
                      <a:pt x="17" y="178"/>
                    </a:lnTo>
                    <a:lnTo>
                      <a:pt x="17" y="178"/>
                    </a:lnTo>
                    <a:lnTo>
                      <a:pt x="17" y="178"/>
                    </a:lnTo>
                    <a:lnTo>
                      <a:pt x="17" y="178"/>
                    </a:lnTo>
                    <a:lnTo>
                      <a:pt x="17" y="178"/>
                    </a:lnTo>
                    <a:lnTo>
                      <a:pt x="17" y="178"/>
                    </a:lnTo>
                    <a:lnTo>
                      <a:pt x="19" y="178"/>
                    </a:lnTo>
                    <a:lnTo>
                      <a:pt x="19" y="179"/>
                    </a:lnTo>
                    <a:lnTo>
                      <a:pt x="20" y="179"/>
                    </a:lnTo>
                    <a:lnTo>
                      <a:pt x="20" y="179"/>
                    </a:lnTo>
                    <a:lnTo>
                      <a:pt x="20" y="180"/>
                    </a:lnTo>
                    <a:lnTo>
                      <a:pt x="20" y="180"/>
                    </a:lnTo>
                    <a:lnTo>
                      <a:pt x="20" y="180"/>
                    </a:lnTo>
                    <a:lnTo>
                      <a:pt x="19" y="180"/>
                    </a:lnTo>
                    <a:lnTo>
                      <a:pt x="19" y="180"/>
                    </a:lnTo>
                    <a:lnTo>
                      <a:pt x="19" y="180"/>
                    </a:lnTo>
                    <a:lnTo>
                      <a:pt x="19" y="180"/>
                    </a:lnTo>
                    <a:lnTo>
                      <a:pt x="19" y="180"/>
                    </a:lnTo>
                    <a:lnTo>
                      <a:pt x="19" y="181"/>
                    </a:lnTo>
                    <a:lnTo>
                      <a:pt x="19" y="181"/>
                    </a:lnTo>
                    <a:close/>
                    <a:moveTo>
                      <a:pt x="29" y="177"/>
                    </a:moveTo>
                    <a:lnTo>
                      <a:pt x="29" y="177"/>
                    </a:lnTo>
                    <a:lnTo>
                      <a:pt x="29" y="177"/>
                    </a:lnTo>
                    <a:lnTo>
                      <a:pt x="29" y="177"/>
                    </a:lnTo>
                    <a:lnTo>
                      <a:pt x="29" y="175"/>
                    </a:lnTo>
                    <a:lnTo>
                      <a:pt x="29" y="175"/>
                    </a:lnTo>
                    <a:lnTo>
                      <a:pt x="30" y="177"/>
                    </a:lnTo>
                    <a:lnTo>
                      <a:pt x="30" y="177"/>
                    </a:lnTo>
                    <a:lnTo>
                      <a:pt x="30" y="177"/>
                    </a:lnTo>
                    <a:lnTo>
                      <a:pt x="29" y="177"/>
                    </a:lnTo>
                    <a:lnTo>
                      <a:pt x="29" y="177"/>
                    </a:lnTo>
                    <a:close/>
                    <a:moveTo>
                      <a:pt x="25" y="178"/>
                    </a:moveTo>
                    <a:lnTo>
                      <a:pt x="23" y="178"/>
                    </a:lnTo>
                    <a:lnTo>
                      <a:pt x="23" y="177"/>
                    </a:lnTo>
                    <a:lnTo>
                      <a:pt x="23" y="177"/>
                    </a:lnTo>
                    <a:lnTo>
                      <a:pt x="23" y="177"/>
                    </a:lnTo>
                    <a:lnTo>
                      <a:pt x="23" y="177"/>
                    </a:lnTo>
                    <a:lnTo>
                      <a:pt x="23" y="177"/>
                    </a:lnTo>
                    <a:lnTo>
                      <a:pt x="23" y="177"/>
                    </a:lnTo>
                    <a:lnTo>
                      <a:pt x="23" y="177"/>
                    </a:lnTo>
                    <a:lnTo>
                      <a:pt x="25" y="177"/>
                    </a:lnTo>
                    <a:lnTo>
                      <a:pt x="25" y="177"/>
                    </a:lnTo>
                    <a:lnTo>
                      <a:pt x="25" y="177"/>
                    </a:lnTo>
                    <a:lnTo>
                      <a:pt x="25" y="177"/>
                    </a:lnTo>
                    <a:lnTo>
                      <a:pt x="25" y="178"/>
                    </a:lnTo>
                    <a:lnTo>
                      <a:pt x="25" y="178"/>
                    </a:lnTo>
                    <a:lnTo>
                      <a:pt x="25" y="178"/>
                    </a:lnTo>
                    <a:lnTo>
                      <a:pt x="25" y="178"/>
                    </a:lnTo>
                    <a:close/>
                    <a:moveTo>
                      <a:pt x="12" y="179"/>
                    </a:moveTo>
                    <a:lnTo>
                      <a:pt x="12" y="179"/>
                    </a:lnTo>
                    <a:lnTo>
                      <a:pt x="12" y="179"/>
                    </a:lnTo>
                    <a:lnTo>
                      <a:pt x="12" y="179"/>
                    </a:lnTo>
                    <a:lnTo>
                      <a:pt x="10" y="179"/>
                    </a:lnTo>
                    <a:lnTo>
                      <a:pt x="10" y="178"/>
                    </a:lnTo>
                    <a:lnTo>
                      <a:pt x="10" y="178"/>
                    </a:lnTo>
                    <a:lnTo>
                      <a:pt x="10" y="177"/>
                    </a:lnTo>
                    <a:lnTo>
                      <a:pt x="10" y="177"/>
                    </a:lnTo>
                    <a:lnTo>
                      <a:pt x="12" y="177"/>
                    </a:lnTo>
                    <a:lnTo>
                      <a:pt x="12" y="177"/>
                    </a:lnTo>
                    <a:lnTo>
                      <a:pt x="12" y="177"/>
                    </a:lnTo>
                    <a:lnTo>
                      <a:pt x="12" y="177"/>
                    </a:lnTo>
                    <a:lnTo>
                      <a:pt x="12" y="177"/>
                    </a:lnTo>
                    <a:lnTo>
                      <a:pt x="12" y="177"/>
                    </a:lnTo>
                    <a:lnTo>
                      <a:pt x="13" y="177"/>
                    </a:lnTo>
                    <a:lnTo>
                      <a:pt x="13" y="178"/>
                    </a:lnTo>
                    <a:lnTo>
                      <a:pt x="13" y="178"/>
                    </a:lnTo>
                    <a:lnTo>
                      <a:pt x="13" y="178"/>
                    </a:lnTo>
                    <a:lnTo>
                      <a:pt x="13" y="179"/>
                    </a:lnTo>
                    <a:lnTo>
                      <a:pt x="13" y="179"/>
                    </a:lnTo>
                    <a:lnTo>
                      <a:pt x="12" y="179"/>
                    </a:lnTo>
                    <a:lnTo>
                      <a:pt x="12" y="179"/>
                    </a:lnTo>
                    <a:lnTo>
                      <a:pt x="12" y="179"/>
                    </a:lnTo>
                    <a:close/>
                    <a:moveTo>
                      <a:pt x="22" y="181"/>
                    </a:moveTo>
                    <a:lnTo>
                      <a:pt x="21" y="180"/>
                    </a:lnTo>
                    <a:lnTo>
                      <a:pt x="21" y="180"/>
                    </a:lnTo>
                    <a:lnTo>
                      <a:pt x="21" y="180"/>
                    </a:lnTo>
                    <a:lnTo>
                      <a:pt x="21" y="180"/>
                    </a:lnTo>
                    <a:lnTo>
                      <a:pt x="21" y="179"/>
                    </a:lnTo>
                    <a:lnTo>
                      <a:pt x="21" y="179"/>
                    </a:lnTo>
                    <a:lnTo>
                      <a:pt x="22" y="179"/>
                    </a:lnTo>
                    <a:lnTo>
                      <a:pt x="22" y="179"/>
                    </a:lnTo>
                    <a:lnTo>
                      <a:pt x="22" y="179"/>
                    </a:lnTo>
                    <a:lnTo>
                      <a:pt x="23" y="179"/>
                    </a:lnTo>
                    <a:lnTo>
                      <a:pt x="23" y="179"/>
                    </a:lnTo>
                    <a:lnTo>
                      <a:pt x="23" y="179"/>
                    </a:lnTo>
                    <a:lnTo>
                      <a:pt x="23" y="180"/>
                    </a:lnTo>
                    <a:lnTo>
                      <a:pt x="22" y="181"/>
                    </a:lnTo>
                    <a:lnTo>
                      <a:pt x="22" y="181"/>
                    </a:lnTo>
                    <a:lnTo>
                      <a:pt x="22" y="181"/>
                    </a:lnTo>
                    <a:close/>
                    <a:moveTo>
                      <a:pt x="21" y="181"/>
                    </a:moveTo>
                    <a:lnTo>
                      <a:pt x="21" y="181"/>
                    </a:lnTo>
                    <a:lnTo>
                      <a:pt x="22" y="181"/>
                    </a:lnTo>
                    <a:lnTo>
                      <a:pt x="22" y="181"/>
                    </a:lnTo>
                    <a:lnTo>
                      <a:pt x="23" y="181"/>
                    </a:lnTo>
                    <a:lnTo>
                      <a:pt x="23" y="181"/>
                    </a:lnTo>
                    <a:lnTo>
                      <a:pt x="23" y="182"/>
                    </a:lnTo>
                    <a:lnTo>
                      <a:pt x="23" y="182"/>
                    </a:lnTo>
                    <a:lnTo>
                      <a:pt x="23" y="184"/>
                    </a:lnTo>
                    <a:lnTo>
                      <a:pt x="23" y="184"/>
                    </a:lnTo>
                    <a:lnTo>
                      <a:pt x="22" y="182"/>
                    </a:lnTo>
                    <a:lnTo>
                      <a:pt x="22" y="182"/>
                    </a:lnTo>
                    <a:lnTo>
                      <a:pt x="20" y="181"/>
                    </a:lnTo>
                    <a:lnTo>
                      <a:pt x="20" y="181"/>
                    </a:lnTo>
                    <a:lnTo>
                      <a:pt x="20" y="181"/>
                    </a:lnTo>
                    <a:lnTo>
                      <a:pt x="20" y="181"/>
                    </a:lnTo>
                    <a:lnTo>
                      <a:pt x="21" y="181"/>
                    </a:lnTo>
                    <a:lnTo>
                      <a:pt x="21" y="181"/>
                    </a:lnTo>
                    <a:lnTo>
                      <a:pt x="21" y="181"/>
                    </a:lnTo>
                    <a:lnTo>
                      <a:pt x="21" y="181"/>
                    </a:lnTo>
                    <a:lnTo>
                      <a:pt x="21" y="181"/>
                    </a:lnTo>
                    <a:close/>
                    <a:moveTo>
                      <a:pt x="56" y="184"/>
                    </a:moveTo>
                    <a:lnTo>
                      <a:pt x="56" y="185"/>
                    </a:lnTo>
                    <a:lnTo>
                      <a:pt x="56" y="185"/>
                    </a:lnTo>
                    <a:lnTo>
                      <a:pt x="56" y="184"/>
                    </a:lnTo>
                    <a:lnTo>
                      <a:pt x="56" y="184"/>
                    </a:lnTo>
                    <a:lnTo>
                      <a:pt x="55" y="184"/>
                    </a:lnTo>
                    <a:lnTo>
                      <a:pt x="55" y="184"/>
                    </a:lnTo>
                    <a:lnTo>
                      <a:pt x="55" y="185"/>
                    </a:lnTo>
                    <a:lnTo>
                      <a:pt x="54" y="185"/>
                    </a:lnTo>
                    <a:lnTo>
                      <a:pt x="54" y="185"/>
                    </a:lnTo>
                    <a:lnTo>
                      <a:pt x="54" y="182"/>
                    </a:lnTo>
                    <a:lnTo>
                      <a:pt x="53" y="182"/>
                    </a:lnTo>
                    <a:lnTo>
                      <a:pt x="53" y="181"/>
                    </a:lnTo>
                    <a:lnTo>
                      <a:pt x="53" y="180"/>
                    </a:lnTo>
                    <a:lnTo>
                      <a:pt x="53" y="180"/>
                    </a:lnTo>
                    <a:lnTo>
                      <a:pt x="53" y="180"/>
                    </a:lnTo>
                    <a:lnTo>
                      <a:pt x="53" y="180"/>
                    </a:lnTo>
                    <a:lnTo>
                      <a:pt x="54" y="180"/>
                    </a:lnTo>
                    <a:lnTo>
                      <a:pt x="54" y="180"/>
                    </a:lnTo>
                    <a:lnTo>
                      <a:pt x="54" y="180"/>
                    </a:lnTo>
                    <a:lnTo>
                      <a:pt x="55" y="180"/>
                    </a:lnTo>
                    <a:lnTo>
                      <a:pt x="56" y="180"/>
                    </a:lnTo>
                    <a:lnTo>
                      <a:pt x="57" y="180"/>
                    </a:lnTo>
                    <a:lnTo>
                      <a:pt x="59" y="180"/>
                    </a:lnTo>
                    <a:lnTo>
                      <a:pt x="59" y="180"/>
                    </a:lnTo>
                    <a:lnTo>
                      <a:pt x="60" y="182"/>
                    </a:lnTo>
                    <a:lnTo>
                      <a:pt x="60" y="182"/>
                    </a:lnTo>
                    <a:lnTo>
                      <a:pt x="60" y="182"/>
                    </a:lnTo>
                    <a:lnTo>
                      <a:pt x="60" y="182"/>
                    </a:lnTo>
                    <a:lnTo>
                      <a:pt x="59" y="184"/>
                    </a:lnTo>
                    <a:lnTo>
                      <a:pt x="57" y="185"/>
                    </a:lnTo>
                    <a:lnTo>
                      <a:pt x="57" y="185"/>
                    </a:lnTo>
                    <a:lnTo>
                      <a:pt x="57" y="185"/>
                    </a:lnTo>
                    <a:lnTo>
                      <a:pt x="56" y="184"/>
                    </a:lnTo>
                    <a:lnTo>
                      <a:pt x="56" y="184"/>
                    </a:lnTo>
                    <a:close/>
                    <a:moveTo>
                      <a:pt x="47" y="180"/>
                    </a:moveTo>
                    <a:lnTo>
                      <a:pt x="46" y="180"/>
                    </a:lnTo>
                    <a:lnTo>
                      <a:pt x="46" y="180"/>
                    </a:lnTo>
                    <a:lnTo>
                      <a:pt x="45" y="180"/>
                    </a:lnTo>
                    <a:lnTo>
                      <a:pt x="45" y="180"/>
                    </a:lnTo>
                    <a:lnTo>
                      <a:pt x="46" y="179"/>
                    </a:lnTo>
                    <a:lnTo>
                      <a:pt x="46" y="179"/>
                    </a:lnTo>
                    <a:lnTo>
                      <a:pt x="46" y="179"/>
                    </a:lnTo>
                    <a:lnTo>
                      <a:pt x="46" y="179"/>
                    </a:lnTo>
                    <a:lnTo>
                      <a:pt x="47" y="179"/>
                    </a:lnTo>
                    <a:lnTo>
                      <a:pt x="47" y="179"/>
                    </a:lnTo>
                    <a:lnTo>
                      <a:pt x="47" y="179"/>
                    </a:lnTo>
                    <a:lnTo>
                      <a:pt x="47" y="179"/>
                    </a:lnTo>
                    <a:lnTo>
                      <a:pt x="47" y="180"/>
                    </a:lnTo>
                    <a:lnTo>
                      <a:pt x="47" y="180"/>
                    </a:lnTo>
                    <a:lnTo>
                      <a:pt x="47" y="180"/>
                    </a:lnTo>
                    <a:lnTo>
                      <a:pt x="47" y="180"/>
                    </a:lnTo>
                    <a:close/>
                    <a:moveTo>
                      <a:pt x="49" y="179"/>
                    </a:moveTo>
                    <a:lnTo>
                      <a:pt x="49" y="179"/>
                    </a:lnTo>
                    <a:lnTo>
                      <a:pt x="49" y="179"/>
                    </a:lnTo>
                    <a:lnTo>
                      <a:pt x="48" y="179"/>
                    </a:lnTo>
                    <a:lnTo>
                      <a:pt x="48" y="179"/>
                    </a:lnTo>
                    <a:lnTo>
                      <a:pt x="48" y="178"/>
                    </a:lnTo>
                    <a:lnTo>
                      <a:pt x="48" y="178"/>
                    </a:lnTo>
                    <a:lnTo>
                      <a:pt x="48" y="178"/>
                    </a:lnTo>
                    <a:lnTo>
                      <a:pt x="50" y="178"/>
                    </a:lnTo>
                    <a:lnTo>
                      <a:pt x="50" y="178"/>
                    </a:lnTo>
                    <a:lnTo>
                      <a:pt x="50" y="178"/>
                    </a:lnTo>
                    <a:lnTo>
                      <a:pt x="50" y="178"/>
                    </a:lnTo>
                    <a:lnTo>
                      <a:pt x="50" y="178"/>
                    </a:lnTo>
                    <a:lnTo>
                      <a:pt x="50" y="178"/>
                    </a:lnTo>
                    <a:lnTo>
                      <a:pt x="49" y="179"/>
                    </a:lnTo>
                    <a:lnTo>
                      <a:pt x="49" y="179"/>
                    </a:lnTo>
                    <a:lnTo>
                      <a:pt x="49" y="179"/>
                    </a:lnTo>
                    <a:close/>
                    <a:moveTo>
                      <a:pt x="70" y="91"/>
                    </a:moveTo>
                    <a:lnTo>
                      <a:pt x="70" y="91"/>
                    </a:lnTo>
                    <a:lnTo>
                      <a:pt x="70" y="91"/>
                    </a:lnTo>
                    <a:lnTo>
                      <a:pt x="68" y="91"/>
                    </a:lnTo>
                    <a:lnTo>
                      <a:pt x="68" y="91"/>
                    </a:lnTo>
                    <a:lnTo>
                      <a:pt x="68" y="91"/>
                    </a:lnTo>
                    <a:lnTo>
                      <a:pt x="68" y="90"/>
                    </a:lnTo>
                    <a:lnTo>
                      <a:pt x="68" y="90"/>
                    </a:lnTo>
                    <a:lnTo>
                      <a:pt x="68" y="90"/>
                    </a:lnTo>
                    <a:lnTo>
                      <a:pt x="69" y="88"/>
                    </a:lnTo>
                    <a:lnTo>
                      <a:pt x="72" y="88"/>
                    </a:lnTo>
                    <a:lnTo>
                      <a:pt x="72" y="88"/>
                    </a:lnTo>
                    <a:lnTo>
                      <a:pt x="72" y="88"/>
                    </a:lnTo>
                    <a:lnTo>
                      <a:pt x="74" y="90"/>
                    </a:lnTo>
                    <a:lnTo>
                      <a:pt x="74" y="90"/>
                    </a:lnTo>
                    <a:lnTo>
                      <a:pt x="74" y="90"/>
                    </a:lnTo>
                    <a:lnTo>
                      <a:pt x="74" y="90"/>
                    </a:lnTo>
                    <a:lnTo>
                      <a:pt x="74" y="90"/>
                    </a:lnTo>
                    <a:lnTo>
                      <a:pt x="74" y="90"/>
                    </a:lnTo>
                    <a:lnTo>
                      <a:pt x="72" y="90"/>
                    </a:lnTo>
                    <a:lnTo>
                      <a:pt x="72" y="91"/>
                    </a:lnTo>
                    <a:lnTo>
                      <a:pt x="70" y="91"/>
                    </a:lnTo>
                    <a:lnTo>
                      <a:pt x="70" y="91"/>
                    </a:lnTo>
                    <a:close/>
                    <a:moveTo>
                      <a:pt x="107" y="28"/>
                    </a:moveTo>
                    <a:lnTo>
                      <a:pt x="113" y="32"/>
                    </a:lnTo>
                    <a:lnTo>
                      <a:pt x="112" y="34"/>
                    </a:lnTo>
                    <a:lnTo>
                      <a:pt x="121" y="35"/>
                    </a:lnTo>
                    <a:lnTo>
                      <a:pt x="127" y="40"/>
                    </a:lnTo>
                    <a:lnTo>
                      <a:pt x="132" y="42"/>
                    </a:lnTo>
                    <a:lnTo>
                      <a:pt x="132" y="45"/>
                    </a:lnTo>
                    <a:lnTo>
                      <a:pt x="132" y="46"/>
                    </a:lnTo>
                    <a:lnTo>
                      <a:pt x="127" y="50"/>
                    </a:lnTo>
                    <a:lnTo>
                      <a:pt x="122" y="55"/>
                    </a:lnTo>
                    <a:lnTo>
                      <a:pt x="123" y="57"/>
                    </a:lnTo>
                    <a:lnTo>
                      <a:pt x="128" y="61"/>
                    </a:lnTo>
                    <a:lnTo>
                      <a:pt x="132" y="64"/>
                    </a:lnTo>
                    <a:lnTo>
                      <a:pt x="133" y="66"/>
                    </a:lnTo>
                    <a:lnTo>
                      <a:pt x="137" y="71"/>
                    </a:lnTo>
                    <a:lnTo>
                      <a:pt x="141" y="75"/>
                    </a:lnTo>
                    <a:lnTo>
                      <a:pt x="142" y="79"/>
                    </a:lnTo>
                    <a:lnTo>
                      <a:pt x="141" y="78"/>
                    </a:lnTo>
                    <a:lnTo>
                      <a:pt x="137" y="79"/>
                    </a:lnTo>
                    <a:lnTo>
                      <a:pt x="139" y="80"/>
                    </a:lnTo>
                    <a:lnTo>
                      <a:pt x="139" y="81"/>
                    </a:lnTo>
                    <a:lnTo>
                      <a:pt x="137" y="81"/>
                    </a:lnTo>
                    <a:lnTo>
                      <a:pt x="139" y="85"/>
                    </a:lnTo>
                    <a:lnTo>
                      <a:pt x="137" y="86"/>
                    </a:lnTo>
                    <a:lnTo>
                      <a:pt x="137" y="86"/>
                    </a:lnTo>
                    <a:lnTo>
                      <a:pt x="141" y="87"/>
                    </a:lnTo>
                    <a:lnTo>
                      <a:pt x="142" y="88"/>
                    </a:lnTo>
                    <a:lnTo>
                      <a:pt x="137" y="90"/>
                    </a:lnTo>
                    <a:lnTo>
                      <a:pt x="139" y="92"/>
                    </a:lnTo>
                    <a:lnTo>
                      <a:pt x="142" y="94"/>
                    </a:lnTo>
                    <a:lnTo>
                      <a:pt x="146" y="94"/>
                    </a:lnTo>
                    <a:lnTo>
                      <a:pt x="148" y="98"/>
                    </a:lnTo>
                    <a:lnTo>
                      <a:pt x="146" y="98"/>
                    </a:lnTo>
                    <a:lnTo>
                      <a:pt x="146" y="99"/>
                    </a:lnTo>
                    <a:lnTo>
                      <a:pt x="147" y="100"/>
                    </a:lnTo>
                    <a:lnTo>
                      <a:pt x="147" y="101"/>
                    </a:lnTo>
                    <a:lnTo>
                      <a:pt x="150" y="102"/>
                    </a:lnTo>
                    <a:lnTo>
                      <a:pt x="155" y="105"/>
                    </a:lnTo>
                    <a:lnTo>
                      <a:pt x="156" y="108"/>
                    </a:lnTo>
                    <a:lnTo>
                      <a:pt x="153" y="112"/>
                    </a:lnTo>
                    <a:lnTo>
                      <a:pt x="149" y="113"/>
                    </a:lnTo>
                    <a:lnTo>
                      <a:pt x="153" y="117"/>
                    </a:lnTo>
                    <a:lnTo>
                      <a:pt x="161" y="119"/>
                    </a:lnTo>
                    <a:lnTo>
                      <a:pt x="164" y="120"/>
                    </a:lnTo>
                    <a:lnTo>
                      <a:pt x="169" y="122"/>
                    </a:lnTo>
                    <a:lnTo>
                      <a:pt x="175" y="128"/>
                    </a:lnTo>
                    <a:lnTo>
                      <a:pt x="174" y="131"/>
                    </a:lnTo>
                    <a:lnTo>
                      <a:pt x="173" y="134"/>
                    </a:lnTo>
                    <a:lnTo>
                      <a:pt x="173" y="137"/>
                    </a:lnTo>
                    <a:lnTo>
                      <a:pt x="168" y="140"/>
                    </a:lnTo>
                    <a:lnTo>
                      <a:pt x="166" y="141"/>
                    </a:lnTo>
                    <a:lnTo>
                      <a:pt x="161" y="146"/>
                    </a:lnTo>
                    <a:lnTo>
                      <a:pt x="155" y="153"/>
                    </a:lnTo>
                    <a:lnTo>
                      <a:pt x="149" y="158"/>
                    </a:lnTo>
                    <a:lnTo>
                      <a:pt x="148" y="160"/>
                    </a:lnTo>
                    <a:lnTo>
                      <a:pt x="143" y="162"/>
                    </a:lnTo>
                    <a:lnTo>
                      <a:pt x="141" y="165"/>
                    </a:lnTo>
                    <a:lnTo>
                      <a:pt x="140" y="165"/>
                    </a:lnTo>
                    <a:lnTo>
                      <a:pt x="137" y="167"/>
                    </a:lnTo>
                    <a:lnTo>
                      <a:pt x="135" y="169"/>
                    </a:lnTo>
                    <a:lnTo>
                      <a:pt x="130" y="173"/>
                    </a:lnTo>
                    <a:lnTo>
                      <a:pt x="129" y="173"/>
                    </a:lnTo>
                    <a:lnTo>
                      <a:pt x="129" y="173"/>
                    </a:lnTo>
                    <a:lnTo>
                      <a:pt x="129" y="173"/>
                    </a:lnTo>
                    <a:lnTo>
                      <a:pt x="128" y="174"/>
                    </a:lnTo>
                    <a:lnTo>
                      <a:pt x="128" y="174"/>
                    </a:lnTo>
                    <a:lnTo>
                      <a:pt x="128" y="173"/>
                    </a:lnTo>
                    <a:lnTo>
                      <a:pt x="128" y="173"/>
                    </a:lnTo>
                    <a:lnTo>
                      <a:pt x="128" y="173"/>
                    </a:lnTo>
                    <a:lnTo>
                      <a:pt x="128" y="173"/>
                    </a:lnTo>
                    <a:lnTo>
                      <a:pt x="128" y="173"/>
                    </a:lnTo>
                    <a:lnTo>
                      <a:pt x="128" y="173"/>
                    </a:lnTo>
                    <a:lnTo>
                      <a:pt x="127" y="173"/>
                    </a:lnTo>
                    <a:lnTo>
                      <a:pt x="127" y="174"/>
                    </a:lnTo>
                    <a:lnTo>
                      <a:pt x="127" y="174"/>
                    </a:lnTo>
                    <a:lnTo>
                      <a:pt x="126" y="174"/>
                    </a:lnTo>
                    <a:lnTo>
                      <a:pt x="126" y="173"/>
                    </a:lnTo>
                    <a:lnTo>
                      <a:pt x="126" y="173"/>
                    </a:lnTo>
                    <a:lnTo>
                      <a:pt x="126" y="174"/>
                    </a:lnTo>
                    <a:lnTo>
                      <a:pt x="126" y="174"/>
                    </a:lnTo>
                    <a:lnTo>
                      <a:pt x="126" y="174"/>
                    </a:lnTo>
                    <a:lnTo>
                      <a:pt x="125" y="174"/>
                    </a:lnTo>
                    <a:lnTo>
                      <a:pt x="125" y="174"/>
                    </a:lnTo>
                    <a:lnTo>
                      <a:pt x="125" y="173"/>
                    </a:lnTo>
                    <a:lnTo>
                      <a:pt x="123" y="173"/>
                    </a:lnTo>
                    <a:lnTo>
                      <a:pt x="123" y="173"/>
                    </a:lnTo>
                    <a:lnTo>
                      <a:pt x="122" y="173"/>
                    </a:lnTo>
                    <a:lnTo>
                      <a:pt x="122" y="173"/>
                    </a:lnTo>
                    <a:lnTo>
                      <a:pt x="122" y="173"/>
                    </a:lnTo>
                    <a:lnTo>
                      <a:pt x="122" y="173"/>
                    </a:lnTo>
                    <a:lnTo>
                      <a:pt x="122" y="173"/>
                    </a:lnTo>
                    <a:lnTo>
                      <a:pt x="123" y="173"/>
                    </a:lnTo>
                    <a:lnTo>
                      <a:pt x="123" y="173"/>
                    </a:lnTo>
                    <a:lnTo>
                      <a:pt x="122" y="172"/>
                    </a:lnTo>
                    <a:lnTo>
                      <a:pt x="121" y="172"/>
                    </a:lnTo>
                    <a:lnTo>
                      <a:pt x="121" y="173"/>
                    </a:lnTo>
                    <a:lnTo>
                      <a:pt x="121" y="173"/>
                    </a:lnTo>
                    <a:lnTo>
                      <a:pt x="120" y="173"/>
                    </a:lnTo>
                    <a:lnTo>
                      <a:pt x="120" y="173"/>
                    </a:lnTo>
                    <a:lnTo>
                      <a:pt x="119" y="173"/>
                    </a:lnTo>
                    <a:lnTo>
                      <a:pt x="119" y="173"/>
                    </a:lnTo>
                    <a:lnTo>
                      <a:pt x="119" y="174"/>
                    </a:lnTo>
                    <a:lnTo>
                      <a:pt x="119" y="174"/>
                    </a:lnTo>
                    <a:lnTo>
                      <a:pt x="117" y="173"/>
                    </a:lnTo>
                    <a:lnTo>
                      <a:pt x="117" y="174"/>
                    </a:lnTo>
                    <a:lnTo>
                      <a:pt x="117" y="174"/>
                    </a:lnTo>
                    <a:lnTo>
                      <a:pt x="117" y="174"/>
                    </a:lnTo>
                    <a:lnTo>
                      <a:pt x="117" y="174"/>
                    </a:lnTo>
                    <a:lnTo>
                      <a:pt x="117" y="174"/>
                    </a:lnTo>
                    <a:lnTo>
                      <a:pt x="116" y="174"/>
                    </a:lnTo>
                    <a:lnTo>
                      <a:pt x="116" y="174"/>
                    </a:lnTo>
                    <a:lnTo>
                      <a:pt x="116" y="174"/>
                    </a:lnTo>
                    <a:lnTo>
                      <a:pt x="116" y="174"/>
                    </a:lnTo>
                    <a:lnTo>
                      <a:pt x="115" y="174"/>
                    </a:lnTo>
                    <a:lnTo>
                      <a:pt x="115" y="174"/>
                    </a:lnTo>
                    <a:lnTo>
                      <a:pt x="115" y="175"/>
                    </a:lnTo>
                    <a:lnTo>
                      <a:pt x="114" y="175"/>
                    </a:lnTo>
                    <a:lnTo>
                      <a:pt x="114" y="175"/>
                    </a:lnTo>
                    <a:lnTo>
                      <a:pt x="113" y="174"/>
                    </a:lnTo>
                    <a:lnTo>
                      <a:pt x="113" y="174"/>
                    </a:lnTo>
                    <a:lnTo>
                      <a:pt x="112" y="175"/>
                    </a:lnTo>
                    <a:lnTo>
                      <a:pt x="112" y="175"/>
                    </a:lnTo>
                    <a:lnTo>
                      <a:pt x="112" y="174"/>
                    </a:lnTo>
                    <a:lnTo>
                      <a:pt x="110" y="174"/>
                    </a:lnTo>
                    <a:lnTo>
                      <a:pt x="112" y="173"/>
                    </a:lnTo>
                    <a:lnTo>
                      <a:pt x="112" y="172"/>
                    </a:lnTo>
                    <a:lnTo>
                      <a:pt x="112" y="172"/>
                    </a:lnTo>
                    <a:lnTo>
                      <a:pt x="110" y="172"/>
                    </a:lnTo>
                    <a:lnTo>
                      <a:pt x="110" y="173"/>
                    </a:lnTo>
                    <a:lnTo>
                      <a:pt x="110" y="174"/>
                    </a:lnTo>
                    <a:lnTo>
                      <a:pt x="110" y="175"/>
                    </a:lnTo>
                    <a:lnTo>
                      <a:pt x="110" y="175"/>
                    </a:lnTo>
                    <a:lnTo>
                      <a:pt x="110" y="175"/>
                    </a:lnTo>
                    <a:lnTo>
                      <a:pt x="110" y="175"/>
                    </a:lnTo>
                    <a:lnTo>
                      <a:pt x="110" y="175"/>
                    </a:lnTo>
                    <a:lnTo>
                      <a:pt x="110" y="177"/>
                    </a:lnTo>
                    <a:lnTo>
                      <a:pt x="109" y="175"/>
                    </a:lnTo>
                    <a:lnTo>
                      <a:pt x="109" y="177"/>
                    </a:lnTo>
                    <a:lnTo>
                      <a:pt x="108" y="175"/>
                    </a:lnTo>
                    <a:lnTo>
                      <a:pt x="108" y="174"/>
                    </a:lnTo>
                    <a:lnTo>
                      <a:pt x="108" y="175"/>
                    </a:lnTo>
                    <a:lnTo>
                      <a:pt x="108" y="175"/>
                    </a:lnTo>
                    <a:lnTo>
                      <a:pt x="107" y="175"/>
                    </a:lnTo>
                    <a:lnTo>
                      <a:pt x="107" y="175"/>
                    </a:lnTo>
                    <a:lnTo>
                      <a:pt x="107" y="175"/>
                    </a:lnTo>
                    <a:lnTo>
                      <a:pt x="106" y="174"/>
                    </a:lnTo>
                    <a:lnTo>
                      <a:pt x="103" y="174"/>
                    </a:lnTo>
                    <a:lnTo>
                      <a:pt x="103" y="174"/>
                    </a:lnTo>
                    <a:lnTo>
                      <a:pt x="106" y="175"/>
                    </a:lnTo>
                    <a:lnTo>
                      <a:pt x="105" y="175"/>
                    </a:lnTo>
                    <a:lnTo>
                      <a:pt x="105" y="175"/>
                    </a:lnTo>
                    <a:lnTo>
                      <a:pt x="106" y="177"/>
                    </a:lnTo>
                    <a:lnTo>
                      <a:pt x="106" y="177"/>
                    </a:lnTo>
                    <a:lnTo>
                      <a:pt x="106" y="177"/>
                    </a:lnTo>
                    <a:lnTo>
                      <a:pt x="105" y="177"/>
                    </a:lnTo>
                    <a:lnTo>
                      <a:pt x="105" y="175"/>
                    </a:lnTo>
                    <a:lnTo>
                      <a:pt x="105" y="177"/>
                    </a:lnTo>
                    <a:lnTo>
                      <a:pt x="102" y="175"/>
                    </a:lnTo>
                    <a:lnTo>
                      <a:pt x="103" y="177"/>
                    </a:lnTo>
                    <a:lnTo>
                      <a:pt x="103" y="177"/>
                    </a:lnTo>
                    <a:lnTo>
                      <a:pt x="103" y="178"/>
                    </a:lnTo>
                    <a:lnTo>
                      <a:pt x="103" y="178"/>
                    </a:lnTo>
                    <a:lnTo>
                      <a:pt x="102" y="178"/>
                    </a:lnTo>
                    <a:lnTo>
                      <a:pt x="102" y="177"/>
                    </a:lnTo>
                    <a:lnTo>
                      <a:pt x="101" y="177"/>
                    </a:lnTo>
                    <a:lnTo>
                      <a:pt x="102" y="178"/>
                    </a:lnTo>
                    <a:lnTo>
                      <a:pt x="101" y="178"/>
                    </a:lnTo>
                    <a:lnTo>
                      <a:pt x="101" y="178"/>
                    </a:lnTo>
                    <a:lnTo>
                      <a:pt x="100" y="178"/>
                    </a:lnTo>
                    <a:lnTo>
                      <a:pt x="100" y="177"/>
                    </a:lnTo>
                    <a:lnTo>
                      <a:pt x="100" y="177"/>
                    </a:lnTo>
                    <a:lnTo>
                      <a:pt x="100" y="177"/>
                    </a:lnTo>
                    <a:lnTo>
                      <a:pt x="100" y="177"/>
                    </a:lnTo>
                    <a:lnTo>
                      <a:pt x="100" y="177"/>
                    </a:lnTo>
                    <a:lnTo>
                      <a:pt x="99" y="177"/>
                    </a:lnTo>
                    <a:lnTo>
                      <a:pt x="97" y="177"/>
                    </a:lnTo>
                    <a:lnTo>
                      <a:pt x="99" y="178"/>
                    </a:lnTo>
                    <a:lnTo>
                      <a:pt x="99" y="178"/>
                    </a:lnTo>
                    <a:lnTo>
                      <a:pt x="96" y="178"/>
                    </a:lnTo>
                    <a:lnTo>
                      <a:pt x="96" y="178"/>
                    </a:lnTo>
                    <a:lnTo>
                      <a:pt x="96" y="178"/>
                    </a:lnTo>
                    <a:lnTo>
                      <a:pt x="95" y="178"/>
                    </a:lnTo>
                    <a:lnTo>
                      <a:pt x="95" y="178"/>
                    </a:lnTo>
                    <a:lnTo>
                      <a:pt x="95" y="178"/>
                    </a:lnTo>
                    <a:lnTo>
                      <a:pt x="95" y="178"/>
                    </a:lnTo>
                    <a:lnTo>
                      <a:pt x="94" y="178"/>
                    </a:lnTo>
                    <a:lnTo>
                      <a:pt x="93" y="178"/>
                    </a:lnTo>
                    <a:lnTo>
                      <a:pt x="93" y="178"/>
                    </a:lnTo>
                    <a:lnTo>
                      <a:pt x="93" y="179"/>
                    </a:lnTo>
                    <a:lnTo>
                      <a:pt x="94" y="179"/>
                    </a:lnTo>
                    <a:lnTo>
                      <a:pt x="93" y="179"/>
                    </a:lnTo>
                    <a:lnTo>
                      <a:pt x="92" y="179"/>
                    </a:lnTo>
                    <a:lnTo>
                      <a:pt x="93" y="179"/>
                    </a:lnTo>
                    <a:lnTo>
                      <a:pt x="92" y="179"/>
                    </a:lnTo>
                    <a:lnTo>
                      <a:pt x="90" y="179"/>
                    </a:lnTo>
                    <a:lnTo>
                      <a:pt x="90" y="179"/>
                    </a:lnTo>
                    <a:lnTo>
                      <a:pt x="90" y="179"/>
                    </a:lnTo>
                    <a:lnTo>
                      <a:pt x="90" y="179"/>
                    </a:lnTo>
                    <a:lnTo>
                      <a:pt x="90" y="180"/>
                    </a:lnTo>
                    <a:lnTo>
                      <a:pt x="89" y="180"/>
                    </a:lnTo>
                    <a:lnTo>
                      <a:pt x="88" y="180"/>
                    </a:lnTo>
                    <a:lnTo>
                      <a:pt x="88" y="179"/>
                    </a:lnTo>
                    <a:lnTo>
                      <a:pt x="89" y="179"/>
                    </a:lnTo>
                    <a:lnTo>
                      <a:pt x="88" y="179"/>
                    </a:lnTo>
                    <a:lnTo>
                      <a:pt x="88" y="179"/>
                    </a:lnTo>
                    <a:lnTo>
                      <a:pt x="87" y="179"/>
                    </a:lnTo>
                    <a:lnTo>
                      <a:pt x="87" y="180"/>
                    </a:lnTo>
                    <a:lnTo>
                      <a:pt x="87" y="180"/>
                    </a:lnTo>
                    <a:lnTo>
                      <a:pt x="86" y="180"/>
                    </a:lnTo>
                    <a:lnTo>
                      <a:pt x="86" y="181"/>
                    </a:lnTo>
                    <a:lnTo>
                      <a:pt x="85" y="180"/>
                    </a:lnTo>
                    <a:lnTo>
                      <a:pt x="85" y="179"/>
                    </a:lnTo>
                    <a:lnTo>
                      <a:pt x="85" y="179"/>
                    </a:lnTo>
                    <a:lnTo>
                      <a:pt x="83" y="180"/>
                    </a:lnTo>
                    <a:lnTo>
                      <a:pt x="85" y="180"/>
                    </a:lnTo>
                    <a:lnTo>
                      <a:pt x="85" y="180"/>
                    </a:lnTo>
                    <a:lnTo>
                      <a:pt x="83" y="181"/>
                    </a:lnTo>
                    <a:lnTo>
                      <a:pt x="85" y="181"/>
                    </a:lnTo>
                    <a:lnTo>
                      <a:pt x="85" y="181"/>
                    </a:lnTo>
                    <a:lnTo>
                      <a:pt x="85" y="181"/>
                    </a:lnTo>
                    <a:lnTo>
                      <a:pt x="83" y="182"/>
                    </a:lnTo>
                    <a:lnTo>
                      <a:pt x="82" y="184"/>
                    </a:lnTo>
                    <a:lnTo>
                      <a:pt x="82" y="182"/>
                    </a:lnTo>
                    <a:lnTo>
                      <a:pt x="82" y="182"/>
                    </a:lnTo>
                    <a:lnTo>
                      <a:pt x="82" y="182"/>
                    </a:lnTo>
                    <a:lnTo>
                      <a:pt x="82" y="182"/>
                    </a:lnTo>
                    <a:lnTo>
                      <a:pt x="82" y="182"/>
                    </a:lnTo>
                    <a:lnTo>
                      <a:pt x="82" y="181"/>
                    </a:lnTo>
                    <a:lnTo>
                      <a:pt x="81" y="181"/>
                    </a:lnTo>
                    <a:lnTo>
                      <a:pt x="81" y="181"/>
                    </a:lnTo>
                    <a:lnTo>
                      <a:pt x="81" y="181"/>
                    </a:lnTo>
                    <a:lnTo>
                      <a:pt x="81" y="182"/>
                    </a:lnTo>
                    <a:lnTo>
                      <a:pt x="81" y="182"/>
                    </a:lnTo>
                    <a:lnTo>
                      <a:pt x="80" y="182"/>
                    </a:lnTo>
                    <a:lnTo>
                      <a:pt x="80" y="182"/>
                    </a:lnTo>
                    <a:lnTo>
                      <a:pt x="77" y="182"/>
                    </a:lnTo>
                    <a:lnTo>
                      <a:pt x="77" y="182"/>
                    </a:lnTo>
                    <a:lnTo>
                      <a:pt x="77" y="182"/>
                    </a:lnTo>
                    <a:lnTo>
                      <a:pt x="77" y="182"/>
                    </a:lnTo>
                    <a:lnTo>
                      <a:pt x="77" y="182"/>
                    </a:lnTo>
                    <a:lnTo>
                      <a:pt x="76" y="182"/>
                    </a:lnTo>
                    <a:lnTo>
                      <a:pt x="75" y="182"/>
                    </a:lnTo>
                    <a:lnTo>
                      <a:pt x="74" y="182"/>
                    </a:lnTo>
                    <a:lnTo>
                      <a:pt x="74" y="184"/>
                    </a:lnTo>
                    <a:lnTo>
                      <a:pt x="74" y="184"/>
                    </a:lnTo>
                    <a:lnTo>
                      <a:pt x="74" y="184"/>
                    </a:lnTo>
                    <a:lnTo>
                      <a:pt x="73" y="184"/>
                    </a:lnTo>
                    <a:lnTo>
                      <a:pt x="73" y="184"/>
                    </a:lnTo>
                    <a:lnTo>
                      <a:pt x="72" y="184"/>
                    </a:lnTo>
                    <a:lnTo>
                      <a:pt x="72" y="184"/>
                    </a:lnTo>
                    <a:lnTo>
                      <a:pt x="70" y="184"/>
                    </a:lnTo>
                    <a:lnTo>
                      <a:pt x="70" y="184"/>
                    </a:lnTo>
                    <a:lnTo>
                      <a:pt x="69" y="184"/>
                    </a:lnTo>
                    <a:lnTo>
                      <a:pt x="69" y="182"/>
                    </a:lnTo>
                    <a:lnTo>
                      <a:pt x="69" y="182"/>
                    </a:lnTo>
                    <a:lnTo>
                      <a:pt x="69" y="181"/>
                    </a:lnTo>
                    <a:lnTo>
                      <a:pt x="69" y="181"/>
                    </a:lnTo>
                    <a:lnTo>
                      <a:pt x="68" y="181"/>
                    </a:lnTo>
                    <a:lnTo>
                      <a:pt x="69" y="182"/>
                    </a:lnTo>
                    <a:lnTo>
                      <a:pt x="68" y="184"/>
                    </a:lnTo>
                    <a:lnTo>
                      <a:pt x="68" y="185"/>
                    </a:lnTo>
                    <a:lnTo>
                      <a:pt x="67" y="185"/>
                    </a:lnTo>
                    <a:lnTo>
                      <a:pt x="67" y="186"/>
                    </a:lnTo>
                    <a:lnTo>
                      <a:pt x="66" y="186"/>
                    </a:lnTo>
                    <a:lnTo>
                      <a:pt x="65" y="187"/>
                    </a:lnTo>
                    <a:lnTo>
                      <a:pt x="63" y="186"/>
                    </a:lnTo>
                    <a:lnTo>
                      <a:pt x="63" y="187"/>
                    </a:lnTo>
                    <a:lnTo>
                      <a:pt x="62" y="186"/>
                    </a:lnTo>
                    <a:lnTo>
                      <a:pt x="62" y="186"/>
                    </a:lnTo>
                    <a:lnTo>
                      <a:pt x="63" y="186"/>
                    </a:lnTo>
                    <a:lnTo>
                      <a:pt x="63" y="185"/>
                    </a:lnTo>
                    <a:lnTo>
                      <a:pt x="65" y="185"/>
                    </a:lnTo>
                    <a:lnTo>
                      <a:pt x="65" y="185"/>
                    </a:lnTo>
                    <a:lnTo>
                      <a:pt x="66" y="185"/>
                    </a:lnTo>
                    <a:lnTo>
                      <a:pt x="67" y="184"/>
                    </a:lnTo>
                    <a:lnTo>
                      <a:pt x="67" y="184"/>
                    </a:lnTo>
                    <a:lnTo>
                      <a:pt x="67" y="182"/>
                    </a:lnTo>
                    <a:lnTo>
                      <a:pt x="66" y="184"/>
                    </a:lnTo>
                    <a:lnTo>
                      <a:pt x="66" y="184"/>
                    </a:lnTo>
                    <a:lnTo>
                      <a:pt x="63" y="184"/>
                    </a:lnTo>
                    <a:lnTo>
                      <a:pt x="62" y="184"/>
                    </a:lnTo>
                    <a:lnTo>
                      <a:pt x="63" y="184"/>
                    </a:lnTo>
                    <a:lnTo>
                      <a:pt x="63" y="184"/>
                    </a:lnTo>
                    <a:lnTo>
                      <a:pt x="66" y="182"/>
                    </a:lnTo>
                    <a:lnTo>
                      <a:pt x="67" y="182"/>
                    </a:lnTo>
                    <a:lnTo>
                      <a:pt x="66" y="181"/>
                    </a:lnTo>
                    <a:lnTo>
                      <a:pt x="65" y="181"/>
                    </a:lnTo>
                    <a:lnTo>
                      <a:pt x="63" y="182"/>
                    </a:lnTo>
                    <a:lnTo>
                      <a:pt x="62" y="182"/>
                    </a:lnTo>
                    <a:lnTo>
                      <a:pt x="62" y="181"/>
                    </a:lnTo>
                    <a:lnTo>
                      <a:pt x="62" y="180"/>
                    </a:lnTo>
                    <a:lnTo>
                      <a:pt x="62" y="180"/>
                    </a:lnTo>
                    <a:lnTo>
                      <a:pt x="61" y="181"/>
                    </a:lnTo>
                    <a:lnTo>
                      <a:pt x="61" y="180"/>
                    </a:lnTo>
                    <a:lnTo>
                      <a:pt x="60" y="179"/>
                    </a:lnTo>
                    <a:lnTo>
                      <a:pt x="60" y="179"/>
                    </a:lnTo>
                    <a:lnTo>
                      <a:pt x="60" y="179"/>
                    </a:lnTo>
                    <a:lnTo>
                      <a:pt x="61" y="178"/>
                    </a:lnTo>
                    <a:lnTo>
                      <a:pt x="62" y="178"/>
                    </a:lnTo>
                    <a:lnTo>
                      <a:pt x="62" y="177"/>
                    </a:lnTo>
                    <a:lnTo>
                      <a:pt x="61" y="177"/>
                    </a:lnTo>
                    <a:lnTo>
                      <a:pt x="61" y="177"/>
                    </a:lnTo>
                    <a:lnTo>
                      <a:pt x="60" y="177"/>
                    </a:lnTo>
                    <a:lnTo>
                      <a:pt x="60" y="177"/>
                    </a:lnTo>
                    <a:lnTo>
                      <a:pt x="59" y="178"/>
                    </a:lnTo>
                    <a:lnTo>
                      <a:pt x="57" y="178"/>
                    </a:lnTo>
                    <a:lnTo>
                      <a:pt x="57" y="179"/>
                    </a:lnTo>
                    <a:lnTo>
                      <a:pt x="56" y="179"/>
                    </a:lnTo>
                    <a:lnTo>
                      <a:pt x="55" y="179"/>
                    </a:lnTo>
                    <a:lnTo>
                      <a:pt x="55" y="179"/>
                    </a:lnTo>
                    <a:lnTo>
                      <a:pt x="56" y="178"/>
                    </a:lnTo>
                    <a:lnTo>
                      <a:pt x="55" y="178"/>
                    </a:lnTo>
                    <a:lnTo>
                      <a:pt x="55" y="178"/>
                    </a:lnTo>
                    <a:lnTo>
                      <a:pt x="55" y="178"/>
                    </a:lnTo>
                    <a:lnTo>
                      <a:pt x="55" y="178"/>
                    </a:lnTo>
                    <a:lnTo>
                      <a:pt x="54" y="178"/>
                    </a:lnTo>
                    <a:lnTo>
                      <a:pt x="54" y="178"/>
                    </a:lnTo>
                    <a:lnTo>
                      <a:pt x="54" y="177"/>
                    </a:lnTo>
                    <a:lnTo>
                      <a:pt x="56" y="177"/>
                    </a:lnTo>
                    <a:lnTo>
                      <a:pt x="55" y="177"/>
                    </a:lnTo>
                    <a:lnTo>
                      <a:pt x="53" y="177"/>
                    </a:lnTo>
                    <a:lnTo>
                      <a:pt x="54" y="175"/>
                    </a:lnTo>
                    <a:lnTo>
                      <a:pt x="53" y="177"/>
                    </a:lnTo>
                    <a:lnTo>
                      <a:pt x="52" y="177"/>
                    </a:lnTo>
                    <a:lnTo>
                      <a:pt x="50" y="177"/>
                    </a:lnTo>
                    <a:lnTo>
                      <a:pt x="49" y="175"/>
                    </a:lnTo>
                    <a:lnTo>
                      <a:pt x="49" y="177"/>
                    </a:lnTo>
                    <a:lnTo>
                      <a:pt x="49" y="175"/>
                    </a:lnTo>
                    <a:lnTo>
                      <a:pt x="48" y="175"/>
                    </a:lnTo>
                    <a:lnTo>
                      <a:pt x="48" y="177"/>
                    </a:lnTo>
                    <a:lnTo>
                      <a:pt x="47" y="175"/>
                    </a:lnTo>
                    <a:lnTo>
                      <a:pt x="47" y="175"/>
                    </a:lnTo>
                    <a:lnTo>
                      <a:pt x="48" y="174"/>
                    </a:lnTo>
                    <a:lnTo>
                      <a:pt x="48" y="174"/>
                    </a:lnTo>
                    <a:lnTo>
                      <a:pt x="47" y="174"/>
                    </a:lnTo>
                    <a:lnTo>
                      <a:pt x="47" y="174"/>
                    </a:lnTo>
                    <a:lnTo>
                      <a:pt x="46" y="175"/>
                    </a:lnTo>
                    <a:lnTo>
                      <a:pt x="46" y="175"/>
                    </a:lnTo>
                    <a:lnTo>
                      <a:pt x="47" y="174"/>
                    </a:lnTo>
                    <a:lnTo>
                      <a:pt x="46" y="174"/>
                    </a:lnTo>
                    <a:lnTo>
                      <a:pt x="46" y="173"/>
                    </a:lnTo>
                    <a:lnTo>
                      <a:pt x="45" y="172"/>
                    </a:lnTo>
                    <a:lnTo>
                      <a:pt x="43" y="173"/>
                    </a:lnTo>
                    <a:lnTo>
                      <a:pt x="45" y="173"/>
                    </a:lnTo>
                    <a:lnTo>
                      <a:pt x="43" y="174"/>
                    </a:lnTo>
                    <a:lnTo>
                      <a:pt x="42" y="174"/>
                    </a:lnTo>
                    <a:lnTo>
                      <a:pt x="43" y="172"/>
                    </a:lnTo>
                    <a:lnTo>
                      <a:pt x="43" y="172"/>
                    </a:lnTo>
                    <a:lnTo>
                      <a:pt x="43" y="171"/>
                    </a:lnTo>
                    <a:lnTo>
                      <a:pt x="42" y="172"/>
                    </a:lnTo>
                    <a:lnTo>
                      <a:pt x="42" y="172"/>
                    </a:lnTo>
                    <a:lnTo>
                      <a:pt x="41" y="172"/>
                    </a:lnTo>
                    <a:lnTo>
                      <a:pt x="41" y="173"/>
                    </a:lnTo>
                    <a:lnTo>
                      <a:pt x="41" y="173"/>
                    </a:lnTo>
                    <a:lnTo>
                      <a:pt x="41" y="174"/>
                    </a:lnTo>
                    <a:lnTo>
                      <a:pt x="40" y="173"/>
                    </a:lnTo>
                    <a:lnTo>
                      <a:pt x="40" y="173"/>
                    </a:lnTo>
                    <a:lnTo>
                      <a:pt x="40" y="172"/>
                    </a:lnTo>
                    <a:lnTo>
                      <a:pt x="40" y="172"/>
                    </a:lnTo>
                    <a:lnTo>
                      <a:pt x="40" y="172"/>
                    </a:lnTo>
                    <a:lnTo>
                      <a:pt x="39" y="172"/>
                    </a:lnTo>
                    <a:lnTo>
                      <a:pt x="39" y="172"/>
                    </a:lnTo>
                    <a:lnTo>
                      <a:pt x="39" y="172"/>
                    </a:lnTo>
                    <a:lnTo>
                      <a:pt x="37" y="172"/>
                    </a:lnTo>
                    <a:lnTo>
                      <a:pt x="37" y="172"/>
                    </a:lnTo>
                    <a:lnTo>
                      <a:pt x="37" y="171"/>
                    </a:lnTo>
                    <a:lnTo>
                      <a:pt x="39" y="171"/>
                    </a:lnTo>
                    <a:lnTo>
                      <a:pt x="37" y="171"/>
                    </a:lnTo>
                    <a:lnTo>
                      <a:pt x="37" y="169"/>
                    </a:lnTo>
                    <a:lnTo>
                      <a:pt x="37" y="169"/>
                    </a:lnTo>
                    <a:lnTo>
                      <a:pt x="37" y="169"/>
                    </a:lnTo>
                    <a:lnTo>
                      <a:pt x="37" y="169"/>
                    </a:lnTo>
                    <a:lnTo>
                      <a:pt x="39" y="169"/>
                    </a:lnTo>
                    <a:lnTo>
                      <a:pt x="37" y="168"/>
                    </a:lnTo>
                    <a:lnTo>
                      <a:pt x="37" y="168"/>
                    </a:lnTo>
                    <a:lnTo>
                      <a:pt x="36" y="168"/>
                    </a:lnTo>
                    <a:lnTo>
                      <a:pt x="36" y="167"/>
                    </a:lnTo>
                    <a:lnTo>
                      <a:pt x="36" y="167"/>
                    </a:lnTo>
                    <a:lnTo>
                      <a:pt x="36" y="167"/>
                    </a:lnTo>
                    <a:lnTo>
                      <a:pt x="35" y="167"/>
                    </a:lnTo>
                    <a:lnTo>
                      <a:pt x="36" y="166"/>
                    </a:lnTo>
                    <a:lnTo>
                      <a:pt x="36" y="166"/>
                    </a:lnTo>
                    <a:lnTo>
                      <a:pt x="36" y="167"/>
                    </a:lnTo>
                    <a:lnTo>
                      <a:pt x="37" y="166"/>
                    </a:lnTo>
                    <a:lnTo>
                      <a:pt x="36" y="166"/>
                    </a:lnTo>
                    <a:lnTo>
                      <a:pt x="36" y="166"/>
                    </a:lnTo>
                    <a:lnTo>
                      <a:pt x="36" y="165"/>
                    </a:lnTo>
                    <a:lnTo>
                      <a:pt x="36" y="166"/>
                    </a:lnTo>
                    <a:lnTo>
                      <a:pt x="36" y="165"/>
                    </a:lnTo>
                    <a:lnTo>
                      <a:pt x="36" y="164"/>
                    </a:lnTo>
                    <a:lnTo>
                      <a:pt x="36" y="164"/>
                    </a:lnTo>
                    <a:lnTo>
                      <a:pt x="36" y="162"/>
                    </a:lnTo>
                    <a:lnTo>
                      <a:pt x="36" y="162"/>
                    </a:lnTo>
                    <a:lnTo>
                      <a:pt x="36" y="162"/>
                    </a:lnTo>
                    <a:lnTo>
                      <a:pt x="37" y="162"/>
                    </a:lnTo>
                    <a:lnTo>
                      <a:pt x="37" y="162"/>
                    </a:lnTo>
                    <a:lnTo>
                      <a:pt x="36" y="161"/>
                    </a:lnTo>
                    <a:lnTo>
                      <a:pt x="36" y="161"/>
                    </a:lnTo>
                    <a:lnTo>
                      <a:pt x="37" y="161"/>
                    </a:lnTo>
                    <a:lnTo>
                      <a:pt x="37" y="161"/>
                    </a:lnTo>
                    <a:lnTo>
                      <a:pt x="37" y="161"/>
                    </a:lnTo>
                    <a:lnTo>
                      <a:pt x="37" y="160"/>
                    </a:lnTo>
                    <a:lnTo>
                      <a:pt x="36" y="160"/>
                    </a:lnTo>
                    <a:lnTo>
                      <a:pt x="37" y="159"/>
                    </a:lnTo>
                    <a:lnTo>
                      <a:pt x="36" y="159"/>
                    </a:lnTo>
                    <a:lnTo>
                      <a:pt x="36" y="158"/>
                    </a:lnTo>
                    <a:lnTo>
                      <a:pt x="36" y="157"/>
                    </a:lnTo>
                    <a:lnTo>
                      <a:pt x="36" y="157"/>
                    </a:lnTo>
                    <a:lnTo>
                      <a:pt x="36" y="157"/>
                    </a:lnTo>
                    <a:lnTo>
                      <a:pt x="36" y="155"/>
                    </a:lnTo>
                    <a:lnTo>
                      <a:pt x="36" y="155"/>
                    </a:lnTo>
                    <a:lnTo>
                      <a:pt x="36" y="155"/>
                    </a:lnTo>
                    <a:lnTo>
                      <a:pt x="37" y="154"/>
                    </a:lnTo>
                    <a:lnTo>
                      <a:pt x="36" y="154"/>
                    </a:lnTo>
                    <a:lnTo>
                      <a:pt x="36" y="154"/>
                    </a:lnTo>
                    <a:lnTo>
                      <a:pt x="36" y="153"/>
                    </a:lnTo>
                    <a:lnTo>
                      <a:pt x="37" y="153"/>
                    </a:lnTo>
                    <a:lnTo>
                      <a:pt x="39" y="154"/>
                    </a:lnTo>
                    <a:lnTo>
                      <a:pt x="39" y="153"/>
                    </a:lnTo>
                    <a:lnTo>
                      <a:pt x="39" y="153"/>
                    </a:lnTo>
                    <a:lnTo>
                      <a:pt x="37" y="153"/>
                    </a:lnTo>
                    <a:lnTo>
                      <a:pt x="36" y="152"/>
                    </a:lnTo>
                    <a:lnTo>
                      <a:pt x="36" y="152"/>
                    </a:lnTo>
                    <a:lnTo>
                      <a:pt x="35" y="152"/>
                    </a:lnTo>
                    <a:lnTo>
                      <a:pt x="36" y="151"/>
                    </a:lnTo>
                    <a:lnTo>
                      <a:pt x="35" y="151"/>
                    </a:lnTo>
                    <a:lnTo>
                      <a:pt x="36" y="151"/>
                    </a:lnTo>
                    <a:lnTo>
                      <a:pt x="35" y="150"/>
                    </a:lnTo>
                    <a:lnTo>
                      <a:pt x="35" y="150"/>
                    </a:lnTo>
                    <a:lnTo>
                      <a:pt x="34" y="147"/>
                    </a:lnTo>
                    <a:lnTo>
                      <a:pt x="34" y="147"/>
                    </a:lnTo>
                    <a:lnTo>
                      <a:pt x="34" y="147"/>
                    </a:lnTo>
                    <a:lnTo>
                      <a:pt x="33" y="146"/>
                    </a:lnTo>
                    <a:lnTo>
                      <a:pt x="33" y="147"/>
                    </a:lnTo>
                    <a:lnTo>
                      <a:pt x="33" y="146"/>
                    </a:lnTo>
                    <a:lnTo>
                      <a:pt x="33" y="146"/>
                    </a:lnTo>
                    <a:lnTo>
                      <a:pt x="32" y="146"/>
                    </a:lnTo>
                    <a:lnTo>
                      <a:pt x="32" y="145"/>
                    </a:lnTo>
                    <a:lnTo>
                      <a:pt x="32" y="144"/>
                    </a:lnTo>
                    <a:lnTo>
                      <a:pt x="32" y="142"/>
                    </a:lnTo>
                    <a:lnTo>
                      <a:pt x="33" y="142"/>
                    </a:lnTo>
                    <a:lnTo>
                      <a:pt x="33" y="141"/>
                    </a:lnTo>
                    <a:lnTo>
                      <a:pt x="33" y="140"/>
                    </a:lnTo>
                    <a:lnTo>
                      <a:pt x="32" y="140"/>
                    </a:lnTo>
                    <a:lnTo>
                      <a:pt x="32" y="140"/>
                    </a:lnTo>
                    <a:lnTo>
                      <a:pt x="32" y="140"/>
                    </a:lnTo>
                    <a:lnTo>
                      <a:pt x="32" y="139"/>
                    </a:lnTo>
                    <a:lnTo>
                      <a:pt x="29" y="139"/>
                    </a:lnTo>
                    <a:lnTo>
                      <a:pt x="29" y="138"/>
                    </a:lnTo>
                    <a:lnTo>
                      <a:pt x="29" y="139"/>
                    </a:lnTo>
                    <a:lnTo>
                      <a:pt x="29" y="138"/>
                    </a:lnTo>
                    <a:lnTo>
                      <a:pt x="28" y="138"/>
                    </a:lnTo>
                    <a:lnTo>
                      <a:pt x="28" y="138"/>
                    </a:lnTo>
                    <a:lnTo>
                      <a:pt x="28" y="138"/>
                    </a:lnTo>
                    <a:lnTo>
                      <a:pt x="28" y="137"/>
                    </a:lnTo>
                    <a:lnTo>
                      <a:pt x="28" y="137"/>
                    </a:lnTo>
                    <a:lnTo>
                      <a:pt x="27" y="135"/>
                    </a:lnTo>
                    <a:lnTo>
                      <a:pt x="27" y="135"/>
                    </a:lnTo>
                    <a:lnTo>
                      <a:pt x="27" y="135"/>
                    </a:lnTo>
                    <a:lnTo>
                      <a:pt x="28" y="134"/>
                    </a:lnTo>
                    <a:lnTo>
                      <a:pt x="28" y="134"/>
                    </a:lnTo>
                    <a:lnTo>
                      <a:pt x="28" y="134"/>
                    </a:lnTo>
                    <a:lnTo>
                      <a:pt x="28" y="134"/>
                    </a:lnTo>
                    <a:lnTo>
                      <a:pt x="27" y="133"/>
                    </a:lnTo>
                    <a:lnTo>
                      <a:pt x="27" y="134"/>
                    </a:lnTo>
                    <a:lnTo>
                      <a:pt x="27" y="134"/>
                    </a:lnTo>
                    <a:lnTo>
                      <a:pt x="26" y="134"/>
                    </a:lnTo>
                    <a:lnTo>
                      <a:pt x="26" y="133"/>
                    </a:lnTo>
                    <a:lnTo>
                      <a:pt x="26" y="133"/>
                    </a:lnTo>
                    <a:lnTo>
                      <a:pt x="27" y="132"/>
                    </a:lnTo>
                    <a:lnTo>
                      <a:pt x="28" y="132"/>
                    </a:lnTo>
                    <a:lnTo>
                      <a:pt x="27" y="132"/>
                    </a:lnTo>
                    <a:lnTo>
                      <a:pt x="27" y="131"/>
                    </a:lnTo>
                    <a:lnTo>
                      <a:pt x="27" y="131"/>
                    </a:lnTo>
                    <a:lnTo>
                      <a:pt x="28" y="131"/>
                    </a:lnTo>
                    <a:lnTo>
                      <a:pt x="28" y="131"/>
                    </a:lnTo>
                    <a:lnTo>
                      <a:pt x="28" y="130"/>
                    </a:lnTo>
                    <a:lnTo>
                      <a:pt x="29" y="130"/>
                    </a:lnTo>
                    <a:lnTo>
                      <a:pt x="30" y="130"/>
                    </a:lnTo>
                    <a:lnTo>
                      <a:pt x="30" y="128"/>
                    </a:lnTo>
                    <a:lnTo>
                      <a:pt x="32" y="128"/>
                    </a:lnTo>
                    <a:lnTo>
                      <a:pt x="30" y="127"/>
                    </a:lnTo>
                    <a:lnTo>
                      <a:pt x="30" y="126"/>
                    </a:lnTo>
                    <a:lnTo>
                      <a:pt x="30" y="126"/>
                    </a:lnTo>
                    <a:lnTo>
                      <a:pt x="32" y="126"/>
                    </a:lnTo>
                    <a:lnTo>
                      <a:pt x="33" y="126"/>
                    </a:lnTo>
                    <a:lnTo>
                      <a:pt x="33" y="126"/>
                    </a:lnTo>
                    <a:lnTo>
                      <a:pt x="33" y="126"/>
                    </a:lnTo>
                    <a:lnTo>
                      <a:pt x="32" y="126"/>
                    </a:lnTo>
                    <a:lnTo>
                      <a:pt x="32" y="125"/>
                    </a:lnTo>
                    <a:lnTo>
                      <a:pt x="30" y="124"/>
                    </a:lnTo>
                    <a:lnTo>
                      <a:pt x="32" y="124"/>
                    </a:lnTo>
                    <a:lnTo>
                      <a:pt x="30" y="122"/>
                    </a:lnTo>
                    <a:lnTo>
                      <a:pt x="32" y="122"/>
                    </a:lnTo>
                    <a:lnTo>
                      <a:pt x="33" y="124"/>
                    </a:lnTo>
                    <a:lnTo>
                      <a:pt x="34" y="124"/>
                    </a:lnTo>
                    <a:lnTo>
                      <a:pt x="33" y="122"/>
                    </a:lnTo>
                    <a:lnTo>
                      <a:pt x="35" y="124"/>
                    </a:lnTo>
                    <a:lnTo>
                      <a:pt x="34" y="122"/>
                    </a:lnTo>
                    <a:lnTo>
                      <a:pt x="34" y="122"/>
                    </a:lnTo>
                    <a:lnTo>
                      <a:pt x="35" y="122"/>
                    </a:lnTo>
                    <a:lnTo>
                      <a:pt x="35" y="122"/>
                    </a:lnTo>
                    <a:lnTo>
                      <a:pt x="36" y="122"/>
                    </a:lnTo>
                    <a:lnTo>
                      <a:pt x="36" y="124"/>
                    </a:lnTo>
                    <a:lnTo>
                      <a:pt x="37" y="124"/>
                    </a:lnTo>
                    <a:lnTo>
                      <a:pt x="37" y="124"/>
                    </a:lnTo>
                    <a:lnTo>
                      <a:pt x="37" y="124"/>
                    </a:lnTo>
                    <a:lnTo>
                      <a:pt x="39" y="124"/>
                    </a:lnTo>
                    <a:lnTo>
                      <a:pt x="39" y="122"/>
                    </a:lnTo>
                    <a:lnTo>
                      <a:pt x="39" y="124"/>
                    </a:lnTo>
                    <a:lnTo>
                      <a:pt x="40" y="122"/>
                    </a:lnTo>
                    <a:lnTo>
                      <a:pt x="40" y="124"/>
                    </a:lnTo>
                    <a:lnTo>
                      <a:pt x="40" y="122"/>
                    </a:lnTo>
                    <a:lnTo>
                      <a:pt x="40" y="122"/>
                    </a:lnTo>
                    <a:lnTo>
                      <a:pt x="40" y="122"/>
                    </a:lnTo>
                    <a:lnTo>
                      <a:pt x="41" y="122"/>
                    </a:lnTo>
                    <a:lnTo>
                      <a:pt x="42" y="121"/>
                    </a:lnTo>
                    <a:lnTo>
                      <a:pt x="41" y="121"/>
                    </a:lnTo>
                    <a:lnTo>
                      <a:pt x="42" y="121"/>
                    </a:lnTo>
                    <a:lnTo>
                      <a:pt x="42" y="121"/>
                    </a:lnTo>
                    <a:lnTo>
                      <a:pt x="42" y="121"/>
                    </a:lnTo>
                    <a:lnTo>
                      <a:pt x="43" y="121"/>
                    </a:lnTo>
                    <a:lnTo>
                      <a:pt x="42" y="120"/>
                    </a:lnTo>
                    <a:lnTo>
                      <a:pt x="40" y="119"/>
                    </a:lnTo>
                    <a:lnTo>
                      <a:pt x="40" y="119"/>
                    </a:lnTo>
                    <a:lnTo>
                      <a:pt x="40" y="119"/>
                    </a:lnTo>
                    <a:lnTo>
                      <a:pt x="41" y="119"/>
                    </a:lnTo>
                    <a:lnTo>
                      <a:pt x="42" y="119"/>
                    </a:lnTo>
                    <a:lnTo>
                      <a:pt x="42" y="119"/>
                    </a:lnTo>
                    <a:lnTo>
                      <a:pt x="41" y="118"/>
                    </a:lnTo>
                    <a:lnTo>
                      <a:pt x="41" y="118"/>
                    </a:lnTo>
                    <a:lnTo>
                      <a:pt x="41" y="117"/>
                    </a:lnTo>
                    <a:lnTo>
                      <a:pt x="42" y="118"/>
                    </a:lnTo>
                    <a:lnTo>
                      <a:pt x="42" y="118"/>
                    </a:lnTo>
                    <a:lnTo>
                      <a:pt x="42" y="118"/>
                    </a:lnTo>
                    <a:lnTo>
                      <a:pt x="43" y="118"/>
                    </a:lnTo>
                    <a:lnTo>
                      <a:pt x="43" y="117"/>
                    </a:lnTo>
                    <a:lnTo>
                      <a:pt x="45" y="117"/>
                    </a:lnTo>
                    <a:lnTo>
                      <a:pt x="45" y="115"/>
                    </a:lnTo>
                    <a:lnTo>
                      <a:pt x="45" y="115"/>
                    </a:lnTo>
                    <a:lnTo>
                      <a:pt x="46" y="115"/>
                    </a:lnTo>
                    <a:lnTo>
                      <a:pt x="46" y="115"/>
                    </a:lnTo>
                    <a:lnTo>
                      <a:pt x="45" y="115"/>
                    </a:lnTo>
                    <a:lnTo>
                      <a:pt x="46" y="114"/>
                    </a:lnTo>
                    <a:lnTo>
                      <a:pt x="46" y="115"/>
                    </a:lnTo>
                    <a:lnTo>
                      <a:pt x="47" y="115"/>
                    </a:lnTo>
                    <a:lnTo>
                      <a:pt x="47" y="115"/>
                    </a:lnTo>
                    <a:lnTo>
                      <a:pt x="48" y="117"/>
                    </a:lnTo>
                    <a:lnTo>
                      <a:pt x="48" y="115"/>
                    </a:lnTo>
                    <a:lnTo>
                      <a:pt x="48" y="115"/>
                    </a:lnTo>
                    <a:lnTo>
                      <a:pt x="48" y="115"/>
                    </a:lnTo>
                    <a:lnTo>
                      <a:pt x="48" y="115"/>
                    </a:lnTo>
                    <a:lnTo>
                      <a:pt x="49" y="115"/>
                    </a:lnTo>
                    <a:lnTo>
                      <a:pt x="48" y="114"/>
                    </a:lnTo>
                    <a:lnTo>
                      <a:pt x="48" y="114"/>
                    </a:lnTo>
                    <a:lnTo>
                      <a:pt x="48" y="114"/>
                    </a:lnTo>
                    <a:lnTo>
                      <a:pt x="48" y="114"/>
                    </a:lnTo>
                    <a:lnTo>
                      <a:pt x="48" y="113"/>
                    </a:lnTo>
                    <a:lnTo>
                      <a:pt x="48" y="114"/>
                    </a:lnTo>
                    <a:lnTo>
                      <a:pt x="48" y="113"/>
                    </a:lnTo>
                    <a:lnTo>
                      <a:pt x="48" y="113"/>
                    </a:lnTo>
                    <a:lnTo>
                      <a:pt x="48" y="112"/>
                    </a:lnTo>
                    <a:lnTo>
                      <a:pt x="48" y="112"/>
                    </a:lnTo>
                    <a:lnTo>
                      <a:pt x="49" y="112"/>
                    </a:lnTo>
                    <a:lnTo>
                      <a:pt x="49" y="113"/>
                    </a:lnTo>
                    <a:lnTo>
                      <a:pt x="49" y="112"/>
                    </a:lnTo>
                    <a:lnTo>
                      <a:pt x="50" y="112"/>
                    </a:lnTo>
                    <a:lnTo>
                      <a:pt x="52" y="112"/>
                    </a:lnTo>
                    <a:lnTo>
                      <a:pt x="53" y="111"/>
                    </a:lnTo>
                    <a:lnTo>
                      <a:pt x="53" y="110"/>
                    </a:lnTo>
                    <a:lnTo>
                      <a:pt x="54" y="110"/>
                    </a:lnTo>
                    <a:lnTo>
                      <a:pt x="55" y="111"/>
                    </a:lnTo>
                    <a:lnTo>
                      <a:pt x="55" y="111"/>
                    </a:lnTo>
                    <a:lnTo>
                      <a:pt x="56" y="110"/>
                    </a:lnTo>
                    <a:lnTo>
                      <a:pt x="55" y="110"/>
                    </a:lnTo>
                    <a:lnTo>
                      <a:pt x="55" y="110"/>
                    </a:lnTo>
                    <a:lnTo>
                      <a:pt x="55" y="110"/>
                    </a:lnTo>
                    <a:lnTo>
                      <a:pt x="55" y="108"/>
                    </a:lnTo>
                    <a:lnTo>
                      <a:pt x="55" y="107"/>
                    </a:lnTo>
                    <a:lnTo>
                      <a:pt x="56" y="108"/>
                    </a:lnTo>
                    <a:lnTo>
                      <a:pt x="57" y="108"/>
                    </a:lnTo>
                    <a:lnTo>
                      <a:pt x="57" y="108"/>
                    </a:lnTo>
                    <a:lnTo>
                      <a:pt x="57" y="107"/>
                    </a:lnTo>
                    <a:lnTo>
                      <a:pt x="57" y="107"/>
                    </a:lnTo>
                    <a:lnTo>
                      <a:pt x="59" y="106"/>
                    </a:lnTo>
                    <a:lnTo>
                      <a:pt x="59" y="106"/>
                    </a:lnTo>
                    <a:lnTo>
                      <a:pt x="59" y="105"/>
                    </a:lnTo>
                    <a:lnTo>
                      <a:pt x="59" y="105"/>
                    </a:lnTo>
                    <a:lnTo>
                      <a:pt x="60" y="105"/>
                    </a:lnTo>
                    <a:lnTo>
                      <a:pt x="61" y="104"/>
                    </a:lnTo>
                    <a:lnTo>
                      <a:pt x="61" y="104"/>
                    </a:lnTo>
                    <a:lnTo>
                      <a:pt x="61" y="104"/>
                    </a:lnTo>
                    <a:lnTo>
                      <a:pt x="61" y="104"/>
                    </a:lnTo>
                    <a:lnTo>
                      <a:pt x="62" y="102"/>
                    </a:lnTo>
                    <a:lnTo>
                      <a:pt x="62" y="101"/>
                    </a:lnTo>
                    <a:lnTo>
                      <a:pt x="63" y="101"/>
                    </a:lnTo>
                    <a:lnTo>
                      <a:pt x="63" y="101"/>
                    </a:lnTo>
                    <a:lnTo>
                      <a:pt x="63" y="100"/>
                    </a:lnTo>
                    <a:lnTo>
                      <a:pt x="63" y="101"/>
                    </a:lnTo>
                    <a:lnTo>
                      <a:pt x="65" y="101"/>
                    </a:lnTo>
                    <a:lnTo>
                      <a:pt x="66" y="100"/>
                    </a:lnTo>
                    <a:lnTo>
                      <a:pt x="66" y="100"/>
                    </a:lnTo>
                    <a:lnTo>
                      <a:pt x="66" y="100"/>
                    </a:lnTo>
                    <a:lnTo>
                      <a:pt x="66" y="99"/>
                    </a:lnTo>
                    <a:lnTo>
                      <a:pt x="66" y="99"/>
                    </a:lnTo>
                    <a:lnTo>
                      <a:pt x="67" y="99"/>
                    </a:lnTo>
                    <a:lnTo>
                      <a:pt x="67" y="97"/>
                    </a:lnTo>
                    <a:lnTo>
                      <a:pt x="66" y="97"/>
                    </a:lnTo>
                    <a:lnTo>
                      <a:pt x="66" y="95"/>
                    </a:lnTo>
                    <a:lnTo>
                      <a:pt x="67" y="95"/>
                    </a:lnTo>
                    <a:lnTo>
                      <a:pt x="67" y="95"/>
                    </a:lnTo>
                    <a:lnTo>
                      <a:pt x="68" y="95"/>
                    </a:lnTo>
                    <a:lnTo>
                      <a:pt x="68" y="94"/>
                    </a:lnTo>
                    <a:lnTo>
                      <a:pt x="68" y="94"/>
                    </a:lnTo>
                    <a:lnTo>
                      <a:pt x="68" y="94"/>
                    </a:lnTo>
                    <a:lnTo>
                      <a:pt x="68" y="94"/>
                    </a:lnTo>
                    <a:lnTo>
                      <a:pt x="68" y="94"/>
                    </a:lnTo>
                    <a:lnTo>
                      <a:pt x="68" y="94"/>
                    </a:lnTo>
                    <a:lnTo>
                      <a:pt x="69" y="94"/>
                    </a:lnTo>
                    <a:lnTo>
                      <a:pt x="70" y="94"/>
                    </a:lnTo>
                    <a:lnTo>
                      <a:pt x="70" y="94"/>
                    </a:lnTo>
                    <a:lnTo>
                      <a:pt x="69" y="93"/>
                    </a:lnTo>
                    <a:lnTo>
                      <a:pt x="70" y="93"/>
                    </a:lnTo>
                    <a:lnTo>
                      <a:pt x="70" y="93"/>
                    </a:lnTo>
                    <a:lnTo>
                      <a:pt x="70" y="93"/>
                    </a:lnTo>
                    <a:lnTo>
                      <a:pt x="72" y="93"/>
                    </a:lnTo>
                    <a:lnTo>
                      <a:pt x="73" y="93"/>
                    </a:lnTo>
                    <a:lnTo>
                      <a:pt x="74" y="93"/>
                    </a:lnTo>
                    <a:lnTo>
                      <a:pt x="75" y="92"/>
                    </a:lnTo>
                    <a:lnTo>
                      <a:pt x="76" y="92"/>
                    </a:lnTo>
                    <a:lnTo>
                      <a:pt x="76" y="93"/>
                    </a:lnTo>
                    <a:lnTo>
                      <a:pt x="76" y="93"/>
                    </a:lnTo>
                    <a:lnTo>
                      <a:pt x="76" y="93"/>
                    </a:lnTo>
                    <a:lnTo>
                      <a:pt x="77" y="93"/>
                    </a:lnTo>
                    <a:lnTo>
                      <a:pt x="77" y="93"/>
                    </a:lnTo>
                    <a:lnTo>
                      <a:pt x="77" y="94"/>
                    </a:lnTo>
                    <a:lnTo>
                      <a:pt x="77" y="93"/>
                    </a:lnTo>
                    <a:lnTo>
                      <a:pt x="79" y="93"/>
                    </a:lnTo>
                    <a:lnTo>
                      <a:pt x="80" y="93"/>
                    </a:lnTo>
                    <a:lnTo>
                      <a:pt x="80" y="93"/>
                    </a:lnTo>
                    <a:lnTo>
                      <a:pt x="80" y="93"/>
                    </a:lnTo>
                    <a:lnTo>
                      <a:pt x="80" y="92"/>
                    </a:lnTo>
                    <a:lnTo>
                      <a:pt x="79" y="92"/>
                    </a:lnTo>
                    <a:lnTo>
                      <a:pt x="77" y="92"/>
                    </a:lnTo>
                    <a:lnTo>
                      <a:pt x="76" y="91"/>
                    </a:lnTo>
                    <a:lnTo>
                      <a:pt x="76" y="91"/>
                    </a:lnTo>
                    <a:lnTo>
                      <a:pt x="79" y="91"/>
                    </a:lnTo>
                    <a:lnTo>
                      <a:pt x="79" y="91"/>
                    </a:lnTo>
                    <a:lnTo>
                      <a:pt x="80" y="91"/>
                    </a:lnTo>
                    <a:lnTo>
                      <a:pt x="80" y="90"/>
                    </a:lnTo>
                    <a:lnTo>
                      <a:pt x="79" y="88"/>
                    </a:lnTo>
                    <a:lnTo>
                      <a:pt x="77" y="88"/>
                    </a:lnTo>
                    <a:lnTo>
                      <a:pt x="76" y="88"/>
                    </a:lnTo>
                    <a:lnTo>
                      <a:pt x="75" y="87"/>
                    </a:lnTo>
                    <a:lnTo>
                      <a:pt x="76" y="87"/>
                    </a:lnTo>
                    <a:lnTo>
                      <a:pt x="76" y="87"/>
                    </a:lnTo>
                    <a:lnTo>
                      <a:pt x="76" y="86"/>
                    </a:lnTo>
                    <a:lnTo>
                      <a:pt x="77" y="86"/>
                    </a:lnTo>
                    <a:lnTo>
                      <a:pt x="76" y="86"/>
                    </a:lnTo>
                    <a:lnTo>
                      <a:pt x="77" y="86"/>
                    </a:lnTo>
                    <a:lnTo>
                      <a:pt x="77" y="86"/>
                    </a:lnTo>
                    <a:lnTo>
                      <a:pt x="76" y="86"/>
                    </a:lnTo>
                    <a:lnTo>
                      <a:pt x="76" y="86"/>
                    </a:lnTo>
                    <a:lnTo>
                      <a:pt x="76" y="85"/>
                    </a:lnTo>
                    <a:lnTo>
                      <a:pt x="77" y="85"/>
                    </a:lnTo>
                    <a:lnTo>
                      <a:pt x="75" y="85"/>
                    </a:lnTo>
                    <a:lnTo>
                      <a:pt x="76" y="85"/>
                    </a:lnTo>
                    <a:lnTo>
                      <a:pt x="76" y="84"/>
                    </a:lnTo>
                    <a:lnTo>
                      <a:pt x="76" y="82"/>
                    </a:lnTo>
                    <a:lnTo>
                      <a:pt x="76" y="81"/>
                    </a:lnTo>
                    <a:lnTo>
                      <a:pt x="76" y="81"/>
                    </a:lnTo>
                    <a:lnTo>
                      <a:pt x="75" y="80"/>
                    </a:lnTo>
                    <a:lnTo>
                      <a:pt x="74" y="81"/>
                    </a:lnTo>
                    <a:lnTo>
                      <a:pt x="74" y="81"/>
                    </a:lnTo>
                    <a:lnTo>
                      <a:pt x="74" y="81"/>
                    </a:lnTo>
                    <a:lnTo>
                      <a:pt x="73" y="80"/>
                    </a:lnTo>
                    <a:lnTo>
                      <a:pt x="73" y="80"/>
                    </a:lnTo>
                    <a:lnTo>
                      <a:pt x="73" y="79"/>
                    </a:lnTo>
                    <a:lnTo>
                      <a:pt x="73" y="79"/>
                    </a:lnTo>
                    <a:lnTo>
                      <a:pt x="72" y="79"/>
                    </a:lnTo>
                    <a:lnTo>
                      <a:pt x="69" y="79"/>
                    </a:lnTo>
                    <a:lnTo>
                      <a:pt x="69" y="79"/>
                    </a:lnTo>
                    <a:lnTo>
                      <a:pt x="69" y="79"/>
                    </a:lnTo>
                    <a:lnTo>
                      <a:pt x="68" y="79"/>
                    </a:lnTo>
                    <a:lnTo>
                      <a:pt x="68" y="79"/>
                    </a:lnTo>
                    <a:lnTo>
                      <a:pt x="67" y="79"/>
                    </a:lnTo>
                    <a:lnTo>
                      <a:pt x="67" y="79"/>
                    </a:lnTo>
                    <a:lnTo>
                      <a:pt x="67" y="78"/>
                    </a:lnTo>
                    <a:lnTo>
                      <a:pt x="66" y="78"/>
                    </a:lnTo>
                    <a:lnTo>
                      <a:pt x="65" y="78"/>
                    </a:lnTo>
                    <a:lnTo>
                      <a:pt x="63" y="77"/>
                    </a:lnTo>
                    <a:lnTo>
                      <a:pt x="65" y="77"/>
                    </a:lnTo>
                    <a:lnTo>
                      <a:pt x="65" y="75"/>
                    </a:lnTo>
                    <a:lnTo>
                      <a:pt x="66" y="74"/>
                    </a:lnTo>
                    <a:lnTo>
                      <a:pt x="67" y="74"/>
                    </a:lnTo>
                    <a:lnTo>
                      <a:pt x="67" y="74"/>
                    </a:lnTo>
                    <a:lnTo>
                      <a:pt x="66" y="74"/>
                    </a:lnTo>
                    <a:lnTo>
                      <a:pt x="65" y="74"/>
                    </a:lnTo>
                    <a:lnTo>
                      <a:pt x="65" y="75"/>
                    </a:lnTo>
                    <a:lnTo>
                      <a:pt x="65" y="75"/>
                    </a:lnTo>
                    <a:lnTo>
                      <a:pt x="65" y="77"/>
                    </a:lnTo>
                    <a:lnTo>
                      <a:pt x="63" y="77"/>
                    </a:lnTo>
                    <a:lnTo>
                      <a:pt x="63" y="77"/>
                    </a:lnTo>
                    <a:lnTo>
                      <a:pt x="62" y="77"/>
                    </a:lnTo>
                    <a:lnTo>
                      <a:pt x="62" y="77"/>
                    </a:lnTo>
                    <a:lnTo>
                      <a:pt x="62" y="77"/>
                    </a:lnTo>
                    <a:lnTo>
                      <a:pt x="61" y="75"/>
                    </a:lnTo>
                    <a:lnTo>
                      <a:pt x="61" y="75"/>
                    </a:lnTo>
                    <a:lnTo>
                      <a:pt x="61" y="77"/>
                    </a:lnTo>
                    <a:lnTo>
                      <a:pt x="61" y="77"/>
                    </a:lnTo>
                    <a:lnTo>
                      <a:pt x="60" y="77"/>
                    </a:lnTo>
                    <a:lnTo>
                      <a:pt x="60" y="77"/>
                    </a:lnTo>
                    <a:lnTo>
                      <a:pt x="60" y="77"/>
                    </a:lnTo>
                    <a:lnTo>
                      <a:pt x="60" y="75"/>
                    </a:lnTo>
                    <a:lnTo>
                      <a:pt x="54" y="71"/>
                    </a:lnTo>
                    <a:lnTo>
                      <a:pt x="52" y="70"/>
                    </a:lnTo>
                    <a:lnTo>
                      <a:pt x="50" y="67"/>
                    </a:lnTo>
                    <a:lnTo>
                      <a:pt x="49" y="64"/>
                    </a:lnTo>
                    <a:lnTo>
                      <a:pt x="52" y="64"/>
                    </a:lnTo>
                    <a:lnTo>
                      <a:pt x="52" y="64"/>
                    </a:lnTo>
                    <a:lnTo>
                      <a:pt x="53" y="64"/>
                    </a:lnTo>
                    <a:lnTo>
                      <a:pt x="52" y="59"/>
                    </a:lnTo>
                    <a:lnTo>
                      <a:pt x="54" y="58"/>
                    </a:lnTo>
                    <a:lnTo>
                      <a:pt x="52" y="57"/>
                    </a:lnTo>
                    <a:lnTo>
                      <a:pt x="50" y="55"/>
                    </a:lnTo>
                    <a:lnTo>
                      <a:pt x="49" y="55"/>
                    </a:lnTo>
                    <a:lnTo>
                      <a:pt x="48" y="53"/>
                    </a:lnTo>
                    <a:lnTo>
                      <a:pt x="46" y="53"/>
                    </a:lnTo>
                    <a:lnTo>
                      <a:pt x="47" y="51"/>
                    </a:lnTo>
                    <a:lnTo>
                      <a:pt x="47" y="50"/>
                    </a:lnTo>
                    <a:lnTo>
                      <a:pt x="48" y="50"/>
                    </a:lnTo>
                    <a:lnTo>
                      <a:pt x="48" y="48"/>
                    </a:lnTo>
                    <a:lnTo>
                      <a:pt x="48" y="47"/>
                    </a:lnTo>
                    <a:lnTo>
                      <a:pt x="46" y="47"/>
                    </a:lnTo>
                    <a:lnTo>
                      <a:pt x="45" y="47"/>
                    </a:lnTo>
                    <a:lnTo>
                      <a:pt x="45" y="47"/>
                    </a:lnTo>
                    <a:lnTo>
                      <a:pt x="43" y="46"/>
                    </a:lnTo>
                    <a:lnTo>
                      <a:pt x="43" y="45"/>
                    </a:lnTo>
                    <a:lnTo>
                      <a:pt x="45" y="45"/>
                    </a:lnTo>
                    <a:lnTo>
                      <a:pt x="43" y="41"/>
                    </a:lnTo>
                    <a:lnTo>
                      <a:pt x="42" y="40"/>
                    </a:lnTo>
                    <a:lnTo>
                      <a:pt x="43" y="39"/>
                    </a:lnTo>
                    <a:lnTo>
                      <a:pt x="46" y="39"/>
                    </a:lnTo>
                    <a:lnTo>
                      <a:pt x="46" y="38"/>
                    </a:lnTo>
                    <a:lnTo>
                      <a:pt x="43" y="38"/>
                    </a:lnTo>
                    <a:lnTo>
                      <a:pt x="43" y="37"/>
                    </a:lnTo>
                    <a:lnTo>
                      <a:pt x="41" y="37"/>
                    </a:lnTo>
                    <a:lnTo>
                      <a:pt x="40" y="34"/>
                    </a:lnTo>
                    <a:lnTo>
                      <a:pt x="39" y="34"/>
                    </a:lnTo>
                    <a:lnTo>
                      <a:pt x="37" y="34"/>
                    </a:lnTo>
                    <a:lnTo>
                      <a:pt x="36" y="33"/>
                    </a:lnTo>
                    <a:lnTo>
                      <a:pt x="35" y="32"/>
                    </a:lnTo>
                    <a:lnTo>
                      <a:pt x="33" y="31"/>
                    </a:lnTo>
                    <a:lnTo>
                      <a:pt x="32" y="31"/>
                    </a:lnTo>
                    <a:lnTo>
                      <a:pt x="32" y="31"/>
                    </a:lnTo>
                    <a:lnTo>
                      <a:pt x="30" y="30"/>
                    </a:lnTo>
                    <a:lnTo>
                      <a:pt x="29" y="30"/>
                    </a:lnTo>
                    <a:lnTo>
                      <a:pt x="27" y="30"/>
                    </a:lnTo>
                    <a:lnTo>
                      <a:pt x="27" y="30"/>
                    </a:lnTo>
                    <a:lnTo>
                      <a:pt x="27" y="30"/>
                    </a:lnTo>
                    <a:lnTo>
                      <a:pt x="26" y="30"/>
                    </a:lnTo>
                    <a:lnTo>
                      <a:pt x="23" y="30"/>
                    </a:lnTo>
                    <a:lnTo>
                      <a:pt x="21" y="28"/>
                    </a:lnTo>
                    <a:lnTo>
                      <a:pt x="20" y="27"/>
                    </a:lnTo>
                    <a:lnTo>
                      <a:pt x="17" y="26"/>
                    </a:lnTo>
                    <a:lnTo>
                      <a:pt x="15" y="26"/>
                    </a:lnTo>
                    <a:lnTo>
                      <a:pt x="14" y="25"/>
                    </a:lnTo>
                    <a:lnTo>
                      <a:pt x="12" y="24"/>
                    </a:lnTo>
                    <a:lnTo>
                      <a:pt x="7" y="21"/>
                    </a:lnTo>
                    <a:lnTo>
                      <a:pt x="5" y="21"/>
                    </a:lnTo>
                    <a:lnTo>
                      <a:pt x="5" y="20"/>
                    </a:lnTo>
                    <a:lnTo>
                      <a:pt x="6" y="20"/>
                    </a:lnTo>
                    <a:lnTo>
                      <a:pt x="5" y="20"/>
                    </a:lnTo>
                    <a:lnTo>
                      <a:pt x="1" y="19"/>
                    </a:lnTo>
                    <a:lnTo>
                      <a:pt x="0" y="18"/>
                    </a:lnTo>
                    <a:lnTo>
                      <a:pt x="1" y="18"/>
                    </a:lnTo>
                    <a:lnTo>
                      <a:pt x="1" y="18"/>
                    </a:lnTo>
                    <a:lnTo>
                      <a:pt x="3" y="17"/>
                    </a:lnTo>
                    <a:lnTo>
                      <a:pt x="7" y="17"/>
                    </a:lnTo>
                    <a:lnTo>
                      <a:pt x="5" y="14"/>
                    </a:lnTo>
                    <a:lnTo>
                      <a:pt x="8" y="13"/>
                    </a:lnTo>
                    <a:lnTo>
                      <a:pt x="14" y="13"/>
                    </a:lnTo>
                    <a:lnTo>
                      <a:pt x="21" y="20"/>
                    </a:lnTo>
                    <a:lnTo>
                      <a:pt x="25" y="21"/>
                    </a:lnTo>
                    <a:lnTo>
                      <a:pt x="25" y="24"/>
                    </a:lnTo>
                    <a:lnTo>
                      <a:pt x="30" y="24"/>
                    </a:lnTo>
                    <a:lnTo>
                      <a:pt x="34" y="24"/>
                    </a:lnTo>
                    <a:lnTo>
                      <a:pt x="36" y="25"/>
                    </a:lnTo>
                    <a:lnTo>
                      <a:pt x="40" y="24"/>
                    </a:lnTo>
                    <a:lnTo>
                      <a:pt x="43" y="24"/>
                    </a:lnTo>
                    <a:lnTo>
                      <a:pt x="43" y="22"/>
                    </a:lnTo>
                    <a:lnTo>
                      <a:pt x="46" y="21"/>
                    </a:lnTo>
                    <a:lnTo>
                      <a:pt x="50" y="24"/>
                    </a:lnTo>
                    <a:lnTo>
                      <a:pt x="56" y="25"/>
                    </a:lnTo>
                    <a:lnTo>
                      <a:pt x="59" y="26"/>
                    </a:lnTo>
                    <a:lnTo>
                      <a:pt x="61" y="25"/>
                    </a:lnTo>
                    <a:lnTo>
                      <a:pt x="62" y="21"/>
                    </a:lnTo>
                    <a:lnTo>
                      <a:pt x="65" y="20"/>
                    </a:lnTo>
                    <a:lnTo>
                      <a:pt x="66" y="21"/>
                    </a:lnTo>
                    <a:lnTo>
                      <a:pt x="67" y="20"/>
                    </a:lnTo>
                    <a:lnTo>
                      <a:pt x="68" y="20"/>
                    </a:lnTo>
                    <a:lnTo>
                      <a:pt x="69" y="18"/>
                    </a:lnTo>
                    <a:lnTo>
                      <a:pt x="67" y="14"/>
                    </a:lnTo>
                    <a:lnTo>
                      <a:pt x="67" y="12"/>
                    </a:lnTo>
                    <a:lnTo>
                      <a:pt x="68" y="12"/>
                    </a:lnTo>
                    <a:lnTo>
                      <a:pt x="69" y="8"/>
                    </a:lnTo>
                    <a:lnTo>
                      <a:pt x="69" y="7"/>
                    </a:lnTo>
                    <a:lnTo>
                      <a:pt x="69" y="6"/>
                    </a:lnTo>
                    <a:lnTo>
                      <a:pt x="70" y="5"/>
                    </a:lnTo>
                    <a:lnTo>
                      <a:pt x="75" y="4"/>
                    </a:lnTo>
                    <a:lnTo>
                      <a:pt x="77" y="4"/>
                    </a:lnTo>
                    <a:lnTo>
                      <a:pt x="82" y="4"/>
                    </a:lnTo>
                    <a:lnTo>
                      <a:pt x="86" y="3"/>
                    </a:lnTo>
                    <a:lnTo>
                      <a:pt x="90" y="0"/>
                    </a:lnTo>
                    <a:lnTo>
                      <a:pt x="95" y="3"/>
                    </a:lnTo>
                    <a:lnTo>
                      <a:pt x="103" y="6"/>
                    </a:lnTo>
                    <a:lnTo>
                      <a:pt x="110" y="6"/>
                    </a:lnTo>
                    <a:lnTo>
                      <a:pt x="114" y="10"/>
                    </a:lnTo>
                    <a:lnTo>
                      <a:pt x="112" y="13"/>
                    </a:lnTo>
                    <a:lnTo>
                      <a:pt x="109" y="15"/>
                    </a:lnTo>
                    <a:lnTo>
                      <a:pt x="109" y="18"/>
                    </a:lnTo>
                    <a:lnTo>
                      <a:pt x="112" y="19"/>
                    </a:lnTo>
                    <a:lnTo>
                      <a:pt x="106" y="21"/>
                    </a:lnTo>
                    <a:lnTo>
                      <a:pt x="106" y="22"/>
                    </a:lnTo>
                    <a:lnTo>
                      <a:pt x="109" y="21"/>
                    </a:lnTo>
                    <a:lnTo>
                      <a:pt x="110" y="22"/>
                    </a:lnTo>
                    <a:lnTo>
                      <a:pt x="110" y="25"/>
                    </a:lnTo>
                    <a:lnTo>
                      <a:pt x="107" y="28"/>
                    </a:lnTo>
                    <a:lnTo>
                      <a:pt x="107" y="28"/>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63" name="Croatia">
                <a:extLst>
                  <a:ext uri="{FF2B5EF4-FFF2-40B4-BE49-F238E27FC236}">
                    <a16:creationId xmlns:a16="http://schemas.microsoft.com/office/drawing/2014/main" id="{13D50150-A3F6-2F42-B4D7-0C8D87E6E77C}"/>
                  </a:ext>
                </a:extLst>
              </p:cNvPr>
              <p:cNvSpPr>
                <a:spLocks noEditPoints="1"/>
              </p:cNvSpPr>
              <p:nvPr/>
            </p:nvSpPr>
            <p:spPr bwMode="auto">
              <a:xfrm>
                <a:off x="6680163" y="2592732"/>
                <a:ext cx="142879" cy="122468"/>
              </a:xfrm>
              <a:custGeom>
                <a:avLst/>
                <a:gdLst>
                  <a:gd name="T0" fmla="*/ 50 w 98"/>
                  <a:gd name="T1" fmla="*/ 74 h 84"/>
                  <a:gd name="T2" fmla="*/ 55 w 98"/>
                  <a:gd name="T3" fmla="*/ 70 h 84"/>
                  <a:gd name="T4" fmla="*/ 61 w 98"/>
                  <a:gd name="T5" fmla="*/ 72 h 84"/>
                  <a:gd name="T6" fmla="*/ 58 w 98"/>
                  <a:gd name="T7" fmla="*/ 67 h 84"/>
                  <a:gd name="T8" fmla="*/ 52 w 98"/>
                  <a:gd name="T9" fmla="*/ 67 h 84"/>
                  <a:gd name="T10" fmla="*/ 49 w 98"/>
                  <a:gd name="T11" fmla="*/ 67 h 84"/>
                  <a:gd name="T12" fmla="*/ 15 w 98"/>
                  <a:gd name="T13" fmla="*/ 30 h 84"/>
                  <a:gd name="T14" fmla="*/ 15 w 98"/>
                  <a:gd name="T15" fmla="*/ 37 h 84"/>
                  <a:gd name="T16" fmla="*/ 15 w 98"/>
                  <a:gd name="T17" fmla="*/ 39 h 84"/>
                  <a:gd name="T18" fmla="*/ 90 w 98"/>
                  <a:gd name="T19" fmla="*/ 23 h 84"/>
                  <a:gd name="T20" fmla="*/ 92 w 98"/>
                  <a:gd name="T21" fmla="*/ 30 h 84"/>
                  <a:gd name="T22" fmla="*/ 83 w 98"/>
                  <a:gd name="T23" fmla="*/ 31 h 84"/>
                  <a:gd name="T24" fmla="*/ 72 w 98"/>
                  <a:gd name="T25" fmla="*/ 31 h 84"/>
                  <a:gd name="T26" fmla="*/ 59 w 98"/>
                  <a:gd name="T27" fmla="*/ 27 h 84"/>
                  <a:gd name="T28" fmla="*/ 49 w 98"/>
                  <a:gd name="T29" fmla="*/ 30 h 84"/>
                  <a:gd name="T30" fmla="*/ 36 w 98"/>
                  <a:gd name="T31" fmla="*/ 32 h 84"/>
                  <a:gd name="T32" fmla="*/ 46 w 98"/>
                  <a:gd name="T33" fmla="*/ 43 h 84"/>
                  <a:gd name="T34" fmla="*/ 56 w 98"/>
                  <a:gd name="T35" fmla="*/ 56 h 84"/>
                  <a:gd name="T36" fmla="*/ 68 w 98"/>
                  <a:gd name="T37" fmla="*/ 68 h 84"/>
                  <a:gd name="T38" fmla="*/ 82 w 98"/>
                  <a:gd name="T39" fmla="*/ 77 h 84"/>
                  <a:gd name="T40" fmla="*/ 79 w 98"/>
                  <a:gd name="T41" fmla="*/ 79 h 84"/>
                  <a:gd name="T42" fmla="*/ 67 w 98"/>
                  <a:gd name="T43" fmla="*/ 75 h 84"/>
                  <a:gd name="T44" fmla="*/ 63 w 98"/>
                  <a:gd name="T45" fmla="*/ 74 h 84"/>
                  <a:gd name="T46" fmla="*/ 73 w 98"/>
                  <a:gd name="T47" fmla="*/ 76 h 84"/>
                  <a:gd name="T48" fmla="*/ 67 w 98"/>
                  <a:gd name="T49" fmla="*/ 74 h 84"/>
                  <a:gd name="T50" fmla="*/ 62 w 98"/>
                  <a:gd name="T51" fmla="*/ 69 h 84"/>
                  <a:gd name="T52" fmla="*/ 56 w 98"/>
                  <a:gd name="T53" fmla="*/ 65 h 84"/>
                  <a:gd name="T54" fmla="*/ 52 w 98"/>
                  <a:gd name="T55" fmla="*/ 62 h 84"/>
                  <a:gd name="T56" fmla="*/ 46 w 98"/>
                  <a:gd name="T57" fmla="*/ 63 h 84"/>
                  <a:gd name="T58" fmla="*/ 45 w 98"/>
                  <a:gd name="T59" fmla="*/ 64 h 84"/>
                  <a:gd name="T60" fmla="*/ 43 w 98"/>
                  <a:gd name="T61" fmla="*/ 62 h 84"/>
                  <a:gd name="T62" fmla="*/ 41 w 98"/>
                  <a:gd name="T63" fmla="*/ 59 h 84"/>
                  <a:gd name="T64" fmla="*/ 33 w 98"/>
                  <a:gd name="T65" fmla="*/ 52 h 84"/>
                  <a:gd name="T66" fmla="*/ 29 w 98"/>
                  <a:gd name="T67" fmla="*/ 48 h 84"/>
                  <a:gd name="T68" fmla="*/ 33 w 98"/>
                  <a:gd name="T69" fmla="*/ 45 h 84"/>
                  <a:gd name="T70" fmla="*/ 21 w 98"/>
                  <a:gd name="T71" fmla="*/ 30 h 84"/>
                  <a:gd name="T72" fmla="*/ 16 w 98"/>
                  <a:gd name="T73" fmla="*/ 27 h 84"/>
                  <a:gd name="T74" fmla="*/ 12 w 98"/>
                  <a:gd name="T75" fmla="*/ 31 h 84"/>
                  <a:gd name="T76" fmla="*/ 9 w 98"/>
                  <a:gd name="T77" fmla="*/ 32 h 84"/>
                  <a:gd name="T78" fmla="*/ 8 w 98"/>
                  <a:gd name="T79" fmla="*/ 37 h 84"/>
                  <a:gd name="T80" fmla="*/ 6 w 98"/>
                  <a:gd name="T81" fmla="*/ 32 h 84"/>
                  <a:gd name="T82" fmla="*/ 2 w 98"/>
                  <a:gd name="T83" fmla="*/ 28 h 84"/>
                  <a:gd name="T84" fmla="*/ 0 w 98"/>
                  <a:gd name="T85" fmla="*/ 23 h 84"/>
                  <a:gd name="T86" fmla="*/ 8 w 98"/>
                  <a:gd name="T87" fmla="*/ 23 h 84"/>
                  <a:gd name="T88" fmla="*/ 22 w 98"/>
                  <a:gd name="T89" fmla="*/ 24 h 84"/>
                  <a:gd name="T90" fmla="*/ 32 w 98"/>
                  <a:gd name="T91" fmla="*/ 10 h 84"/>
                  <a:gd name="T92" fmla="*/ 47 w 98"/>
                  <a:gd name="T93" fmla="*/ 0 h 84"/>
                  <a:gd name="T94" fmla="*/ 55 w 98"/>
                  <a:gd name="T95" fmla="*/ 8 h 84"/>
                  <a:gd name="T96" fmla="*/ 61 w 98"/>
                  <a:gd name="T97" fmla="*/ 12 h 84"/>
                  <a:gd name="T98" fmla="*/ 68 w 98"/>
                  <a:gd name="T99" fmla="*/ 15 h 84"/>
                  <a:gd name="T100" fmla="*/ 80 w 98"/>
                  <a:gd name="T101" fmla="*/ 17 h 84"/>
                  <a:gd name="T102" fmla="*/ 88 w 98"/>
                  <a:gd name="T103" fmla="*/ 15 h 84"/>
                  <a:gd name="T104" fmla="*/ 45 w 98"/>
                  <a:gd name="T105" fmla="*/ 75 h 84"/>
                  <a:gd name="T106" fmla="*/ 48 w 98"/>
                  <a:gd name="T107" fmla="*/ 75 h 84"/>
                  <a:gd name="T108" fmla="*/ 59 w 98"/>
                  <a:gd name="T109" fmla="*/ 76 h 84"/>
                  <a:gd name="T110" fmla="*/ 56 w 98"/>
                  <a:gd name="T111" fmla="*/ 75 h 84"/>
                  <a:gd name="T112" fmla="*/ 62 w 98"/>
                  <a:gd name="T113" fmla="*/ 75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8" h="84">
                    <a:moveTo>
                      <a:pt x="61" y="72"/>
                    </a:moveTo>
                    <a:lnTo>
                      <a:pt x="60" y="72"/>
                    </a:lnTo>
                    <a:lnTo>
                      <a:pt x="59" y="74"/>
                    </a:lnTo>
                    <a:lnTo>
                      <a:pt x="56" y="72"/>
                    </a:lnTo>
                    <a:lnTo>
                      <a:pt x="56" y="74"/>
                    </a:lnTo>
                    <a:lnTo>
                      <a:pt x="55" y="74"/>
                    </a:lnTo>
                    <a:lnTo>
                      <a:pt x="53" y="74"/>
                    </a:lnTo>
                    <a:lnTo>
                      <a:pt x="50" y="74"/>
                    </a:lnTo>
                    <a:lnTo>
                      <a:pt x="50" y="74"/>
                    </a:lnTo>
                    <a:lnTo>
                      <a:pt x="49" y="72"/>
                    </a:lnTo>
                    <a:lnTo>
                      <a:pt x="49" y="71"/>
                    </a:lnTo>
                    <a:lnTo>
                      <a:pt x="50" y="71"/>
                    </a:lnTo>
                    <a:lnTo>
                      <a:pt x="53" y="72"/>
                    </a:lnTo>
                    <a:lnTo>
                      <a:pt x="52" y="71"/>
                    </a:lnTo>
                    <a:lnTo>
                      <a:pt x="52" y="70"/>
                    </a:lnTo>
                    <a:lnTo>
                      <a:pt x="53" y="70"/>
                    </a:lnTo>
                    <a:lnTo>
                      <a:pt x="54" y="70"/>
                    </a:lnTo>
                    <a:lnTo>
                      <a:pt x="55" y="70"/>
                    </a:lnTo>
                    <a:lnTo>
                      <a:pt x="56" y="71"/>
                    </a:lnTo>
                    <a:lnTo>
                      <a:pt x="58" y="71"/>
                    </a:lnTo>
                    <a:lnTo>
                      <a:pt x="58" y="71"/>
                    </a:lnTo>
                    <a:lnTo>
                      <a:pt x="59" y="71"/>
                    </a:lnTo>
                    <a:lnTo>
                      <a:pt x="60" y="71"/>
                    </a:lnTo>
                    <a:lnTo>
                      <a:pt x="61" y="71"/>
                    </a:lnTo>
                    <a:lnTo>
                      <a:pt x="62" y="72"/>
                    </a:lnTo>
                    <a:lnTo>
                      <a:pt x="62" y="72"/>
                    </a:lnTo>
                    <a:lnTo>
                      <a:pt x="61" y="72"/>
                    </a:lnTo>
                    <a:lnTo>
                      <a:pt x="61" y="72"/>
                    </a:lnTo>
                    <a:close/>
                    <a:moveTo>
                      <a:pt x="49" y="65"/>
                    </a:moveTo>
                    <a:lnTo>
                      <a:pt x="49" y="65"/>
                    </a:lnTo>
                    <a:lnTo>
                      <a:pt x="50" y="65"/>
                    </a:lnTo>
                    <a:lnTo>
                      <a:pt x="52" y="65"/>
                    </a:lnTo>
                    <a:lnTo>
                      <a:pt x="53" y="65"/>
                    </a:lnTo>
                    <a:lnTo>
                      <a:pt x="55" y="67"/>
                    </a:lnTo>
                    <a:lnTo>
                      <a:pt x="55" y="67"/>
                    </a:lnTo>
                    <a:lnTo>
                      <a:pt x="58" y="67"/>
                    </a:lnTo>
                    <a:lnTo>
                      <a:pt x="58" y="67"/>
                    </a:lnTo>
                    <a:lnTo>
                      <a:pt x="58" y="67"/>
                    </a:lnTo>
                    <a:lnTo>
                      <a:pt x="58" y="68"/>
                    </a:lnTo>
                    <a:lnTo>
                      <a:pt x="58" y="68"/>
                    </a:lnTo>
                    <a:lnTo>
                      <a:pt x="56" y="68"/>
                    </a:lnTo>
                    <a:lnTo>
                      <a:pt x="56" y="68"/>
                    </a:lnTo>
                    <a:lnTo>
                      <a:pt x="55" y="68"/>
                    </a:lnTo>
                    <a:lnTo>
                      <a:pt x="54" y="68"/>
                    </a:lnTo>
                    <a:lnTo>
                      <a:pt x="52" y="67"/>
                    </a:lnTo>
                    <a:lnTo>
                      <a:pt x="49" y="68"/>
                    </a:lnTo>
                    <a:lnTo>
                      <a:pt x="49" y="68"/>
                    </a:lnTo>
                    <a:lnTo>
                      <a:pt x="48" y="67"/>
                    </a:lnTo>
                    <a:lnTo>
                      <a:pt x="47" y="67"/>
                    </a:lnTo>
                    <a:lnTo>
                      <a:pt x="47" y="65"/>
                    </a:lnTo>
                    <a:lnTo>
                      <a:pt x="47" y="65"/>
                    </a:lnTo>
                    <a:lnTo>
                      <a:pt x="48" y="65"/>
                    </a:lnTo>
                    <a:lnTo>
                      <a:pt x="49" y="67"/>
                    </a:lnTo>
                    <a:lnTo>
                      <a:pt x="49" y="67"/>
                    </a:lnTo>
                    <a:lnTo>
                      <a:pt x="49" y="65"/>
                    </a:lnTo>
                    <a:lnTo>
                      <a:pt x="49" y="65"/>
                    </a:lnTo>
                    <a:close/>
                    <a:moveTo>
                      <a:pt x="21" y="32"/>
                    </a:moveTo>
                    <a:lnTo>
                      <a:pt x="20" y="31"/>
                    </a:lnTo>
                    <a:lnTo>
                      <a:pt x="18" y="30"/>
                    </a:lnTo>
                    <a:lnTo>
                      <a:pt x="18" y="29"/>
                    </a:lnTo>
                    <a:lnTo>
                      <a:pt x="16" y="28"/>
                    </a:lnTo>
                    <a:lnTo>
                      <a:pt x="16" y="30"/>
                    </a:lnTo>
                    <a:lnTo>
                      <a:pt x="15" y="30"/>
                    </a:lnTo>
                    <a:lnTo>
                      <a:pt x="16" y="31"/>
                    </a:lnTo>
                    <a:lnTo>
                      <a:pt x="18" y="31"/>
                    </a:lnTo>
                    <a:lnTo>
                      <a:pt x="19" y="32"/>
                    </a:lnTo>
                    <a:lnTo>
                      <a:pt x="20" y="32"/>
                    </a:lnTo>
                    <a:lnTo>
                      <a:pt x="21" y="32"/>
                    </a:lnTo>
                    <a:lnTo>
                      <a:pt x="21" y="32"/>
                    </a:lnTo>
                    <a:close/>
                    <a:moveTo>
                      <a:pt x="18" y="39"/>
                    </a:moveTo>
                    <a:lnTo>
                      <a:pt x="16" y="39"/>
                    </a:lnTo>
                    <a:lnTo>
                      <a:pt x="15" y="37"/>
                    </a:lnTo>
                    <a:lnTo>
                      <a:pt x="15" y="35"/>
                    </a:lnTo>
                    <a:lnTo>
                      <a:pt x="14" y="34"/>
                    </a:lnTo>
                    <a:lnTo>
                      <a:pt x="14" y="31"/>
                    </a:lnTo>
                    <a:lnTo>
                      <a:pt x="14" y="30"/>
                    </a:lnTo>
                    <a:lnTo>
                      <a:pt x="14" y="34"/>
                    </a:lnTo>
                    <a:lnTo>
                      <a:pt x="13" y="35"/>
                    </a:lnTo>
                    <a:lnTo>
                      <a:pt x="14" y="35"/>
                    </a:lnTo>
                    <a:lnTo>
                      <a:pt x="14" y="37"/>
                    </a:lnTo>
                    <a:lnTo>
                      <a:pt x="15" y="39"/>
                    </a:lnTo>
                    <a:lnTo>
                      <a:pt x="15" y="39"/>
                    </a:lnTo>
                    <a:lnTo>
                      <a:pt x="16" y="42"/>
                    </a:lnTo>
                    <a:lnTo>
                      <a:pt x="18" y="39"/>
                    </a:lnTo>
                    <a:lnTo>
                      <a:pt x="18" y="39"/>
                    </a:lnTo>
                    <a:close/>
                    <a:moveTo>
                      <a:pt x="88" y="15"/>
                    </a:moveTo>
                    <a:lnTo>
                      <a:pt x="88" y="16"/>
                    </a:lnTo>
                    <a:lnTo>
                      <a:pt x="89" y="18"/>
                    </a:lnTo>
                    <a:lnTo>
                      <a:pt x="89" y="21"/>
                    </a:lnTo>
                    <a:lnTo>
                      <a:pt x="90" y="23"/>
                    </a:lnTo>
                    <a:lnTo>
                      <a:pt x="90" y="25"/>
                    </a:lnTo>
                    <a:lnTo>
                      <a:pt x="92" y="27"/>
                    </a:lnTo>
                    <a:lnTo>
                      <a:pt x="94" y="28"/>
                    </a:lnTo>
                    <a:lnTo>
                      <a:pt x="96" y="27"/>
                    </a:lnTo>
                    <a:lnTo>
                      <a:pt x="98" y="28"/>
                    </a:lnTo>
                    <a:lnTo>
                      <a:pt x="98" y="29"/>
                    </a:lnTo>
                    <a:lnTo>
                      <a:pt x="95" y="29"/>
                    </a:lnTo>
                    <a:lnTo>
                      <a:pt x="95" y="30"/>
                    </a:lnTo>
                    <a:lnTo>
                      <a:pt x="92" y="30"/>
                    </a:lnTo>
                    <a:lnTo>
                      <a:pt x="92" y="32"/>
                    </a:lnTo>
                    <a:lnTo>
                      <a:pt x="92" y="34"/>
                    </a:lnTo>
                    <a:lnTo>
                      <a:pt x="92" y="32"/>
                    </a:lnTo>
                    <a:lnTo>
                      <a:pt x="89" y="35"/>
                    </a:lnTo>
                    <a:lnTo>
                      <a:pt x="87" y="34"/>
                    </a:lnTo>
                    <a:lnTo>
                      <a:pt x="85" y="32"/>
                    </a:lnTo>
                    <a:lnTo>
                      <a:pt x="85" y="32"/>
                    </a:lnTo>
                    <a:lnTo>
                      <a:pt x="83" y="30"/>
                    </a:lnTo>
                    <a:lnTo>
                      <a:pt x="83" y="31"/>
                    </a:lnTo>
                    <a:lnTo>
                      <a:pt x="81" y="31"/>
                    </a:lnTo>
                    <a:lnTo>
                      <a:pt x="80" y="31"/>
                    </a:lnTo>
                    <a:lnTo>
                      <a:pt x="80" y="31"/>
                    </a:lnTo>
                    <a:lnTo>
                      <a:pt x="79" y="30"/>
                    </a:lnTo>
                    <a:lnTo>
                      <a:pt x="75" y="30"/>
                    </a:lnTo>
                    <a:lnTo>
                      <a:pt x="74" y="30"/>
                    </a:lnTo>
                    <a:lnTo>
                      <a:pt x="74" y="30"/>
                    </a:lnTo>
                    <a:lnTo>
                      <a:pt x="73" y="30"/>
                    </a:lnTo>
                    <a:lnTo>
                      <a:pt x="72" y="31"/>
                    </a:lnTo>
                    <a:lnTo>
                      <a:pt x="70" y="30"/>
                    </a:lnTo>
                    <a:lnTo>
                      <a:pt x="69" y="30"/>
                    </a:lnTo>
                    <a:lnTo>
                      <a:pt x="68" y="29"/>
                    </a:lnTo>
                    <a:lnTo>
                      <a:pt x="66" y="30"/>
                    </a:lnTo>
                    <a:lnTo>
                      <a:pt x="65" y="29"/>
                    </a:lnTo>
                    <a:lnTo>
                      <a:pt x="62" y="27"/>
                    </a:lnTo>
                    <a:lnTo>
                      <a:pt x="62" y="27"/>
                    </a:lnTo>
                    <a:lnTo>
                      <a:pt x="60" y="27"/>
                    </a:lnTo>
                    <a:lnTo>
                      <a:pt x="59" y="27"/>
                    </a:lnTo>
                    <a:lnTo>
                      <a:pt x="56" y="28"/>
                    </a:lnTo>
                    <a:lnTo>
                      <a:pt x="55" y="28"/>
                    </a:lnTo>
                    <a:lnTo>
                      <a:pt x="55" y="27"/>
                    </a:lnTo>
                    <a:lnTo>
                      <a:pt x="53" y="28"/>
                    </a:lnTo>
                    <a:lnTo>
                      <a:pt x="52" y="28"/>
                    </a:lnTo>
                    <a:lnTo>
                      <a:pt x="50" y="28"/>
                    </a:lnTo>
                    <a:lnTo>
                      <a:pt x="49" y="29"/>
                    </a:lnTo>
                    <a:lnTo>
                      <a:pt x="49" y="30"/>
                    </a:lnTo>
                    <a:lnTo>
                      <a:pt x="49" y="30"/>
                    </a:lnTo>
                    <a:lnTo>
                      <a:pt x="47" y="31"/>
                    </a:lnTo>
                    <a:lnTo>
                      <a:pt x="46" y="31"/>
                    </a:lnTo>
                    <a:lnTo>
                      <a:pt x="45" y="31"/>
                    </a:lnTo>
                    <a:lnTo>
                      <a:pt x="41" y="29"/>
                    </a:lnTo>
                    <a:lnTo>
                      <a:pt x="39" y="29"/>
                    </a:lnTo>
                    <a:lnTo>
                      <a:pt x="39" y="30"/>
                    </a:lnTo>
                    <a:lnTo>
                      <a:pt x="39" y="31"/>
                    </a:lnTo>
                    <a:lnTo>
                      <a:pt x="38" y="32"/>
                    </a:lnTo>
                    <a:lnTo>
                      <a:pt x="36" y="32"/>
                    </a:lnTo>
                    <a:lnTo>
                      <a:pt x="38" y="35"/>
                    </a:lnTo>
                    <a:lnTo>
                      <a:pt x="38" y="36"/>
                    </a:lnTo>
                    <a:lnTo>
                      <a:pt x="40" y="38"/>
                    </a:lnTo>
                    <a:lnTo>
                      <a:pt x="41" y="39"/>
                    </a:lnTo>
                    <a:lnTo>
                      <a:pt x="42" y="39"/>
                    </a:lnTo>
                    <a:lnTo>
                      <a:pt x="43" y="41"/>
                    </a:lnTo>
                    <a:lnTo>
                      <a:pt x="43" y="42"/>
                    </a:lnTo>
                    <a:lnTo>
                      <a:pt x="45" y="43"/>
                    </a:lnTo>
                    <a:lnTo>
                      <a:pt x="46" y="43"/>
                    </a:lnTo>
                    <a:lnTo>
                      <a:pt x="47" y="47"/>
                    </a:lnTo>
                    <a:lnTo>
                      <a:pt x="47" y="48"/>
                    </a:lnTo>
                    <a:lnTo>
                      <a:pt x="49" y="49"/>
                    </a:lnTo>
                    <a:lnTo>
                      <a:pt x="49" y="50"/>
                    </a:lnTo>
                    <a:lnTo>
                      <a:pt x="50" y="52"/>
                    </a:lnTo>
                    <a:lnTo>
                      <a:pt x="52" y="52"/>
                    </a:lnTo>
                    <a:lnTo>
                      <a:pt x="53" y="52"/>
                    </a:lnTo>
                    <a:lnTo>
                      <a:pt x="55" y="55"/>
                    </a:lnTo>
                    <a:lnTo>
                      <a:pt x="56" y="56"/>
                    </a:lnTo>
                    <a:lnTo>
                      <a:pt x="59" y="56"/>
                    </a:lnTo>
                    <a:lnTo>
                      <a:pt x="60" y="56"/>
                    </a:lnTo>
                    <a:lnTo>
                      <a:pt x="60" y="58"/>
                    </a:lnTo>
                    <a:lnTo>
                      <a:pt x="61" y="59"/>
                    </a:lnTo>
                    <a:lnTo>
                      <a:pt x="63" y="62"/>
                    </a:lnTo>
                    <a:lnTo>
                      <a:pt x="66" y="63"/>
                    </a:lnTo>
                    <a:lnTo>
                      <a:pt x="66" y="64"/>
                    </a:lnTo>
                    <a:lnTo>
                      <a:pt x="66" y="67"/>
                    </a:lnTo>
                    <a:lnTo>
                      <a:pt x="68" y="68"/>
                    </a:lnTo>
                    <a:lnTo>
                      <a:pt x="68" y="69"/>
                    </a:lnTo>
                    <a:lnTo>
                      <a:pt x="69" y="70"/>
                    </a:lnTo>
                    <a:lnTo>
                      <a:pt x="70" y="71"/>
                    </a:lnTo>
                    <a:lnTo>
                      <a:pt x="70" y="72"/>
                    </a:lnTo>
                    <a:lnTo>
                      <a:pt x="72" y="74"/>
                    </a:lnTo>
                    <a:lnTo>
                      <a:pt x="73" y="75"/>
                    </a:lnTo>
                    <a:lnTo>
                      <a:pt x="73" y="74"/>
                    </a:lnTo>
                    <a:lnTo>
                      <a:pt x="78" y="77"/>
                    </a:lnTo>
                    <a:lnTo>
                      <a:pt x="82" y="77"/>
                    </a:lnTo>
                    <a:lnTo>
                      <a:pt x="87" y="82"/>
                    </a:lnTo>
                    <a:lnTo>
                      <a:pt x="87" y="84"/>
                    </a:lnTo>
                    <a:lnTo>
                      <a:pt x="86" y="84"/>
                    </a:lnTo>
                    <a:lnTo>
                      <a:pt x="86" y="84"/>
                    </a:lnTo>
                    <a:lnTo>
                      <a:pt x="82" y="82"/>
                    </a:lnTo>
                    <a:lnTo>
                      <a:pt x="82" y="82"/>
                    </a:lnTo>
                    <a:lnTo>
                      <a:pt x="81" y="82"/>
                    </a:lnTo>
                    <a:lnTo>
                      <a:pt x="79" y="81"/>
                    </a:lnTo>
                    <a:lnTo>
                      <a:pt x="79" y="79"/>
                    </a:lnTo>
                    <a:lnTo>
                      <a:pt x="78" y="79"/>
                    </a:lnTo>
                    <a:lnTo>
                      <a:pt x="76" y="78"/>
                    </a:lnTo>
                    <a:lnTo>
                      <a:pt x="76" y="78"/>
                    </a:lnTo>
                    <a:lnTo>
                      <a:pt x="74" y="77"/>
                    </a:lnTo>
                    <a:lnTo>
                      <a:pt x="73" y="77"/>
                    </a:lnTo>
                    <a:lnTo>
                      <a:pt x="73" y="78"/>
                    </a:lnTo>
                    <a:lnTo>
                      <a:pt x="68" y="76"/>
                    </a:lnTo>
                    <a:lnTo>
                      <a:pt x="68" y="76"/>
                    </a:lnTo>
                    <a:lnTo>
                      <a:pt x="67" y="75"/>
                    </a:lnTo>
                    <a:lnTo>
                      <a:pt x="66" y="75"/>
                    </a:lnTo>
                    <a:lnTo>
                      <a:pt x="65" y="75"/>
                    </a:lnTo>
                    <a:lnTo>
                      <a:pt x="65" y="75"/>
                    </a:lnTo>
                    <a:lnTo>
                      <a:pt x="63" y="75"/>
                    </a:lnTo>
                    <a:lnTo>
                      <a:pt x="62" y="74"/>
                    </a:lnTo>
                    <a:lnTo>
                      <a:pt x="62" y="74"/>
                    </a:lnTo>
                    <a:lnTo>
                      <a:pt x="62" y="74"/>
                    </a:lnTo>
                    <a:lnTo>
                      <a:pt x="62" y="74"/>
                    </a:lnTo>
                    <a:lnTo>
                      <a:pt x="63" y="74"/>
                    </a:lnTo>
                    <a:lnTo>
                      <a:pt x="63" y="74"/>
                    </a:lnTo>
                    <a:lnTo>
                      <a:pt x="63" y="74"/>
                    </a:lnTo>
                    <a:lnTo>
                      <a:pt x="65" y="74"/>
                    </a:lnTo>
                    <a:lnTo>
                      <a:pt x="66" y="74"/>
                    </a:lnTo>
                    <a:lnTo>
                      <a:pt x="66" y="75"/>
                    </a:lnTo>
                    <a:lnTo>
                      <a:pt x="67" y="75"/>
                    </a:lnTo>
                    <a:lnTo>
                      <a:pt x="68" y="75"/>
                    </a:lnTo>
                    <a:lnTo>
                      <a:pt x="72" y="75"/>
                    </a:lnTo>
                    <a:lnTo>
                      <a:pt x="73" y="76"/>
                    </a:lnTo>
                    <a:lnTo>
                      <a:pt x="73" y="76"/>
                    </a:lnTo>
                    <a:lnTo>
                      <a:pt x="72" y="75"/>
                    </a:lnTo>
                    <a:lnTo>
                      <a:pt x="70" y="75"/>
                    </a:lnTo>
                    <a:lnTo>
                      <a:pt x="68" y="74"/>
                    </a:lnTo>
                    <a:lnTo>
                      <a:pt x="68" y="74"/>
                    </a:lnTo>
                    <a:lnTo>
                      <a:pt x="67" y="72"/>
                    </a:lnTo>
                    <a:lnTo>
                      <a:pt x="67" y="72"/>
                    </a:lnTo>
                    <a:lnTo>
                      <a:pt x="67" y="74"/>
                    </a:lnTo>
                    <a:lnTo>
                      <a:pt x="67" y="74"/>
                    </a:lnTo>
                    <a:lnTo>
                      <a:pt x="67" y="74"/>
                    </a:lnTo>
                    <a:lnTo>
                      <a:pt x="66" y="72"/>
                    </a:lnTo>
                    <a:lnTo>
                      <a:pt x="66" y="72"/>
                    </a:lnTo>
                    <a:lnTo>
                      <a:pt x="66" y="71"/>
                    </a:lnTo>
                    <a:lnTo>
                      <a:pt x="65" y="71"/>
                    </a:lnTo>
                    <a:lnTo>
                      <a:pt x="63" y="71"/>
                    </a:lnTo>
                    <a:lnTo>
                      <a:pt x="63" y="70"/>
                    </a:lnTo>
                    <a:lnTo>
                      <a:pt x="62" y="70"/>
                    </a:lnTo>
                    <a:lnTo>
                      <a:pt x="62" y="69"/>
                    </a:lnTo>
                    <a:lnTo>
                      <a:pt x="62" y="69"/>
                    </a:lnTo>
                    <a:lnTo>
                      <a:pt x="61" y="69"/>
                    </a:lnTo>
                    <a:lnTo>
                      <a:pt x="61" y="69"/>
                    </a:lnTo>
                    <a:lnTo>
                      <a:pt x="61" y="69"/>
                    </a:lnTo>
                    <a:lnTo>
                      <a:pt x="61" y="69"/>
                    </a:lnTo>
                    <a:lnTo>
                      <a:pt x="60" y="68"/>
                    </a:lnTo>
                    <a:lnTo>
                      <a:pt x="60" y="67"/>
                    </a:lnTo>
                    <a:lnTo>
                      <a:pt x="59" y="65"/>
                    </a:lnTo>
                    <a:lnTo>
                      <a:pt x="56" y="65"/>
                    </a:lnTo>
                    <a:lnTo>
                      <a:pt x="55" y="64"/>
                    </a:lnTo>
                    <a:lnTo>
                      <a:pt x="54" y="64"/>
                    </a:lnTo>
                    <a:lnTo>
                      <a:pt x="53" y="63"/>
                    </a:lnTo>
                    <a:lnTo>
                      <a:pt x="52" y="63"/>
                    </a:lnTo>
                    <a:lnTo>
                      <a:pt x="52" y="63"/>
                    </a:lnTo>
                    <a:lnTo>
                      <a:pt x="50" y="63"/>
                    </a:lnTo>
                    <a:lnTo>
                      <a:pt x="52" y="63"/>
                    </a:lnTo>
                    <a:lnTo>
                      <a:pt x="52" y="62"/>
                    </a:lnTo>
                    <a:lnTo>
                      <a:pt x="52" y="62"/>
                    </a:lnTo>
                    <a:lnTo>
                      <a:pt x="52" y="62"/>
                    </a:lnTo>
                    <a:lnTo>
                      <a:pt x="50" y="62"/>
                    </a:lnTo>
                    <a:lnTo>
                      <a:pt x="50" y="62"/>
                    </a:lnTo>
                    <a:lnTo>
                      <a:pt x="49" y="62"/>
                    </a:lnTo>
                    <a:lnTo>
                      <a:pt x="49" y="62"/>
                    </a:lnTo>
                    <a:lnTo>
                      <a:pt x="48" y="62"/>
                    </a:lnTo>
                    <a:lnTo>
                      <a:pt x="48" y="63"/>
                    </a:lnTo>
                    <a:lnTo>
                      <a:pt x="47" y="63"/>
                    </a:lnTo>
                    <a:lnTo>
                      <a:pt x="46" y="63"/>
                    </a:lnTo>
                    <a:lnTo>
                      <a:pt x="46" y="63"/>
                    </a:lnTo>
                    <a:lnTo>
                      <a:pt x="46" y="63"/>
                    </a:lnTo>
                    <a:lnTo>
                      <a:pt x="45" y="63"/>
                    </a:lnTo>
                    <a:lnTo>
                      <a:pt x="46" y="63"/>
                    </a:lnTo>
                    <a:lnTo>
                      <a:pt x="47" y="63"/>
                    </a:lnTo>
                    <a:lnTo>
                      <a:pt x="47" y="64"/>
                    </a:lnTo>
                    <a:lnTo>
                      <a:pt x="46" y="64"/>
                    </a:lnTo>
                    <a:lnTo>
                      <a:pt x="45" y="63"/>
                    </a:lnTo>
                    <a:lnTo>
                      <a:pt x="45" y="64"/>
                    </a:lnTo>
                    <a:lnTo>
                      <a:pt x="43" y="64"/>
                    </a:lnTo>
                    <a:lnTo>
                      <a:pt x="42" y="63"/>
                    </a:lnTo>
                    <a:lnTo>
                      <a:pt x="42" y="63"/>
                    </a:lnTo>
                    <a:lnTo>
                      <a:pt x="42" y="63"/>
                    </a:lnTo>
                    <a:lnTo>
                      <a:pt x="43" y="63"/>
                    </a:lnTo>
                    <a:lnTo>
                      <a:pt x="45" y="63"/>
                    </a:lnTo>
                    <a:lnTo>
                      <a:pt x="45" y="62"/>
                    </a:lnTo>
                    <a:lnTo>
                      <a:pt x="43" y="62"/>
                    </a:lnTo>
                    <a:lnTo>
                      <a:pt x="43" y="62"/>
                    </a:lnTo>
                    <a:lnTo>
                      <a:pt x="42" y="62"/>
                    </a:lnTo>
                    <a:lnTo>
                      <a:pt x="42" y="62"/>
                    </a:lnTo>
                    <a:lnTo>
                      <a:pt x="42" y="61"/>
                    </a:lnTo>
                    <a:lnTo>
                      <a:pt x="42" y="61"/>
                    </a:lnTo>
                    <a:lnTo>
                      <a:pt x="42" y="59"/>
                    </a:lnTo>
                    <a:lnTo>
                      <a:pt x="42" y="59"/>
                    </a:lnTo>
                    <a:lnTo>
                      <a:pt x="42" y="59"/>
                    </a:lnTo>
                    <a:lnTo>
                      <a:pt x="41" y="59"/>
                    </a:lnTo>
                    <a:lnTo>
                      <a:pt x="41" y="59"/>
                    </a:lnTo>
                    <a:lnTo>
                      <a:pt x="41" y="58"/>
                    </a:lnTo>
                    <a:lnTo>
                      <a:pt x="40" y="58"/>
                    </a:lnTo>
                    <a:lnTo>
                      <a:pt x="39" y="58"/>
                    </a:lnTo>
                    <a:lnTo>
                      <a:pt x="39" y="57"/>
                    </a:lnTo>
                    <a:lnTo>
                      <a:pt x="36" y="57"/>
                    </a:lnTo>
                    <a:lnTo>
                      <a:pt x="35" y="55"/>
                    </a:lnTo>
                    <a:lnTo>
                      <a:pt x="34" y="55"/>
                    </a:lnTo>
                    <a:lnTo>
                      <a:pt x="33" y="54"/>
                    </a:lnTo>
                    <a:lnTo>
                      <a:pt x="33" y="52"/>
                    </a:lnTo>
                    <a:lnTo>
                      <a:pt x="33" y="52"/>
                    </a:lnTo>
                    <a:lnTo>
                      <a:pt x="32" y="51"/>
                    </a:lnTo>
                    <a:lnTo>
                      <a:pt x="30" y="51"/>
                    </a:lnTo>
                    <a:lnTo>
                      <a:pt x="29" y="50"/>
                    </a:lnTo>
                    <a:lnTo>
                      <a:pt x="29" y="49"/>
                    </a:lnTo>
                    <a:lnTo>
                      <a:pt x="29" y="49"/>
                    </a:lnTo>
                    <a:lnTo>
                      <a:pt x="29" y="48"/>
                    </a:lnTo>
                    <a:lnTo>
                      <a:pt x="29" y="48"/>
                    </a:lnTo>
                    <a:lnTo>
                      <a:pt x="29" y="48"/>
                    </a:lnTo>
                    <a:lnTo>
                      <a:pt x="29" y="47"/>
                    </a:lnTo>
                    <a:lnTo>
                      <a:pt x="30" y="48"/>
                    </a:lnTo>
                    <a:lnTo>
                      <a:pt x="32" y="48"/>
                    </a:lnTo>
                    <a:lnTo>
                      <a:pt x="30" y="45"/>
                    </a:lnTo>
                    <a:lnTo>
                      <a:pt x="33" y="48"/>
                    </a:lnTo>
                    <a:lnTo>
                      <a:pt x="33" y="48"/>
                    </a:lnTo>
                    <a:lnTo>
                      <a:pt x="34" y="48"/>
                    </a:lnTo>
                    <a:lnTo>
                      <a:pt x="33" y="47"/>
                    </a:lnTo>
                    <a:lnTo>
                      <a:pt x="33" y="45"/>
                    </a:lnTo>
                    <a:lnTo>
                      <a:pt x="30" y="45"/>
                    </a:lnTo>
                    <a:lnTo>
                      <a:pt x="30" y="43"/>
                    </a:lnTo>
                    <a:lnTo>
                      <a:pt x="28" y="43"/>
                    </a:lnTo>
                    <a:lnTo>
                      <a:pt x="26" y="42"/>
                    </a:lnTo>
                    <a:lnTo>
                      <a:pt x="23" y="39"/>
                    </a:lnTo>
                    <a:lnTo>
                      <a:pt x="23" y="36"/>
                    </a:lnTo>
                    <a:lnTo>
                      <a:pt x="23" y="32"/>
                    </a:lnTo>
                    <a:lnTo>
                      <a:pt x="22" y="30"/>
                    </a:lnTo>
                    <a:lnTo>
                      <a:pt x="21" y="30"/>
                    </a:lnTo>
                    <a:lnTo>
                      <a:pt x="20" y="29"/>
                    </a:lnTo>
                    <a:lnTo>
                      <a:pt x="18" y="28"/>
                    </a:lnTo>
                    <a:lnTo>
                      <a:pt x="18" y="27"/>
                    </a:lnTo>
                    <a:lnTo>
                      <a:pt x="18" y="27"/>
                    </a:lnTo>
                    <a:lnTo>
                      <a:pt x="18" y="27"/>
                    </a:lnTo>
                    <a:lnTo>
                      <a:pt x="16" y="27"/>
                    </a:lnTo>
                    <a:lnTo>
                      <a:pt x="16" y="28"/>
                    </a:lnTo>
                    <a:lnTo>
                      <a:pt x="16" y="28"/>
                    </a:lnTo>
                    <a:lnTo>
                      <a:pt x="16" y="27"/>
                    </a:lnTo>
                    <a:lnTo>
                      <a:pt x="15" y="25"/>
                    </a:lnTo>
                    <a:lnTo>
                      <a:pt x="14" y="25"/>
                    </a:lnTo>
                    <a:lnTo>
                      <a:pt x="14" y="27"/>
                    </a:lnTo>
                    <a:lnTo>
                      <a:pt x="14" y="28"/>
                    </a:lnTo>
                    <a:lnTo>
                      <a:pt x="13" y="30"/>
                    </a:lnTo>
                    <a:lnTo>
                      <a:pt x="12" y="30"/>
                    </a:lnTo>
                    <a:lnTo>
                      <a:pt x="12" y="30"/>
                    </a:lnTo>
                    <a:lnTo>
                      <a:pt x="12" y="31"/>
                    </a:lnTo>
                    <a:lnTo>
                      <a:pt x="12" y="31"/>
                    </a:lnTo>
                    <a:lnTo>
                      <a:pt x="12" y="31"/>
                    </a:lnTo>
                    <a:lnTo>
                      <a:pt x="12" y="32"/>
                    </a:lnTo>
                    <a:lnTo>
                      <a:pt x="12" y="32"/>
                    </a:lnTo>
                    <a:lnTo>
                      <a:pt x="10" y="34"/>
                    </a:lnTo>
                    <a:lnTo>
                      <a:pt x="10" y="34"/>
                    </a:lnTo>
                    <a:lnTo>
                      <a:pt x="10" y="32"/>
                    </a:lnTo>
                    <a:lnTo>
                      <a:pt x="9" y="32"/>
                    </a:lnTo>
                    <a:lnTo>
                      <a:pt x="9" y="32"/>
                    </a:lnTo>
                    <a:lnTo>
                      <a:pt x="9" y="32"/>
                    </a:lnTo>
                    <a:lnTo>
                      <a:pt x="9" y="34"/>
                    </a:lnTo>
                    <a:lnTo>
                      <a:pt x="9" y="34"/>
                    </a:lnTo>
                    <a:lnTo>
                      <a:pt x="9" y="34"/>
                    </a:lnTo>
                    <a:lnTo>
                      <a:pt x="9" y="35"/>
                    </a:lnTo>
                    <a:lnTo>
                      <a:pt x="8" y="35"/>
                    </a:lnTo>
                    <a:lnTo>
                      <a:pt x="8" y="36"/>
                    </a:lnTo>
                    <a:lnTo>
                      <a:pt x="8" y="37"/>
                    </a:lnTo>
                    <a:lnTo>
                      <a:pt x="9" y="37"/>
                    </a:lnTo>
                    <a:lnTo>
                      <a:pt x="8" y="37"/>
                    </a:lnTo>
                    <a:lnTo>
                      <a:pt x="7" y="36"/>
                    </a:lnTo>
                    <a:lnTo>
                      <a:pt x="7" y="37"/>
                    </a:lnTo>
                    <a:lnTo>
                      <a:pt x="7" y="36"/>
                    </a:lnTo>
                    <a:lnTo>
                      <a:pt x="6" y="36"/>
                    </a:lnTo>
                    <a:lnTo>
                      <a:pt x="7" y="36"/>
                    </a:lnTo>
                    <a:lnTo>
                      <a:pt x="6" y="35"/>
                    </a:lnTo>
                    <a:lnTo>
                      <a:pt x="7" y="34"/>
                    </a:lnTo>
                    <a:lnTo>
                      <a:pt x="6" y="32"/>
                    </a:lnTo>
                    <a:lnTo>
                      <a:pt x="6" y="32"/>
                    </a:lnTo>
                    <a:lnTo>
                      <a:pt x="5" y="32"/>
                    </a:lnTo>
                    <a:lnTo>
                      <a:pt x="5" y="32"/>
                    </a:lnTo>
                    <a:lnTo>
                      <a:pt x="5" y="31"/>
                    </a:lnTo>
                    <a:lnTo>
                      <a:pt x="5" y="31"/>
                    </a:lnTo>
                    <a:lnTo>
                      <a:pt x="3" y="30"/>
                    </a:lnTo>
                    <a:lnTo>
                      <a:pt x="2" y="30"/>
                    </a:lnTo>
                    <a:lnTo>
                      <a:pt x="2" y="29"/>
                    </a:lnTo>
                    <a:lnTo>
                      <a:pt x="3" y="28"/>
                    </a:lnTo>
                    <a:lnTo>
                      <a:pt x="2" y="28"/>
                    </a:lnTo>
                    <a:lnTo>
                      <a:pt x="2" y="27"/>
                    </a:lnTo>
                    <a:lnTo>
                      <a:pt x="2" y="27"/>
                    </a:lnTo>
                    <a:lnTo>
                      <a:pt x="1" y="27"/>
                    </a:lnTo>
                    <a:lnTo>
                      <a:pt x="1" y="25"/>
                    </a:lnTo>
                    <a:lnTo>
                      <a:pt x="1" y="25"/>
                    </a:lnTo>
                    <a:lnTo>
                      <a:pt x="1" y="24"/>
                    </a:lnTo>
                    <a:lnTo>
                      <a:pt x="0" y="24"/>
                    </a:lnTo>
                    <a:lnTo>
                      <a:pt x="0" y="24"/>
                    </a:lnTo>
                    <a:lnTo>
                      <a:pt x="0" y="23"/>
                    </a:lnTo>
                    <a:lnTo>
                      <a:pt x="1" y="24"/>
                    </a:lnTo>
                    <a:lnTo>
                      <a:pt x="2" y="24"/>
                    </a:lnTo>
                    <a:lnTo>
                      <a:pt x="3" y="24"/>
                    </a:lnTo>
                    <a:lnTo>
                      <a:pt x="5" y="24"/>
                    </a:lnTo>
                    <a:lnTo>
                      <a:pt x="6" y="24"/>
                    </a:lnTo>
                    <a:lnTo>
                      <a:pt x="7" y="24"/>
                    </a:lnTo>
                    <a:lnTo>
                      <a:pt x="8" y="25"/>
                    </a:lnTo>
                    <a:lnTo>
                      <a:pt x="8" y="24"/>
                    </a:lnTo>
                    <a:lnTo>
                      <a:pt x="8" y="23"/>
                    </a:lnTo>
                    <a:lnTo>
                      <a:pt x="9" y="23"/>
                    </a:lnTo>
                    <a:lnTo>
                      <a:pt x="12" y="27"/>
                    </a:lnTo>
                    <a:lnTo>
                      <a:pt x="13" y="25"/>
                    </a:lnTo>
                    <a:lnTo>
                      <a:pt x="14" y="23"/>
                    </a:lnTo>
                    <a:lnTo>
                      <a:pt x="15" y="23"/>
                    </a:lnTo>
                    <a:lnTo>
                      <a:pt x="16" y="23"/>
                    </a:lnTo>
                    <a:lnTo>
                      <a:pt x="20" y="23"/>
                    </a:lnTo>
                    <a:lnTo>
                      <a:pt x="20" y="22"/>
                    </a:lnTo>
                    <a:lnTo>
                      <a:pt x="22" y="24"/>
                    </a:lnTo>
                    <a:lnTo>
                      <a:pt x="25" y="22"/>
                    </a:lnTo>
                    <a:lnTo>
                      <a:pt x="28" y="24"/>
                    </a:lnTo>
                    <a:lnTo>
                      <a:pt x="30" y="23"/>
                    </a:lnTo>
                    <a:lnTo>
                      <a:pt x="29" y="18"/>
                    </a:lnTo>
                    <a:lnTo>
                      <a:pt x="32" y="18"/>
                    </a:lnTo>
                    <a:lnTo>
                      <a:pt x="33" y="17"/>
                    </a:lnTo>
                    <a:lnTo>
                      <a:pt x="32" y="15"/>
                    </a:lnTo>
                    <a:lnTo>
                      <a:pt x="30" y="14"/>
                    </a:lnTo>
                    <a:lnTo>
                      <a:pt x="32" y="10"/>
                    </a:lnTo>
                    <a:lnTo>
                      <a:pt x="34" y="10"/>
                    </a:lnTo>
                    <a:lnTo>
                      <a:pt x="35" y="9"/>
                    </a:lnTo>
                    <a:lnTo>
                      <a:pt x="38" y="9"/>
                    </a:lnTo>
                    <a:lnTo>
                      <a:pt x="39" y="7"/>
                    </a:lnTo>
                    <a:lnTo>
                      <a:pt x="41" y="7"/>
                    </a:lnTo>
                    <a:lnTo>
                      <a:pt x="40" y="3"/>
                    </a:lnTo>
                    <a:lnTo>
                      <a:pt x="41" y="1"/>
                    </a:lnTo>
                    <a:lnTo>
                      <a:pt x="45" y="1"/>
                    </a:lnTo>
                    <a:lnTo>
                      <a:pt x="47" y="0"/>
                    </a:lnTo>
                    <a:lnTo>
                      <a:pt x="47" y="2"/>
                    </a:lnTo>
                    <a:lnTo>
                      <a:pt x="49" y="2"/>
                    </a:lnTo>
                    <a:lnTo>
                      <a:pt x="49" y="3"/>
                    </a:lnTo>
                    <a:lnTo>
                      <a:pt x="50" y="4"/>
                    </a:lnTo>
                    <a:lnTo>
                      <a:pt x="52" y="5"/>
                    </a:lnTo>
                    <a:lnTo>
                      <a:pt x="53" y="5"/>
                    </a:lnTo>
                    <a:lnTo>
                      <a:pt x="54" y="7"/>
                    </a:lnTo>
                    <a:lnTo>
                      <a:pt x="55" y="8"/>
                    </a:lnTo>
                    <a:lnTo>
                      <a:pt x="55" y="8"/>
                    </a:lnTo>
                    <a:lnTo>
                      <a:pt x="58" y="9"/>
                    </a:lnTo>
                    <a:lnTo>
                      <a:pt x="59" y="9"/>
                    </a:lnTo>
                    <a:lnTo>
                      <a:pt x="59" y="10"/>
                    </a:lnTo>
                    <a:lnTo>
                      <a:pt x="59" y="10"/>
                    </a:lnTo>
                    <a:lnTo>
                      <a:pt x="60" y="11"/>
                    </a:lnTo>
                    <a:lnTo>
                      <a:pt x="60" y="11"/>
                    </a:lnTo>
                    <a:lnTo>
                      <a:pt x="60" y="11"/>
                    </a:lnTo>
                    <a:lnTo>
                      <a:pt x="61" y="11"/>
                    </a:lnTo>
                    <a:lnTo>
                      <a:pt x="61" y="12"/>
                    </a:lnTo>
                    <a:lnTo>
                      <a:pt x="61" y="12"/>
                    </a:lnTo>
                    <a:lnTo>
                      <a:pt x="62" y="12"/>
                    </a:lnTo>
                    <a:lnTo>
                      <a:pt x="62" y="14"/>
                    </a:lnTo>
                    <a:lnTo>
                      <a:pt x="63" y="14"/>
                    </a:lnTo>
                    <a:lnTo>
                      <a:pt x="63" y="14"/>
                    </a:lnTo>
                    <a:lnTo>
                      <a:pt x="63" y="14"/>
                    </a:lnTo>
                    <a:lnTo>
                      <a:pt x="65" y="15"/>
                    </a:lnTo>
                    <a:lnTo>
                      <a:pt x="67" y="14"/>
                    </a:lnTo>
                    <a:lnTo>
                      <a:pt x="68" y="15"/>
                    </a:lnTo>
                    <a:lnTo>
                      <a:pt x="68" y="16"/>
                    </a:lnTo>
                    <a:lnTo>
                      <a:pt x="70" y="16"/>
                    </a:lnTo>
                    <a:lnTo>
                      <a:pt x="72" y="17"/>
                    </a:lnTo>
                    <a:lnTo>
                      <a:pt x="72" y="17"/>
                    </a:lnTo>
                    <a:lnTo>
                      <a:pt x="73" y="17"/>
                    </a:lnTo>
                    <a:lnTo>
                      <a:pt x="74" y="17"/>
                    </a:lnTo>
                    <a:lnTo>
                      <a:pt x="76" y="17"/>
                    </a:lnTo>
                    <a:lnTo>
                      <a:pt x="79" y="17"/>
                    </a:lnTo>
                    <a:lnTo>
                      <a:pt x="80" y="17"/>
                    </a:lnTo>
                    <a:lnTo>
                      <a:pt x="80" y="17"/>
                    </a:lnTo>
                    <a:lnTo>
                      <a:pt x="81" y="17"/>
                    </a:lnTo>
                    <a:lnTo>
                      <a:pt x="81" y="17"/>
                    </a:lnTo>
                    <a:lnTo>
                      <a:pt x="82" y="17"/>
                    </a:lnTo>
                    <a:lnTo>
                      <a:pt x="83" y="16"/>
                    </a:lnTo>
                    <a:lnTo>
                      <a:pt x="83" y="15"/>
                    </a:lnTo>
                    <a:lnTo>
                      <a:pt x="86" y="15"/>
                    </a:lnTo>
                    <a:lnTo>
                      <a:pt x="87" y="15"/>
                    </a:lnTo>
                    <a:lnTo>
                      <a:pt x="88" y="15"/>
                    </a:lnTo>
                    <a:lnTo>
                      <a:pt x="88" y="15"/>
                    </a:lnTo>
                    <a:close/>
                    <a:moveTo>
                      <a:pt x="48" y="75"/>
                    </a:moveTo>
                    <a:lnTo>
                      <a:pt x="48" y="75"/>
                    </a:lnTo>
                    <a:lnTo>
                      <a:pt x="47" y="75"/>
                    </a:lnTo>
                    <a:lnTo>
                      <a:pt x="46" y="76"/>
                    </a:lnTo>
                    <a:lnTo>
                      <a:pt x="46" y="76"/>
                    </a:lnTo>
                    <a:lnTo>
                      <a:pt x="45" y="76"/>
                    </a:lnTo>
                    <a:lnTo>
                      <a:pt x="45" y="75"/>
                    </a:lnTo>
                    <a:lnTo>
                      <a:pt x="45" y="75"/>
                    </a:lnTo>
                    <a:lnTo>
                      <a:pt x="45" y="75"/>
                    </a:lnTo>
                    <a:lnTo>
                      <a:pt x="45" y="75"/>
                    </a:lnTo>
                    <a:lnTo>
                      <a:pt x="46" y="75"/>
                    </a:lnTo>
                    <a:lnTo>
                      <a:pt x="46" y="75"/>
                    </a:lnTo>
                    <a:lnTo>
                      <a:pt x="47" y="74"/>
                    </a:lnTo>
                    <a:lnTo>
                      <a:pt x="48" y="75"/>
                    </a:lnTo>
                    <a:lnTo>
                      <a:pt x="48" y="75"/>
                    </a:lnTo>
                    <a:lnTo>
                      <a:pt x="48" y="75"/>
                    </a:lnTo>
                    <a:lnTo>
                      <a:pt x="48" y="75"/>
                    </a:lnTo>
                    <a:lnTo>
                      <a:pt x="48" y="75"/>
                    </a:lnTo>
                    <a:close/>
                    <a:moveTo>
                      <a:pt x="63" y="76"/>
                    </a:moveTo>
                    <a:lnTo>
                      <a:pt x="62" y="76"/>
                    </a:lnTo>
                    <a:lnTo>
                      <a:pt x="62" y="76"/>
                    </a:lnTo>
                    <a:lnTo>
                      <a:pt x="62" y="76"/>
                    </a:lnTo>
                    <a:lnTo>
                      <a:pt x="61" y="76"/>
                    </a:lnTo>
                    <a:lnTo>
                      <a:pt x="60" y="76"/>
                    </a:lnTo>
                    <a:lnTo>
                      <a:pt x="60" y="76"/>
                    </a:lnTo>
                    <a:lnTo>
                      <a:pt x="59" y="76"/>
                    </a:lnTo>
                    <a:lnTo>
                      <a:pt x="59" y="76"/>
                    </a:lnTo>
                    <a:lnTo>
                      <a:pt x="58" y="76"/>
                    </a:lnTo>
                    <a:lnTo>
                      <a:pt x="58" y="76"/>
                    </a:lnTo>
                    <a:lnTo>
                      <a:pt x="56" y="76"/>
                    </a:lnTo>
                    <a:lnTo>
                      <a:pt x="58" y="76"/>
                    </a:lnTo>
                    <a:lnTo>
                      <a:pt x="58" y="76"/>
                    </a:lnTo>
                    <a:lnTo>
                      <a:pt x="58" y="75"/>
                    </a:lnTo>
                    <a:lnTo>
                      <a:pt x="56" y="75"/>
                    </a:lnTo>
                    <a:lnTo>
                      <a:pt x="56" y="75"/>
                    </a:lnTo>
                    <a:lnTo>
                      <a:pt x="58" y="75"/>
                    </a:lnTo>
                    <a:lnTo>
                      <a:pt x="58" y="75"/>
                    </a:lnTo>
                    <a:lnTo>
                      <a:pt x="59" y="75"/>
                    </a:lnTo>
                    <a:lnTo>
                      <a:pt x="59" y="75"/>
                    </a:lnTo>
                    <a:lnTo>
                      <a:pt x="60" y="75"/>
                    </a:lnTo>
                    <a:lnTo>
                      <a:pt x="60" y="75"/>
                    </a:lnTo>
                    <a:lnTo>
                      <a:pt x="61" y="75"/>
                    </a:lnTo>
                    <a:lnTo>
                      <a:pt x="62" y="75"/>
                    </a:lnTo>
                    <a:lnTo>
                      <a:pt x="62" y="75"/>
                    </a:lnTo>
                    <a:lnTo>
                      <a:pt x="62" y="75"/>
                    </a:lnTo>
                    <a:lnTo>
                      <a:pt x="62" y="75"/>
                    </a:lnTo>
                    <a:lnTo>
                      <a:pt x="62" y="76"/>
                    </a:lnTo>
                    <a:lnTo>
                      <a:pt x="63" y="76"/>
                    </a:lnTo>
                    <a:lnTo>
                      <a:pt x="63" y="76"/>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grpSp>
            <p:nvGrpSpPr>
              <p:cNvPr id="364" name="Gruppieren 363">
                <a:extLst>
                  <a:ext uri="{FF2B5EF4-FFF2-40B4-BE49-F238E27FC236}">
                    <a16:creationId xmlns:a16="http://schemas.microsoft.com/office/drawing/2014/main" id="{2F8E6857-E07F-0048-9F87-6D617C9593B5}"/>
                  </a:ext>
                </a:extLst>
              </p:cNvPr>
              <p:cNvGrpSpPr/>
              <p:nvPr/>
            </p:nvGrpSpPr>
            <p:grpSpPr>
              <a:xfrm>
                <a:off x="2294450" y="1642150"/>
                <a:ext cx="8419654" cy="3986032"/>
                <a:chOff x="2294450" y="1642150"/>
                <a:chExt cx="8419654" cy="3986032"/>
              </a:xfrm>
              <a:grpFill/>
            </p:grpSpPr>
            <p:sp>
              <p:nvSpPr>
                <p:cNvPr id="368" name="Vietnam">
                  <a:extLst>
                    <a:ext uri="{FF2B5EF4-FFF2-40B4-BE49-F238E27FC236}">
                      <a16:creationId xmlns:a16="http://schemas.microsoft.com/office/drawing/2014/main" id="{ACE2EF31-F7B5-4B44-A915-1FA7806A1593}"/>
                    </a:ext>
                  </a:extLst>
                </p:cNvPr>
                <p:cNvSpPr>
                  <a:spLocks/>
                </p:cNvSpPr>
                <p:nvPr/>
              </p:nvSpPr>
              <p:spPr bwMode="auto">
                <a:xfrm>
                  <a:off x="9007049" y="3286716"/>
                  <a:ext cx="231815" cy="446132"/>
                </a:xfrm>
                <a:custGeom>
                  <a:avLst/>
                  <a:gdLst>
                    <a:gd name="T0" fmla="*/ 80 w 159"/>
                    <a:gd name="T1" fmla="*/ 12 h 306"/>
                    <a:gd name="T2" fmla="*/ 29 w 159"/>
                    <a:gd name="T3" fmla="*/ 13 h 306"/>
                    <a:gd name="T4" fmla="*/ 7 w 159"/>
                    <a:gd name="T5" fmla="*/ 28 h 306"/>
                    <a:gd name="T6" fmla="*/ 15 w 159"/>
                    <a:gd name="T7" fmla="*/ 40 h 306"/>
                    <a:gd name="T8" fmla="*/ 26 w 159"/>
                    <a:gd name="T9" fmla="*/ 53 h 306"/>
                    <a:gd name="T10" fmla="*/ 40 w 159"/>
                    <a:gd name="T11" fmla="*/ 50 h 306"/>
                    <a:gd name="T12" fmla="*/ 46 w 159"/>
                    <a:gd name="T13" fmla="*/ 61 h 306"/>
                    <a:gd name="T14" fmla="*/ 56 w 159"/>
                    <a:gd name="T15" fmla="*/ 70 h 306"/>
                    <a:gd name="T16" fmla="*/ 46 w 159"/>
                    <a:gd name="T17" fmla="*/ 76 h 306"/>
                    <a:gd name="T18" fmla="*/ 41 w 159"/>
                    <a:gd name="T19" fmla="*/ 84 h 306"/>
                    <a:gd name="T20" fmla="*/ 59 w 159"/>
                    <a:gd name="T21" fmla="*/ 94 h 306"/>
                    <a:gd name="T22" fmla="*/ 71 w 159"/>
                    <a:gd name="T23" fmla="*/ 107 h 306"/>
                    <a:gd name="T24" fmla="*/ 88 w 159"/>
                    <a:gd name="T25" fmla="*/ 126 h 306"/>
                    <a:gd name="T26" fmla="*/ 99 w 159"/>
                    <a:gd name="T27" fmla="*/ 142 h 306"/>
                    <a:gd name="T28" fmla="*/ 109 w 159"/>
                    <a:gd name="T29" fmla="*/ 148 h 306"/>
                    <a:gd name="T30" fmla="*/ 115 w 159"/>
                    <a:gd name="T31" fmla="*/ 161 h 306"/>
                    <a:gd name="T32" fmla="*/ 118 w 159"/>
                    <a:gd name="T33" fmla="*/ 173 h 306"/>
                    <a:gd name="T34" fmla="*/ 120 w 159"/>
                    <a:gd name="T35" fmla="*/ 195 h 306"/>
                    <a:gd name="T36" fmla="*/ 119 w 159"/>
                    <a:gd name="T37" fmla="*/ 228 h 306"/>
                    <a:gd name="T38" fmla="*/ 99 w 159"/>
                    <a:gd name="T39" fmla="*/ 239 h 306"/>
                    <a:gd name="T40" fmla="*/ 102 w 159"/>
                    <a:gd name="T41" fmla="*/ 254 h 306"/>
                    <a:gd name="T42" fmla="*/ 82 w 159"/>
                    <a:gd name="T43" fmla="*/ 257 h 306"/>
                    <a:gd name="T44" fmla="*/ 76 w 159"/>
                    <a:gd name="T45" fmla="*/ 270 h 306"/>
                    <a:gd name="T46" fmla="*/ 80 w 159"/>
                    <a:gd name="T47" fmla="*/ 284 h 306"/>
                    <a:gd name="T48" fmla="*/ 81 w 159"/>
                    <a:gd name="T49" fmla="*/ 300 h 306"/>
                    <a:gd name="T50" fmla="*/ 82 w 159"/>
                    <a:gd name="T51" fmla="*/ 304 h 306"/>
                    <a:gd name="T52" fmla="*/ 92 w 159"/>
                    <a:gd name="T53" fmla="*/ 296 h 306"/>
                    <a:gd name="T54" fmla="*/ 105 w 159"/>
                    <a:gd name="T55" fmla="*/ 284 h 306"/>
                    <a:gd name="T56" fmla="*/ 111 w 159"/>
                    <a:gd name="T57" fmla="*/ 277 h 306"/>
                    <a:gd name="T58" fmla="*/ 113 w 159"/>
                    <a:gd name="T59" fmla="*/ 277 h 306"/>
                    <a:gd name="T60" fmla="*/ 109 w 159"/>
                    <a:gd name="T61" fmla="*/ 270 h 306"/>
                    <a:gd name="T62" fmla="*/ 114 w 159"/>
                    <a:gd name="T63" fmla="*/ 263 h 306"/>
                    <a:gd name="T64" fmla="*/ 118 w 159"/>
                    <a:gd name="T65" fmla="*/ 262 h 306"/>
                    <a:gd name="T66" fmla="*/ 122 w 159"/>
                    <a:gd name="T67" fmla="*/ 267 h 306"/>
                    <a:gd name="T68" fmla="*/ 143 w 159"/>
                    <a:gd name="T69" fmla="*/ 254 h 306"/>
                    <a:gd name="T70" fmla="*/ 154 w 159"/>
                    <a:gd name="T71" fmla="*/ 243 h 306"/>
                    <a:gd name="T72" fmla="*/ 155 w 159"/>
                    <a:gd name="T73" fmla="*/ 236 h 306"/>
                    <a:gd name="T74" fmla="*/ 153 w 159"/>
                    <a:gd name="T75" fmla="*/ 226 h 306"/>
                    <a:gd name="T76" fmla="*/ 154 w 159"/>
                    <a:gd name="T77" fmla="*/ 223 h 306"/>
                    <a:gd name="T78" fmla="*/ 159 w 159"/>
                    <a:gd name="T79" fmla="*/ 221 h 306"/>
                    <a:gd name="T80" fmla="*/ 154 w 159"/>
                    <a:gd name="T81" fmla="*/ 207 h 306"/>
                    <a:gd name="T82" fmla="*/ 153 w 159"/>
                    <a:gd name="T83" fmla="*/ 200 h 306"/>
                    <a:gd name="T84" fmla="*/ 153 w 159"/>
                    <a:gd name="T85" fmla="*/ 195 h 306"/>
                    <a:gd name="T86" fmla="*/ 147 w 159"/>
                    <a:gd name="T87" fmla="*/ 181 h 306"/>
                    <a:gd name="T88" fmla="*/ 141 w 159"/>
                    <a:gd name="T89" fmla="*/ 167 h 306"/>
                    <a:gd name="T90" fmla="*/ 136 w 159"/>
                    <a:gd name="T91" fmla="*/ 161 h 306"/>
                    <a:gd name="T92" fmla="*/ 128 w 159"/>
                    <a:gd name="T93" fmla="*/ 153 h 306"/>
                    <a:gd name="T94" fmla="*/ 120 w 159"/>
                    <a:gd name="T95" fmla="*/ 144 h 306"/>
                    <a:gd name="T96" fmla="*/ 106 w 159"/>
                    <a:gd name="T97" fmla="*/ 130 h 306"/>
                    <a:gd name="T98" fmla="*/ 91 w 159"/>
                    <a:gd name="T99" fmla="*/ 111 h 306"/>
                    <a:gd name="T100" fmla="*/ 76 w 159"/>
                    <a:gd name="T101" fmla="*/ 96 h 306"/>
                    <a:gd name="T102" fmla="*/ 74 w 159"/>
                    <a:gd name="T103" fmla="*/ 84 h 306"/>
                    <a:gd name="T104" fmla="*/ 75 w 159"/>
                    <a:gd name="T105" fmla="*/ 72 h 306"/>
                    <a:gd name="T106" fmla="*/ 85 w 159"/>
                    <a:gd name="T107" fmla="*/ 63 h 306"/>
                    <a:gd name="T108" fmla="*/ 86 w 159"/>
                    <a:gd name="T109" fmla="*/ 55 h 306"/>
                    <a:gd name="T110" fmla="*/ 86 w 159"/>
                    <a:gd name="T111" fmla="*/ 47 h 306"/>
                    <a:gd name="T112" fmla="*/ 89 w 159"/>
                    <a:gd name="T113" fmla="*/ 50 h 306"/>
                    <a:gd name="T114" fmla="*/ 96 w 159"/>
                    <a:gd name="T115" fmla="*/ 48 h 306"/>
                    <a:gd name="T116" fmla="*/ 99 w 159"/>
                    <a:gd name="T117" fmla="*/ 43 h 306"/>
                    <a:gd name="T118" fmla="*/ 103 w 159"/>
                    <a:gd name="T119" fmla="*/ 39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59" h="306">
                      <a:moveTo>
                        <a:pt x="107" y="40"/>
                      </a:moveTo>
                      <a:lnTo>
                        <a:pt x="109" y="42"/>
                      </a:lnTo>
                      <a:lnTo>
                        <a:pt x="107" y="37"/>
                      </a:lnTo>
                      <a:lnTo>
                        <a:pt x="105" y="37"/>
                      </a:lnTo>
                      <a:lnTo>
                        <a:pt x="103" y="36"/>
                      </a:lnTo>
                      <a:lnTo>
                        <a:pt x="101" y="35"/>
                      </a:lnTo>
                      <a:lnTo>
                        <a:pt x="94" y="36"/>
                      </a:lnTo>
                      <a:lnTo>
                        <a:pt x="93" y="33"/>
                      </a:lnTo>
                      <a:lnTo>
                        <a:pt x="92" y="34"/>
                      </a:lnTo>
                      <a:lnTo>
                        <a:pt x="89" y="33"/>
                      </a:lnTo>
                      <a:lnTo>
                        <a:pt x="87" y="32"/>
                      </a:lnTo>
                      <a:lnTo>
                        <a:pt x="87" y="29"/>
                      </a:lnTo>
                      <a:lnTo>
                        <a:pt x="82" y="27"/>
                      </a:lnTo>
                      <a:lnTo>
                        <a:pt x="80" y="28"/>
                      </a:lnTo>
                      <a:lnTo>
                        <a:pt x="80" y="23"/>
                      </a:lnTo>
                      <a:lnTo>
                        <a:pt x="78" y="20"/>
                      </a:lnTo>
                      <a:lnTo>
                        <a:pt x="75" y="16"/>
                      </a:lnTo>
                      <a:lnTo>
                        <a:pt x="79" y="16"/>
                      </a:lnTo>
                      <a:lnTo>
                        <a:pt x="80" y="12"/>
                      </a:lnTo>
                      <a:lnTo>
                        <a:pt x="75" y="8"/>
                      </a:lnTo>
                      <a:lnTo>
                        <a:pt x="71" y="12"/>
                      </a:lnTo>
                      <a:lnTo>
                        <a:pt x="71" y="9"/>
                      </a:lnTo>
                      <a:lnTo>
                        <a:pt x="67" y="7"/>
                      </a:lnTo>
                      <a:lnTo>
                        <a:pt x="62" y="9"/>
                      </a:lnTo>
                      <a:lnTo>
                        <a:pt x="56" y="6"/>
                      </a:lnTo>
                      <a:lnTo>
                        <a:pt x="55" y="3"/>
                      </a:lnTo>
                      <a:lnTo>
                        <a:pt x="52" y="0"/>
                      </a:lnTo>
                      <a:lnTo>
                        <a:pt x="51" y="3"/>
                      </a:lnTo>
                      <a:lnTo>
                        <a:pt x="46" y="3"/>
                      </a:lnTo>
                      <a:lnTo>
                        <a:pt x="46" y="6"/>
                      </a:lnTo>
                      <a:lnTo>
                        <a:pt x="43" y="6"/>
                      </a:lnTo>
                      <a:lnTo>
                        <a:pt x="45" y="8"/>
                      </a:lnTo>
                      <a:lnTo>
                        <a:pt x="42" y="12"/>
                      </a:lnTo>
                      <a:lnTo>
                        <a:pt x="40" y="10"/>
                      </a:lnTo>
                      <a:lnTo>
                        <a:pt x="39" y="13"/>
                      </a:lnTo>
                      <a:lnTo>
                        <a:pt x="36" y="14"/>
                      </a:lnTo>
                      <a:lnTo>
                        <a:pt x="33" y="13"/>
                      </a:lnTo>
                      <a:lnTo>
                        <a:pt x="29" y="13"/>
                      </a:lnTo>
                      <a:lnTo>
                        <a:pt x="29" y="17"/>
                      </a:lnTo>
                      <a:lnTo>
                        <a:pt x="25" y="13"/>
                      </a:lnTo>
                      <a:lnTo>
                        <a:pt x="23" y="17"/>
                      </a:lnTo>
                      <a:lnTo>
                        <a:pt x="19" y="13"/>
                      </a:lnTo>
                      <a:lnTo>
                        <a:pt x="18" y="14"/>
                      </a:lnTo>
                      <a:lnTo>
                        <a:pt x="16" y="15"/>
                      </a:lnTo>
                      <a:lnTo>
                        <a:pt x="15" y="16"/>
                      </a:lnTo>
                      <a:lnTo>
                        <a:pt x="15" y="21"/>
                      </a:lnTo>
                      <a:lnTo>
                        <a:pt x="12" y="17"/>
                      </a:lnTo>
                      <a:lnTo>
                        <a:pt x="11" y="16"/>
                      </a:lnTo>
                      <a:lnTo>
                        <a:pt x="8" y="16"/>
                      </a:lnTo>
                      <a:lnTo>
                        <a:pt x="7" y="14"/>
                      </a:lnTo>
                      <a:lnTo>
                        <a:pt x="5" y="14"/>
                      </a:lnTo>
                      <a:lnTo>
                        <a:pt x="3" y="13"/>
                      </a:lnTo>
                      <a:lnTo>
                        <a:pt x="1" y="15"/>
                      </a:lnTo>
                      <a:lnTo>
                        <a:pt x="0" y="19"/>
                      </a:lnTo>
                      <a:lnTo>
                        <a:pt x="2" y="23"/>
                      </a:lnTo>
                      <a:lnTo>
                        <a:pt x="6" y="26"/>
                      </a:lnTo>
                      <a:lnTo>
                        <a:pt x="7" y="28"/>
                      </a:lnTo>
                      <a:lnTo>
                        <a:pt x="6" y="28"/>
                      </a:lnTo>
                      <a:lnTo>
                        <a:pt x="7" y="29"/>
                      </a:lnTo>
                      <a:lnTo>
                        <a:pt x="8" y="29"/>
                      </a:lnTo>
                      <a:lnTo>
                        <a:pt x="11" y="30"/>
                      </a:lnTo>
                      <a:lnTo>
                        <a:pt x="11" y="32"/>
                      </a:lnTo>
                      <a:lnTo>
                        <a:pt x="11" y="33"/>
                      </a:lnTo>
                      <a:lnTo>
                        <a:pt x="11" y="34"/>
                      </a:lnTo>
                      <a:lnTo>
                        <a:pt x="12" y="36"/>
                      </a:lnTo>
                      <a:lnTo>
                        <a:pt x="12" y="35"/>
                      </a:lnTo>
                      <a:lnTo>
                        <a:pt x="13" y="34"/>
                      </a:lnTo>
                      <a:lnTo>
                        <a:pt x="12" y="33"/>
                      </a:lnTo>
                      <a:lnTo>
                        <a:pt x="13" y="32"/>
                      </a:lnTo>
                      <a:lnTo>
                        <a:pt x="14" y="32"/>
                      </a:lnTo>
                      <a:lnTo>
                        <a:pt x="14" y="33"/>
                      </a:lnTo>
                      <a:lnTo>
                        <a:pt x="14" y="34"/>
                      </a:lnTo>
                      <a:lnTo>
                        <a:pt x="15" y="34"/>
                      </a:lnTo>
                      <a:lnTo>
                        <a:pt x="15" y="34"/>
                      </a:lnTo>
                      <a:lnTo>
                        <a:pt x="16" y="36"/>
                      </a:lnTo>
                      <a:lnTo>
                        <a:pt x="15" y="40"/>
                      </a:lnTo>
                      <a:lnTo>
                        <a:pt x="15" y="40"/>
                      </a:lnTo>
                      <a:lnTo>
                        <a:pt x="16" y="40"/>
                      </a:lnTo>
                      <a:lnTo>
                        <a:pt x="16" y="40"/>
                      </a:lnTo>
                      <a:lnTo>
                        <a:pt x="15" y="41"/>
                      </a:lnTo>
                      <a:lnTo>
                        <a:pt x="16" y="42"/>
                      </a:lnTo>
                      <a:lnTo>
                        <a:pt x="15" y="42"/>
                      </a:lnTo>
                      <a:lnTo>
                        <a:pt x="15" y="43"/>
                      </a:lnTo>
                      <a:lnTo>
                        <a:pt x="16" y="43"/>
                      </a:lnTo>
                      <a:lnTo>
                        <a:pt x="16" y="44"/>
                      </a:lnTo>
                      <a:lnTo>
                        <a:pt x="16" y="46"/>
                      </a:lnTo>
                      <a:lnTo>
                        <a:pt x="18" y="47"/>
                      </a:lnTo>
                      <a:lnTo>
                        <a:pt x="19" y="48"/>
                      </a:lnTo>
                      <a:lnTo>
                        <a:pt x="20" y="49"/>
                      </a:lnTo>
                      <a:lnTo>
                        <a:pt x="20" y="50"/>
                      </a:lnTo>
                      <a:lnTo>
                        <a:pt x="22" y="53"/>
                      </a:lnTo>
                      <a:lnTo>
                        <a:pt x="23" y="53"/>
                      </a:lnTo>
                      <a:lnTo>
                        <a:pt x="25" y="53"/>
                      </a:lnTo>
                      <a:lnTo>
                        <a:pt x="25" y="53"/>
                      </a:lnTo>
                      <a:lnTo>
                        <a:pt x="26" y="53"/>
                      </a:lnTo>
                      <a:lnTo>
                        <a:pt x="27" y="53"/>
                      </a:lnTo>
                      <a:lnTo>
                        <a:pt x="27" y="53"/>
                      </a:lnTo>
                      <a:lnTo>
                        <a:pt x="28" y="54"/>
                      </a:lnTo>
                      <a:lnTo>
                        <a:pt x="31" y="55"/>
                      </a:lnTo>
                      <a:lnTo>
                        <a:pt x="32" y="56"/>
                      </a:lnTo>
                      <a:lnTo>
                        <a:pt x="33" y="55"/>
                      </a:lnTo>
                      <a:lnTo>
                        <a:pt x="33" y="55"/>
                      </a:lnTo>
                      <a:lnTo>
                        <a:pt x="34" y="54"/>
                      </a:lnTo>
                      <a:lnTo>
                        <a:pt x="34" y="53"/>
                      </a:lnTo>
                      <a:lnTo>
                        <a:pt x="34" y="53"/>
                      </a:lnTo>
                      <a:lnTo>
                        <a:pt x="34" y="53"/>
                      </a:lnTo>
                      <a:lnTo>
                        <a:pt x="35" y="52"/>
                      </a:lnTo>
                      <a:lnTo>
                        <a:pt x="35" y="52"/>
                      </a:lnTo>
                      <a:lnTo>
                        <a:pt x="36" y="52"/>
                      </a:lnTo>
                      <a:lnTo>
                        <a:pt x="38" y="52"/>
                      </a:lnTo>
                      <a:lnTo>
                        <a:pt x="38" y="50"/>
                      </a:lnTo>
                      <a:lnTo>
                        <a:pt x="39" y="49"/>
                      </a:lnTo>
                      <a:lnTo>
                        <a:pt x="39" y="50"/>
                      </a:lnTo>
                      <a:lnTo>
                        <a:pt x="40" y="50"/>
                      </a:lnTo>
                      <a:lnTo>
                        <a:pt x="42" y="50"/>
                      </a:lnTo>
                      <a:lnTo>
                        <a:pt x="42" y="52"/>
                      </a:lnTo>
                      <a:lnTo>
                        <a:pt x="43" y="52"/>
                      </a:lnTo>
                      <a:lnTo>
                        <a:pt x="43" y="52"/>
                      </a:lnTo>
                      <a:lnTo>
                        <a:pt x="43" y="53"/>
                      </a:lnTo>
                      <a:lnTo>
                        <a:pt x="45" y="53"/>
                      </a:lnTo>
                      <a:lnTo>
                        <a:pt x="45" y="53"/>
                      </a:lnTo>
                      <a:lnTo>
                        <a:pt x="46" y="54"/>
                      </a:lnTo>
                      <a:lnTo>
                        <a:pt x="46" y="55"/>
                      </a:lnTo>
                      <a:lnTo>
                        <a:pt x="49" y="55"/>
                      </a:lnTo>
                      <a:lnTo>
                        <a:pt x="48" y="56"/>
                      </a:lnTo>
                      <a:lnTo>
                        <a:pt x="48" y="57"/>
                      </a:lnTo>
                      <a:lnTo>
                        <a:pt x="49" y="59"/>
                      </a:lnTo>
                      <a:lnTo>
                        <a:pt x="48" y="59"/>
                      </a:lnTo>
                      <a:lnTo>
                        <a:pt x="47" y="59"/>
                      </a:lnTo>
                      <a:lnTo>
                        <a:pt x="47" y="59"/>
                      </a:lnTo>
                      <a:lnTo>
                        <a:pt x="47" y="59"/>
                      </a:lnTo>
                      <a:lnTo>
                        <a:pt x="46" y="60"/>
                      </a:lnTo>
                      <a:lnTo>
                        <a:pt x="46" y="61"/>
                      </a:lnTo>
                      <a:lnTo>
                        <a:pt x="46" y="61"/>
                      </a:lnTo>
                      <a:lnTo>
                        <a:pt x="47" y="61"/>
                      </a:lnTo>
                      <a:lnTo>
                        <a:pt x="49" y="61"/>
                      </a:lnTo>
                      <a:lnTo>
                        <a:pt x="49" y="62"/>
                      </a:lnTo>
                      <a:lnTo>
                        <a:pt x="52" y="62"/>
                      </a:lnTo>
                      <a:lnTo>
                        <a:pt x="52" y="63"/>
                      </a:lnTo>
                      <a:lnTo>
                        <a:pt x="51" y="63"/>
                      </a:lnTo>
                      <a:lnTo>
                        <a:pt x="51" y="64"/>
                      </a:lnTo>
                      <a:lnTo>
                        <a:pt x="53" y="66"/>
                      </a:lnTo>
                      <a:lnTo>
                        <a:pt x="54" y="64"/>
                      </a:lnTo>
                      <a:lnTo>
                        <a:pt x="55" y="64"/>
                      </a:lnTo>
                      <a:lnTo>
                        <a:pt x="56" y="66"/>
                      </a:lnTo>
                      <a:lnTo>
                        <a:pt x="56" y="67"/>
                      </a:lnTo>
                      <a:lnTo>
                        <a:pt x="56" y="68"/>
                      </a:lnTo>
                      <a:lnTo>
                        <a:pt x="58" y="68"/>
                      </a:lnTo>
                      <a:lnTo>
                        <a:pt x="56" y="68"/>
                      </a:lnTo>
                      <a:lnTo>
                        <a:pt x="58" y="69"/>
                      </a:lnTo>
                      <a:lnTo>
                        <a:pt x="56" y="70"/>
                      </a:lnTo>
                      <a:lnTo>
                        <a:pt x="56" y="70"/>
                      </a:lnTo>
                      <a:lnTo>
                        <a:pt x="56" y="70"/>
                      </a:lnTo>
                      <a:lnTo>
                        <a:pt x="55" y="72"/>
                      </a:lnTo>
                      <a:lnTo>
                        <a:pt x="54" y="72"/>
                      </a:lnTo>
                      <a:lnTo>
                        <a:pt x="54" y="73"/>
                      </a:lnTo>
                      <a:lnTo>
                        <a:pt x="55" y="72"/>
                      </a:lnTo>
                      <a:lnTo>
                        <a:pt x="55" y="73"/>
                      </a:lnTo>
                      <a:lnTo>
                        <a:pt x="55" y="74"/>
                      </a:lnTo>
                      <a:lnTo>
                        <a:pt x="54" y="74"/>
                      </a:lnTo>
                      <a:lnTo>
                        <a:pt x="54" y="74"/>
                      </a:lnTo>
                      <a:lnTo>
                        <a:pt x="54" y="74"/>
                      </a:lnTo>
                      <a:lnTo>
                        <a:pt x="53" y="76"/>
                      </a:lnTo>
                      <a:lnTo>
                        <a:pt x="52" y="77"/>
                      </a:lnTo>
                      <a:lnTo>
                        <a:pt x="51" y="77"/>
                      </a:lnTo>
                      <a:lnTo>
                        <a:pt x="49" y="77"/>
                      </a:lnTo>
                      <a:lnTo>
                        <a:pt x="49" y="76"/>
                      </a:lnTo>
                      <a:lnTo>
                        <a:pt x="48" y="76"/>
                      </a:lnTo>
                      <a:lnTo>
                        <a:pt x="48" y="76"/>
                      </a:lnTo>
                      <a:lnTo>
                        <a:pt x="47" y="76"/>
                      </a:lnTo>
                      <a:lnTo>
                        <a:pt x="46" y="76"/>
                      </a:lnTo>
                      <a:lnTo>
                        <a:pt x="43" y="76"/>
                      </a:lnTo>
                      <a:lnTo>
                        <a:pt x="42" y="76"/>
                      </a:lnTo>
                      <a:lnTo>
                        <a:pt x="42" y="76"/>
                      </a:lnTo>
                      <a:lnTo>
                        <a:pt x="41" y="76"/>
                      </a:lnTo>
                      <a:lnTo>
                        <a:pt x="42" y="77"/>
                      </a:lnTo>
                      <a:lnTo>
                        <a:pt x="42" y="79"/>
                      </a:lnTo>
                      <a:lnTo>
                        <a:pt x="43" y="79"/>
                      </a:lnTo>
                      <a:lnTo>
                        <a:pt x="43" y="80"/>
                      </a:lnTo>
                      <a:lnTo>
                        <a:pt x="42" y="80"/>
                      </a:lnTo>
                      <a:lnTo>
                        <a:pt x="42" y="81"/>
                      </a:lnTo>
                      <a:lnTo>
                        <a:pt x="43" y="81"/>
                      </a:lnTo>
                      <a:lnTo>
                        <a:pt x="42" y="81"/>
                      </a:lnTo>
                      <a:lnTo>
                        <a:pt x="42" y="81"/>
                      </a:lnTo>
                      <a:lnTo>
                        <a:pt x="41" y="82"/>
                      </a:lnTo>
                      <a:lnTo>
                        <a:pt x="40" y="83"/>
                      </a:lnTo>
                      <a:lnTo>
                        <a:pt x="40" y="83"/>
                      </a:lnTo>
                      <a:lnTo>
                        <a:pt x="40" y="84"/>
                      </a:lnTo>
                      <a:lnTo>
                        <a:pt x="41" y="84"/>
                      </a:lnTo>
                      <a:lnTo>
                        <a:pt x="41" y="84"/>
                      </a:lnTo>
                      <a:lnTo>
                        <a:pt x="42" y="86"/>
                      </a:lnTo>
                      <a:lnTo>
                        <a:pt x="43" y="84"/>
                      </a:lnTo>
                      <a:lnTo>
                        <a:pt x="43" y="86"/>
                      </a:lnTo>
                      <a:lnTo>
                        <a:pt x="45" y="86"/>
                      </a:lnTo>
                      <a:lnTo>
                        <a:pt x="45" y="86"/>
                      </a:lnTo>
                      <a:lnTo>
                        <a:pt x="46" y="87"/>
                      </a:lnTo>
                      <a:lnTo>
                        <a:pt x="47" y="87"/>
                      </a:lnTo>
                      <a:lnTo>
                        <a:pt x="47" y="88"/>
                      </a:lnTo>
                      <a:lnTo>
                        <a:pt x="48" y="87"/>
                      </a:lnTo>
                      <a:lnTo>
                        <a:pt x="48" y="88"/>
                      </a:lnTo>
                      <a:lnTo>
                        <a:pt x="51" y="89"/>
                      </a:lnTo>
                      <a:lnTo>
                        <a:pt x="51" y="90"/>
                      </a:lnTo>
                      <a:lnTo>
                        <a:pt x="53" y="89"/>
                      </a:lnTo>
                      <a:lnTo>
                        <a:pt x="54" y="93"/>
                      </a:lnTo>
                      <a:lnTo>
                        <a:pt x="54" y="93"/>
                      </a:lnTo>
                      <a:lnTo>
                        <a:pt x="55" y="93"/>
                      </a:lnTo>
                      <a:lnTo>
                        <a:pt x="56" y="93"/>
                      </a:lnTo>
                      <a:lnTo>
                        <a:pt x="56" y="94"/>
                      </a:lnTo>
                      <a:lnTo>
                        <a:pt x="59" y="94"/>
                      </a:lnTo>
                      <a:lnTo>
                        <a:pt x="60" y="94"/>
                      </a:lnTo>
                      <a:lnTo>
                        <a:pt x="61" y="95"/>
                      </a:lnTo>
                      <a:lnTo>
                        <a:pt x="61" y="95"/>
                      </a:lnTo>
                      <a:lnTo>
                        <a:pt x="62" y="95"/>
                      </a:lnTo>
                      <a:lnTo>
                        <a:pt x="63" y="96"/>
                      </a:lnTo>
                      <a:lnTo>
                        <a:pt x="65" y="96"/>
                      </a:lnTo>
                      <a:lnTo>
                        <a:pt x="66" y="96"/>
                      </a:lnTo>
                      <a:lnTo>
                        <a:pt x="67" y="97"/>
                      </a:lnTo>
                      <a:lnTo>
                        <a:pt x="66" y="99"/>
                      </a:lnTo>
                      <a:lnTo>
                        <a:pt x="65" y="99"/>
                      </a:lnTo>
                      <a:lnTo>
                        <a:pt x="65" y="101"/>
                      </a:lnTo>
                      <a:lnTo>
                        <a:pt x="66" y="102"/>
                      </a:lnTo>
                      <a:lnTo>
                        <a:pt x="67" y="103"/>
                      </a:lnTo>
                      <a:lnTo>
                        <a:pt x="67" y="104"/>
                      </a:lnTo>
                      <a:lnTo>
                        <a:pt x="67" y="104"/>
                      </a:lnTo>
                      <a:lnTo>
                        <a:pt x="68" y="106"/>
                      </a:lnTo>
                      <a:lnTo>
                        <a:pt x="69" y="104"/>
                      </a:lnTo>
                      <a:lnTo>
                        <a:pt x="69" y="107"/>
                      </a:lnTo>
                      <a:lnTo>
                        <a:pt x="71" y="107"/>
                      </a:lnTo>
                      <a:lnTo>
                        <a:pt x="71" y="107"/>
                      </a:lnTo>
                      <a:lnTo>
                        <a:pt x="72" y="104"/>
                      </a:lnTo>
                      <a:lnTo>
                        <a:pt x="73" y="107"/>
                      </a:lnTo>
                      <a:lnTo>
                        <a:pt x="73" y="107"/>
                      </a:lnTo>
                      <a:lnTo>
                        <a:pt x="73" y="108"/>
                      </a:lnTo>
                      <a:lnTo>
                        <a:pt x="73" y="108"/>
                      </a:lnTo>
                      <a:lnTo>
                        <a:pt x="73" y="109"/>
                      </a:lnTo>
                      <a:lnTo>
                        <a:pt x="75" y="109"/>
                      </a:lnTo>
                      <a:lnTo>
                        <a:pt x="74" y="110"/>
                      </a:lnTo>
                      <a:lnTo>
                        <a:pt x="75" y="110"/>
                      </a:lnTo>
                      <a:lnTo>
                        <a:pt x="75" y="111"/>
                      </a:lnTo>
                      <a:lnTo>
                        <a:pt x="75" y="113"/>
                      </a:lnTo>
                      <a:lnTo>
                        <a:pt x="76" y="114"/>
                      </a:lnTo>
                      <a:lnTo>
                        <a:pt x="76" y="115"/>
                      </a:lnTo>
                      <a:lnTo>
                        <a:pt x="78" y="115"/>
                      </a:lnTo>
                      <a:lnTo>
                        <a:pt x="79" y="117"/>
                      </a:lnTo>
                      <a:lnTo>
                        <a:pt x="81" y="119"/>
                      </a:lnTo>
                      <a:lnTo>
                        <a:pt x="83" y="123"/>
                      </a:lnTo>
                      <a:lnTo>
                        <a:pt x="88" y="126"/>
                      </a:lnTo>
                      <a:lnTo>
                        <a:pt x="89" y="126"/>
                      </a:lnTo>
                      <a:lnTo>
                        <a:pt x="89" y="126"/>
                      </a:lnTo>
                      <a:lnTo>
                        <a:pt x="91" y="126"/>
                      </a:lnTo>
                      <a:lnTo>
                        <a:pt x="91" y="126"/>
                      </a:lnTo>
                      <a:lnTo>
                        <a:pt x="91" y="126"/>
                      </a:lnTo>
                      <a:lnTo>
                        <a:pt x="91" y="127"/>
                      </a:lnTo>
                      <a:lnTo>
                        <a:pt x="92" y="129"/>
                      </a:lnTo>
                      <a:lnTo>
                        <a:pt x="93" y="129"/>
                      </a:lnTo>
                      <a:lnTo>
                        <a:pt x="92" y="130"/>
                      </a:lnTo>
                      <a:lnTo>
                        <a:pt x="93" y="131"/>
                      </a:lnTo>
                      <a:lnTo>
                        <a:pt x="94" y="131"/>
                      </a:lnTo>
                      <a:lnTo>
                        <a:pt x="95" y="133"/>
                      </a:lnTo>
                      <a:lnTo>
                        <a:pt x="96" y="137"/>
                      </a:lnTo>
                      <a:lnTo>
                        <a:pt x="96" y="139"/>
                      </a:lnTo>
                      <a:lnTo>
                        <a:pt x="98" y="139"/>
                      </a:lnTo>
                      <a:lnTo>
                        <a:pt x="98" y="140"/>
                      </a:lnTo>
                      <a:lnTo>
                        <a:pt x="99" y="140"/>
                      </a:lnTo>
                      <a:lnTo>
                        <a:pt x="99" y="140"/>
                      </a:lnTo>
                      <a:lnTo>
                        <a:pt x="99" y="142"/>
                      </a:lnTo>
                      <a:lnTo>
                        <a:pt x="99" y="143"/>
                      </a:lnTo>
                      <a:lnTo>
                        <a:pt x="100" y="143"/>
                      </a:lnTo>
                      <a:lnTo>
                        <a:pt x="101" y="143"/>
                      </a:lnTo>
                      <a:lnTo>
                        <a:pt x="101" y="142"/>
                      </a:lnTo>
                      <a:lnTo>
                        <a:pt x="101" y="142"/>
                      </a:lnTo>
                      <a:lnTo>
                        <a:pt x="101" y="140"/>
                      </a:lnTo>
                      <a:lnTo>
                        <a:pt x="102" y="140"/>
                      </a:lnTo>
                      <a:lnTo>
                        <a:pt x="102" y="141"/>
                      </a:lnTo>
                      <a:lnTo>
                        <a:pt x="102" y="142"/>
                      </a:lnTo>
                      <a:lnTo>
                        <a:pt x="102" y="143"/>
                      </a:lnTo>
                      <a:lnTo>
                        <a:pt x="103" y="143"/>
                      </a:lnTo>
                      <a:lnTo>
                        <a:pt x="103" y="143"/>
                      </a:lnTo>
                      <a:lnTo>
                        <a:pt x="105" y="144"/>
                      </a:lnTo>
                      <a:lnTo>
                        <a:pt x="105" y="146"/>
                      </a:lnTo>
                      <a:lnTo>
                        <a:pt x="105" y="146"/>
                      </a:lnTo>
                      <a:lnTo>
                        <a:pt x="106" y="146"/>
                      </a:lnTo>
                      <a:lnTo>
                        <a:pt x="108" y="146"/>
                      </a:lnTo>
                      <a:lnTo>
                        <a:pt x="109" y="148"/>
                      </a:lnTo>
                      <a:lnTo>
                        <a:pt x="109" y="148"/>
                      </a:lnTo>
                      <a:lnTo>
                        <a:pt x="111" y="148"/>
                      </a:lnTo>
                      <a:lnTo>
                        <a:pt x="112" y="150"/>
                      </a:lnTo>
                      <a:lnTo>
                        <a:pt x="113" y="150"/>
                      </a:lnTo>
                      <a:lnTo>
                        <a:pt x="113" y="149"/>
                      </a:lnTo>
                      <a:lnTo>
                        <a:pt x="114" y="149"/>
                      </a:lnTo>
                      <a:lnTo>
                        <a:pt x="114" y="150"/>
                      </a:lnTo>
                      <a:lnTo>
                        <a:pt x="114" y="151"/>
                      </a:lnTo>
                      <a:lnTo>
                        <a:pt x="113" y="153"/>
                      </a:lnTo>
                      <a:lnTo>
                        <a:pt x="112" y="153"/>
                      </a:lnTo>
                      <a:lnTo>
                        <a:pt x="111" y="155"/>
                      </a:lnTo>
                      <a:lnTo>
                        <a:pt x="111" y="155"/>
                      </a:lnTo>
                      <a:lnTo>
                        <a:pt x="111" y="155"/>
                      </a:lnTo>
                      <a:lnTo>
                        <a:pt x="109" y="156"/>
                      </a:lnTo>
                      <a:lnTo>
                        <a:pt x="112" y="157"/>
                      </a:lnTo>
                      <a:lnTo>
                        <a:pt x="112" y="159"/>
                      </a:lnTo>
                      <a:lnTo>
                        <a:pt x="112" y="159"/>
                      </a:lnTo>
                      <a:lnTo>
                        <a:pt x="113" y="160"/>
                      </a:lnTo>
                      <a:lnTo>
                        <a:pt x="114" y="162"/>
                      </a:lnTo>
                      <a:lnTo>
                        <a:pt x="115" y="161"/>
                      </a:lnTo>
                      <a:lnTo>
                        <a:pt x="115" y="162"/>
                      </a:lnTo>
                      <a:lnTo>
                        <a:pt x="116" y="161"/>
                      </a:lnTo>
                      <a:lnTo>
                        <a:pt x="116" y="162"/>
                      </a:lnTo>
                      <a:lnTo>
                        <a:pt x="116" y="162"/>
                      </a:lnTo>
                      <a:lnTo>
                        <a:pt x="116" y="163"/>
                      </a:lnTo>
                      <a:lnTo>
                        <a:pt x="118" y="163"/>
                      </a:lnTo>
                      <a:lnTo>
                        <a:pt x="118" y="163"/>
                      </a:lnTo>
                      <a:lnTo>
                        <a:pt x="119" y="164"/>
                      </a:lnTo>
                      <a:lnTo>
                        <a:pt x="119" y="164"/>
                      </a:lnTo>
                      <a:lnTo>
                        <a:pt x="121" y="167"/>
                      </a:lnTo>
                      <a:lnTo>
                        <a:pt x="120" y="168"/>
                      </a:lnTo>
                      <a:lnTo>
                        <a:pt x="120" y="168"/>
                      </a:lnTo>
                      <a:lnTo>
                        <a:pt x="120" y="169"/>
                      </a:lnTo>
                      <a:lnTo>
                        <a:pt x="119" y="170"/>
                      </a:lnTo>
                      <a:lnTo>
                        <a:pt x="120" y="171"/>
                      </a:lnTo>
                      <a:lnTo>
                        <a:pt x="119" y="171"/>
                      </a:lnTo>
                      <a:lnTo>
                        <a:pt x="118" y="171"/>
                      </a:lnTo>
                      <a:lnTo>
                        <a:pt x="118" y="171"/>
                      </a:lnTo>
                      <a:lnTo>
                        <a:pt x="118" y="173"/>
                      </a:lnTo>
                      <a:lnTo>
                        <a:pt x="120" y="175"/>
                      </a:lnTo>
                      <a:lnTo>
                        <a:pt x="118" y="176"/>
                      </a:lnTo>
                      <a:lnTo>
                        <a:pt x="119" y="177"/>
                      </a:lnTo>
                      <a:lnTo>
                        <a:pt x="118" y="177"/>
                      </a:lnTo>
                      <a:lnTo>
                        <a:pt x="119" y="177"/>
                      </a:lnTo>
                      <a:lnTo>
                        <a:pt x="120" y="179"/>
                      </a:lnTo>
                      <a:lnTo>
                        <a:pt x="120" y="180"/>
                      </a:lnTo>
                      <a:lnTo>
                        <a:pt x="119" y="182"/>
                      </a:lnTo>
                      <a:lnTo>
                        <a:pt x="120" y="183"/>
                      </a:lnTo>
                      <a:lnTo>
                        <a:pt x="119" y="183"/>
                      </a:lnTo>
                      <a:lnTo>
                        <a:pt x="119" y="184"/>
                      </a:lnTo>
                      <a:lnTo>
                        <a:pt x="118" y="184"/>
                      </a:lnTo>
                      <a:lnTo>
                        <a:pt x="116" y="184"/>
                      </a:lnTo>
                      <a:lnTo>
                        <a:pt x="118" y="186"/>
                      </a:lnTo>
                      <a:lnTo>
                        <a:pt x="118" y="188"/>
                      </a:lnTo>
                      <a:lnTo>
                        <a:pt x="116" y="190"/>
                      </a:lnTo>
                      <a:lnTo>
                        <a:pt x="119" y="193"/>
                      </a:lnTo>
                      <a:lnTo>
                        <a:pt x="120" y="193"/>
                      </a:lnTo>
                      <a:lnTo>
                        <a:pt x="120" y="195"/>
                      </a:lnTo>
                      <a:lnTo>
                        <a:pt x="121" y="196"/>
                      </a:lnTo>
                      <a:lnTo>
                        <a:pt x="121" y="199"/>
                      </a:lnTo>
                      <a:lnTo>
                        <a:pt x="122" y="200"/>
                      </a:lnTo>
                      <a:lnTo>
                        <a:pt x="123" y="202"/>
                      </a:lnTo>
                      <a:lnTo>
                        <a:pt x="123" y="207"/>
                      </a:lnTo>
                      <a:lnTo>
                        <a:pt x="122" y="213"/>
                      </a:lnTo>
                      <a:lnTo>
                        <a:pt x="122" y="215"/>
                      </a:lnTo>
                      <a:lnTo>
                        <a:pt x="123" y="216"/>
                      </a:lnTo>
                      <a:lnTo>
                        <a:pt x="123" y="219"/>
                      </a:lnTo>
                      <a:lnTo>
                        <a:pt x="125" y="221"/>
                      </a:lnTo>
                      <a:lnTo>
                        <a:pt x="125" y="224"/>
                      </a:lnTo>
                      <a:lnTo>
                        <a:pt x="125" y="226"/>
                      </a:lnTo>
                      <a:lnTo>
                        <a:pt x="123" y="227"/>
                      </a:lnTo>
                      <a:lnTo>
                        <a:pt x="123" y="228"/>
                      </a:lnTo>
                      <a:lnTo>
                        <a:pt x="123" y="229"/>
                      </a:lnTo>
                      <a:lnTo>
                        <a:pt x="122" y="229"/>
                      </a:lnTo>
                      <a:lnTo>
                        <a:pt x="121" y="227"/>
                      </a:lnTo>
                      <a:lnTo>
                        <a:pt x="121" y="227"/>
                      </a:lnTo>
                      <a:lnTo>
                        <a:pt x="119" y="228"/>
                      </a:lnTo>
                      <a:lnTo>
                        <a:pt x="116" y="230"/>
                      </a:lnTo>
                      <a:lnTo>
                        <a:pt x="115" y="230"/>
                      </a:lnTo>
                      <a:lnTo>
                        <a:pt x="115" y="231"/>
                      </a:lnTo>
                      <a:lnTo>
                        <a:pt x="114" y="233"/>
                      </a:lnTo>
                      <a:lnTo>
                        <a:pt x="112" y="233"/>
                      </a:lnTo>
                      <a:lnTo>
                        <a:pt x="109" y="234"/>
                      </a:lnTo>
                      <a:lnTo>
                        <a:pt x="106" y="234"/>
                      </a:lnTo>
                      <a:lnTo>
                        <a:pt x="105" y="234"/>
                      </a:lnTo>
                      <a:lnTo>
                        <a:pt x="107" y="236"/>
                      </a:lnTo>
                      <a:lnTo>
                        <a:pt x="105" y="236"/>
                      </a:lnTo>
                      <a:lnTo>
                        <a:pt x="106" y="237"/>
                      </a:lnTo>
                      <a:lnTo>
                        <a:pt x="105" y="239"/>
                      </a:lnTo>
                      <a:lnTo>
                        <a:pt x="107" y="240"/>
                      </a:lnTo>
                      <a:lnTo>
                        <a:pt x="107" y="241"/>
                      </a:lnTo>
                      <a:lnTo>
                        <a:pt x="105" y="240"/>
                      </a:lnTo>
                      <a:lnTo>
                        <a:pt x="103" y="240"/>
                      </a:lnTo>
                      <a:lnTo>
                        <a:pt x="103" y="240"/>
                      </a:lnTo>
                      <a:lnTo>
                        <a:pt x="101" y="240"/>
                      </a:lnTo>
                      <a:lnTo>
                        <a:pt x="99" y="239"/>
                      </a:lnTo>
                      <a:lnTo>
                        <a:pt x="98" y="239"/>
                      </a:lnTo>
                      <a:lnTo>
                        <a:pt x="99" y="240"/>
                      </a:lnTo>
                      <a:lnTo>
                        <a:pt x="98" y="241"/>
                      </a:lnTo>
                      <a:lnTo>
                        <a:pt x="95" y="241"/>
                      </a:lnTo>
                      <a:lnTo>
                        <a:pt x="94" y="240"/>
                      </a:lnTo>
                      <a:lnTo>
                        <a:pt x="95" y="242"/>
                      </a:lnTo>
                      <a:lnTo>
                        <a:pt x="95" y="243"/>
                      </a:lnTo>
                      <a:lnTo>
                        <a:pt x="96" y="243"/>
                      </a:lnTo>
                      <a:lnTo>
                        <a:pt x="96" y="246"/>
                      </a:lnTo>
                      <a:lnTo>
                        <a:pt x="96" y="248"/>
                      </a:lnTo>
                      <a:lnTo>
                        <a:pt x="96" y="248"/>
                      </a:lnTo>
                      <a:lnTo>
                        <a:pt x="98" y="249"/>
                      </a:lnTo>
                      <a:lnTo>
                        <a:pt x="99" y="249"/>
                      </a:lnTo>
                      <a:lnTo>
                        <a:pt x="99" y="250"/>
                      </a:lnTo>
                      <a:lnTo>
                        <a:pt x="100" y="251"/>
                      </a:lnTo>
                      <a:lnTo>
                        <a:pt x="101" y="253"/>
                      </a:lnTo>
                      <a:lnTo>
                        <a:pt x="102" y="253"/>
                      </a:lnTo>
                      <a:lnTo>
                        <a:pt x="102" y="253"/>
                      </a:lnTo>
                      <a:lnTo>
                        <a:pt x="102" y="254"/>
                      </a:lnTo>
                      <a:lnTo>
                        <a:pt x="103" y="255"/>
                      </a:lnTo>
                      <a:lnTo>
                        <a:pt x="102" y="255"/>
                      </a:lnTo>
                      <a:lnTo>
                        <a:pt x="102" y="256"/>
                      </a:lnTo>
                      <a:lnTo>
                        <a:pt x="103" y="258"/>
                      </a:lnTo>
                      <a:lnTo>
                        <a:pt x="101" y="258"/>
                      </a:lnTo>
                      <a:lnTo>
                        <a:pt x="100" y="257"/>
                      </a:lnTo>
                      <a:lnTo>
                        <a:pt x="99" y="256"/>
                      </a:lnTo>
                      <a:lnTo>
                        <a:pt x="99" y="257"/>
                      </a:lnTo>
                      <a:lnTo>
                        <a:pt x="98" y="257"/>
                      </a:lnTo>
                      <a:lnTo>
                        <a:pt x="98" y="255"/>
                      </a:lnTo>
                      <a:lnTo>
                        <a:pt x="95" y="254"/>
                      </a:lnTo>
                      <a:lnTo>
                        <a:pt x="92" y="255"/>
                      </a:lnTo>
                      <a:lnTo>
                        <a:pt x="89" y="255"/>
                      </a:lnTo>
                      <a:lnTo>
                        <a:pt x="89" y="255"/>
                      </a:lnTo>
                      <a:lnTo>
                        <a:pt x="88" y="256"/>
                      </a:lnTo>
                      <a:lnTo>
                        <a:pt x="88" y="257"/>
                      </a:lnTo>
                      <a:lnTo>
                        <a:pt x="87" y="257"/>
                      </a:lnTo>
                      <a:lnTo>
                        <a:pt x="83" y="256"/>
                      </a:lnTo>
                      <a:lnTo>
                        <a:pt x="82" y="257"/>
                      </a:lnTo>
                      <a:lnTo>
                        <a:pt x="85" y="258"/>
                      </a:lnTo>
                      <a:lnTo>
                        <a:pt x="83" y="260"/>
                      </a:lnTo>
                      <a:lnTo>
                        <a:pt x="81" y="262"/>
                      </a:lnTo>
                      <a:lnTo>
                        <a:pt x="80" y="264"/>
                      </a:lnTo>
                      <a:lnTo>
                        <a:pt x="76" y="264"/>
                      </a:lnTo>
                      <a:lnTo>
                        <a:pt x="75" y="264"/>
                      </a:lnTo>
                      <a:lnTo>
                        <a:pt x="73" y="266"/>
                      </a:lnTo>
                      <a:lnTo>
                        <a:pt x="71" y="266"/>
                      </a:lnTo>
                      <a:lnTo>
                        <a:pt x="72" y="267"/>
                      </a:lnTo>
                      <a:lnTo>
                        <a:pt x="72" y="267"/>
                      </a:lnTo>
                      <a:lnTo>
                        <a:pt x="74" y="267"/>
                      </a:lnTo>
                      <a:lnTo>
                        <a:pt x="74" y="267"/>
                      </a:lnTo>
                      <a:lnTo>
                        <a:pt x="74" y="268"/>
                      </a:lnTo>
                      <a:lnTo>
                        <a:pt x="74" y="269"/>
                      </a:lnTo>
                      <a:lnTo>
                        <a:pt x="74" y="269"/>
                      </a:lnTo>
                      <a:lnTo>
                        <a:pt x="75" y="270"/>
                      </a:lnTo>
                      <a:lnTo>
                        <a:pt x="75" y="271"/>
                      </a:lnTo>
                      <a:lnTo>
                        <a:pt x="76" y="271"/>
                      </a:lnTo>
                      <a:lnTo>
                        <a:pt x="76" y="270"/>
                      </a:lnTo>
                      <a:lnTo>
                        <a:pt x="78" y="270"/>
                      </a:lnTo>
                      <a:lnTo>
                        <a:pt x="79" y="270"/>
                      </a:lnTo>
                      <a:lnTo>
                        <a:pt x="79" y="271"/>
                      </a:lnTo>
                      <a:lnTo>
                        <a:pt x="81" y="274"/>
                      </a:lnTo>
                      <a:lnTo>
                        <a:pt x="82" y="274"/>
                      </a:lnTo>
                      <a:lnTo>
                        <a:pt x="83" y="275"/>
                      </a:lnTo>
                      <a:lnTo>
                        <a:pt x="83" y="275"/>
                      </a:lnTo>
                      <a:lnTo>
                        <a:pt x="85" y="276"/>
                      </a:lnTo>
                      <a:lnTo>
                        <a:pt x="85" y="277"/>
                      </a:lnTo>
                      <a:lnTo>
                        <a:pt x="85" y="277"/>
                      </a:lnTo>
                      <a:lnTo>
                        <a:pt x="85" y="277"/>
                      </a:lnTo>
                      <a:lnTo>
                        <a:pt x="85" y="276"/>
                      </a:lnTo>
                      <a:lnTo>
                        <a:pt x="83" y="277"/>
                      </a:lnTo>
                      <a:lnTo>
                        <a:pt x="82" y="278"/>
                      </a:lnTo>
                      <a:lnTo>
                        <a:pt x="81" y="278"/>
                      </a:lnTo>
                      <a:lnTo>
                        <a:pt x="81" y="280"/>
                      </a:lnTo>
                      <a:lnTo>
                        <a:pt x="81" y="281"/>
                      </a:lnTo>
                      <a:lnTo>
                        <a:pt x="80" y="283"/>
                      </a:lnTo>
                      <a:lnTo>
                        <a:pt x="80" y="284"/>
                      </a:lnTo>
                      <a:lnTo>
                        <a:pt x="80" y="284"/>
                      </a:lnTo>
                      <a:lnTo>
                        <a:pt x="80" y="286"/>
                      </a:lnTo>
                      <a:lnTo>
                        <a:pt x="79" y="286"/>
                      </a:lnTo>
                      <a:lnTo>
                        <a:pt x="79" y="288"/>
                      </a:lnTo>
                      <a:lnTo>
                        <a:pt x="80" y="289"/>
                      </a:lnTo>
                      <a:lnTo>
                        <a:pt x="80" y="289"/>
                      </a:lnTo>
                      <a:lnTo>
                        <a:pt x="81" y="290"/>
                      </a:lnTo>
                      <a:lnTo>
                        <a:pt x="81" y="291"/>
                      </a:lnTo>
                      <a:lnTo>
                        <a:pt x="80" y="293"/>
                      </a:lnTo>
                      <a:lnTo>
                        <a:pt x="81" y="293"/>
                      </a:lnTo>
                      <a:lnTo>
                        <a:pt x="81" y="295"/>
                      </a:lnTo>
                      <a:lnTo>
                        <a:pt x="81" y="295"/>
                      </a:lnTo>
                      <a:lnTo>
                        <a:pt x="81" y="295"/>
                      </a:lnTo>
                      <a:lnTo>
                        <a:pt x="81" y="296"/>
                      </a:lnTo>
                      <a:lnTo>
                        <a:pt x="81" y="296"/>
                      </a:lnTo>
                      <a:lnTo>
                        <a:pt x="81" y="297"/>
                      </a:lnTo>
                      <a:lnTo>
                        <a:pt x="81" y="297"/>
                      </a:lnTo>
                      <a:lnTo>
                        <a:pt x="80" y="298"/>
                      </a:lnTo>
                      <a:lnTo>
                        <a:pt x="81" y="300"/>
                      </a:lnTo>
                      <a:lnTo>
                        <a:pt x="81" y="300"/>
                      </a:lnTo>
                      <a:lnTo>
                        <a:pt x="83" y="300"/>
                      </a:lnTo>
                      <a:lnTo>
                        <a:pt x="83" y="300"/>
                      </a:lnTo>
                      <a:lnTo>
                        <a:pt x="83" y="301"/>
                      </a:lnTo>
                      <a:lnTo>
                        <a:pt x="83" y="301"/>
                      </a:lnTo>
                      <a:lnTo>
                        <a:pt x="82" y="301"/>
                      </a:lnTo>
                      <a:lnTo>
                        <a:pt x="82" y="301"/>
                      </a:lnTo>
                      <a:lnTo>
                        <a:pt x="82" y="301"/>
                      </a:lnTo>
                      <a:lnTo>
                        <a:pt x="83" y="301"/>
                      </a:lnTo>
                      <a:lnTo>
                        <a:pt x="83" y="301"/>
                      </a:lnTo>
                      <a:lnTo>
                        <a:pt x="82" y="302"/>
                      </a:lnTo>
                      <a:lnTo>
                        <a:pt x="81" y="301"/>
                      </a:lnTo>
                      <a:lnTo>
                        <a:pt x="80" y="302"/>
                      </a:lnTo>
                      <a:lnTo>
                        <a:pt x="81" y="302"/>
                      </a:lnTo>
                      <a:lnTo>
                        <a:pt x="81" y="303"/>
                      </a:lnTo>
                      <a:lnTo>
                        <a:pt x="81" y="303"/>
                      </a:lnTo>
                      <a:lnTo>
                        <a:pt x="80" y="303"/>
                      </a:lnTo>
                      <a:lnTo>
                        <a:pt x="80" y="304"/>
                      </a:lnTo>
                      <a:lnTo>
                        <a:pt x="82" y="304"/>
                      </a:lnTo>
                      <a:lnTo>
                        <a:pt x="82" y="306"/>
                      </a:lnTo>
                      <a:lnTo>
                        <a:pt x="83" y="303"/>
                      </a:lnTo>
                      <a:lnTo>
                        <a:pt x="85" y="304"/>
                      </a:lnTo>
                      <a:lnTo>
                        <a:pt x="85" y="303"/>
                      </a:lnTo>
                      <a:lnTo>
                        <a:pt x="86" y="302"/>
                      </a:lnTo>
                      <a:lnTo>
                        <a:pt x="87" y="303"/>
                      </a:lnTo>
                      <a:lnTo>
                        <a:pt x="87" y="302"/>
                      </a:lnTo>
                      <a:lnTo>
                        <a:pt x="88" y="302"/>
                      </a:lnTo>
                      <a:lnTo>
                        <a:pt x="88" y="302"/>
                      </a:lnTo>
                      <a:lnTo>
                        <a:pt x="87" y="301"/>
                      </a:lnTo>
                      <a:lnTo>
                        <a:pt x="88" y="301"/>
                      </a:lnTo>
                      <a:lnTo>
                        <a:pt x="89" y="298"/>
                      </a:lnTo>
                      <a:lnTo>
                        <a:pt x="89" y="300"/>
                      </a:lnTo>
                      <a:lnTo>
                        <a:pt x="91" y="300"/>
                      </a:lnTo>
                      <a:lnTo>
                        <a:pt x="91" y="298"/>
                      </a:lnTo>
                      <a:lnTo>
                        <a:pt x="92" y="298"/>
                      </a:lnTo>
                      <a:lnTo>
                        <a:pt x="93" y="297"/>
                      </a:lnTo>
                      <a:lnTo>
                        <a:pt x="92" y="296"/>
                      </a:lnTo>
                      <a:lnTo>
                        <a:pt x="92" y="296"/>
                      </a:lnTo>
                      <a:lnTo>
                        <a:pt x="92" y="296"/>
                      </a:lnTo>
                      <a:lnTo>
                        <a:pt x="92" y="295"/>
                      </a:lnTo>
                      <a:lnTo>
                        <a:pt x="93" y="295"/>
                      </a:lnTo>
                      <a:lnTo>
                        <a:pt x="94" y="294"/>
                      </a:lnTo>
                      <a:lnTo>
                        <a:pt x="95" y="293"/>
                      </a:lnTo>
                      <a:lnTo>
                        <a:pt x="95" y="291"/>
                      </a:lnTo>
                      <a:lnTo>
                        <a:pt x="98" y="291"/>
                      </a:lnTo>
                      <a:lnTo>
                        <a:pt x="98" y="290"/>
                      </a:lnTo>
                      <a:lnTo>
                        <a:pt x="98" y="290"/>
                      </a:lnTo>
                      <a:lnTo>
                        <a:pt x="99" y="290"/>
                      </a:lnTo>
                      <a:lnTo>
                        <a:pt x="100" y="289"/>
                      </a:lnTo>
                      <a:lnTo>
                        <a:pt x="101" y="289"/>
                      </a:lnTo>
                      <a:lnTo>
                        <a:pt x="102" y="289"/>
                      </a:lnTo>
                      <a:lnTo>
                        <a:pt x="105" y="288"/>
                      </a:lnTo>
                      <a:lnTo>
                        <a:pt x="105" y="288"/>
                      </a:lnTo>
                      <a:lnTo>
                        <a:pt x="105" y="287"/>
                      </a:lnTo>
                      <a:lnTo>
                        <a:pt x="106" y="286"/>
                      </a:lnTo>
                      <a:lnTo>
                        <a:pt x="106" y="284"/>
                      </a:lnTo>
                      <a:lnTo>
                        <a:pt x="105" y="284"/>
                      </a:lnTo>
                      <a:lnTo>
                        <a:pt x="103" y="282"/>
                      </a:lnTo>
                      <a:lnTo>
                        <a:pt x="102" y="280"/>
                      </a:lnTo>
                      <a:lnTo>
                        <a:pt x="98" y="277"/>
                      </a:lnTo>
                      <a:lnTo>
                        <a:pt x="98" y="275"/>
                      </a:lnTo>
                      <a:lnTo>
                        <a:pt x="99" y="276"/>
                      </a:lnTo>
                      <a:lnTo>
                        <a:pt x="101" y="277"/>
                      </a:lnTo>
                      <a:lnTo>
                        <a:pt x="102" y="277"/>
                      </a:lnTo>
                      <a:lnTo>
                        <a:pt x="103" y="280"/>
                      </a:lnTo>
                      <a:lnTo>
                        <a:pt x="105" y="281"/>
                      </a:lnTo>
                      <a:lnTo>
                        <a:pt x="106" y="282"/>
                      </a:lnTo>
                      <a:lnTo>
                        <a:pt x="108" y="283"/>
                      </a:lnTo>
                      <a:lnTo>
                        <a:pt x="109" y="284"/>
                      </a:lnTo>
                      <a:lnTo>
                        <a:pt x="111" y="284"/>
                      </a:lnTo>
                      <a:lnTo>
                        <a:pt x="112" y="283"/>
                      </a:lnTo>
                      <a:lnTo>
                        <a:pt x="112" y="282"/>
                      </a:lnTo>
                      <a:lnTo>
                        <a:pt x="112" y="281"/>
                      </a:lnTo>
                      <a:lnTo>
                        <a:pt x="111" y="280"/>
                      </a:lnTo>
                      <a:lnTo>
                        <a:pt x="111" y="278"/>
                      </a:lnTo>
                      <a:lnTo>
                        <a:pt x="111" y="277"/>
                      </a:lnTo>
                      <a:lnTo>
                        <a:pt x="108" y="276"/>
                      </a:lnTo>
                      <a:lnTo>
                        <a:pt x="107" y="275"/>
                      </a:lnTo>
                      <a:lnTo>
                        <a:pt x="106" y="274"/>
                      </a:lnTo>
                      <a:lnTo>
                        <a:pt x="103" y="273"/>
                      </a:lnTo>
                      <a:lnTo>
                        <a:pt x="103" y="271"/>
                      </a:lnTo>
                      <a:lnTo>
                        <a:pt x="103" y="271"/>
                      </a:lnTo>
                      <a:lnTo>
                        <a:pt x="102" y="270"/>
                      </a:lnTo>
                      <a:lnTo>
                        <a:pt x="105" y="271"/>
                      </a:lnTo>
                      <a:lnTo>
                        <a:pt x="106" y="273"/>
                      </a:lnTo>
                      <a:lnTo>
                        <a:pt x="108" y="275"/>
                      </a:lnTo>
                      <a:lnTo>
                        <a:pt x="111" y="277"/>
                      </a:lnTo>
                      <a:lnTo>
                        <a:pt x="112" y="278"/>
                      </a:lnTo>
                      <a:lnTo>
                        <a:pt x="113" y="278"/>
                      </a:lnTo>
                      <a:lnTo>
                        <a:pt x="113" y="277"/>
                      </a:lnTo>
                      <a:lnTo>
                        <a:pt x="113" y="277"/>
                      </a:lnTo>
                      <a:lnTo>
                        <a:pt x="113" y="277"/>
                      </a:lnTo>
                      <a:lnTo>
                        <a:pt x="113" y="277"/>
                      </a:lnTo>
                      <a:lnTo>
                        <a:pt x="114" y="277"/>
                      </a:lnTo>
                      <a:lnTo>
                        <a:pt x="113" y="277"/>
                      </a:lnTo>
                      <a:lnTo>
                        <a:pt x="111" y="276"/>
                      </a:lnTo>
                      <a:lnTo>
                        <a:pt x="111" y="275"/>
                      </a:lnTo>
                      <a:lnTo>
                        <a:pt x="108" y="273"/>
                      </a:lnTo>
                      <a:lnTo>
                        <a:pt x="107" y="270"/>
                      </a:lnTo>
                      <a:lnTo>
                        <a:pt x="106" y="269"/>
                      </a:lnTo>
                      <a:lnTo>
                        <a:pt x="106" y="270"/>
                      </a:lnTo>
                      <a:lnTo>
                        <a:pt x="108" y="270"/>
                      </a:lnTo>
                      <a:lnTo>
                        <a:pt x="111" y="275"/>
                      </a:lnTo>
                      <a:lnTo>
                        <a:pt x="112" y="275"/>
                      </a:lnTo>
                      <a:lnTo>
                        <a:pt x="113" y="276"/>
                      </a:lnTo>
                      <a:lnTo>
                        <a:pt x="113" y="275"/>
                      </a:lnTo>
                      <a:lnTo>
                        <a:pt x="113" y="275"/>
                      </a:lnTo>
                      <a:lnTo>
                        <a:pt x="113" y="274"/>
                      </a:lnTo>
                      <a:lnTo>
                        <a:pt x="113" y="275"/>
                      </a:lnTo>
                      <a:lnTo>
                        <a:pt x="115" y="274"/>
                      </a:lnTo>
                      <a:lnTo>
                        <a:pt x="115" y="273"/>
                      </a:lnTo>
                      <a:lnTo>
                        <a:pt x="115" y="271"/>
                      </a:lnTo>
                      <a:lnTo>
                        <a:pt x="113" y="270"/>
                      </a:lnTo>
                      <a:lnTo>
                        <a:pt x="109" y="270"/>
                      </a:lnTo>
                      <a:lnTo>
                        <a:pt x="108" y="269"/>
                      </a:lnTo>
                      <a:lnTo>
                        <a:pt x="113" y="269"/>
                      </a:lnTo>
                      <a:lnTo>
                        <a:pt x="115" y="269"/>
                      </a:lnTo>
                      <a:lnTo>
                        <a:pt x="114" y="267"/>
                      </a:lnTo>
                      <a:lnTo>
                        <a:pt x="113" y="266"/>
                      </a:lnTo>
                      <a:lnTo>
                        <a:pt x="112" y="266"/>
                      </a:lnTo>
                      <a:lnTo>
                        <a:pt x="112" y="266"/>
                      </a:lnTo>
                      <a:lnTo>
                        <a:pt x="112" y="266"/>
                      </a:lnTo>
                      <a:lnTo>
                        <a:pt x="111" y="266"/>
                      </a:lnTo>
                      <a:lnTo>
                        <a:pt x="111" y="264"/>
                      </a:lnTo>
                      <a:lnTo>
                        <a:pt x="111" y="264"/>
                      </a:lnTo>
                      <a:lnTo>
                        <a:pt x="111" y="266"/>
                      </a:lnTo>
                      <a:lnTo>
                        <a:pt x="112" y="266"/>
                      </a:lnTo>
                      <a:lnTo>
                        <a:pt x="112" y="264"/>
                      </a:lnTo>
                      <a:lnTo>
                        <a:pt x="112" y="264"/>
                      </a:lnTo>
                      <a:lnTo>
                        <a:pt x="112" y="264"/>
                      </a:lnTo>
                      <a:lnTo>
                        <a:pt x="113" y="264"/>
                      </a:lnTo>
                      <a:lnTo>
                        <a:pt x="113" y="263"/>
                      </a:lnTo>
                      <a:lnTo>
                        <a:pt x="114" y="263"/>
                      </a:lnTo>
                      <a:lnTo>
                        <a:pt x="113" y="261"/>
                      </a:lnTo>
                      <a:lnTo>
                        <a:pt x="114" y="261"/>
                      </a:lnTo>
                      <a:lnTo>
                        <a:pt x="114" y="262"/>
                      </a:lnTo>
                      <a:lnTo>
                        <a:pt x="115" y="262"/>
                      </a:lnTo>
                      <a:lnTo>
                        <a:pt x="116" y="263"/>
                      </a:lnTo>
                      <a:lnTo>
                        <a:pt x="116" y="263"/>
                      </a:lnTo>
                      <a:lnTo>
                        <a:pt x="116" y="264"/>
                      </a:lnTo>
                      <a:lnTo>
                        <a:pt x="118" y="264"/>
                      </a:lnTo>
                      <a:lnTo>
                        <a:pt x="118" y="266"/>
                      </a:lnTo>
                      <a:lnTo>
                        <a:pt x="118" y="264"/>
                      </a:lnTo>
                      <a:lnTo>
                        <a:pt x="119" y="264"/>
                      </a:lnTo>
                      <a:lnTo>
                        <a:pt x="118" y="263"/>
                      </a:lnTo>
                      <a:lnTo>
                        <a:pt x="118" y="262"/>
                      </a:lnTo>
                      <a:lnTo>
                        <a:pt x="118" y="263"/>
                      </a:lnTo>
                      <a:lnTo>
                        <a:pt x="119" y="263"/>
                      </a:lnTo>
                      <a:lnTo>
                        <a:pt x="119" y="263"/>
                      </a:lnTo>
                      <a:lnTo>
                        <a:pt x="118" y="263"/>
                      </a:lnTo>
                      <a:lnTo>
                        <a:pt x="118" y="262"/>
                      </a:lnTo>
                      <a:lnTo>
                        <a:pt x="118" y="262"/>
                      </a:lnTo>
                      <a:lnTo>
                        <a:pt x="118" y="261"/>
                      </a:lnTo>
                      <a:lnTo>
                        <a:pt x="118" y="261"/>
                      </a:lnTo>
                      <a:lnTo>
                        <a:pt x="119" y="261"/>
                      </a:lnTo>
                      <a:lnTo>
                        <a:pt x="119" y="262"/>
                      </a:lnTo>
                      <a:lnTo>
                        <a:pt x="119" y="262"/>
                      </a:lnTo>
                      <a:lnTo>
                        <a:pt x="119" y="262"/>
                      </a:lnTo>
                      <a:lnTo>
                        <a:pt x="119" y="263"/>
                      </a:lnTo>
                      <a:lnTo>
                        <a:pt x="119" y="263"/>
                      </a:lnTo>
                      <a:lnTo>
                        <a:pt x="119" y="264"/>
                      </a:lnTo>
                      <a:lnTo>
                        <a:pt x="118" y="264"/>
                      </a:lnTo>
                      <a:lnTo>
                        <a:pt x="119" y="264"/>
                      </a:lnTo>
                      <a:lnTo>
                        <a:pt x="119" y="266"/>
                      </a:lnTo>
                      <a:lnTo>
                        <a:pt x="119" y="264"/>
                      </a:lnTo>
                      <a:lnTo>
                        <a:pt x="120" y="264"/>
                      </a:lnTo>
                      <a:lnTo>
                        <a:pt x="121" y="266"/>
                      </a:lnTo>
                      <a:lnTo>
                        <a:pt x="121" y="264"/>
                      </a:lnTo>
                      <a:lnTo>
                        <a:pt x="122" y="267"/>
                      </a:lnTo>
                      <a:lnTo>
                        <a:pt x="122" y="267"/>
                      </a:lnTo>
                      <a:lnTo>
                        <a:pt x="122" y="267"/>
                      </a:lnTo>
                      <a:lnTo>
                        <a:pt x="123" y="267"/>
                      </a:lnTo>
                      <a:lnTo>
                        <a:pt x="125" y="266"/>
                      </a:lnTo>
                      <a:lnTo>
                        <a:pt x="125" y="266"/>
                      </a:lnTo>
                      <a:lnTo>
                        <a:pt x="127" y="266"/>
                      </a:lnTo>
                      <a:lnTo>
                        <a:pt x="127" y="264"/>
                      </a:lnTo>
                      <a:lnTo>
                        <a:pt x="129" y="263"/>
                      </a:lnTo>
                      <a:lnTo>
                        <a:pt x="132" y="262"/>
                      </a:lnTo>
                      <a:lnTo>
                        <a:pt x="133" y="261"/>
                      </a:lnTo>
                      <a:lnTo>
                        <a:pt x="134" y="260"/>
                      </a:lnTo>
                      <a:lnTo>
                        <a:pt x="135" y="261"/>
                      </a:lnTo>
                      <a:lnTo>
                        <a:pt x="136" y="257"/>
                      </a:lnTo>
                      <a:lnTo>
                        <a:pt x="138" y="256"/>
                      </a:lnTo>
                      <a:lnTo>
                        <a:pt x="140" y="256"/>
                      </a:lnTo>
                      <a:lnTo>
                        <a:pt x="140" y="256"/>
                      </a:lnTo>
                      <a:lnTo>
                        <a:pt x="141" y="256"/>
                      </a:lnTo>
                      <a:lnTo>
                        <a:pt x="141" y="256"/>
                      </a:lnTo>
                      <a:lnTo>
                        <a:pt x="142" y="256"/>
                      </a:lnTo>
                      <a:lnTo>
                        <a:pt x="142" y="255"/>
                      </a:lnTo>
                      <a:lnTo>
                        <a:pt x="143" y="254"/>
                      </a:lnTo>
                      <a:lnTo>
                        <a:pt x="145" y="253"/>
                      </a:lnTo>
                      <a:lnTo>
                        <a:pt x="145" y="251"/>
                      </a:lnTo>
                      <a:lnTo>
                        <a:pt x="146" y="250"/>
                      </a:lnTo>
                      <a:lnTo>
                        <a:pt x="147" y="250"/>
                      </a:lnTo>
                      <a:lnTo>
                        <a:pt x="148" y="250"/>
                      </a:lnTo>
                      <a:lnTo>
                        <a:pt x="148" y="248"/>
                      </a:lnTo>
                      <a:lnTo>
                        <a:pt x="149" y="248"/>
                      </a:lnTo>
                      <a:lnTo>
                        <a:pt x="151" y="248"/>
                      </a:lnTo>
                      <a:lnTo>
                        <a:pt x="152" y="248"/>
                      </a:lnTo>
                      <a:lnTo>
                        <a:pt x="152" y="248"/>
                      </a:lnTo>
                      <a:lnTo>
                        <a:pt x="154" y="247"/>
                      </a:lnTo>
                      <a:lnTo>
                        <a:pt x="153" y="243"/>
                      </a:lnTo>
                      <a:lnTo>
                        <a:pt x="153" y="243"/>
                      </a:lnTo>
                      <a:lnTo>
                        <a:pt x="154" y="242"/>
                      </a:lnTo>
                      <a:lnTo>
                        <a:pt x="153" y="241"/>
                      </a:lnTo>
                      <a:lnTo>
                        <a:pt x="153" y="241"/>
                      </a:lnTo>
                      <a:lnTo>
                        <a:pt x="154" y="242"/>
                      </a:lnTo>
                      <a:lnTo>
                        <a:pt x="154" y="242"/>
                      </a:lnTo>
                      <a:lnTo>
                        <a:pt x="154" y="243"/>
                      </a:lnTo>
                      <a:lnTo>
                        <a:pt x="155" y="241"/>
                      </a:lnTo>
                      <a:lnTo>
                        <a:pt x="155" y="241"/>
                      </a:lnTo>
                      <a:lnTo>
                        <a:pt x="156" y="240"/>
                      </a:lnTo>
                      <a:lnTo>
                        <a:pt x="156" y="240"/>
                      </a:lnTo>
                      <a:lnTo>
                        <a:pt x="156" y="240"/>
                      </a:lnTo>
                      <a:lnTo>
                        <a:pt x="155" y="239"/>
                      </a:lnTo>
                      <a:lnTo>
                        <a:pt x="155" y="237"/>
                      </a:lnTo>
                      <a:lnTo>
                        <a:pt x="155" y="237"/>
                      </a:lnTo>
                      <a:lnTo>
                        <a:pt x="155" y="237"/>
                      </a:lnTo>
                      <a:lnTo>
                        <a:pt x="154" y="237"/>
                      </a:lnTo>
                      <a:lnTo>
                        <a:pt x="154" y="237"/>
                      </a:lnTo>
                      <a:lnTo>
                        <a:pt x="154" y="236"/>
                      </a:lnTo>
                      <a:lnTo>
                        <a:pt x="155" y="235"/>
                      </a:lnTo>
                      <a:lnTo>
                        <a:pt x="155" y="234"/>
                      </a:lnTo>
                      <a:lnTo>
                        <a:pt x="154" y="231"/>
                      </a:lnTo>
                      <a:lnTo>
                        <a:pt x="154" y="231"/>
                      </a:lnTo>
                      <a:lnTo>
                        <a:pt x="155" y="233"/>
                      </a:lnTo>
                      <a:lnTo>
                        <a:pt x="156" y="234"/>
                      </a:lnTo>
                      <a:lnTo>
                        <a:pt x="155" y="236"/>
                      </a:lnTo>
                      <a:lnTo>
                        <a:pt x="156" y="237"/>
                      </a:lnTo>
                      <a:lnTo>
                        <a:pt x="156" y="236"/>
                      </a:lnTo>
                      <a:lnTo>
                        <a:pt x="156" y="235"/>
                      </a:lnTo>
                      <a:lnTo>
                        <a:pt x="156" y="234"/>
                      </a:lnTo>
                      <a:lnTo>
                        <a:pt x="155" y="231"/>
                      </a:lnTo>
                      <a:lnTo>
                        <a:pt x="155" y="230"/>
                      </a:lnTo>
                      <a:lnTo>
                        <a:pt x="155" y="230"/>
                      </a:lnTo>
                      <a:lnTo>
                        <a:pt x="155" y="230"/>
                      </a:lnTo>
                      <a:lnTo>
                        <a:pt x="154" y="229"/>
                      </a:lnTo>
                      <a:lnTo>
                        <a:pt x="155" y="229"/>
                      </a:lnTo>
                      <a:lnTo>
                        <a:pt x="155" y="229"/>
                      </a:lnTo>
                      <a:lnTo>
                        <a:pt x="155" y="229"/>
                      </a:lnTo>
                      <a:lnTo>
                        <a:pt x="154" y="228"/>
                      </a:lnTo>
                      <a:lnTo>
                        <a:pt x="154" y="228"/>
                      </a:lnTo>
                      <a:lnTo>
                        <a:pt x="155" y="228"/>
                      </a:lnTo>
                      <a:lnTo>
                        <a:pt x="155" y="228"/>
                      </a:lnTo>
                      <a:lnTo>
                        <a:pt x="154" y="227"/>
                      </a:lnTo>
                      <a:lnTo>
                        <a:pt x="154" y="226"/>
                      </a:lnTo>
                      <a:lnTo>
                        <a:pt x="153" y="226"/>
                      </a:lnTo>
                      <a:lnTo>
                        <a:pt x="153" y="224"/>
                      </a:lnTo>
                      <a:lnTo>
                        <a:pt x="154" y="224"/>
                      </a:lnTo>
                      <a:lnTo>
                        <a:pt x="153" y="224"/>
                      </a:lnTo>
                      <a:lnTo>
                        <a:pt x="153" y="224"/>
                      </a:lnTo>
                      <a:lnTo>
                        <a:pt x="154" y="224"/>
                      </a:lnTo>
                      <a:lnTo>
                        <a:pt x="155" y="227"/>
                      </a:lnTo>
                      <a:lnTo>
                        <a:pt x="156" y="226"/>
                      </a:lnTo>
                      <a:lnTo>
                        <a:pt x="156" y="226"/>
                      </a:lnTo>
                      <a:lnTo>
                        <a:pt x="156" y="227"/>
                      </a:lnTo>
                      <a:lnTo>
                        <a:pt x="156" y="226"/>
                      </a:lnTo>
                      <a:lnTo>
                        <a:pt x="156" y="226"/>
                      </a:lnTo>
                      <a:lnTo>
                        <a:pt x="156" y="224"/>
                      </a:lnTo>
                      <a:lnTo>
                        <a:pt x="156" y="223"/>
                      </a:lnTo>
                      <a:lnTo>
                        <a:pt x="155" y="223"/>
                      </a:lnTo>
                      <a:lnTo>
                        <a:pt x="155" y="222"/>
                      </a:lnTo>
                      <a:lnTo>
                        <a:pt x="155" y="222"/>
                      </a:lnTo>
                      <a:lnTo>
                        <a:pt x="155" y="222"/>
                      </a:lnTo>
                      <a:lnTo>
                        <a:pt x="154" y="222"/>
                      </a:lnTo>
                      <a:lnTo>
                        <a:pt x="154" y="223"/>
                      </a:lnTo>
                      <a:lnTo>
                        <a:pt x="154" y="222"/>
                      </a:lnTo>
                      <a:lnTo>
                        <a:pt x="154" y="221"/>
                      </a:lnTo>
                      <a:lnTo>
                        <a:pt x="154" y="221"/>
                      </a:lnTo>
                      <a:lnTo>
                        <a:pt x="154" y="220"/>
                      </a:lnTo>
                      <a:lnTo>
                        <a:pt x="155" y="219"/>
                      </a:lnTo>
                      <a:lnTo>
                        <a:pt x="155" y="216"/>
                      </a:lnTo>
                      <a:lnTo>
                        <a:pt x="156" y="216"/>
                      </a:lnTo>
                      <a:lnTo>
                        <a:pt x="156" y="219"/>
                      </a:lnTo>
                      <a:lnTo>
                        <a:pt x="156" y="220"/>
                      </a:lnTo>
                      <a:lnTo>
                        <a:pt x="156" y="221"/>
                      </a:lnTo>
                      <a:lnTo>
                        <a:pt x="156" y="221"/>
                      </a:lnTo>
                      <a:lnTo>
                        <a:pt x="158" y="221"/>
                      </a:lnTo>
                      <a:lnTo>
                        <a:pt x="158" y="220"/>
                      </a:lnTo>
                      <a:lnTo>
                        <a:pt x="158" y="221"/>
                      </a:lnTo>
                      <a:lnTo>
                        <a:pt x="158" y="221"/>
                      </a:lnTo>
                      <a:lnTo>
                        <a:pt x="158" y="221"/>
                      </a:lnTo>
                      <a:lnTo>
                        <a:pt x="156" y="222"/>
                      </a:lnTo>
                      <a:lnTo>
                        <a:pt x="158" y="222"/>
                      </a:lnTo>
                      <a:lnTo>
                        <a:pt x="159" y="221"/>
                      </a:lnTo>
                      <a:lnTo>
                        <a:pt x="159" y="221"/>
                      </a:lnTo>
                      <a:lnTo>
                        <a:pt x="158" y="220"/>
                      </a:lnTo>
                      <a:lnTo>
                        <a:pt x="156" y="219"/>
                      </a:lnTo>
                      <a:lnTo>
                        <a:pt x="156" y="216"/>
                      </a:lnTo>
                      <a:lnTo>
                        <a:pt x="158" y="216"/>
                      </a:lnTo>
                      <a:lnTo>
                        <a:pt x="158" y="216"/>
                      </a:lnTo>
                      <a:lnTo>
                        <a:pt x="158" y="215"/>
                      </a:lnTo>
                      <a:lnTo>
                        <a:pt x="155" y="211"/>
                      </a:lnTo>
                      <a:lnTo>
                        <a:pt x="155" y="210"/>
                      </a:lnTo>
                      <a:lnTo>
                        <a:pt x="154" y="210"/>
                      </a:lnTo>
                      <a:lnTo>
                        <a:pt x="154" y="208"/>
                      </a:lnTo>
                      <a:lnTo>
                        <a:pt x="154" y="207"/>
                      </a:lnTo>
                      <a:lnTo>
                        <a:pt x="154" y="207"/>
                      </a:lnTo>
                      <a:lnTo>
                        <a:pt x="154" y="209"/>
                      </a:lnTo>
                      <a:lnTo>
                        <a:pt x="153" y="208"/>
                      </a:lnTo>
                      <a:lnTo>
                        <a:pt x="153" y="207"/>
                      </a:lnTo>
                      <a:lnTo>
                        <a:pt x="154" y="207"/>
                      </a:lnTo>
                      <a:lnTo>
                        <a:pt x="154" y="207"/>
                      </a:lnTo>
                      <a:lnTo>
                        <a:pt x="154" y="207"/>
                      </a:lnTo>
                      <a:lnTo>
                        <a:pt x="154" y="207"/>
                      </a:lnTo>
                      <a:lnTo>
                        <a:pt x="154" y="207"/>
                      </a:lnTo>
                      <a:lnTo>
                        <a:pt x="154" y="207"/>
                      </a:lnTo>
                      <a:lnTo>
                        <a:pt x="154" y="206"/>
                      </a:lnTo>
                      <a:lnTo>
                        <a:pt x="153" y="206"/>
                      </a:lnTo>
                      <a:lnTo>
                        <a:pt x="153" y="202"/>
                      </a:lnTo>
                      <a:lnTo>
                        <a:pt x="153" y="203"/>
                      </a:lnTo>
                      <a:lnTo>
                        <a:pt x="154" y="204"/>
                      </a:lnTo>
                      <a:lnTo>
                        <a:pt x="153" y="204"/>
                      </a:lnTo>
                      <a:lnTo>
                        <a:pt x="154" y="206"/>
                      </a:lnTo>
                      <a:lnTo>
                        <a:pt x="154" y="204"/>
                      </a:lnTo>
                      <a:lnTo>
                        <a:pt x="154" y="203"/>
                      </a:lnTo>
                      <a:lnTo>
                        <a:pt x="154" y="203"/>
                      </a:lnTo>
                      <a:lnTo>
                        <a:pt x="154" y="202"/>
                      </a:lnTo>
                      <a:lnTo>
                        <a:pt x="153" y="203"/>
                      </a:lnTo>
                      <a:lnTo>
                        <a:pt x="153" y="202"/>
                      </a:lnTo>
                      <a:lnTo>
                        <a:pt x="152" y="200"/>
                      </a:lnTo>
                      <a:lnTo>
                        <a:pt x="152" y="200"/>
                      </a:lnTo>
                      <a:lnTo>
                        <a:pt x="153" y="200"/>
                      </a:lnTo>
                      <a:lnTo>
                        <a:pt x="153" y="201"/>
                      </a:lnTo>
                      <a:lnTo>
                        <a:pt x="153" y="202"/>
                      </a:lnTo>
                      <a:lnTo>
                        <a:pt x="153" y="202"/>
                      </a:lnTo>
                      <a:lnTo>
                        <a:pt x="153" y="202"/>
                      </a:lnTo>
                      <a:lnTo>
                        <a:pt x="153" y="201"/>
                      </a:lnTo>
                      <a:lnTo>
                        <a:pt x="153" y="200"/>
                      </a:lnTo>
                      <a:lnTo>
                        <a:pt x="153" y="199"/>
                      </a:lnTo>
                      <a:lnTo>
                        <a:pt x="152" y="199"/>
                      </a:lnTo>
                      <a:lnTo>
                        <a:pt x="153" y="197"/>
                      </a:lnTo>
                      <a:lnTo>
                        <a:pt x="152" y="197"/>
                      </a:lnTo>
                      <a:lnTo>
                        <a:pt x="152" y="196"/>
                      </a:lnTo>
                      <a:lnTo>
                        <a:pt x="152" y="196"/>
                      </a:lnTo>
                      <a:lnTo>
                        <a:pt x="152" y="196"/>
                      </a:lnTo>
                      <a:lnTo>
                        <a:pt x="152" y="195"/>
                      </a:lnTo>
                      <a:lnTo>
                        <a:pt x="152" y="195"/>
                      </a:lnTo>
                      <a:lnTo>
                        <a:pt x="152" y="196"/>
                      </a:lnTo>
                      <a:lnTo>
                        <a:pt x="153" y="196"/>
                      </a:lnTo>
                      <a:lnTo>
                        <a:pt x="153" y="196"/>
                      </a:lnTo>
                      <a:lnTo>
                        <a:pt x="153" y="195"/>
                      </a:lnTo>
                      <a:lnTo>
                        <a:pt x="153" y="195"/>
                      </a:lnTo>
                      <a:lnTo>
                        <a:pt x="152" y="194"/>
                      </a:lnTo>
                      <a:lnTo>
                        <a:pt x="152" y="191"/>
                      </a:lnTo>
                      <a:lnTo>
                        <a:pt x="151" y="190"/>
                      </a:lnTo>
                      <a:lnTo>
                        <a:pt x="149" y="190"/>
                      </a:lnTo>
                      <a:lnTo>
                        <a:pt x="149" y="189"/>
                      </a:lnTo>
                      <a:lnTo>
                        <a:pt x="149" y="189"/>
                      </a:lnTo>
                      <a:lnTo>
                        <a:pt x="151" y="189"/>
                      </a:lnTo>
                      <a:lnTo>
                        <a:pt x="152" y="189"/>
                      </a:lnTo>
                      <a:lnTo>
                        <a:pt x="152" y="190"/>
                      </a:lnTo>
                      <a:lnTo>
                        <a:pt x="152" y="190"/>
                      </a:lnTo>
                      <a:lnTo>
                        <a:pt x="151" y="188"/>
                      </a:lnTo>
                      <a:lnTo>
                        <a:pt x="149" y="187"/>
                      </a:lnTo>
                      <a:lnTo>
                        <a:pt x="148" y="186"/>
                      </a:lnTo>
                      <a:lnTo>
                        <a:pt x="148" y="183"/>
                      </a:lnTo>
                      <a:lnTo>
                        <a:pt x="147" y="182"/>
                      </a:lnTo>
                      <a:lnTo>
                        <a:pt x="147" y="181"/>
                      </a:lnTo>
                      <a:lnTo>
                        <a:pt x="147" y="181"/>
                      </a:lnTo>
                      <a:lnTo>
                        <a:pt x="147" y="181"/>
                      </a:lnTo>
                      <a:lnTo>
                        <a:pt x="147" y="181"/>
                      </a:lnTo>
                      <a:lnTo>
                        <a:pt x="147" y="179"/>
                      </a:lnTo>
                      <a:lnTo>
                        <a:pt x="147" y="179"/>
                      </a:lnTo>
                      <a:lnTo>
                        <a:pt x="147" y="177"/>
                      </a:lnTo>
                      <a:lnTo>
                        <a:pt x="147" y="177"/>
                      </a:lnTo>
                      <a:lnTo>
                        <a:pt x="146" y="176"/>
                      </a:lnTo>
                      <a:lnTo>
                        <a:pt x="145" y="175"/>
                      </a:lnTo>
                      <a:lnTo>
                        <a:pt x="145" y="175"/>
                      </a:lnTo>
                      <a:lnTo>
                        <a:pt x="143" y="171"/>
                      </a:lnTo>
                      <a:lnTo>
                        <a:pt x="142" y="169"/>
                      </a:lnTo>
                      <a:lnTo>
                        <a:pt x="142" y="170"/>
                      </a:lnTo>
                      <a:lnTo>
                        <a:pt x="142" y="169"/>
                      </a:lnTo>
                      <a:lnTo>
                        <a:pt x="142" y="169"/>
                      </a:lnTo>
                      <a:lnTo>
                        <a:pt x="142" y="169"/>
                      </a:lnTo>
                      <a:lnTo>
                        <a:pt x="142" y="168"/>
                      </a:lnTo>
                      <a:lnTo>
                        <a:pt x="142" y="168"/>
                      </a:lnTo>
                      <a:lnTo>
                        <a:pt x="142" y="168"/>
                      </a:lnTo>
                      <a:lnTo>
                        <a:pt x="142" y="167"/>
                      </a:lnTo>
                      <a:lnTo>
                        <a:pt x="141" y="167"/>
                      </a:lnTo>
                      <a:lnTo>
                        <a:pt x="141" y="164"/>
                      </a:lnTo>
                      <a:lnTo>
                        <a:pt x="141" y="164"/>
                      </a:lnTo>
                      <a:lnTo>
                        <a:pt x="141" y="163"/>
                      </a:lnTo>
                      <a:lnTo>
                        <a:pt x="139" y="162"/>
                      </a:lnTo>
                      <a:lnTo>
                        <a:pt x="140" y="163"/>
                      </a:lnTo>
                      <a:lnTo>
                        <a:pt x="139" y="164"/>
                      </a:lnTo>
                      <a:lnTo>
                        <a:pt x="140" y="164"/>
                      </a:lnTo>
                      <a:lnTo>
                        <a:pt x="140" y="164"/>
                      </a:lnTo>
                      <a:lnTo>
                        <a:pt x="140" y="166"/>
                      </a:lnTo>
                      <a:lnTo>
                        <a:pt x="140" y="167"/>
                      </a:lnTo>
                      <a:lnTo>
                        <a:pt x="139" y="164"/>
                      </a:lnTo>
                      <a:lnTo>
                        <a:pt x="138" y="163"/>
                      </a:lnTo>
                      <a:lnTo>
                        <a:pt x="138" y="161"/>
                      </a:lnTo>
                      <a:lnTo>
                        <a:pt x="136" y="163"/>
                      </a:lnTo>
                      <a:lnTo>
                        <a:pt x="136" y="162"/>
                      </a:lnTo>
                      <a:lnTo>
                        <a:pt x="136" y="162"/>
                      </a:lnTo>
                      <a:lnTo>
                        <a:pt x="136" y="162"/>
                      </a:lnTo>
                      <a:lnTo>
                        <a:pt x="138" y="161"/>
                      </a:lnTo>
                      <a:lnTo>
                        <a:pt x="136" y="161"/>
                      </a:lnTo>
                      <a:lnTo>
                        <a:pt x="136" y="161"/>
                      </a:lnTo>
                      <a:lnTo>
                        <a:pt x="136" y="161"/>
                      </a:lnTo>
                      <a:lnTo>
                        <a:pt x="133" y="159"/>
                      </a:lnTo>
                      <a:lnTo>
                        <a:pt x="132" y="156"/>
                      </a:lnTo>
                      <a:lnTo>
                        <a:pt x="132" y="155"/>
                      </a:lnTo>
                      <a:lnTo>
                        <a:pt x="129" y="153"/>
                      </a:lnTo>
                      <a:lnTo>
                        <a:pt x="129" y="153"/>
                      </a:lnTo>
                      <a:lnTo>
                        <a:pt x="129" y="150"/>
                      </a:lnTo>
                      <a:lnTo>
                        <a:pt x="128" y="149"/>
                      </a:lnTo>
                      <a:lnTo>
                        <a:pt x="129" y="149"/>
                      </a:lnTo>
                      <a:lnTo>
                        <a:pt x="131" y="149"/>
                      </a:lnTo>
                      <a:lnTo>
                        <a:pt x="129" y="148"/>
                      </a:lnTo>
                      <a:lnTo>
                        <a:pt x="128" y="148"/>
                      </a:lnTo>
                      <a:lnTo>
                        <a:pt x="127" y="148"/>
                      </a:lnTo>
                      <a:lnTo>
                        <a:pt x="127" y="148"/>
                      </a:lnTo>
                      <a:lnTo>
                        <a:pt x="128" y="149"/>
                      </a:lnTo>
                      <a:lnTo>
                        <a:pt x="128" y="149"/>
                      </a:lnTo>
                      <a:lnTo>
                        <a:pt x="128" y="151"/>
                      </a:lnTo>
                      <a:lnTo>
                        <a:pt x="128" y="153"/>
                      </a:lnTo>
                      <a:lnTo>
                        <a:pt x="128" y="151"/>
                      </a:lnTo>
                      <a:lnTo>
                        <a:pt x="127" y="149"/>
                      </a:lnTo>
                      <a:lnTo>
                        <a:pt x="127" y="150"/>
                      </a:lnTo>
                      <a:lnTo>
                        <a:pt x="127" y="149"/>
                      </a:lnTo>
                      <a:lnTo>
                        <a:pt x="126" y="149"/>
                      </a:lnTo>
                      <a:lnTo>
                        <a:pt x="126" y="148"/>
                      </a:lnTo>
                      <a:lnTo>
                        <a:pt x="127" y="147"/>
                      </a:lnTo>
                      <a:lnTo>
                        <a:pt x="125" y="147"/>
                      </a:lnTo>
                      <a:lnTo>
                        <a:pt x="123" y="147"/>
                      </a:lnTo>
                      <a:lnTo>
                        <a:pt x="125" y="146"/>
                      </a:lnTo>
                      <a:lnTo>
                        <a:pt x="123" y="147"/>
                      </a:lnTo>
                      <a:lnTo>
                        <a:pt x="123" y="144"/>
                      </a:lnTo>
                      <a:lnTo>
                        <a:pt x="122" y="144"/>
                      </a:lnTo>
                      <a:lnTo>
                        <a:pt x="122" y="143"/>
                      </a:lnTo>
                      <a:lnTo>
                        <a:pt x="121" y="146"/>
                      </a:lnTo>
                      <a:lnTo>
                        <a:pt x="120" y="146"/>
                      </a:lnTo>
                      <a:lnTo>
                        <a:pt x="120" y="146"/>
                      </a:lnTo>
                      <a:lnTo>
                        <a:pt x="119" y="143"/>
                      </a:lnTo>
                      <a:lnTo>
                        <a:pt x="120" y="144"/>
                      </a:lnTo>
                      <a:lnTo>
                        <a:pt x="116" y="141"/>
                      </a:lnTo>
                      <a:lnTo>
                        <a:pt x="116" y="142"/>
                      </a:lnTo>
                      <a:lnTo>
                        <a:pt x="116" y="141"/>
                      </a:lnTo>
                      <a:lnTo>
                        <a:pt x="115" y="141"/>
                      </a:lnTo>
                      <a:lnTo>
                        <a:pt x="116" y="140"/>
                      </a:lnTo>
                      <a:lnTo>
                        <a:pt x="116" y="140"/>
                      </a:lnTo>
                      <a:lnTo>
                        <a:pt x="115" y="140"/>
                      </a:lnTo>
                      <a:lnTo>
                        <a:pt x="115" y="140"/>
                      </a:lnTo>
                      <a:lnTo>
                        <a:pt x="114" y="140"/>
                      </a:lnTo>
                      <a:lnTo>
                        <a:pt x="113" y="139"/>
                      </a:lnTo>
                      <a:lnTo>
                        <a:pt x="113" y="139"/>
                      </a:lnTo>
                      <a:lnTo>
                        <a:pt x="115" y="140"/>
                      </a:lnTo>
                      <a:lnTo>
                        <a:pt x="115" y="140"/>
                      </a:lnTo>
                      <a:lnTo>
                        <a:pt x="113" y="137"/>
                      </a:lnTo>
                      <a:lnTo>
                        <a:pt x="107" y="133"/>
                      </a:lnTo>
                      <a:lnTo>
                        <a:pt x="107" y="134"/>
                      </a:lnTo>
                      <a:lnTo>
                        <a:pt x="106" y="134"/>
                      </a:lnTo>
                      <a:lnTo>
                        <a:pt x="107" y="133"/>
                      </a:lnTo>
                      <a:lnTo>
                        <a:pt x="106" y="130"/>
                      </a:lnTo>
                      <a:lnTo>
                        <a:pt x="105" y="130"/>
                      </a:lnTo>
                      <a:lnTo>
                        <a:pt x="105" y="129"/>
                      </a:lnTo>
                      <a:lnTo>
                        <a:pt x="98" y="124"/>
                      </a:lnTo>
                      <a:lnTo>
                        <a:pt x="94" y="122"/>
                      </a:lnTo>
                      <a:lnTo>
                        <a:pt x="94" y="120"/>
                      </a:lnTo>
                      <a:lnTo>
                        <a:pt x="92" y="117"/>
                      </a:lnTo>
                      <a:lnTo>
                        <a:pt x="91" y="116"/>
                      </a:lnTo>
                      <a:lnTo>
                        <a:pt x="91" y="117"/>
                      </a:lnTo>
                      <a:lnTo>
                        <a:pt x="91" y="116"/>
                      </a:lnTo>
                      <a:lnTo>
                        <a:pt x="91" y="116"/>
                      </a:lnTo>
                      <a:lnTo>
                        <a:pt x="88" y="115"/>
                      </a:lnTo>
                      <a:lnTo>
                        <a:pt x="88" y="115"/>
                      </a:lnTo>
                      <a:lnTo>
                        <a:pt x="89" y="115"/>
                      </a:lnTo>
                      <a:lnTo>
                        <a:pt x="91" y="115"/>
                      </a:lnTo>
                      <a:lnTo>
                        <a:pt x="92" y="116"/>
                      </a:lnTo>
                      <a:lnTo>
                        <a:pt x="92" y="116"/>
                      </a:lnTo>
                      <a:lnTo>
                        <a:pt x="91" y="115"/>
                      </a:lnTo>
                      <a:lnTo>
                        <a:pt x="91" y="113"/>
                      </a:lnTo>
                      <a:lnTo>
                        <a:pt x="91" y="111"/>
                      </a:lnTo>
                      <a:lnTo>
                        <a:pt x="92" y="111"/>
                      </a:lnTo>
                      <a:lnTo>
                        <a:pt x="89" y="110"/>
                      </a:lnTo>
                      <a:lnTo>
                        <a:pt x="89" y="109"/>
                      </a:lnTo>
                      <a:lnTo>
                        <a:pt x="91" y="108"/>
                      </a:lnTo>
                      <a:lnTo>
                        <a:pt x="89" y="108"/>
                      </a:lnTo>
                      <a:lnTo>
                        <a:pt x="88" y="108"/>
                      </a:lnTo>
                      <a:lnTo>
                        <a:pt x="88" y="109"/>
                      </a:lnTo>
                      <a:lnTo>
                        <a:pt x="88" y="109"/>
                      </a:lnTo>
                      <a:lnTo>
                        <a:pt x="88" y="108"/>
                      </a:lnTo>
                      <a:lnTo>
                        <a:pt x="86" y="106"/>
                      </a:lnTo>
                      <a:lnTo>
                        <a:pt x="85" y="104"/>
                      </a:lnTo>
                      <a:lnTo>
                        <a:pt x="83" y="106"/>
                      </a:lnTo>
                      <a:lnTo>
                        <a:pt x="83" y="104"/>
                      </a:lnTo>
                      <a:lnTo>
                        <a:pt x="81" y="104"/>
                      </a:lnTo>
                      <a:lnTo>
                        <a:pt x="80" y="102"/>
                      </a:lnTo>
                      <a:lnTo>
                        <a:pt x="80" y="101"/>
                      </a:lnTo>
                      <a:lnTo>
                        <a:pt x="79" y="101"/>
                      </a:lnTo>
                      <a:lnTo>
                        <a:pt x="78" y="99"/>
                      </a:lnTo>
                      <a:lnTo>
                        <a:pt x="76" y="96"/>
                      </a:lnTo>
                      <a:lnTo>
                        <a:pt x="75" y="95"/>
                      </a:lnTo>
                      <a:lnTo>
                        <a:pt x="75" y="95"/>
                      </a:lnTo>
                      <a:lnTo>
                        <a:pt x="76" y="96"/>
                      </a:lnTo>
                      <a:lnTo>
                        <a:pt x="75" y="96"/>
                      </a:lnTo>
                      <a:lnTo>
                        <a:pt x="75" y="96"/>
                      </a:lnTo>
                      <a:lnTo>
                        <a:pt x="75" y="95"/>
                      </a:lnTo>
                      <a:lnTo>
                        <a:pt x="75" y="94"/>
                      </a:lnTo>
                      <a:lnTo>
                        <a:pt x="74" y="94"/>
                      </a:lnTo>
                      <a:lnTo>
                        <a:pt x="73" y="93"/>
                      </a:lnTo>
                      <a:lnTo>
                        <a:pt x="74" y="93"/>
                      </a:lnTo>
                      <a:lnTo>
                        <a:pt x="72" y="93"/>
                      </a:lnTo>
                      <a:lnTo>
                        <a:pt x="72" y="90"/>
                      </a:lnTo>
                      <a:lnTo>
                        <a:pt x="72" y="88"/>
                      </a:lnTo>
                      <a:lnTo>
                        <a:pt x="73" y="88"/>
                      </a:lnTo>
                      <a:lnTo>
                        <a:pt x="73" y="89"/>
                      </a:lnTo>
                      <a:lnTo>
                        <a:pt x="74" y="88"/>
                      </a:lnTo>
                      <a:lnTo>
                        <a:pt x="74" y="86"/>
                      </a:lnTo>
                      <a:lnTo>
                        <a:pt x="73" y="86"/>
                      </a:lnTo>
                      <a:lnTo>
                        <a:pt x="74" y="84"/>
                      </a:lnTo>
                      <a:lnTo>
                        <a:pt x="75" y="84"/>
                      </a:lnTo>
                      <a:lnTo>
                        <a:pt x="75" y="83"/>
                      </a:lnTo>
                      <a:lnTo>
                        <a:pt x="74" y="82"/>
                      </a:lnTo>
                      <a:lnTo>
                        <a:pt x="74" y="81"/>
                      </a:lnTo>
                      <a:lnTo>
                        <a:pt x="73" y="79"/>
                      </a:lnTo>
                      <a:lnTo>
                        <a:pt x="73" y="77"/>
                      </a:lnTo>
                      <a:lnTo>
                        <a:pt x="73" y="79"/>
                      </a:lnTo>
                      <a:lnTo>
                        <a:pt x="73" y="79"/>
                      </a:lnTo>
                      <a:lnTo>
                        <a:pt x="74" y="79"/>
                      </a:lnTo>
                      <a:lnTo>
                        <a:pt x="74" y="77"/>
                      </a:lnTo>
                      <a:lnTo>
                        <a:pt x="73" y="77"/>
                      </a:lnTo>
                      <a:lnTo>
                        <a:pt x="73" y="76"/>
                      </a:lnTo>
                      <a:lnTo>
                        <a:pt x="74" y="76"/>
                      </a:lnTo>
                      <a:lnTo>
                        <a:pt x="75" y="74"/>
                      </a:lnTo>
                      <a:lnTo>
                        <a:pt x="74" y="74"/>
                      </a:lnTo>
                      <a:lnTo>
                        <a:pt x="74" y="74"/>
                      </a:lnTo>
                      <a:lnTo>
                        <a:pt x="75" y="73"/>
                      </a:lnTo>
                      <a:lnTo>
                        <a:pt x="75" y="73"/>
                      </a:lnTo>
                      <a:lnTo>
                        <a:pt x="75" y="72"/>
                      </a:lnTo>
                      <a:lnTo>
                        <a:pt x="75" y="72"/>
                      </a:lnTo>
                      <a:lnTo>
                        <a:pt x="75" y="69"/>
                      </a:lnTo>
                      <a:lnTo>
                        <a:pt x="78" y="70"/>
                      </a:lnTo>
                      <a:lnTo>
                        <a:pt x="78" y="69"/>
                      </a:lnTo>
                      <a:lnTo>
                        <a:pt x="78" y="69"/>
                      </a:lnTo>
                      <a:lnTo>
                        <a:pt x="78" y="70"/>
                      </a:lnTo>
                      <a:lnTo>
                        <a:pt x="79" y="69"/>
                      </a:lnTo>
                      <a:lnTo>
                        <a:pt x="79" y="69"/>
                      </a:lnTo>
                      <a:lnTo>
                        <a:pt x="80" y="69"/>
                      </a:lnTo>
                      <a:lnTo>
                        <a:pt x="80" y="69"/>
                      </a:lnTo>
                      <a:lnTo>
                        <a:pt x="81" y="67"/>
                      </a:lnTo>
                      <a:lnTo>
                        <a:pt x="81" y="66"/>
                      </a:lnTo>
                      <a:lnTo>
                        <a:pt x="82" y="66"/>
                      </a:lnTo>
                      <a:lnTo>
                        <a:pt x="83" y="64"/>
                      </a:lnTo>
                      <a:lnTo>
                        <a:pt x="83" y="63"/>
                      </a:lnTo>
                      <a:lnTo>
                        <a:pt x="83" y="63"/>
                      </a:lnTo>
                      <a:lnTo>
                        <a:pt x="83" y="63"/>
                      </a:lnTo>
                      <a:lnTo>
                        <a:pt x="83" y="63"/>
                      </a:lnTo>
                      <a:lnTo>
                        <a:pt x="85" y="63"/>
                      </a:lnTo>
                      <a:lnTo>
                        <a:pt x="85" y="62"/>
                      </a:lnTo>
                      <a:lnTo>
                        <a:pt x="83" y="62"/>
                      </a:lnTo>
                      <a:lnTo>
                        <a:pt x="85" y="61"/>
                      </a:lnTo>
                      <a:lnTo>
                        <a:pt x="85" y="61"/>
                      </a:lnTo>
                      <a:lnTo>
                        <a:pt x="83" y="61"/>
                      </a:lnTo>
                      <a:lnTo>
                        <a:pt x="83" y="61"/>
                      </a:lnTo>
                      <a:lnTo>
                        <a:pt x="85" y="60"/>
                      </a:lnTo>
                      <a:lnTo>
                        <a:pt x="83" y="59"/>
                      </a:lnTo>
                      <a:lnTo>
                        <a:pt x="83" y="59"/>
                      </a:lnTo>
                      <a:lnTo>
                        <a:pt x="83" y="59"/>
                      </a:lnTo>
                      <a:lnTo>
                        <a:pt x="83" y="59"/>
                      </a:lnTo>
                      <a:lnTo>
                        <a:pt x="83" y="59"/>
                      </a:lnTo>
                      <a:lnTo>
                        <a:pt x="85" y="57"/>
                      </a:lnTo>
                      <a:lnTo>
                        <a:pt x="85" y="56"/>
                      </a:lnTo>
                      <a:lnTo>
                        <a:pt x="85" y="56"/>
                      </a:lnTo>
                      <a:lnTo>
                        <a:pt x="83" y="55"/>
                      </a:lnTo>
                      <a:lnTo>
                        <a:pt x="85" y="56"/>
                      </a:lnTo>
                      <a:lnTo>
                        <a:pt x="86" y="56"/>
                      </a:lnTo>
                      <a:lnTo>
                        <a:pt x="86" y="55"/>
                      </a:lnTo>
                      <a:lnTo>
                        <a:pt x="85" y="55"/>
                      </a:lnTo>
                      <a:lnTo>
                        <a:pt x="86" y="55"/>
                      </a:lnTo>
                      <a:lnTo>
                        <a:pt x="87" y="55"/>
                      </a:lnTo>
                      <a:lnTo>
                        <a:pt x="87" y="55"/>
                      </a:lnTo>
                      <a:lnTo>
                        <a:pt x="87" y="55"/>
                      </a:lnTo>
                      <a:lnTo>
                        <a:pt x="86" y="54"/>
                      </a:lnTo>
                      <a:lnTo>
                        <a:pt x="86" y="53"/>
                      </a:lnTo>
                      <a:lnTo>
                        <a:pt x="87" y="53"/>
                      </a:lnTo>
                      <a:lnTo>
                        <a:pt x="86" y="53"/>
                      </a:lnTo>
                      <a:lnTo>
                        <a:pt x="85" y="52"/>
                      </a:lnTo>
                      <a:lnTo>
                        <a:pt x="85" y="52"/>
                      </a:lnTo>
                      <a:lnTo>
                        <a:pt x="86" y="52"/>
                      </a:lnTo>
                      <a:lnTo>
                        <a:pt x="87" y="50"/>
                      </a:lnTo>
                      <a:lnTo>
                        <a:pt x="85" y="50"/>
                      </a:lnTo>
                      <a:lnTo>
                        <a:pt x="83" y="49"/>
                      </a:lnTo>
                      <a:lnTo>
                        <a:pt x="83" y="48"/>
                      </a:lnTo>
                      <a:lnTo>
                        <a:pt x="85" y="49"/>
                      </a:lnTo>
                      <a:lnTo>
                        <a:pt x="85" y="48"/>
                      </a:lnTo>
                      <a:lnTo>
                        <a:pt x="86" y="47"/>
                      </a:lnTo>
                      <a:lnTo>
                        <a:pt x="86" y="48"/>
                      </a:lnTo>
                      <a:lnTo>
                        <a:pt x="87" y="48"/>
                      </a:lnTo>
                      <a:lnTo>
                        <a:pt x="86" y="49"/>
                      </a:lnTo>
                      <a:lnTo>
                        <a:pt x="87" y="49"/>
                      </a:lnTo>
                      <a:lnTo>
                        <a:pt x="87" y="49"/>
                      </a:lnTo>
                      <a:lnTo>
                        <a:pt x="87" y="50"/>
                      </a:lnTo>
                      <a:lnTo>
                        <a:pt x="87" y="52"/>
                      </a:lnTo>
                      <a:lnTo>
                        <a:pt x="87" y="52"/>
                      </a:lnTo>
                      <a:lnTo>
                        <a:pt x="88" y="52"/>
                      </a:lnTo>
                      <a:lnTo>
                        <a:pt x="88" y="50"/>
                      </a:lnTo>
                      <a:lnTo>
                        <a:pt x="88" y="52"/>
                      </a:lnTo>
                      <a:lnTo>
                        <a:pt x="89" y="52"/>
                      </a:lnTo>
                      <a:lnTo>
                        <a:pt x="88" y="50"/>
                      </a:lnTo>
                      <a:lnTo>
                        <a:pt x="88" y="49"/>
                      </a:lnTo>
                      <a:lnTo>
                        <a:pt x="88" y="50"/>
                      </a:lnTo>
                      <a:lnTo>
                        <a:pt x="87" y="49"/>
                      </a:lnTo>
                      <a:lnTo>
                        <a:pt x="88" y="49"/>
                      </a:lnTo>
                      <a:lnTo>
                        <a:pt x="88" y="49"/>
                      </a:lnTo>
                      <a:lnTo>
                        <a:pt x="89" y="50"/>
                      </a:lnTo>
                      <a:lnTo>
                        <a:pt x="89" y="49"/>
                      </a:lnTo>
                      <a:lnTo>
                        <a:pt x="89" y="48"/>
                      </a:lnTo>
                      <a:lnTo>
                        <a:pt x="91" y="50"/>
                      </a:lnTo>
                      <a:lnTo>
                        <a:pt x="89" y="47"/>
                      </a:lnTo>
                      <a:lnTo>
                        <a:pt x="91" y="49"/>
                      </a:lnTo>
                      <a:lnTo>
                        <a:pt x="91" y="48"/>
                      </a:lnTo>
                      <a:lnTo>
                        <a:pt x="91" y="49"/>
                      </a:lnTo>
                      <a:lnTo>
                        <a:pt x="91" y="48"/>
                      </a:lnTo>
                      <a:lnTo>
                        <a:pt x="91" y="49"/>
                      </a:lnTo>
                      <a:lnTo>
                        <a:pt x="93" y="48"/>
                      </a:lnTo>
                      <a:lnTo>
                        <a:pt x="92" y="49"/>
                      </a:lnTo>
                      <a:lnTo>
                        <a:pt x="91" y="50"/>
                      </a:lnTo>
                      <a:lnTo>
                        <a:pt x="94" y="53"/>
                      </a:lnTo>
                      <a:lnTo>
                        <a:pt x="94" y="50"/>
                      </a:lnTo>
                      <a:lnTo>
                        <a:pt x="93" y="49"/>
                      </a:lnTo>
                      <a:lnTo>
                        <a:pt x="94" y="49"/>
                      </a:lnTo>
                      <a:lnTo>
                        <a:pt x="94" y="49"/>
                      </a:lnTo>
                      <a:lnTo>
                        <a:pt x="96" y="49"/>
                      </a:lnTo>
                      <a:lnTo>
                        <a:pt x="96" y="48"/>
                      </a:lnTo>
                      <a:lnTo>
                        <a:pt x="96" y="47"/>
                      </a:lnTo>
                      <a:lnTo>
                        <a:pt x="96" y="47"/>
                      </a:lnTo>
                      <a:lnTo>
                        <a:pt x="96" y="47"/>
                      </a:lnTo>
                      <a:lnTo>
                        <a:pt x="96" y="46"/>
                      </a:lnTo>
                      <a:lnTo>
                        <a:pt x="96" y="46"/>
                      </a:lnTo>
                      <a:lnTo>
                        <a:pt x="95" y="44"/>
                      </a:lnTo>
                      <a:lnTo>
                        <a:pt x="96" y="44"/>
                      </a:lnTo>
                      <a:lnTo>
                        <a:pt x="96" y="43"/>
                      </a:lnTo>
                      <a:lnTo>
                        <a:pt x="98" y="43"/>
                      </a:lnTo>
                      <a:lnTo>
                        <a:pt x="96" y="42"/>
                      </a:lnTo>
                      <a:lnTo>
                        <a:pt x="96" y="42"/>
                      </a:lnTo>
                      <a:lnTo>
                        <a:pt x="98" y="42"/>
                      </a:lnTo>
                      <a:lnTo>
                        <a:pt x="98" y="43"/>
                      </a:lnTo>
                      <a:lnTo>
                        <a:pt x="99" y="43"/>
                      </a:lnTo>
                      <a:lnTo>
                        <a:pt x="99" y="42"/>
                      </a:lnTo>
                      <a:lnTo>
                        <a:pt x="98" y="42"/>
                      </a:lnTo>
                      <a:lnTo>
                        <a:pt x="98" y="41"/>
                      </a:lnTo>
                      <a:lnTo>
                        <a:pt x="99" y="42"/>
                      </a:lnTo>
                      <a:lnTo>
                        <a:pt x="99" y="43"/>
                      </a:lnTo>
                      <a:lnTo>
                        <a:pt x="100" y="42"/>
                      </a:lnTo>
                      <a:lnTo>
                        <a:pt x="100" y="42"/>
                      </a:lnTo>
                      <a:lnTo>
                        <a:pt x="100" y="41"/>
                      </a:lnTo>
                      <a:lnTo>
                        <a:pt x="100" y="41"/>
                      </a:lnTo>
                      <a:lnTo>
                        <a:pt x="101" y="41"/>
                      </a:lnTo>
                      <a:lnTo>
                        <a:pt x="100" y="40"/>
                      </a:lnTo>
                      <a:lnTo>
                        <a:pt x="101" y="41"/>
                      </a:lnTo>
                      <a:lnTo>
                        <a:pt x="101" y="40"/>
                      </a:lnTo>
                      <a:lnTo>
                        <a:pt x="102" y="41"/>
                      </a:lnTo>
                      <a:lnTo>
                        <a:pt x="102" y="40"/>
                      </a:lnTo>
                      <a:lnTo>
                        <a:pt x="102" y="39"/>
                      </a:lnTo>
                      <a:lnTo>
                        <a:pt x="101" y="39"/>
                      </a:lnTo>
                      <a:lnTo>
                        <a:pt x="102" y="39"/>
                      </a:lnTo>
                      <a:lnTo>
                        <a:pt x="102" y="39"/>
                      </a:lnTo>
                      <a:lnTo>
                        <a:pt x="103" y="39"/>
                      </a:lnTo>
                      <a:lnTo>
                        <a:pt x="103" y="39"/>
                      </a:lnTo>
                      <a:lnTo>
                        <a:pt x="103" y="40"/>
                      </a:lnTo>
                      <a:lnTo>
                        <a:pt x="103" y="37"/>
                      </a:lnTo>
                      <a:lnTo>
                        <a:pt x="103" y="39"/>
                      </a:lnTo>
                      <a:lnTo>
                        <a:pt x="103" y="37"/>
                      </a:lnTo>
                      <a:lnTo>
                        <a:pt x="105" y="39"/>
                      </a:lnTo>
                      <a:lnTo>
                        <a:pt x="105" y="39"/>
                      </a:lnTo>
                      <a:lnTo>
                        <a:pt x="105" y="40"/>
                      </a:lnTo>
                      <a:lnTo>
                        <a:pt x="105" y="40"/>
                      </a:lnTo>
                      <a:lnTo>
                        <a:pt x="105" y="41"/>
                      </a:lnTo>
                      <a:lnTo>
                        <a:pt x="106" y="40"/>
                      </a:lnTo>
                      <a:lnTo>
                        <a:pt x="105" y="39"/>
                      </a:lnTo>
                      <a:lnTo>
                        <a:pt x="106" y="39"/>
                      </a:lnTo>
                      <a:lnTo>
                        <a:pt x="106" y="40"/>
                      </a:lnTo>
                      <a:lnTo>
                        <a:pt x="106" y="39"/>
                      </a:lnTo>
                      <a:lnTo>
                        <a:pt x="107" y="39"/>
                      </a:lnTo>
                      <a:lnTo>
                        <a:pt x="106" y="39"/>
                      </a:lnTo>
                      <a:lnTo>
                        <a:pt x="107" y="40"/>
                      </a:lnTo>
                      <a:lnTo>
                        <a:pt x="107" y="40"/>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grpSp>
              <p:nvGrpSpPr>
                <p:cNvPr id="369" name="USA">
                  <a:extLst>
                    <a:ext uri="{FF2B5EF4-FFF2-40B4-BE49-F238E27FC236}">
                      <a16:creationId xmlns:a16="http://schemas.microsoft.com/office/drawing/2014/main" id="{A1FC48FF-86FE-1348-A6A1-82D177AAB421}"/>
                    </a:ext>
                  </a:extLst>
                </p:cNvPr>
                <p:cNvGrpSpPr/>
                <p:nvPr/>
              </p:nvGrpSpPr>
              <p:grpSpPr>
                <a:xfrm>
                  <a:off x="2294450" y="1916244"/>
                  <a:ext cx="8419654" cy="1535221"/>
                  <a:chOff x="545738" y="2051000"/>
                  <a:chExt cx="9284972" cy="1693001"/>
                </a:xfrm>
                <a:grpFill/>
              </p:grpSpPr>
              <p:sp>
                <p:nvSpPr>
                  <p:cNvPr id="535" name="Freeform 47">
                    <a:extLst>
                      <a:ext uri="{FF2B5EF4-FFF2-40B4-BE49-F238E27FC236}">
                        <a16:creationId xmlns:a16="http://schemas.microsoft.com/office/drawing/2014/main" id="{B3E132A4-676B-5E46-978D-B82B476EDE17}"/>
                      </a:ext>
                    </a:extLst>
                  </p:cNvPr>
                  <p:cNvSpPr>
                    <a:spLocks/>
                  </p:cNvSpPr>
                  <p:nvPr/>
                </p:nvSpPr>
                <p:spPr bwMode="auto">
                  <a:xfrm>
                    <a:off x="3100736" y="3724707"/>
                    <a:ext cx="48233" cy="19294"/>
                  </a:xfrm>
                  <a:custGeom>
                    <a:avLst/>
                    <a:gdLst>
                      <a:gd name="T0" fmla="*/ 6 w 30"/>
                      <a:gd name="T1" fmla="*/ 12 h 12"/>
                      <a:gd name="T2" fmla="*/ 3 w 30"/>
                      <a:gd name="T3" fmla="*/ 10 h 12"/>
                      <a:gd name="T4" fmla="*/ 2 w 30"/>
                      <a:gd name="T5" fmla="*/ 12 h 12"/>
                      <a:gd name="T6" fmla="*/ 2 w 30"/>
                      <a:gd name="T7" fmla="*/ 10 h 12"/>
                      <a:gd name="T8" fmla="*/ 2 w 30"/>
                      <a:gd name="T9" fmla="*/ 6 h 12"/>
                      <a:gd name="T10" fmla="*/ 0 w 30"/>
                      <a:gd name="T11" fmla="*/ 2 h 12"/>
                      <a:gd name="T12" fmla="*/ 2 w 30"/>
                      <a:gd name="T13" fmla="*/ 2 h 12"/>
                      <a:gd name="T14" fmla="*/ 2 w 30"/>
                      <a:gd name="T15" fmla="*/ 0 h 12"/>
                      <a:gd name="T16" fmla="*/ 3 w 30"/>
                      <a:gd name="T17" fmla="*/ 0 h 12"/>
                      <a:gd name="T18" fmla="*/ 13 w 30"/>
                      <a:gd name="T19" fmla="*/ 0 h 12"/>
                      <a:gd name="T20" fmla="*/ 20 w 30"/>
                      <a:gd name="T21" fmla="*/ 0 h 12"/>
                      <a:gd name="T22" fmla="*/ 20 w 30"/>
                      <a:gd name="T23" fmla="*/ 1 h 12"/>
                      <a:gd name="T24" fmla="*/ 22 w 30"/>
                      <a:gd name="T25" fmla="*/ 1 h 12"/>
                      <a:gd name="T26" fmla="*/ 20 w 30"/>
                      <a:gd name="T27" fmla="*/ 0 h 12"/>
                      <a:gd name="T28" fmla="*/ 25 w 30"/>
                      <a:gd name="T29" fmla="*/ 1 h 12"/>
                      <a:gd name="T30" fmla="*/ 30 w 30"/>
                      <a:gd name="T31" fmla="*/ 2 h 12"/>
                      <a:gd name="T32" fmla="*/ 29 w 30"/>
                      <a:gd name="T33" fmla="*/ 6 h 12"/>
                      <a:gd name="T34" fmla="*/ 28 w 30"/>
                      <a:gd name="T35" fmla="*/ 7 h 12"/>
                      <a:gd name="T36" fmla="*/ 24 w 30"/>
                      <a:gd name="T37" fmla="*/ 10 h 12"/>
                      <a:gd name="T38" fmla="*/ 19 w 30"/>
                      <a:gd name="T39" fmla="*/ 12 h 12"/>
                      <a:gd name="T40" fmla="*/ 17 w 30"/>
                      <a:gd name="T41" fmla="*/ 10 h 12"/>
                      <a:gd name="T42" fmla="*/ 16 w 30"/>
                      <a:gd name="T43" fmla="*/ 10 h 12"/>
                      <a:gd name="T44" fmla="*/ 15 w 30"/>
                      <a:gd name="T45" fmla="*/ 10 h 12"/>
                      <a:gd name="T46" fmla="*/ 9 w 30"/>
                      <a:gd name="T47" fmla="*/ 10 h 12"/>
                      <a:gd name="T48" fmla="*/ 6 w 30"/>
                      <a:gd name="T49" fmla="*/ 12 h 12"/>
                      <a:gd name="T50" fmla="*/ 6 w 30"/>
                      <a:gd name="T51"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0" h="12">
                        <a:moveTo>
                          <a:pt x="6" y="12"/>
                        </a:moveTo>
                        <a:lnTo>
                          <a:pt x="3" y="10"/>
                        </a:lnTo>
                        <a:lnTo>
                          <a:pt x="2" y="12"/>
                        </a:lnTo>
                        <a:lnTo>
                          <a:pt x="2" y="10"/>
                        </a:lnTo>
                        <a:lnTo>
                          <a:pt x="2" y="6"/>
                        </a:lnTo>
                        <a:lnTo>
                          <a:pt x="0" y="2"/>
                        </a:lnTo>
                        <a:lnTo>
                          <a:pt x="2" y="2"/>
                        </a:lnTo>
                        <a:lnTo>
                          <a:pt x="2" y="0"/>
                        </a:lnTo>
                        <a:lnTo>
                          <a:pt x="3" y="0"/>
                        </a:lnTo>
                        <a:lnTo>
                          <a:pt x="13" y="0"/>
                        </a:lnTo>
                        <a:lnTo>
                          <a:pt x="20" y="0"/>
                        </a:lnTo>
                        <a:lnTo>
                          <a:pt x="20" y="1"/>
                        </a:lnTo>
                        <a:lnTo>
                          <a:pt x="22" y="1"/>
                        </a:lnTo>
                        <a:lnTo>
                          <a:pt x="20" y="0"/>
                        </a:lnTo>
                        <a:lnTo>
                          <a:pt x="25" y="1"/>
                        </a:lnTo>
                        <a:lnTo>
                          <a:pt x="30" y="2"/>
                        </a:lnTo>
                        <a:lnTo>
                          <a:pt x="29" y="6"/>
                        </a:lnTo>
                        <a:lnTo>
                          <a:pt x="28" y="7"/>
                        </a:lnTo>
                        <a:lnTo>
                          <a:pt x="24" y="10"/>
                        </a:lnTo>
                        <a:lnTo>
                          <a:pt x="19" y="12"/>
                        </a:lnTo>
                        <a:lnTo>
                          <a:pt x="17" y="10"/>
                        </a:lnTo>
                        <a:lnTo>
                          <a:pt x="16" y="10"/>
                        </a:lnTo>
                        <a:lnTo>
                          <a:pt x="15" y="10"/>
                        </a:lnTo>
                        <a:lnTo>
                          <a:pt x="9" y="10"/>
                        </a:lnTo>
                        <a:lnTo>
                          <a:pt x="6" y="12"/>
                        </a:lnTo>
                        <a:lnTo>
                          <a:pt x="6" y="12"/>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536" name="Freeform 66">
                    <a:extLst>
                      <a:ext uri="{FF2B5EF4-FFF2-40B4-BE49-F238E27FC236}">
                        <a16:creationId xmlns:a16="http://schemas.microsoft.com/office/drawing/2014/main" id="{DC0B8053-D0AB-6F49-977E-0316EF1A5C1E}"/>
                      </a:ext>
                    </a:extLst>
                  </p:cNvPr>
                  <p:cNvSpPr>
                    <a:spLocks noEditPoints="1"/>
                  </p:cNvSpPr>
                  <p:nvPr>
                    <p:custDataLst>
                      <p:tags r:id="rId14"/>
                    </p:custDataLst>
                  </p:nvPr>
                </p:nvSpPr>
                <p:spPr bwMode="auto">
                  <a:xfrm>
                    <a:off x="545738" y="2051000"/>
                    <a:ext cx="9284972" cy="1660845"/>
                  </a:xfrm>
                  <a:custGeom>
                    <a:avLst/>
                    <a:gdLst>
                      <a:gd name="T0" fmla="*/ 853 w 5775"/>
                      <a:gd name="T1" fmla="*/ 284 h 1033"/>
                      <a:gd name="T2" fmla="*/ 836 w 5775"/>
                      <a:gd name="T3" fmla="*/ 298 h 1033"/>
                      <a:gd name="T4" fmla="*/ 862 w 5775"/>
                      <a:gd name="T5" fmla="*/ 234 h 1033"/>
                      <a:gd name="T6" fmla="*/ 827 w 5775"/>
                      <a:gd name="T7" fmla="*/ 277 h 1033"/>
                      <a:gd name="T8" fmla="*/ 832 w 5775"/>
                      <a:gd name="T9" fmla="*/ 273 h 1033"/>
                      <a:gd name="T10" fmla="*/ 836 w 5775"/>
                      <a:gd name="T11" fmla="*/ 239 h 1033"/>
                      <a:gd name="T12" fmla="*/ 594 w 5775"/>
                      <a:gd name="T13" fmla="*/ 235 h 1033"/>
                      <a:gd name="T14" fmla="*/ 597 w 5775"/>
                      <a:gd name="T15" fmla="*/ 246 h 1033"/>
                      <a:gd name="T16" fmla="*/ 552 w 5775"/>
                      <a:gd name="T17" fmla="*/ 254 h 1033"/>
                      <a:gd name="T18" fmla="*/ 5515 w 5775"/>
                      <a:gd name="T19" fmla="*/ 342 h 1033"/>
                      <a:gd name="T20" fmla="*/ 5704 w 5775"/>
                      <a:gd name="T21" fmla="*/ 364 h 1033"/>
                      <a:gd name="T22" fmla="*/ 5740 w 5775"/>
                      <a:gd name="T23" fmla="*/ 358 h 1033"/>
                      <a:gd name="T24" fmla="*/ 5759 w 5775"/>
                      <a:gd name="T25" fmla="*/ 356 h 1033"/>
                      <a:gd name="T26" fmla="*/ 5640 w 5775"/>
                      <a:gd name="T27" fmla="*/ 369 h 1033"/>
                      <a:gd name="T28" fmla="*/ 226 w 5775"/>
                      <a:gd name="T29" fmla="*/ 341 h 1033"/>
                      <a:gd name="T30" fmla="*/ 272 w 5775"/>
                      <a:gd name="T31" fmla="*/ 327 h 1033"/>
                      <a:gd name="T32" fmla="*/ 289 w 5775"/>
                      <a:gd name="T33" fmla="*/ 332 h 1033"/>
                      <a:gd name="T34" fmla="*/ 359 w 5775"/>
                      <a:gd name="T35" fmla="*/ 307 h 1033"/>
                      <a:gd name="T36" fmla="*/ 554 w 5775"/>
                      <a:gd name="T37" fmla="*/ 92 h 1033"/>
                      <a:gd name="T38" fmla="*/ 475 w 5775"/>
                      <a:gd name="T39" fmla="*/ 140 h 1033"/>
                      <a:gd name="T40" fmla="*/ 821 w 5775"/>
                      <a:gd name="T41" fmla="*/ 200 h 1033"/>
                      <a:gd name="T42" fmla="*/ 864 w 5775"/>
                      <a:gd name="T43" fmla="*/ 212 h 1033"/>
                      <a:gd name="T44" fmla="*/ 837 w 5775"/>
                      <a:gd name="T45" fmla="*/ 224 h 1033"/>
                      <a:gd name="T46" fmla="*/ 823 w 5775"/>
                      <a:gd name="T47" fmla="*/ 219 h 1033"/>
                      <a:gd name="T48" fmla="*/ 801 w 5775"/>
                      <a:gd name="T49" fmla="*/ 201 h 1033"/>
                      <a:gd name="T50" fmla="*/ 747 w 5775"/>
                      <a:gd name="T51" fmla="*/ 188 h 1033"/>
                      <a:gd name="T52" fmla="*/ 703 w 5775"/>
                      <a:gd name="T53" fmla="*/ 206 h 1033"/>
                      <a:gd name="T54" fmla="*/ 643 w 5775"/>
                      <a:gd name="T55" fmla="*/ 214 h 1033"/>
                      <a:gd name="T56" fmla="*/ 699 w 5775"/>
                      <a:gd name="T57" fmla="*/ 181 h 1033"/>
                      <a:gd name="T58" fmla="*/ 608 w 5775"/>
                      <a:gd name="T59" fmla="*/ 217 h 1033"/>
                      <a:gd name="T60" fmla="*/ 555 w 5775"/>
                      <a:gd name="T61" fmla="*/ 246 h 1033"/>
                      <a:gd name="T62" fmla="*/ 493 w 5775"/>
                      <a:gd name="T63" fmla="*/ 268 h 1033"/>
                      <a:gd name="T64" fmla="*/ 442 w 5775"/>
                      <a:gd name="T65" fmla="*/ 284 h 1033"/>
                      <a:gd name="T66" fmla="*/ 408 w 5775"/>
                      <a:gd name="T67" fmla="*/ 293 h 1033"/>
                      <a:gd name="T68" fmla="*/ 376 w 5775"/>
                      <a:gd name="T69" fmla="*/ 305 h 1033"/>
                      <a:gd name="T70" fmla="*/ 414 w 5775"/>
                      <a:gd name="T71" fmla="*/ 282 h 1033"/>
                      <a:gd name="T72" fmla="*/ 496 w 5775"/>
                      <a:gd name="T73" fmla="*/ 255 h 1033"/>
                      <a:gd name="T74" fmla="*/ 534 w 5775"/>
                      <a:gd name="T75" fmla="*/ 224 h 1033"/>
                      <a:gd name="T76" fmla="*/ 498 w 5775"/>
                      <a:gd name="T77" fmla="*/ 201 h 1033"/>
                      <a:gd name="T78" fmla="*/ 498 w 5775"/>
                      <a:gd name="T79" fmla="*/ 185 h 1033"/>
                      <a:gd name="T80" fmla="*/ 518 w 5775"/>
                      <a:gd name="T81" fmla="*/ 159 h 1033"/>
                      <a:gd name="T82" fmla="*/ 612 w 5775"/>
                      <a:gd name="T83" fmla="*/ 120 h 1033"/>
                      <a:gd name="T84" fmla="*/ 562 w 5775"/>
                      <a:gd name="T85" fmla="*/ 97 h 1033"/>
                      <a:gd name="T86" fmla="*/ 639 w 5775"/>
                      <a:gd name="T87" fmla="*/ 94 h 1033"/>
                      <a:gd name="T88" fmla="*/ 654 w 5775"/>
                      <a:gd name="T89" fmla="*/ 62 h 1033"/>
                      <a:gd name="T90" fmla="*/ 666 w 5775"/>
                      <a:gd name="T91" fmla="*/ 42 h 1033"/>
                      <a:gd name="T92" fmla="*/ 720 w 5775"/>
                      <a:gd name="T93" fmla="*/ 31 h 1033"/>
                      <a:gd name="T94" fmla="*/ 781 w 5775"/>
                      <a:gd name="T95" fmla="*/ 13 h 1033"/>
                      <a:gd name="T96" fmla="*/ 847 w 5775"/>
                      <a:gd name="T97" fmla="*/ 1 h 1033"/>
                      <a:gd name="T98" fmla="*/ 883 w 5775"/>
                      <a:gd name="T99" fmla="*/ 8 h 1033"/>
                      <a:gd name="T100" fmla="*/ 924 w 5775"/>
                      <a:gd name="T101" fmla="*/ 18 h 1033"/>
                      <a:gd name="T102" fmla="*/ 993 w 5775"/>
                      <a:gd name="T103" fmla="*/ 25 h 1033"/>
                      <a:gd name="T104" fmla="*/ 874 w 5775"/>
                      <a:gd name="T105" fmla="*/ 224 h 1033"/>
                      <a:gd name="T106" fmla="*/ 1422 w 5775"/>
                      <a:gd name="T107" fmla="*/ 441 h 1033"/>
                      <a:gd name="T108" fmla="*/ 1410 w 5775"/>
                      <a:gd name="T109" fmla="*/ 914 h 1033"/>
                      <a:gd name="T110" fmla="*/ 806 w 5775"/>
                      <a:gd name="T111" fmla="*/ 733 h 1033"/>
                      <a:gd name="T112" fmla="*/ 69 w 5775"/>
                      <a:gd name="T113" fmla="*/ 1032 h 1033"/>
                      <a:gd name="T114" fmla="*/ 80 w 5775"/>
                      <a:gd name="T115" fmla="*/ 1010 h 1033"/>
                      <a:gd name="T116" fmla="*/ 42 w 5775"/>
                      <a:gd name="T117" fmla="*/ 984 h 1033"/>
                      <a:gd name="T118" fmla="*/ 55 w 5775"/>
                      <a:gd name="T119" fmla="*/ 986 h 1033"/>
                      <a:gd name="T120" fmla="*/ 1 w 5775"/>
                      <a:gd name="T121" fmla="*/ 972 h 1033"/>
                      <a:gd name="T122" fmla="*/ 62 w 5775"/>
                      <a:gd name="T123" fmla="*/ 997 h 1033"/>
                      <a:gd name="T124" fmla="*/ 56 w 5775"/>
                      <a:gd name="T125" fmla="*/ 988 h 10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775" h="1033">
                        <a:moveTo>
                          <a:pt x="447" y="199"/>
                        </a:moveTo>
                        <a:lnTo>
                          <a:pt x="455" y="202"/>
                        </a:lnTo>
                        <a:lnTo>
                          <a:pt x="456" y="202"/>
                        </a:lnTo>
                        <a:lnTo>
                          <a:pt x="459" y="204"/>
                        </a:lnTo>
                        <a:lnTo>
                          <a:pt x="454" y="206"/>
                        </a:lnTo>
                        <a:lnTo>
                          <a:pt x="449" y="206"/>
                        </a:lnTo>
                        <a:lnTo>
                          <a:pt x="443" y="209"/>
                        </a:lnTo>
                        <a:lnTo>
                          <a:pt x="440" y="209"/>
                        </a:lnTo>
                        <a:lnTo>
                          <a:pt x="443" y="206"/>
                        </a:lnTo>
                        <a:lnTo>
                          <a:pt x="439" y="208"/>
                        </a:lnTo>
                        <a:lnTo>
                          <a:pt x="440" y="202"/>
                        </a:lnTo>
                        <a:lnTo>
                          <a:pt x="439" y="205"/>
                        </a:lnTo>
                        <a:lnTo>
                          <a:pt x="436" y="206"/>
                        </a:lnTo>
                        <a:lnTo>
                          <a:pt x="436" y="202"/>
                        </a:lnTo>
                        <a:lnTo>
                          <a:pt x="440" y="199"/>
                        </a:lnTo>
                        <a:lnTo>
                          <a:pt x="439" y="197"/>
                        </a:lnTo>
                        <a:lnTo>
                          <a:pt x="441" y="194"/>
                        </a:lnTo>
                        <a:lnTo>
                          <a:pt x="448" y="195"/>
                        </a:lnTo>
                        <a:lnTo>
                          <a:pt x="447" y="199"/>
                        </a:lnTo>
                        <a:lnTo>
                          <a:pt x="447" y="199"/>
                        </a:lnTo>
                        <a:close/>
                        <a:moveTo>
                          <a:pt x="848" y="279"/>
                        </a:moveTo>
                        <a:lnTo>
                          <a:pt x="853" y="281"/>
                        </a:lnTo>
                        <a:lnTo>
                          <a:pt x="853" y="284"/>
                        </a:lnTo>
                        <a:lnTo>
                          <a:pt x="854" y="286"/>
                        </a:lnTo>
                        <a:lnTo>
                          <a:pt x="853" y="289"/>
                        </a:lnTo>
                        <a:lnTo>
                          <a:pt x="849" y="287"/>
                        </a:lnTo>
                        <a:lnTo>
                          <a:pt x="843" y="291"/>
                        </a:lnTo>
                        <a:lnTo>
                          <a:pt x="849" y="289"/>
                        </a:lnTo>
                        <a:lnTo>
                          <a:pt x="850" y="291"/>
                        </a:lnTo>
                        <a:lnTo>
                          <a:pt x="846" y="292"/>
                        </a:lnTo>
                        <a:lnTo>
                          <a:pt x="850" y="292"/>
                        </a:lnTo>
                        <a:lnTo>
                          <a:pt x="847" y="295"/>
                        </a:lnTo>
                        <a:lnTo>
                          <a:pt x="852" y="294"/>
                        </a:lnTo>
                        <a:lnTo>
                          <a:pt x="843" y="299"/>
                        </a:lnTo>
                        <a:lnTo>
                          <a:pt x="847" y="299"/>
                        </a:lnTo>
                        <a:lnTo>
                          <a:pt x="844" y="301"/>
                        </a:lnTo>
                        <a:lnTo>
                          <a:pt x="844" y="304"/>
                        </a:lnTo>
                        <a:lnTo>
                          <a:pt x="843" y="304"/>
                        </a:lnTo>
                        <a:lnTo>
                          <a:pt x="844" y="305"/>
                        </a:lnTo>
                        <a:lnTo>
                          <a:pt x="842" y="305"/>
                        </a:lnTo>
                        <a:lnTo>
                          <a:pt x="837" y="305"/>
                        </a:lnTo>
                        <a:lnTo>
                          <a:pt x="834" y="302"/>
                        </a:lnTo>
                        <a:lnTo>
                          <a:pt x="832" y="302"/>
                        </a:lnTo>
                        <a:lnTo>
                          <a:pt x="832" y="302"/>
                        </a:lnTo>
                        <a:lnTo>
                          <a:pt x="832" y="299"/>
                        </a:lnTo>
                        <a:lnTo>
                          <a:pt x="836" y="298"/>
                        </a:lnTo>
                        <a:lnTo>
                          <a:pt x="833" y="298"/>
                        </a:lnTo>
                        <a:lnTo>
                          <a:pt x="832" y="295"/>
                        </a:lnTo>
                        <a:lnTo>
                          <a:pt x="832" y="293"/>
                        </a:lnTo>
                        <a:lnTo>
                          <a:pt x="836" y="292"/>
                        </a:lnTo>
                        <a:lnTo>
                          <a:pt x="840" y="291"/>
                        </a:lnTo>
                        <a:lnTo>
                          <a:pt x="842" y="288"/>
                        </a:lnTo>
                        <a:lnTo>
                          <a:pt x="843" y="287"/>
                        </a:lnTo>
                        <a:lnTo>
                          <a:pt x="839" y="287"/>
                        </a:lnTo>
                        <a:lnTo>
                          <a:pt x="840" y="284"/>
                        </a:lnTo>
                        <a:lnTo>
                          <a:pt x="842" y="284"/>
                        </a:lnTo>
                        <a:lnTo>
                          <a:pt x="844" y="282"/>
                        </a:lnTo>
                        <a:lnTo>
                          <a:pt x="843" y="278"/>
                        </a:lnTo>
                        <a:lnTo>
                          <a:pt x="853" y="278"/>
                        </a:lnTo>
                        <a:lnTo>
                          <a:pt x="852" y="277"/>
                        </a:lnTo>
                        <a:lnTo>
                          <a:pt x="852" y="275"/>
                        </a:lnTo>
                        <a:lnTo>
                          <a:pt x="848" y="279"/>
                        </a:lnTo>
                        <a:lnTo>
                          <a:pt x="848" y="279"/>
                        </a:lnTo>
                        <a:close/>
                        <a:moveTo>
                          <a:pt x="853" y="248"/>
                        </a:moveTo>
                        <a:lnTo>
                          <a:pt x="854" y="247"/>
                        </a:lnTo>
                        <a:lnTo>
                          <a:pt x="857" y="240"/>
                        </a:lnTo>
                        <a:lnTo>
                          <a:pt x="863" y="238"/>
                        </a:lnTo>
                        <a:lnTo>
                          <a:pt x="860" y="238"/>
                        </a:lnTo>
                        <a:lnTo>
                          <a:pt x="862" y="234"/>
                        </a:lnTo>
                        <a:lnTo>
                          <a:pt x="864" y="234"/>
                        </a:lnTo>
                        <a:lnTo>
                          <a:pt x="869" y="239"/>
                        </a:lnTo>
                        <a:lnTo>
                          <a:pt x="866" y="246"/>
                        </a:lnTo>
                        <a:lnTo>
                          <a:pt x="864" y="248"/>
                        </a:lnTo>
                        <a:lnTo>
                          <a:pt x="864" y="249"/>
                        </a:lnTo>
                        <a:lnTo>
                          <a:pt x="866" y="240"/>
                        </a:lnTo>
                        <a:lnTo>
                          <a:pt x="861" y="245"/>
                        </a:lnTo>
                        <a:lnTo>
                          <a:pt x="862" y="249"/>
                        </a:lnTo>
                        <a:lnTo>
                          <a:pt x="863" y="251"/>
                        </a:lnTo>
                        <a:lnTo>
                          <a:pt x="860" y="252"/>
                        </a:lnTo>
                        <a:lnTo>
                          <a:pt x="859" y="251"/>
                        </a:lnTo>
                        <a:lnTo>
                          <a:pt x="860" y="253"/>
                        </a:lnTo>
                        <a:lnTo>
                          <a:pt x="856" y="253"/>
                        </a:lnTo>
                        <a:lnTo>
                          <a:pt x="854" y="257"/>
                        </a:lnTo>
                        <a:lnTo>
                          <a:pt x="852" y="258"/>
                        </a:lnTo>
                        <a:lnTo>
                          <a:pt x="849" y="259"/>
                        </a:lnTo>
                        <a:lnTo>
                          <a:pt x="846" y="258"/>
                        </a:lnTo>
                        <a:lnTo>
                          <a:pt x="848" y="254"/>
                        </a:lnTo>
                        <a:lnTo>
                          <a:pt x="850" y="252"/>
                        </a:lnTo>
                        <a:lnTo>
                          <a:pt x="854" y="253"/>
                        </a:lnTo>
                        <a:lnTo>
                          <a:pt x="853" y="248"/>
                        </a:lnTo>
                        <a:lnTo>
                          <a:pt x="853" y="248"/>
                        </a:lnTo>
                        <a:close/>
                        <a:moveTo>
                          <a:pt x="827" y="277"/>
                        </a:moveTo>
                        <a:lnTo>
                          <a:pt x="827" y="275"/>
                        </a:lnTo>
                        <a:lnTo>
                          <a:pt x="827" y="273"/>
                        </a:lnTo>
                        <a:lnTo>
                          <a:pt x="828" y="269"/>
                        </a:lnTo>
                        <a:lnTo>
                          <a:pt x="833" y="266"/>
                        </a:lnTo>
                        <a:lnTo>
                          <a:pt x="828" y="268"/>
                        </a:lnTo>
                        <a:lnTo>
                          <a:pt x="830" y="265"/>
                        </a:lnTo>
                        <a:lnTo>
                          <a:pt x="833" y="262"/>
                        </a:lnTo>
                        <a:lnTo>
                          <a:pt x="827" y="265"/>
                        </a:lnTo>
                        <a:lnTo>
                          <a:pt x="828" y="262"/>
                        </a:lnTo>
                        <a:lnTo>
                          <a:pt x="833" y="258"/>
                        </a:lnTo>
                        <a:lnTo>
                          <a:pt x="835" y="258"/>
                        </a:lnTo>
                        <a:lnTo>
                          <a:pt x="833" y="255"/>
                        </a:lnTo>
                        <a:lnTo>
                          <a:pt x="835" y="254"/>
                        </a:lnTo>
                        <a:lnTo>
                          <a:pt x="837" y="249"/>
                        </a:lnTo>
                        <a:lnTo>
                          <a:pt x="843" y="249"/>
                        </a:lnTo>
                        <a:lnTo>
                          <a:pt x="846" y="248"/>
                        </a:lnTo>
                        <a:lnTo>
                          <a:pt x="848" y="248"/>
                        </a:lnTo>
                        <a:lnTo>
                          <a:pt x="843" y="255"/>
                        </a:lnTo>
                        <a:lnTo>
                          <a:pt x="842" y="262"/>
                        </a:lnTo>
                        <a:lnTo>
                          <a:pt x="837" y="265"/>
                        </a:lnTo>
                        <a:lnTo>
                          <a:pt x="836" y="268"/>
                        </a:lnTo>
                        <a:lnTo>
                          <a:pt x="835" y="269"/>
                        </a:lnTo>
                        <a:lnTo>
                          <a:pt x="832" y="273"/>
                        </a:lnTo>
                        <a:lnTo>
                          <a:pt x="833" y="274"/>
                        </a:lnTo>
                        <a:lnTo>
                          <a:pt x="829" y="275"/>
                        </a:lnTo>
                        <a:lnTo>
                          <a:pt x="827" y="277"/>
                        </a:lnTo>
                        <a:lnTo>
                          <a:pt x="827" y="277"/>
                        </a:lnTo>
                        <a:close/>
                        <a:moveTo>
                          <a:pt x="846" y="241"/>
                        </a:moveTo>
                        <a:lnTo>
                          <a:pt x="852" y="238"/>
                        </a:lnTo>
                        <a:lnTo>
                          <a:pt x="855" y="240"/>
                        </a:lnTo>
                        <a:lnTo>
                          <a:pt x="854" y="242"/>
                        </a:lnTo>
                        <a:lnTo>
                          <a:pt x="852" y="244"/>
                        </a:lnTo>
                        <a:lnTo>
                          <a:pt x="850" y="242"/>
                        </a:lnTo>
                        <a:lnTo>
                          <a:pt x="850" y="245"/>
                        </a:lnTo>
                        <a:lnTo>
                          <a:pt x="848" y="245"/>
                        </a:lnTo>
                        <a:lnTo>
                          <a:pt x="847" y="245"/>
                        </a:lnTo>
                        <a:lnTo>
                          <a:pt x="847" y="245"/>
                        </a:lnTo>
                        <a:lnTo>
                          <a:pt x="847" y="244"/>
                        </a:lnTo>
                        <a:lnTo>
                          <a:pt x="846" y="244"/>
                        </a:lnTo>
                        <a:lnTo>
                          <a:pt x="841" y="241"/>
                        </a:lnTo>
                        <a:lnTo>
                          <a:pt x="835" y="245"/>
                        </a:lnTo>
                        <a:lnTo>
                          <a:pt x="830" y="245"/>
                        </a:lnTo>
                        <a:lnTo>
                          <a:pt x="834" y="241"/>
                        </a:lnTo>
                        <a:lnTo>
                          <a:pt x="836" y="242"/>
                        </a:lnTo>
                        <a:lnTo>
                          <a:pt x="834" y="239"/>
                        </a:lnTo>
                        <a:lnTo>
                          <a:pt x="836" y="239"/>
                        </a:lnTo>
                        <a:lnTo>
                          <a:pt x="839" y="240"/>
                        </a:lnTo>
                        <a:lnTo>
                          <a:pt x="840" y="238"/>
                        </a:lnTo>
                        <a:lnTo>
                          <a:pt x="843" y="238"/>
                        </a:lnTo>
                        <a:lnTo>
                          <a:pt x="847" y="237"/>
                        </a:lnTo>
                        <a:lnTo>
                          <a:pt x="849" y="238"/>
                        </a:lnTo>
                        <a:lnTo>
                          <a:pt x="846" y="241"/>
                        </a:lnTo>
                        <a:lnTo>
                          <a:pt x="846" y="241"/>
                        </a:lnTo>
                        <a:close/>
                        <a:moveTo>
                          <a:pt x="603" y="232"/>
                        </a:moveTo>
                        <a:lnTo>
                          <a:pt x="603" y="235"/>
                        </a:lnTo>
                        <a:lnTo>
                          <a:pt x="609" y="234"/>
                        </a:lnTo>
                        <a:lnTo>
                          <a:pt x="606" y="237"/>
                        </a:lnTo>
                        <a:lnTo>
                          <a:pt x="610" y="235"/>
                        </a:lnTo>
                        <a:lnTo>
                          <a:pt x="609" y="235"/>
                        </a:lnTo>
                        <a:lnTo>
                          <a:pt x="609" y="235"/>
                        </a:lnTo>
                        <a:lnTo>
                          <a:pt x="609" y="239"/>
                        </a:lnTo>
                        <a:lnTo>
                          <a:pt x="605" y="239"/>
                        </a:lnTo>
                        <a:lnTo>
                          <a:pt x="603" y="237"/>
                        </a:lnTo>
                        <a:lnTo>
                          <a:pt x="599" y="240"/>
                        </a:lnTo>
                        <a:lnTo>
                          <a:pt x="597" y="238"/>
                        </a:lnTo>
                        <a:lnTo>
                          <a:pt x="592" y="241"/>
                        </a:lnTo>
                        <a:lnTo>
                          <a:pt x="588" y="238"/>
                        </a:lnTo>
                        <a:lnTo>
                          <a:pt x="593" y="238"/>
                        </a:lnTo>
                        <a:lnTo>
                          <a:pt x="594" y="235"/>
                        </a:lnTo>
                        <a:lnTo>
                          <a:pt x="596" y="237"/>
                        </a:lnTo>
                        <a:lnTo>
                          <a:pt x="597" y="234"/>
                        </a:lnTo>
                        <a:lnTo>
                          <a:pt x="603" y="232"/>
                        </a:lnTo>
                        <a:lnTo>
                          <a:pt x="603" y="232"/>
                        </a:lnTo>
                        <a:close/>
                        <a:moveTo>
                          <a:pt x="566" y="248"/>
                        </a:moveTo>
                        <a:lnTo>
                          <a:pt x="566" y="251"/>
                        </a:lnTo>
                        <a:lnTo>
                          <a:pt x="567" y="248"/>
                        </a:lnTo>
                        <a:lnTo>
                          <a:pt x="572" y="248"/>
                        </a:lnTo>
                        <a:lnTo>
                          <a:pt x="570" y="245"/>
                        </a:lnTo>
                        <a:lnTo>
                          <a:pt x="576" y="244"/>
                        </a:lnTo>
                        <a:lnTo>
                          <a:pt x="573" y="248"/>
                        </a:lnTo>
                        <a:lnTo>
                          <a:pt x="579" y="245"/>
                        </a:lnTo>
                        <a:lnTo>
                          <a:pt x="580" y="247"/>
                        </a:lnTo>
                        <a:lnTo>
                          <a:pt x="582" y="245"/>
                        </a:lnTo>
                        <a:lnTo>
                          <a:pt x="581" y="241"/>
                        </a:lnTo>
                        <a:lnTo>
                          <a:pt x="583" y="241"/>
                        </a:lnTo>
                        <a:lnTo>
                          <a:pt x="589" y="242"/>
                        </a:lnTo>
                        <a:lnTo>
                          <a:pt x="585" y="246"/>
                        </a:lnTo>
                        <a:lnTo>
                          <a:pt x="588" y="244"/>
                        </a:lnTo>
                        <a:lnTo>
                          <a:pt x="595" y="244"/>
                        </a:lnTo>
                        <a:lnTo>
                          <a:pt x="597" y="242"/>
                        </a:lnTo>
                        <a:lnTo>
                          <a:pt x="600" y="244"/>
                        </a:lnTo>
                        <a:lnTo>
                          <a:pt x="597" y="246"/>
                        </a:lnTo>
                        <a:lnTo>
                          <a:pt x="595" y="246"/>
                        </a:lnTo>
                        <a:lnTo>
                          <a:pt x="588" y="247"/>
                        </a:lnTo>
                        <a:lnTo>
                          <a:pt x="590" y="247"/>
                        </a:lnTo>
                        <a:lnTo>
                          <a:pt x="589" y="248"/>
                        </a:lnTo>
                        <a:lnTo>
                          <a:pt x="593" y="248"/>
                        </a:lnTo>
                        <a:lnTo>
                          <a:pt x="583" y="252"/>
                        </a:lnTo>
                        <a:lnTo>
                          <a:pt x="580" y="251"/>
                        </a:lnTo>
                        <a:lnTo>
                          <a:pt x="575" y="252"/>
                        </a:lnTo>
                        <a:lnTo>
                          <a:pt x="579" y="253"/>
                        </a:lnTo>
                        <a:lnTo>
                          <a:pt x="579" y="255"/>
                        </a:lnTo>
                        <a:lnTo>
                          <a:pt x="573" y="254"/>
                        </a:lnTo>
                        <a:lnTo>
                          <a:pt x="574" y="255"/>
                        </a:lnTo>
                        <a:lnTo>
                          <a:pt x="566" y="257"/>
                        </a:lnTo>
                        <a:lnTo>
                          <a:pt x="555" y="262"/>
                        </a:lnTo>
                        <a:lnTo>
                          <a:pt x="546" y="265"/>
                        </a:lnTo>
                        <a:lnTo>
                          <a:pt x="559" y="259"/>
                        </a:lnTo>
                        <a:lnTo>
                          <a:pt x="550" y="261"/>
                        </a:lnTo>
                        <a:lnTo>
                          <a:pt x="555" y="259"/>
                        </a:lnTo>
                        <a:lnTo>
                          <a:pt x="553" y="257"/>
                        </a:lnTo>
                        <a:lnTo>
                          <a:pt x="553" y="259"/>
                        </a:lnTo>
                        <a:lnTo>
                          <a:pt x="545" y="264"/>
                        </a:lnTo>
                        <a:lnTo>
                          <a:pt x="550" y="257"/>
                        </a:lnTo>
                        <a:lnTo>
                          <a:pt x="552" y="254"/>
                        </a:lnTo>
                        <a:lnTo>
                          <a:pt x="556" y="253"/>
                        </a:lnTo>
                        <a:lnTo>
                          <a:pt x="561" y="252"/>
                        </a:lnTo>
                        <a:lnTo>
                          <a:pt x="566" y="248"/>
                        </a:lnTo>
                        <a:lnTo>
                          <a:pt x="566" y="248"/>
                        </a:lnTo>
                        <a:close/>
                        <a:moveTo>
                          <a:pt x="503" y="273"/>
                        </a:moveTo>
                        <a:lnTo>
                          <a:pt x="499" y="274"/>
                        </a:lnTo>
                        <a:lnTo>
                          <a:pt x="492" y="273"/>
                        </a:lnTo>
                        <a:lnTo>
                          <a:pt x="492" y="272"/>
                        </a:lnTo>
                        <a:lnTo>
                          <a:pt x="496" y="272"/>
                        </a:lnTo>
                        <a:lnTo>
                          <a:pt x="500" y="272"/>
                        </a:lnTo>
                        <a:lnTo>
                          <a:pt x="503" y="273"/>
                        </a:lnTo>
                        <a:lnTo>
                          <a:pt x="503" y="273"/>
                        </a:lnTo>
                        <a:close/>
                        <a:moveTo>
                          <a:pt x="5697" y="365"/>
                        </a:moveTo>
                        <a:lnTo>
                          <a:pt x="5697" y="366"/>
                        </a:lnTo>
                        <a:lnTo>
                          <a:pt x="5696" y="367"/>
                        </a:lnTo>
                        <a:lnTo>
                          <a:pt x="5696" y="367"/>
                        </a:lnTo>
                        <a:lnTo>
                          <a:pt x="5693" y="368"/>
                        </a:lnTo>
                        <a:lnTo>
                          <a:pt x="5691" y="367"/>
                        </a:lnTo>
                        <a:lnTo>
                          <a:pt x="5695" y="365"/>
                        </a:lnTo>
                        <a:lnTo>
                          <a:pt x="5697" y="365"/>
                        </a:lnTo>
                        <a:lnTo>
                          <a:pt x="5697" y="365"/>
                        </a:lnTo>
                        <a:close/>
                        <a:moveTo>
                          <a:pt x="5510" y="344"/>
                        </a:moveTo>
                        <a:lnTo>
                          <a:pt x="5515" y="342"/>
                        </a:lnTo>
                        <a:lnTo>
                          <a:pt x="5522" y="345"/>
                        </a:lnTo>
                        <a:lnTo>
                          <a:pt x="5524" y="345"/>
                        </a:lnTo>
                        <a:lnTo>
                          <a:pt x="5523" y="346"/>
                        </a:lnTo>
                        <a:lnTo>
                          <a:pt x="5520" y="347"/>
                        </a:lnTo>
                        <a:lnTo>
                          <a:pt x="5513" y="347"/>
                        </a:lnTo>
                        <a:lnTo>
                          <a:pt x="5510" y="344"/>
                        </a:lnTo>
                        <a:lnTo>
                          <a:pt x="5510" y="344"/>
                        </a:lnTo>
                        <a:close/>
                        <a:moveTo>
                          <a:pt x="5684" y="366"/>
                        </a:moveTo>
                        <a:lnTo>
                          <a:pt x="5687" y="365"/>
                        </a:lnTo>
                        <a:lnTo>
                          <a:pt x="5688" y="365"/>
                        </a:lnTo>
                        <a:lnTo>
                          <a:pt x="5682" y="368"/>
                        </a:lnTo>
                        <a:lnTo>
                          <a:pt x="5676" y="368"/>
                        </a:lnTo>
                        <a:lnTo>
                          <a:pt x="5679" y="365"/>
                        </a:lnTo>
                        <a:lnTo>
                          <a:pt x="5684" y="366"/>
                        </a:lnTo>
                        <a:lnTo>
                          <a:pt x="5684" y="366"/>
                        </a:lnTo>
                        <a:close/>
                        <a:moveTo>
                          <a:pt x="5770" y="349"/>
                        </a:moveTo>
                        <a:lnTo>
                          <a:pt x="5775" y="351"/>
                        </a:lnTo>
                        <a:lnTo>
                          <a:pt x="5774" y="351"/>
                        </a:lnTo>
                        <a:lnTo>
                          <a:pt x="5774" y="351"/>
                        </a:lnTo>
                        <a:lnTo>
                          <a:pt x="5770" y="349"/>
                        </a:lnTo>
                        <a:lnTo>
                          <a:pt x="5770" y="349"/>
                        </a:lnTo>
                        <a:close/>
                        <a:moveTo>
                          <a:pt x="5700" y="361"/>
                        </a:moveTo>
                        <a:lnTo>
                          <a:pt x="5704" y="364"/>
                        </a:lnTo>
                        <a:lnTo>
                          <a:pt x="5707" y="366"/>
                        </a:lnTo>
                        <a:lnTo>
                          <a:pt x="5707" y="367"/>
                        </a:lnTo>
                        <a:lnTo>
                          <a:pt x="5707" y="367"/>
                        </a:lnTo>
                        <a:lnTo>
                          <a:pt x="5703" y="367"/>
                        </a:lnTo>
                        <a:lnTo>
                          <a:pt x="5699" y="365"/>
                        </a:lnTo>
                        <a:lnTo>
                          <a:pt x="5700" y="361"/>
                        </a:lnTo>
                        <a:lnTo>
                          <a:pt x="5700" y="361"/>
                        </a:lnTo>
                        <a:close/>
                        <a:moveTo>
                          <a:pt x="5755" y="359"/>
                        </a:moveTo>
                        <a:lnTo>
                          <a:pt x="5756" y="359"/>
                        </a:lnTo>
                        <a:lnTo>
                          <a:pt x="5756" y="360"/>
                        </a:lnTo>
                        <a:lnTo>
                          <a:pt x="5753" y="360"/>
                        </a:lnTo>
                        <a:lnTo>
                          <a:pt x="5755" y="359"/>
                        </a:lnTo>
                        <a:lnTo>
                          <a:pt x="5755" y="359"/>
                        </a:lnTo>
                        <a:close/>
                        <a:moveTo>
                          <a:pt x="5726" y="354"/>
                        </a:moveTo>
                        <a:lnTo>
                          <a:pt x="5730" y="355"/>
                        </a:lnTo>
                        <a:lnTo>
                          <a:pt x="5731" y="356"/>
                        </a:lnTo>
                        <a:lnTo>
                          <a:pt x="5733" y="355"/>
                        </a:lnTo>
                        <a:lnTo>
                          <a:pt x="5726" y="360"/>
                        </a:lnTo>
                        <a:lnTo>
                          <a:pt x="5723" y="361"/>
                        </a:lnTo>
                        <a:lnTo>
                          <a:pt x="5723" y="356"/>
                        </a:lnTo>
                        <a:lnTo>
                          <a:pt x="5726" y="354"/>
                        </a:lnTo>
                        <a:lnTo>
                          <a:pt x="5726" y="354"/>
                        </a:lnTo>
                        <a:close/>
                        <a:moveTo>
                          <a:pt x="5740" y="358"/>
                        </a:moveTo>
                        <a:lnTo>
                          <a:pt x="5741" y="358"/>
                        </a:lnTo>
                        <a:lnTo>
                          <a:pt x="5742" y="358"/>
                        </a:lnTo>
                        <a:lnTo>
                          <a:pt x="5741" y="358"/>
                        </a:lnTo>
                        <a:lnTo>
                          <a:pt x="5742" y="358"/>
                        </a:lnTo>
                        <a:lnTo>
                          <a:pt x="5733" y="362"/>
                        </a:lnTo>
                        <a:lnTo>
                          <a:pt x="5720" y="364"/>
                        </a:lnTo>
                        <a:lnTo>
                          <a:pt x="5731" y="360"/>
                        </a:lnTo>
                        <a:lnTo>
                          <a:pt x="5740" y="358"/>
                        </a:lnTo>
                        <a:lnTo>
                          <a:pt x="5740" y="358"/>
                        </a:lnTo>
                        <a:close/>
                        <a:moveTo>
                          <a:pt x="5751" y="356"/>
                        </a:moveTo>
                        <a:lnTo>
                          <a:pt x="5749" y="359"/>
                        </a:lnTo>
                        <a:lnTo>
                          <a:pt x="5748" y="361"/>
                        </a:lnTo>
                        <a:lnTo>
                          <a:pt x="5743" y="362"/>
                        </a:lnTo>
                        <a:lnTo>
                          <a:pt x="5743" y="362"/>
                        </a:lnTo>
                        <a:lnTo>
                          <a:pt x="5741" y="364"/>
                        </a:lnTo>
                        <a:lnTo>
                          <a:pt x="5742" y="361"/>
                        </a:lnTo>
                        <a:lnTo>
                          <a:pt x="5737" y="364"/>
                        </a:lnTo>
                        <a:lnTo>
                          <a:pt x="5742" y="360"/>
                        </a:lnTo>
                        <a:lnTo>
                          <a:pt x="5747" y="358"/>
                        </a:lnTo>
                        <a:lnTo>
                          <a:pt x="5751" y="356"/>
                        </a:lnTo>
                        <a:lnTo>
                          <a:pt x="5751" y="356"/>
                        </a:lnTo>
                        <a:close/>
                        <a:moveTo>
                          <a:pt x="5762" y="354"/>
                        </a:moveTo>
                        <a:lnTo>
                          <a:pt x="5759" y="356"/>
                        </a:lnTo>
                        <a:lnTo>
                          <a:pt x="5759" y="354"/>
                        </a:lnTo>
                        <a:lnTo>
                          <a:pt x="5761" y="354"/>
                        </a:lnTo>
                        <a:lnTo>
                          <a:pt x="5762" y="354"/>
                        </a:lnTo>
                        <a:lnTo>
                          <a:pt x="5762" y="354"/>
                        </a:lnTo>
                        <a:close/>
                        <a:moveTo>
                          <a:pt x="5608" y="361"/>
                        </a:moveTo>
                        <a:lnTo>
                          <a:pt x="5613" y="364"/>
                        </a:lnTo>
                        <a:lnTo>
                          <a:pt x="5615" y="361"/>
                        </a:lnTo>
                        <a:lnTo>
                          <a:pt x="5609" y="366"/>
                        </a:lnTo>
                        <a:lnTo>
                          <a:pt x="5597" y="362"/>
                        </a:lnTo>
                        <a:lnTo>
                          <a:pt x="5594" y="360"/>
                        </a:lnTo>
                        <a:lnTo>
                          <a:pt x="5603" y="360"/>
                        </a:lnTo>
                        <a:lnTo>
                          <a:pt x="5608" y="360"/>
                        </a:lnTo>
                        <a:lnTo>
                          <a:pt x="5608" y="361"/>
                        </a:lnTo>
                        <a:lnTo>
                          <a:pt x="5608" y="361"/>
                        </a:lnTo>
                        <a:close/>
                        <a:moveTo>
                          <a:pt x="5623" y="366"/>
                        </a:moveTo>
                        <a:lnTo>
                          <a:pt x="5622" y="365"/>
                        </a:lnTo>
                        <a:lnTo>
                          <a:pt x="5624" y="366"/>
                        </a:lnTo>
                        <a:lnTo>
                          <a:pt x="5623" y="366"/>
                        </a:lnTo>
                        <a:lnTo>
                          <a:pt x="5623" y="366"/>
                        </a:lnTo>
                        <a:close/>
                        <a:moveTo>
                          <a:pt x="5626" y="368"/>
                        </a:moveTo>
                        <a:lnTo>
                          <a:pt x="5633" y="368"/>
                        </a:lnTo>
                        <a:lnTo>
                          <a:pt x="5639" y="369"/>
                        </a:lnTo>
                        <a:lnTo>
                          <a:pt x="5640" y="369"/>
                        </a:lnTo>
                        <a:lnTo>
                          <a:pt x="5642" y="369"/>
                        </a:lnTo>
                        <a:lnTo>
                          <a:pt x="5631" y="371"/>
                        </a:lnTo>
                        <a:lnTo>
                          <a:pt x="5626" y="368"/>
                        </a:lnTo>
                        <a:lnTo>
                          <a:pt x="5626" y="368"/>
                        </a:lnTo>
                        <a:close/>
                        <a:moveTo>
                          <a:pt x="5636" y="364"/>
                        </a:moveTo>
                        <a:lnTo>
                          <a:pt x="5637" y="364"/>
                        </a:lnTo>
                        <a:lnTo>
                          <a:pt x="5635" y="366"/>
                        </a:lnTo>
                        <a:lnTo>
                          <a:pt x="5630" y="366"/>
                        </a:lnTo>
                        <a:lnTo>
                          <a:pt x="5636" y="364"/>
                        </a:lnTo>
                        <a:lnTo>
                          <a:pt x="5636" y="364"/>
                        </a:lnTo>
                        <a:close/>
                        <a:moveTo>
                          <a:pt x="199" y="348"/>
                        </a:moveTo>
                        <a:lnTo>
                          <a:pt x="200" y="348"/>
                        </a:lnTo>
                        <a:lnTo>
                          <a:pt x="198" y="349"/>
                        </a:lnTo>
                        <a:lnTo>
                          <a:pt x="199" y="348"/>
                        </a:lnTo>
                        <a:lnTo>
                          <a:pt x="199" y="348"/>
                        </a:lnTo>
                        <a:close/>
                        <a:moveTo>
                          <a:pt x="213" y="345"/>
                        </a:moveTo>
                        <a:lnTo>
                          <a:pt x="212" y="347"/>
                        </a:lnTo>
                        <a:lnTo>
                          <a:pt x="207" y="347"/>
                        </a:lnTo>
                        <a:lnTo>
                          <a:pt x="212" y="345"/>
                        </a:lnTo>
                        <a:lnTo>
                          <a:pt x="213" y="345"/>
                        </a:lnTo>
                        <a:lnTo>
                          <a:pt x="213" y="345"/>
                        </a:lnTo>
                        <a:lnTo>
                          <a:pt x="213" y="345"/>
                        </a:lnTo>
                        <a:close/>
                        <a:moveTo>
                          <a:pt x="226" y="341"/>
                        </a:moveTo>
                        <a:lnTo>
                          <a:pt x="228" y="342"/>
                        </a:lnTo>
                        <a:lnTo>
                          <a:pt x="229" y="342"/>
                        </a:lnTo>
                        <a:lnTo>
                          <a:pt x="228" y="344"/>
                        </a:lnTo>
                        <a:lnTo>
                          <a:pt x="226" y="342"/>
                        </a:lnTo>
                        <a:lnTo>
                          <a:pt x="226" y="341"/>
                        </a:lnTo>
                        <a:lnTo>
                          <a:pt x="226" y="341"/>
                        </a:lnTo>
                        <a:close/>
                        <a:moveTo>
                          <a:pt x="272" y="327"/>
                        </a:moveTo>
                        <a:lnTo>
                          <a:pt x="271" y="329"/>
                        </a:lnTo>
                        <a:lnTo>
                          <a:pt x="260" y="336"/>
                        </a:lnTo>
                        <a:lnTo>
                          <a:pt x="256" y="338"/>
                        </a:lnTo>
                        <a:lnTo>
                          <a:pt x="251" y="339"/>
                        </a:lnTo>
                        <a:lnTo>
                          <a:pt x="245" y="340"/>
                        </a:lnTo>
                        <a:lnTo>
                          <a:pt x="240" y="341"/>
                        </a:lnTo>
                        <a:lnTo>
                          <a:pt x="238" y="342"/>
                        </a:lnTo>
                        <a:lnTo>
                          <a:pt x="247" y="338"/>
                        </a:lnTo>
                        <a:lnTo>
                          <a:pt x="251" y="336"/>
                        </a:lnTo>
                        <a:lnTo>
                          <a:pt x="252" y="334"/>
                        </a:lnTo>
                        <a:lnTo>
                          <a:pt x="259" y="334"/>
                        </a:lnTo>
                        <a:lnTo>
                          <a:pt x="259" y="333"/>
                        </a:lnTo>
                        <a:lnTo>
                          <a:pt x="263" y="329"/>
                        </a:lnTo>
                        <a:lnTo>
                          <a:pt x="266" y="328"/>
                        </a:lnTo>
                        <a:lnTo>
                          <a:pt x="272" y="327"/>
                        </a:lnTo>
                        <a:lnTo>
                          <a:pt x="272" y="327"/>
                        </a:lnTo>
                        <a:close/>
                        <a:moveTo>
                          <a:pt x="301" y="319"/>
                        </a:moveTo>
                        <a:lnTo>
                          <a:pt x="306" y="318"/>
                        </a:lnTo>
                        <a:lnTo>
                          <a:pt x="314" y="318"/>
                        </a:lnTo>
                        <a:lnTo>
                          <a:pt x="318" y="314"/>
                        </a:lnTo>
                        <a:lnTo>
                          <a:pt x="321" y="313"/>
                        </a:lnTo>
                        <a:lnTo>
                          <a:pt x="325" y="313"/>
                        </a:lnTo>
                        <a:lnTo>
                          <a:pt x="329" y="312"/>
                        </a:lnTo>
                        <a:lnTo>
                          <a:pt x="332" y="313"/>
                        </a:lnTo>
                        <a:lnTo>
                          <a:pt x="333" y="315"/>
                        </a:lnTo>
                        <a:lnTo>
                          <a:pt x="331" y="317"/>
                        </a:lnTo>
                        <a:lnTo>
                          <a:pt x="328" y="315"/>
                        </a:lnTo>
                        <a:lnTo>
                          <a:pt x="325" y="317"/>
                        </a:lnTo>
                        <a:lnTo>
                          <a:pt x="318" y="319"/>
                        </a:lnTo>
                        <a:lnTo>
                          <a:pt x="314" y="321"/>
                        </a:lnTo>
                        <a:lnTo>
                          <a:pt x="311" y="320"/>
                        </a:lnTo>
                        <a:lnTo>
                          <a:pt x="305" y="324"/>
                        </a:lnTo>
                        <a:lnTo>
                          <a:pt x="298" y="324"/>
                        </a:lnTo>
                        <a:lnTo>
                          <a:pt x="295" y="325"/>
                        </a:lnTo>
                        <a:lnTo>
                          <a:pt x="300" y="324"/>
                        </a:lnTo>
                        <a:lnTo>
                          <a:pt x="301" y="324"/>
                        </a:lnTo>
                        <a:lnTo>
                          <a:pt x="299" y="325"/>
                        </a:lnTo>
                        <a:lnTo>
                          <a:pt x="294" y="329"/>
                        </a:lnTo>
                        <a:lnTo>
                          <a:pt x="289" y="332"/>
                        </a:lnTo>
                        <a:lnTo>
                          <a:pt x="292" y="332"/>
                        </a:lnTo>
                        <a:lnTo>
                          <a:pt x="286" y="333"/>
                        </a:lnTo>
                        <a:lnTo>
                          <a:pt x="281" y="332"/>
                        </a:lnTo>
                        <a:lnTo>
                          <a:pt x="273" y="333"/>
                        </a:lnTo>
                        <a:lnTo>
                          <a:pt x="267" y="334"/>
                        </a:lnTo>
                        <a:lnTo>
                          <a:pt x="268" y="332"/>
                        </a:lnTo>
                        <a:lnTo>
                          <a:pt x="286" y="328"/>
                        </a:lnTo>
                        <a:lnTo>
                          <a:pt x="283" y="327"/>
                        </a:lnTo>
                        <a:lnTo>
                          <a:pt x="289" y="324"/>
                        </a:lnTo>
                        <a:lnTo>
                          <a:pt x="289" y="327"/>
                        </a:lnTo>
                        <a:lnTo>
                          <a:pt x="294" y="325"/>
                        </a:lnTo>
                        <a:lnTo>
                          <a:pt x="288" y="322"/>
                        </a:lnTo>
                        <a:lnTo>
                          <a:pt x="294" y="319"/>
                        </a:lnTo>
                        <a:lnTo>
                          <a:pt x="301" y="319"/>
                        </a:lnTo>
                        <a:lnTo>
                          <a:pt x="301" y="319"/>
                        </a:lnTo>
                        <a:close/>
                        <a:moveTo>
                          <a:pt x="369" y="298"/>
                        </a:moveTo>
                        <a:lnTo>
                          <a:pt x="368" y="304"/>
                        </a:lnTo>
                        <a:lnTo>
                          <a:pt x="369" y="304"/>
                        </a:lnTo>
                        <a:lnTo>
                          <a:pt x="368" y="306"/>
                        </a:lnTo>
                        <a:lnTo>
                          <a:pt x="366" y="304"/>
                        </a:lnTo>
                        <a:lnTo>
                          <a:pt x="363" y="306"/>
                        </a:lnTo>
                        <a:lnTo>
                          <a:pt x="360" y="306"/>
                        </a:lnTo>
                        <a:lnTo>
                          <a:pt x="359" y="307"/>
                        </a:lnTo>
                        <a:lnTo>
                          <a:pt x="358" y="306"/>
                        </a:lnTo>
                        <a:lnTo>
                          <a:pt x="353" y="308"/>
                        </a:lnTo>
                        <a:lnTo>
                          <a:pt x="346" y="311"/>
                        </a:lnTo>
                        <a:lnTo>
                          <a:pt x="342" y="309"/>
                        </a:lnTo>
                        <a:lnTo>
                          <a:pt x="343" y="308"/>
                        </a:lnTo>
                        <a:lnTo>
                          <a:pt x="345" y="306"/>
                        </a:lnTo>
                        <a:lnTo>
                          <a:pt x="347" y="304"/>
                        </a:lnTo>
                        <a:lnTo>
                          <a:pt x="352" y="304"/>
                        </a:lnTo>
                        <a:lnTo>
                          <a:pt x="354" y="300"/>
                        </a:lnTo>
                        <a:lnTo>
                          <a:pt x="358" y="301"/>
                        </a:lnTo>
                        <a:lnTo>
                          <a:pt x="369" y="298"/>
                        </a:lnTo>
                        <a:lnTo>
                          <a:pt x="369" y="298"/>
                        </a:lnTo>
                        <a:close/>
                        <a:moveTo>
                          <a:pt x="320" y="255"/>
                        </a:moveTo>
                        <a:lnTo>
                          <a:pt x="322" y="257"/>
                        </a:lnTo>
                        <a:lnTo>
                          <a:pt x="318" y="258"/>
                        </a:lnTo>
                        <a:lnTo>
                          <a:pt x="316" y="257"/>
                        </a:lnTo>
                        <a:lnTo>
                          <a:pt x="320" y="255"/>
                        </a:lnTo>
                        <a:lnTo>
                          <a:pt x="320" y="255"/>
                        </a:lnTo>
                        <a:close/>
                        <a:moveTo>
                          <a:pt x="554" y="92"/>
                        </a:moveTo>
                        <a:lnTo>
                          <a:pt x="558" y="93"/>
                        </a:lnTo>
                        <a:lnTo>
                          <a:pt x="549" y="95"/>
                        </a:lnTo>
                        <a:lnTo>
                          <a:pt x="548" y="95"/>
                        </a:lnTo>
                        <a:lnTo>
                          <a:pt x="554" y="92"/>
                        </a:lnTo>
                        <a:lnTo>
                          <a:pt x="554" y="92"/>
                        </a:lnTo>
                        <a:close/>
                        <a:moveTo>
                          <a:pt x="547" y="92"/>
                        </a:moveTo>
                        <a:lnTo>
                          <a:pt x="555" y="90"/>
                        </a:lnTo>
                        <a:lnTo>
                          <a:pt x="555" y="90"/>
                        </a:lnTo>
                        <a:lnTo>
                          <a:pt x="550" y="93"/>
                        </a:lnTo>
                        <a:lnTo>
                          <a:pt x="547" y="92"/>
                        </a:lnTo>
                        <a:lnTo>
                          <a:pt x="547" y="92"/>
                        </a:lnTo>
                        <a:close/>
                        <a:moveTo>
                          <a:pt x="430" y="297"/>
                        </a:moveTo>
                        <a:lnTo>
                          <a:pt x="432" y="294"/>
                        </a:lnTo>
                        <a:lnTo>
                          <a:pt x="434" y="295"/>
                        </a:lnTo>
                        <a:lnTo>
                          <a:pt x="436" y="295"/>
                        </a:lnTo>
                        <a:lnTo>
                          <a:pt x="436" y="294"/>
                        </a:lnTo>
                        <a:lnTo>
                          <a:pt x="439" y="294"/>
                        </a:lnTo>
                        <a:lnTo>
                          <a:pt x="440" y="294"/>
                        </a:lnTo>
                        <a:lnTo>
                          <a:pt x="441" y="297"/>
                        </a:lnTo>
                        <a:lnTo>
                          <a:pt x="440" y="298"/>
                        </a:lnTo>
                        <a:lnTo>
                          <a:pt x="440" y="299"/>
                        </a:lnTo>
                        <a:lnTo>
                          <a:pt x="438" y="299"/>
                        </a:lnTo>
                        <a:lnTo>
                          <a:pt x="434" y="298"/>
                        </a:lnTo>
                        <a:lnTo>
                          <a:pt x="430" y="298"/>
                        </a:lnTo>
                        <a:lnTo>
                          <a:pt x="430" y="297"/>
                        </a:lnTo>
                        <a:lnTo>
                          <a:pt x="430" y="297"/>
                        </a:lnTo>
                        <a:close/>
                        <a:moveTo>
                          <a:pt x="475" y="140"/>
                        </a:moveTo>
                        <a:lnTo>
                          <a:pt x="486" y="144"/>
                        </a:lnTo>
                        <a:lnTo>
                          <a:pt x="487" y="144"/>
                        </a:lnTo>
                        <a:lnTo>
                          <a:pt x="489" y="145"/>
                        </a:lnTo>
                        <a:lnTo>
                          <a:pt x="483" y="147"/>
                        </a:lnTo>
                        <a:lnTo>
                          <a:pt x="478" y="147"/>
                        </a:lnTo>
                        <a:lnTo>
                          <a:pt x="470" y="151"/>
                        </a:lnTo>
                        <a:lnTo>
                          <a:pt x="467" y="151"/>
                        </a:lnTo>
                        <a:lnTo>
                          <a:pt x="470" y="147"/>
                        </a:lnTo>
                        <a:lnTo>
                          <a:pt x="466" y="150"/>
                        </a:lnTo>
                        <a:lnTo>
                          <a:pt x="467" y="144"/>
                        </a:lnTo>
                        <a:lnTo>
                          <a:pt x="466" y="146"/>
                        </a:lnTo>
                        <a:lnTo>
                          <a:pt x="462" y="148"/>
                        </a:lnTo>
                        <a:lnTo>
                          <a:pt x="462" y="144"/>
                        </a:lnTo>
                        <a:lnTo>
                          <a:pt x="467" y="140"/>
                        </a:lnTo>
                        <a:lnTo>
                          <a:pt x="466" y="138"/>
                        </a:lnTo>
                        <a:lnTo>
                          <a:pt x="468" y="135"/>
                        </a:lnTo>
                        <a:lnTo>
                          <a:pt x="478" y="138"/>
                        </a:lnTo>
                        <a:lnTo>
                          <a:pt x="475" y="140"/>
                        </a:lnTo>
                        <a:lnTo>
                          <a:pt x="475" y="140"/>
                        </a:lnTo>
                        <a:close/>
                        <a:moveTo>
                          <a:pt x="808" y="199"/>
                        </a:moveTo>
                        <a:lnTo>
                          <a:pt x="815" y="199"/>
                        </a:lnTo>
                        <a:lnTo>
                          <a:pt x="817" y="198"/>
                        </a:lnTo>
                        <a:lnTo>
                          <a:pt x="821" y="200"/>
                        </a:lnTo>
                        <a:lnTo>
                          <a:pt x="829" y="197"/>
                        </a:lnTo>
                        <a:lnTo>
                          <a:pt x="839" y="197"/>
                        </a:lnTo>
                        <a:lnTo>
                          <a:pt x="832" y="201"/>
                        </a:lnTo>
                        <a:lnTo>
                          <a:pt x="832" y="202"/>
                        </a:lnTo>
                        <a:lnTo>
                          <a:pt x="830" y="202"/>
                        </a:lnTo>
                        <a:lnTo>
                          <a:pt x="830" y="202"/>
                        </a:lnTo>
                        <a:lnTo>
                          <a:pt x="835" y="205"/>
                        </a:lnTo>
                        <a:lnTo>
                          <a:pt x="833" y="207"/>
                        </a:lnTo>
                        <a:lnTo>
                          <a:pt x="834" y="217"/>
                        </a:lnTo>
                        <a:lnTo>
                          <a:pt x="839" y="218"/>
                        </a:lnTo>
                        <a:lnTo>
                          <a:pt x="839" y="218"/>
                        </a:lnTo>
                        <a:lnTo>
                          <a:pt x="840" y="217"/>
                        </a:lnTo>
                        <a:lnTo>
                          <a:pt x="841" y="217"/>
                        </a:lnTo>
                        <a:lnTo>
                          <a:pt x="843" y="217"/>
                        </a:lnTo>
                        <a:lnTo>
                          <a:pt x="846" y="215"/>
                        </a:lnTo>
                        <a:lnTo>
                          <a:pt x="848" y="217"/>
                        </a:lnTo>
                        <a:lnTo>
                          <a:pt x="852" y="217"/>
                        </a:lnTo>
                        <a:lnTo>
                          <a:pt x="854" y="217"/>
                        </a:lnTo>
                        <a:lnTo>
                          <a:pt x="857" y="213"/>
                        </a:lnTo>
                        <a:lnTo>
                          <a:pt x="860" y="212"/>
                        </a:lnTo>
                        <a:lnTo>
                          <a:pt x="861" y="212"/>
                        </a:lnTo>
                        <a:lnTo>
                          <a:pt x="863" y="212"/>
                        </a:lnTo>
                        <a:lnTo>
                          <a:pt x="864" y="212"/>
                        </a:lnTo>
                        <a:lnTo>
                          <a:pt x="868" y="211"/>
                        </a:lnTo>
                        <a:lnTo>
                          <a:pt x="867" y="213"/>
                        </a:lnTo>
                        <a:lnTo>
                          <a:pt x="867" y="218"/>
                        </a:lnTo>
                        <a:lnTo>
                          <a:pt x="866" y="225"/>
                        </a:lnTo>
                        <a:lnTo>
                          <a:pt x="861" y="228"/>
                        </a:lnTo>
                        <a:lnTo>
                          <a:pt x="859" y="235"/>
                        </a:lnTo>
                        <a:lnTo>
                          <a:pt x="854" y="238"/>
                        </a:lnTo>
                        <a:lnTo>
                          <a:pt x="856" y="233"/>
                        </a:lnTo>
                        <a:lnTo>
                          <a:pt x="854" y="235"/>
                        </a:lnTo>
                        <a:lnTo>
                          <a:pt x="848" y="235"/>
                        </a:lnTo>
                        <a:lnTo>
                          <a:pt x="850" y="231"/>
                        </a:lnTo>
                        <a:lnTo>
                          <a:pt x="854" y="227"/>
                        </a:lnTo>
                        <a:lnTo>
                          <a:pt x="856" y="226"/>
                        </a:lnTo>
                        <a:lnTo>
                          <a:pt x="854" y="226"/>
                        </a:lnTo>
                        <a:lnTo>
                          <a:pt x="856" y="222"/>
                        </a:lnTo>
                        <a:lnTo>
                          <a:pt x="849" y="228"/>
                        </a:lnTo>
                        <a:lnTo>
                          <a:pt x="850" y="224"/>
                        </a:lnTo>
                        <a:lnTo>
                          <a:pt x="848" y="222"/>
                        </a:lnTo>
                        <a:lnTo>
                          <a:pt x="846" y="225"/>
                        </a:lnTo>
                        <a:lnTo>
                          <a:pt x="843" y="221"/>
                        </a:lnTo>
                        <a:lnTo>
                          <a:pt x="843" y="225"/>
                        </a:lnTo>
                        <a:lnTo>
                          <a:pt x="840" y="225"/>
                        </a:lnTo>
                        <a:lnTo>
                          <a:pt x="837" y="224"/>
                        </a:lnTo>
                        <a:lnTo>
                          <a:pt x="837" y="227"/>
                        </a:lnTo>
                        <a:lnTo>
                          <a:pt x="841" y="227"/>
                        </a:lnTo>
                        <a:lnTo>
                          <a:pt x="847" y="226"/>
                        </a:lnTo>
                        <a:lnTo>
                          <a:pt x="847" y="228"/>
                        </a:lnTo>
                        <a:lnTo>
                          <a:pt x="846" y="229"/>
                        </a:lnTo>
                        <a:lnTo>
                          <a:pt x="847" y="229"/>
                        </a:lnTo>
                        <a:lnTo>
                          <a:pt x="848" y="232"/>
                        </a:lnTo>
                        <a:lnTo>
                          <a:pt x="844" y="235"/>
                        </a:lnTo>
                        <a:lnTo>
                          <a:pt x="840" y="234"/>
                        </a:lnTo>
                        <a:lnTo>
                          <a:pt x="840" y="235"/>
                        </a:lnTo>
                        <a:lnTo>
                          <a:pt x="837" y="235"/>
                        </a:lnTo>
                        <a:lnTo>
                          <a:pt x="834" y="238"/>
                        </a:lnTo>
                        <a:lnTo>
                          <a:pt x="832" y="237"/>
                        </a:lnTo>
                        <a:lnTo>
                          <a:pt x="830" y="234"/>
                        </a:lnTo>
                        <a:lnTo>
                          <a:pt x="829" y="229"/>
                        </a:lnTo>
                        <a:lnTo>
                          <a:pt x="828" y="228"/>
                        </a:lnTo>
                        <a:lnTo>
                          <a:pt x="827" y="226"/>
                        </a:lnTo>
                        <a:lnTo>
                          <a:pt x="833" y="226"/>
                        </a:lnTo>
                        <a:lnTo>
                          <a:pt x="834" y="224"/>
                        </a:lnTo>
                        <a:lnTo>
                          <a:pt x="834" y="219"/>
                        </a:lnTo>
                        <a:lnTo>
                          <a:pt x="830" y="219"/>
                        </a:lnTo>
                        <a:lnTo>
                          <a:pt x="826" y="219"/>
                        </a:lnTo>
                        <a:lnTo>
                          <a:pt x="823" y="219"/>
                        </a:lnTo>
                        <a:lnTo>
                          <a:pt x="822" y="220"/>
                        </a:lnTo>
                        <a:lnTo>
                          <a:pt x="817" y="218"/>
                        </a:lnTo>
                        <a:lnTo>
                          <a:pt x="817" y="215"/>
                        </a:lnTo>
                        <a:lnTo>
                          <a:pt x="815" y="215"/>
                        </a:lnTo>
                        <a:lnTo>
                          <a:pt x="812" y="213"/>
                        </a:lnTo>
                        <a:lnTo>
                          <a:pt x="815" y="212"/>
                        </a:lnTo>
                        <a:lnTo>
                          <a:pt x="817" y="212"/>
                        </a:lnTo>
                        <a:lnTo>
                          <a:pt x="821" y="209"/>
                        </a:lnTo>
                        <a:lnTo>
                          <a:pt x="821" y="208"/>
                        </a:lnTo>
                        <a:lnTo>
                          <a:pt x="821" y="212"/>
                        </a:lnTo>
                        <a:lnTo>
                          <a:pt x="823" y="211"/>
                        </a:lnTo>
                        <a:lnTo>
                          <a:pt x="826" y="207"/>
                        </a:lnTo>
                        <a:lnTo>
                          <a:pt x="830" y="208"/>
                        </a:lnTo>
                        <a:lnTo>
                          <a:pt x="830" y="205"/>
                        </a:lnTo>
                        <a:lnTo>
                          <a:pt x="827" y="204"/>
                        </a:lnTo>
                        <a:lnTo>
                          <a:pt x="823" y="205"/>
                        </a:lnTo>
                        <a:lnTo>
                          <a:pt x="819" y="207"/>
                        </a:lnTo>
                        <a:lnTo>
                          <a:pt x="813" y="209"/>
                        </a:lnTo>
                        <a:lnTo>
                          <a:pt x="807" y="209"/>
                        </a:lnTo>
                        <a:lnTo>
                          <a:pt x="804" y="211"/>
                        </a:lnTo>
                        <a:lnTo>
                          <a:pt x="801" y="208"/>
                        </a:lnTo>
                        <a:lnTo>
                          <a:pt x="795" y="206"/>
                        </a:lnTo>
                        <a:lnTo>
                          <a:pt x="801" y="201"/>
                        </a:lnTo>
                        <a:lnTo>
                          <a:pt x="793" y="205"/>
                        </a:lnTo>
                        <a:lnTo>
                          <a:pt x="786" y="202"/>
                        </a:lnTo>
                        <a:lnTo>
                          <a:pt x="781" y="202"/>
                        </a:lnTo>
                        <a:lnTo>
                          <a:pt x="775" y="204"/>
                        </a:lnTo>
                        <a:lnTo>
                          <a:pt x="773" y="202"/>
                        </a:lnTo>
                        <a:lnTo>
                          <a:pt x="768" y="202"/>
                        </a:lnTo>
                        <a:lnTo>
                          <a:pt x="761" y="204"/>
                        </a:lnTo>
                        <a:lnTo>
                          <a:pt x="762" y="200"/>
                        </a:lnTo>
                        <a:lnTo>
                          <a:pt x="757" y="199"/>
                        </a:lnTo>
                        <a:lnTo>
                          <a:pt x="753" y="198"/>
                        </a:lnTo>
                        <a:lnTo>
                          <a:pt x="752" y="197"/>
                        </a:lnTo>
                        <a:lnTo>
                          <a:pt x="747" y="198"/>
                        </a:lnTo>
                        <a:lnTo>
                          <a:pt x="743" y="198"/>
                        </a:lnTo>
                        <a:lnTo>
                          <a:pt x="734" y="199"/>
                        </a:lnTo>
                        <a:lnTo>
                          <a:pt x="729" y="198"/>
                        </a:lnTo>
                        <a:lnTo>
                          <a:pt x="734" y="195"/>
                        </a:lnTo>
                        <a:lnTo>
                          <a:pt x="737" y="197"/>
                        </a:lnTo>
                        <a:lnTo>
                          <a:pt x="740" y="195"/>
                        </a:lnTo>
                        <a:lnTo>
                          <a:pt x="743" y="193"/>
                        </a:lnTo>
                        <a:lnTo>
                          <a:pt x="741" y="192"/>
                        </a:lnTo>
                        <a:lnTo>
                          <a:pt x="747" y="189"/>
                        </a:lnTo>
                        <a:lnTo>
                          <a:pt x="741" y="189"/>
                        </a:lnTo>
                        <a:lnTo>
                          <a:pt x="747" y="188"/>
                        </a:lnTo>
                        <a:lnTo>
                          <a:pt x="739" y="187"/>
                        </a:lnTo>
                        <a:lnTo>
                          <a:pt x="746" y="185"/>
                        </a:lnTo>
                        <a:lnTo>
                          <a:pt x="750" y="182"/>
                        </a:lnTo>
                        <a:lnTo>
                          <a:pt x="736" y="186"/>
                        </a:lnTo>
                        <a:lnTo>
                          <a:pt x="735" y="185"/>
                        </a:lnTo>
                        <a:lnTo>
                          <a:pt x="733" y="188"/>
                        </a:lnTo>
                        <a:lnTo>
                          <a:pt x="733" y="188"/>
                        </a:lnTo>
                        <a:lnTo>
                          <a:pt x="727" y="189"/>
                        </a:lnTo>
                        <a:lnTo>
                          <a:pt x="723" y="191"/>
                        </a:lnTo>
                        <a:lnTo>
                          <a:pt x="720" y="191"/>
                        </a:lnTo>
                        <a:lnTo>
                          <a:pt x="713" y="192"/>
                        </a:lnTo>
                        <a:lnTo>
                          <a:pt x="719" y="194"/>
                        </a:lnTo>
                        <a:lnTo>
                          <a:pt x="721" y="194"/>
                        </a:lnTo>
                        <a:lnTo>
                          <a:pt x="726" y="195"/>
                        </a:lnTo>
                        <a:lnTo>
                          <a:pt x="725" y="199"/>
                        </a:lnTo>
                        <a:lnTo>
                          <a:pt x="725" y="202"/>
                        </a:lnTo>
                        <a:lnTo>
                          <a:pt x="719" y="204"/>
                        </a:lnTo>
                        <a:lnTo>
                          <a:pt x="715" y="206"/>
                        </a:lnTo>
                        <a:lnTo>
                          <a:pt x="712" y="206"/>
                        </a:lnTo>
                        <a:lnTo>
                          <a:pt x="710" y="205"/>
                        </a:lnTo>
                        <a:lnTo>
                          <a:pt x="706" y="207"/>
                        </a:lnTo>
                        <a:lnTo>
                          <a:pt x="703" y="207"/>
                        </a:lnTo>
                        <a:lnTo>
                          <a:pt x="703" y="206"/>
                        </a:lnTo>
                        <a:lnTo>
                          <a:pt x="700" y="204"/>
                        </a:lnTo>
                        <a:lnTo>
                          <a:pt x="699" y="206"/>
                        </a:lnTo>
                        <a:lnTo>
                          <a:pt x="695" y="205"/>
                        </a:lnTo>
                        <a:lnTo>
                          <a:pt x="693" y="205"/>
                        </a:lnTo>
                        <a:lnTo>
                          <a:pt x="689" y="206"/>
                        </a:lnTo>
                        <a:lnTo>
                          <a:pt x="686" y="206"/>
                        </a:lnTo>
                        <a:lnTo>
                          <a:pt x="682" y="206"/>
                        </a:lnTo>
                        <a:lnTo>
                          <a:pt x="680" y="209"/>
                        </a:lnTo>
                        <a:lnTo>
                          <a:pt x="674" y="212"/>
                        </a:lnTo>
                        <a:lnTo>
                          <a:pt x="673" y="211"/>
                        </a:lnTo>
                        <a:lnTo>
                          <a:pt x="668" y="213"/>
                        </a:lnTo>
                        <a:lnTo>
                          <a:pt x="663" y="214"/>
                        </a:lnTo>
                        <a:lnTo>
                          <a:pt x="661" y="217"/>
                        </a:lnTo>
                        <a:lnTo>
                          <a:pt x="659" y="215"/>
                        </a:lnTo>
                        <a:lnTo>
                          <a:pt x="654" y="217"/>
                        </a:lnTo>
                        <a:lnTo>
                          <a:pt x="652" y="217"/>
                        </a:lnTo>
                        <a:lnTo>
                          <a:pt x="647" y="219"/>
                        </a:lnTo>
                        <a:lnTo>
                          <a:pt x="639" y="220"/>
                        </a:lnTo>
                        <a:lnTo>
                          <a:pt x="636" y="219"/>
                        </a:lnTo>
                        <a:lnTo>
                          <a:pt x="633" y="219"/>
                        </a:lnTo>
                        <a:lnTo>
                          <a:pt x="636" y="217"/>
                        </a:lnTo>
                        <a:lnTo>
                          <a:pt x="639" y="214"/>
                        </a:lnTo>
                        <a:lnTo>
                          <a:pt x="643" y="214"/>
                        </a:lnTo>
                        <a:lnTo>
                          <a:pt x="647" y="212"/>
                        </a:lnTo>
                        <a:lnTo>
                          <a:pt x="648" y="209"/>
                        </a:lnTo>
                        <a:lnTo>
                          <a:pt x="650" y="205"/>
                        </a:lnTo>
                        <a:lnTo>
                          <a:pt x="657" y="204"/>
                        </a:lnTo>
                        <a:lnTo>
                          <a:pt x="660" y="200"/>
                        </a:lnTo>
                        <a:lnTo>
                          <a:pt x="661" y="199"/>
                        </a:lnTo>
                        <a:lnTo>
                          <a:pt x="662" y="197"/>
                        </a:lnTo>
                        <a:lnTo>
                          <a:pt x="667" y="195"/>
                        </a:lnTo>
                        <a:lnTo>
                          <a:pt x="670" y="194"/>
                        </a:lnTo>
                        <a:lnTo>
                          <a:pt x="673" y="191"/>
                        </a:lnTo>
                        <a:lnTo>
                          <a:pt x="679" y="192"/>
                        </a:lnTo>
                        <a:lnTo>
                          <a:pt x="682" y="188"/>
                        </a:lnTo>
                        <a:lnTo>
                          <a:pt x="685" y="187"/>
                        </a:lnTo>
                        <a:lnTo>
                          <a:pt x="688" y="187"/>
                        </a:lnTo>
                        <a:lnTo>
                          <a:pt x="692" y="187"/>
                        </a:lnTo>
                        <a:lnTo>
                          <a:pt x="696" y="187"/>
                        </a:lnTo>
                        <a:lnTo>
                          <a:pt x="697" y="186"/>
                        </a:lnTo>
                        <a:lnTo>
                          <a:pt x="697" y="184"/>
                        </a:lnTo>
                        <a:lnTo>
                          <a:pt x="696" y="182"/>
                        </a:lnTo>
                        <a:lnTo>
                          <a:pt x="700" y="184"/>
                        </a:lnTo>
                        <a:lnTo>
                          <a:pt x="705" y="180"/>
                        </a:lnTo>
                        <a:lnTo>
                          <a:pt x="708" y="177"/>
                        </a:lnTo>
                        <a:lnTo>
                          <a:pt x="699" y="181"/>
                        </a:lnTo>
                        <a:lnTo>
                          <a:pt x="693" y="181"/>
                        </a:lnTo>
                        <a:lnTo>
                          <a:pt x="694" y="179"/>
                        </a:lnTo>
                        <a:lnTo>
                          <a:pt x="686" y="181"/>
                        </a:lnTo>
                        <a:lnTo>
                          <a:pt x="683" y="184"/>
                        </a:lnTo>
                        <a:lnTo>
                          <a:pt x="674" y="185"/>
                        </a:lnTo>
                        <a:lnTo>
                          <a:pt x="667" y="187"/>
                        </a:lnTo>
                        <a:lnTo>
                          <a:pt x="667" y="191"/>
                        </a:lnTo>
                        <a:lnTo>
                          <a:pt x="663" y="191"/>
                        </a:lnTo>
                        <a:lnTo>
                          <a:pt x="657" y="192"/>
                        </a:lnTo>
                        <a:lnTo>
                          <a:pt x="656" y="193"/>
                        </a:lnTo>
                        <a:lnTo>
                          <a:pt x="655" y="195"/>
                        </a:lnTo>
                        <a:lnTo>
                          <a:pt x="649" y="197"/>
                        </a:lnTo>
                        <a:lnTo>
                          <a:pt x="645" y="199"/>
                        </a:lnTo>
                        <a:lnTo>
                          <a:pt x="641" y="204"/>
                        </a:lnTo>
                        <a:lnTo>
                          <a:pt x="637" y="202"/>
                        </a:lnTo>
                        <a:lnTo>
                          <a:pt x="633" y="206"/>
                        </a:lnTo>
                        <a:lnTo>
                          <a:pt x="632" y="207"/>
                        </a:lnTo>
                        <a:lnTo>
                          <a:pt x="626" y="209"/>
                        </a:lnTo>
                        <a:lnTo>
                          <a:pt x="620" y="211"/>
                        </a:lnTo>
                        <a:lnTo>
                          <a:pt x="616" y="211"/>
                        </a:lnTo>
                        <a:lnTo>
                          <a:pt x="619" y="208"/>
                        </a:lnTo>
                        <a:lnTo>
                          <a:pt x="613" y="214"/>
                        </a:lnTo>
                        <a:lnTo>
                          <a:pt x="608" y="217"/>
                        </a:lnTo>
                        <a:lnTo>
                          <a:pt x="602" y="217"/>
                        </a:lnTo>
                        <a:lnTo>
                          <a:pt x="597" y="220"/>
                        </a:lnTo>
                        <a:lnTo>
                          <a:pt x="594" y="220"/>
                        </a:lnTo>
                        <a:lnTo>
                          <a:pt x="594" y="222"/>
                        </a:lnTo>
                        <a:lnTo>
                          <a:pt x="600" y="224"/>
                        </a:lnTo>
                        <a:lnTo>
                          <a:pt x="602" y="222"/>
                        </a:lnTo>
                        <a:lnTo>
                          <a:pt x="607" y="221"/>
                        </a:lnTo>
                        <a:lnTo>
                          <a:pt x="609" y="224"/>
                        </a:lnTo>
                        <a:lnTo>
                          <a:pt x="608" y="226"/>
                        </a:lnTo>
                        <a:lnTo>
                          <a:pt x="601" y="226"/>
                        </a:lnTo>
                        <a:lnTo>
                          <a:pt x="599" y="228"/>
                        </a:lnTo>
                        <a:lnTo>
                          <a:pt x="596" y="229"/>
                        </a:lnTo>
                        <a:lnTo>
                          <a:pt x="592" y="233"/>
                        </a:lnTo>
                        <a:lnTo>
                          <a:pt x="585" y="234"/>
                        </a:lnTo>
                        <a:lnTo>
                          <a:pt x="581" y="237"/>
                        </a:lnTo>
                        <a:lnTo>
                          <a:pt x="580" y="238"/>
                        </a:lnTo>
                        <a:lnTo>
                          <a:pt x="577" y="237"/>
                        </a:lnTo>
                        <a:lnTo>
                          <a:pt x="573" y="239"/>
                        </a:lnTo>
                        <a:lnTo>
                          <a:pt x="569" y="241"/>
                        </a:lnTo>
                        <a:lnTo>
                          <a:pt x="566" y="241"/>
                        </a:lnTo>
                        <a:lnTo>
                          <a:pt x="563" y="241"/>
                        </a:lnTo>
                        <a:lnTo>
                          <a:pt x="559" y="245"/>
                        </a:lnTo>
                        <a:lnTo>
                          <a:pt x="555" y="246"/>
                        </a:lnTo>
                        <a:lnTo>
                          <a:pt x="554" y="246"/>
                        </a:lnTo>
                        <a:lnTo>
                          <a:pt x="549" y="247"/>
                        </a:lnTo>
                        <a:lnTo>
                          <a:pt x="546" y="249"/>
                        </a:lnTo>
                        <a:lnTo>
                          <a:pt x="545" y="251"/>
                        </a:lnTo>
                        <a:lnTo>
                          <a:pt x="539" y="251"/>
                        </a:lnTo>
                        <a:lnTo>
                          <a:pt x="534" y="249"/>
                        </a:lnTo>
                        <a:lnTo>
                          <a:pt x="535" y="251"/>
                        </a:lnTo>
                        <a:lnTo>
                          <a:pt x="532" y="253"/>
                        </a:lnTo>
                        <a:lnTo>
                          <a:pt x="529" y="254"/>
                        </a:lnTo>
                        <a:lnTo>
                          <a:pt x="522" y="255"/>
                        </a:lnTo>
                        <a:lnTo>
                          <a:pt x="522" y="260"/>
                        </a:lnTo>
                        <a:lnTo>
                          <a:pt x="518" y="261"/>
                        </a:lnTo>
                        <a:lnTo>
                          <a:pt x="515" y="261"/>
                        </a:lnTo>
                        <a:lnTo>
                          <a:pt x="513" y="260"/>
                        </a:lnTo>
                        <a:lnTo>
                          <a:pt x="513" y="260"/>
                        </a:lnTo>
                        <a:lnTo>
                          <a:pt x="508" y="262"/>
                        </a:lnTo>
                        <a:lnTo>
                          <a:pt x="507" y="266"/>
                        </a:lnTo>
                        <a:lnTo>
                          <a:pt x="505" y="265"/>
                        </a:lnTo>
                        <a:lnTo>
                          <a:pt x="501" y="266"/>
                        </a:lnTo>
                        <a:lnTo>
                          <a:pt x="499" y="264"/>
                        </a:lnTo>
                        <a:lnTo>
                          <a:pt x="498" y="266"/>
                        </a:lnTo>
                        <a:lnTo>
                          <a:pt x="494" y="268"/>
                        </a:lnTo>
                        <a:lnTo>
                          <a:pt x="493" y="268"/>
                        </a:lnTo>
                        <a:lnTo>
                          <a:pt x="490" y="267"/>
                        </a:lnTo>
                        <a:lnTo>
                          <a:pt x="489" y="267"/>
                        </a:lnTo>
                        <a:lnTo>
                          <a:pt x="487" y="268"/>
                        </a:lnTo>
                        <a:lnTo>
                          <a:pt x="483" y="269"/>
                        </a:lnTo>
                        <a:lnTo>
                          <a:pt x="485" y="272"/>
                        </a:lnTo>
                        <a:lnTo>
                          <a:pt x="476" y="272"/>
                        </a:lnTo>
                        <a:lnTo>
                          <a:pt x="469" y="275"/>
                        </a:lnTo>
                        <a:lnTo>
                          <a:pt x="476" y="277"/>
                        </a:lnTo>
                        <a:lnTo>
                          <a:pt x="470" y="278"/>
                        </a:lnTo>
                        <a:lnTo>
                          <a:pt x="467" y="280"/>
                        </a:lnTo>
                        <a:lnTo>
                          <a:pt x="467" y="277"/>
                        </a:lnTo>
                        <a:lnTo>
                          <a:pt x="462" y="281"/>
                        </a:lnTo>
                        <a:lnTo>
                          <a:pt x="461" y="280"/>
                        </a:lnTo>
                        <a:lnTo>
                          <a:pt x="460" y="281"/>
                        </a:lnTo>
                        <a:lnTo>
                          <a:pt x="456" y="284"/>
                        </a:lnTo>
                        <a:lnTo>
                          <a:pt x="453" y="284"/>
                        </a:lnTo>
                        <a:lnTo>
                          <a:pt x="449" y="287"/>
                        </a:lnTo>
                        <a:lnTo>
                          <a:pt x="447" y="287"/>
                        </a:lnTo>
                        <a:lnTo>
                          <a:pt x="446" y="286"/>
                        </a:lnTo>
                        <a:lnTo>
                          <a:pt x="447" y="285"/>
                        </a:lnTo>
                        <a:lnTo>
                          <a:pt x="448" y="282"/>
                        </a:lnTo>
                        <a:lnTo>
                          <a:pt x="445" y="284"/>
                        </a:lnTo>
                        <a:lnTo>
                          <a:pt x="442" y="284"/>
                        </a:lnTo>
                        <a:lnTo>
                          <a:pt x="441" y="285"/>
                        </a:lnTo>
                        <a:lnTo>
                          <a:pt x="439" y="286"/>
                        </a:lnTo>
                        <a:lnTo>
                          <a:pt x="438" y="286"/>
                        </a:lnTo>
                        <a:lnTo>
                          <a:pt x="435" y="288"/>
                        </a:lnTo>
                        <a:lnTo>
                          <a:pt x="433" y="289"/>
                        </a:lnTo>
                        <a:lnTo>
                          <a:pt x="429" y="292"/>
                        </a:lnTo>
                        <a:lnTo>
                          <a:pt x="426" y="288"/>
                        </a:lnTo>
                        <a:lnTo>
                          <a:pt x="428" y="293"/>
                        </a:lnTo>
                        <a:lnTo>
                          <a:pt x="426" y="294"/>
                        </a:lnTo>
                        <a:lnTo>
                          <a:pt x="423" y="295"/>
                        </a:lnTo>
                        <a:lnTo>
                          <a:pt x="423" y="297"/>
                        </a:lnTo>
                        <a:lnTo>
                          <a:pt x="421" y="297"/>
                        </a:lnTo>
                        <a:lnTo>
                          <a:pt x="421" y="294"/>
                        </a:lnTo>
                        <a:lnTo>
                          <a:pt x="421" y="291"/>
                        </a:lnTo>
                        <a:lnTo>
                          <a:pt x="419" y="292"/>
                        </a:lnTo>
                        <a:lnTo>
                          <a:pt x="418" y="291"/>
                        </a:lnTo>
                        <a:lnTo>
                          <a:pt x="414" y="291"/>
                        </a:lnTo>
                        <a:lnTo>
                          <a:pt x="412" y="293"/>
                        </a:lnTo>
                        <a:lnTo>
                          <a:pt x="410" y="291"/>
                        </a:lnTo>
                        <a:lnTo>
                          <a:pt x="416" y="289"/>
                        </a:lnTo>
                        <a:lnTo>
                          <a:pt x="412" y="288"/>
                        </a:lnTo>
                        <a:lnTo>
                          <a:pt x="408" y="291"/>
                        </a:lnTo>
                        <a:lnTo>
                          <a:pt x="408" y="293"/>
                        </a:lnTo>
                        <a:lnTo>
                          <a:pt x="406" y="293"/>
                        </a:lnTo>
                        <a:lnTo>
                          <a:pt x="405" y="297"/>
                        </a:lnTo>
                        <a:lnTo>
                          <a:pt x="405" y="298"/>
                        </a:lnTo>
                        <a:lnTo>
                          <a:pt x="402" y="297"/>
                        </a:lnTo>
                        <a:lnTo>
                          <a:pt x="401" y="299"/>
                        </a:lnTo>
                        <a:lnTo>
                          <a:pt x="400" y="298"/>
                        </a:lnTo>
                        <a:lnTo>
                          <a:pt x="395" y="300"/>
                        </a:lnTo>
                        <a:lnTo>
                          <a:pt x="396" y="299"/>
                        </a:lnTo>
                        <a:lnTo>
                          <a:pt x="395" y="298"/>
                        </a:lnTo>
                        <a:lnTo>
                          <a:pt x="394" y="300"/>
                        </a:lnTo>
                        <a:lnTo>
                          <a:pt x="393" y="301"/>
                        </a:lnTo>
                        <a:lnTo>
                          <a:pt x="392" y="302"/>
                        </a:lnTo>
                        <a:lnTo>
                          <a:pt x="392" y="300"/>
                        </a:lnTo>
                        <a:lnTo>
                          <a:pt x="389" y="300"/>
                        </a:lnTo>
                        <a:lnTo>
                          <a:pt x="387" y="299"/>
                        </a:lnTo>
                        <a:lnTo>
                          <a:pt x="389" y="294"/>
                        </a:lnTo>
                        <a:lnTo>
                          <a:pt x="383" y="300"/>
                        </a:lnTo>
                        <a:lnTo>
                          <a:pt x="383" y="299"/>
                        </a:lnTo>
                        <a:lnTo>
                          <a:pt x="379" y="301"/>
                        </a:lnTo>
                        <a:lnTo>
                          <a:pt x="378" y="297"/>
                        </a:lnTo>
                        <a:lnTo>
                          <a:pt x="375" y="300"/>
                        </a:lnTo>
                        <a:lnTo>
                          <a:pt x="378" y="304"/>
                        </a:lnTo>
                        <a:lnTo>
                          <a:pt x="376" y="305"/>
                        </a:lnTo>
                        <a:lnTo>
                          <a:pt x="375" y="307"/>
                        </a:lnTo>
                        <a:lnTo>
                          <a:pt x="375" y="306"/>
                        </a:lnTo>
                        <a:lnTo>
                          <a:pt x="373" y="305"/>
                        </a:lnTo>
                        <a:lnTo>
                          <a:pt x="372" y="306"/>
                        </a:lnTo>
                        <a:lnTo>
                          <a:pt x="372" y="304"/>
                        </a:lnTo>
                        <a:lnTo>
                          <a:pt x="372" y="301"/>
                        </a:lnTo>
                        <a:lnTo>
                          <a:pt x="370" y="299"/>
                        </a:lnTo>
                        <a:lnTo>
                          <a:pt x="372" y="298"/>
                        </a:lnTo>
                        <a:lnTo>
                          <a:pt x="375" y="298"/>
                        </a:lnTo>
                        <a:lnTo>
                          <a:pt x="379" y="295"/>
                        </a:lnTo>
                        <a:lnTo>
                          <a:pt x="381" y="295"/>
                        </a:lnTo>
                        <a:lnTo>
                          <a:pt x="385" y="294"/>
                        </a:lnTo>
                        <a:lnTo>
                          <a:pt x="388" y="293"/>
                        </a:lnTo>
                        <a:lnTo>
                          <a:pt x="393" y="293"/>
                        </a:lnTo>
                        <a:lnTo>
                          <a:pt x="393" y="292"/>
                        </a:lnTo>
                        <a:lnTo>
                          <a:pt x="395" y="292"/>
                        </a:lnTo>
                        <a:lnTo>
                          <a:pt x="399" y="291"/>
                        </a:lnTo>
                        <a:lnTo>
                          <a:pt x="401" y="291"/>
                        </a:lnTo>
                        <a:lnTo>
                          <a:pt x="405" y="289"/>
                        </a:lnTo>
                        <a:lnTo>
                          <a:pt x="407" y="286"/>
                        </a:lnTo>
                        <a:lnTo>
                          <a:pt x="409" y="285"/>
                        </a:lnTo>
                        <a:lnTo>
                          <a:pt x="412" y="282"/>
                        </a:lnTo>
                        <a:lnTo>
                          <a:pt x="414" y="282"/>
                        </a:lnTo>
                        <a:lnTo>
                          <a:pt x="420" y="281"/>
                        </a:lnTo>
                        <a:lnTo>
                          <a:pt x="425" y="281"/>
                        </a:lnTo>
                        <a:lnTo>
                          <a:pt x="430" y="280"/>
                        </a:lnTo>
                        <a:lnTo>
                          <a:pt x="426" y="286"/>
                        </a:lnTo>
                        <a:lnTo>
                          <a:pt x="429" y="282"/>
                        </a:lnTo>
                        <a:lnTo>
                          <a:pt x="432" y="284"/>
                        </a:lnTo>
                        <a:lnTo>
                          <a:pt x="433" y="281"/>
                        </a:lnTo>
                        <a:lnTo>
                          <a:pt x="440" y="279"/>
                        </a:lnTo>
                        <a:lnTo>
                          <a:pt x="443" y="275"/>
                        </a:lnTo>
                        <a:lnTo>
                          <a:pt x="450" y="275"/>
                        </a:lnTo>
                        <a:lnTo>
                          <a:pt x="459" y="273"/>
                        </a:lnTo>
                        <a:lnTo>
                          <a:pt x="465" y="269"/>
                        </a:lnTo>
                        <a:lnTo>
                          <a:pt x="468" y="267"/>
                        </a:lnTo>
                        <a:lnTo>
                          <a:pt x="472" y="266"/>
                        </a:lnTo>
                        <a:lnTo>
                          <a:pt x="473" y="264"/>
                        </a:lnTo>
                        <a:lnTo>
                          <a:pt x="474" y="265"/>
                        </a:lnTo>
                        <a:lnTo>
                          <a:pt x="480" y="266"/>
                        </a:lnTo>
                        <a:lnTo>
                          <a:pt x="483" y="262"/>
                        </a:lnTo>
                        <a:lnTo>
                          <a:pt x="485" y="262"/>
                        </a:lnTo>
                        <a:lnTo>
                          <a:pt x="488" y="261"/>
                        </a:lnTo>
                        <a:lnTo>
                          <a:pt x="493" y="259"/>
                        </a:lnTo>
                        <a:lnTo>
                          <a:pt x="495" y="258"/>
                        </a:lnTo>
                        <a:lnTo>
                          <a:pt x="496" y="255"/>
                        </a:lnTo>
                        <a:lnTo>
                          <a:pt x="500" y="255"/>
                        </a:lnTo>
                        <a:lnTo>
                          <a:pt x="503" y="253"/>
                        </a:lnTo>
                        <a:lnTo>
                          <a:pt x="506" y="252"/>
                        </a:lnTo>
                        <a:lnTo>
                          <a:pt x="509" y="251"/>
                        </a:lnTo>
                        <a:lnTo>
                          <a:pt x="513" y="252"/>
                        </a:lnTo>
                        <a:lnTo>
                          <a:pt x="512" y="249"/>
                        </a:lnTo>
                        <a:lnTo>
                          <a:pt x="515" y="248"/>
                        </a:lnTo>
                        <a:lnTo>
                          <a:pt x="519" y="247"/>
                        </a:lnTo>
                        <a:lnTo>
                          <a:pt x="522" y="245"/>
                        </a:lnTo>
                        <a:lnTo>
                          <a:pt x="522" y="240"/>
                        </a:lnTo>
                        <a:lnTo>
                          <a:pt x="526" y="241"/>
                        </a:lnTo>
                        <a:lnTo>
                          <a:pt x="530" y="239"/>
                        </a:lnTo>
                        <a:lnTo>
                          <a:pt x="532" y="235"/>
                        </a:lnTo>
                        <a:lnTo>
                          <a:pt x="529" y="235"/>
                        </a:lnTo>
                        <a:lnTo>
                          <a:pt x="534" y="234"/>
                        </a:lnTo>
                        <a:lnTo>
                          <a:pt x="538" y="233"/>
                        </a:lnTo>
                        <a:lnTo>
                          <a:pt x="546" y="228"/>
                        </a:lnTo>
                        <a:lnTo>
                          <a:pt x="558" y="220"/>
                        </a:lnTo>
                        <a:lnTo>
                          <a:pt x="546" y="226"/>
                        </a:lnTo>
                        <a:lnTo>
                          <a:pt x="525" y="231"/>
                        </a:lnTo>
                        <a:lnTo>
                          <a:pt x="523" y="227"/>
                        </a:lnTo>
                        <a:lnTo>
                          <a:pt x="529" y="222"/>
                        </a:lnTo>
                        <a:lnTo>
                          <a:pt x="534" y="224"/>
                        </a:lnTo>
                        <a:lnTo>
                          <a:pt x="532" y="220"/>
                        </a:lnTo>
                        <a:lnTo>
                          <a:pt x="518" y="227"/>
                        </a:lnTo>
                        <a:lnTo>
                          <a:pt x="515" y="233"/>
                        </a:lnTo>
                        <a:lnTo>
                          <a:pt x="510" y="234"/>
                        </a:lnTo>
                        <a:lnTo>
                          <a:pt x="510" y="224"/>
                        </a:lnTo>
                        <a:lnTo>
                          <a:pt x="503" y="227"/>
                        </a:lnTo>
                        <a:lnTo>
                          <a:pt x="503" y="221"/>
                        </a:lnTo>
                        <a:lnTo>
                          <a:pt x="472" y="232"/>
                        </a:lnTo>
                        <a:lnTo>
                          <a:pt x="474" y="229"/>
                        </a:lnTo>
                        <a:lnTo>
                          <a:pt x="467" y="229"/>
                        </a:lnTo>
                        <a:lnTo>
                          <a:pt x="479" y="227"/>
                        </a:lnTo>
                        <a:lnTo>
                          <a:pt x="480" y="222"/>
                        </a:lnTo>
                        <a:lnTo>
                          <a:pt x="486" y="221"/>
                        </a:lnTo>
                        <a:lnTo>
                          <a:pt x="481" y="221"/>
                        </a:lnTo>
                        <a:lnTo>
                          <a:pt x="482" y="218"/>
                        </a:lnTo>
                        <a:lnTo>
                          <a:pt x="485" y="218"/>
                        </a:lnTo>
                        <a:lnTo>
                          <a:pt x="487" y="219"/>
                        </a:lnTo>
                        <a:lnTo>
                          <a:pt x="493" y="214"/>
                        </a:lnTo>
                        <a:lnTo>
                          <a:pt x="498" y="212"/>
                        </a:lnTo>
                        <a:lnTo>
                          <a:pt x="500" y="208"/>
                        </a:lnTo>
                        <a:lnTo>
                          <a:pt x="498" y="202"/>
                        </a:lnTo>
                        <a:lnTo>
                          <a:pt x="503" y="199"/>
                        </a:lnTo>
                        <a:lnTo>
                          <a:pt x="498" y="201"/>
                        </a:lnTo>
                        <a:lnTo>
                          <a:pt x="500" y="198"/>
                        </a:lnTo>
                        <a:lnTo>
                          <a:pt x="516" y="191"/>
                        </a:lnTo>
                        <a:lnTo>
                          <a:pt x="514" y="191"/>
                        </a:lnTo>
                        <a:lnTo>
                          <a:pt x="495" y="199"/>
                        </a:lnTo>
                        <a:lnTo>
                          <a:pt x="498" y="201"/>
                        </a:lnTo>
                        <a:lnTo>
                          <a:pt x="493" y="204"/>
                        </a:lnTo>
                        <a:lnTo>
                          <a:pt x="472" y="208"/>
                        </a:lnTo>
                        <a:lnTo>
                          <a:pt x="472" y="205"/>
                        </a:lnTo>
                        <a:lnTo>
                          <a:pt x="476" y="198"/>
                        </a:lnTo>
                        <a:lnTo>
                          <a:pt x="463" y="197"/>
                        </a:lnTo>
                        <a:lnTo>
                          <a:pt x="469" y="194"/>
                        </a:lnTo>
                        <a:lnTo>
                          <a:pt x="462" y="194"/>
                        </a:lnTo>
                        <a:lnTo>
                          <a:pt x="473" y="191"/>
                        </a:lnTo>
                        <a:lnTo>
                          <a:pt x="478" y="188"/>
                        </a:lnTo>
                        <a:lnTo>
                          <a:pt x="485" y="189"/>
                        </a:lnTo>
                        <a:lnTo>
                          <a:pt x="476" y="194"/>
                        </a:lnTo>
                        <a:lnTo>
                          <a:pt x="487" y="189"/>
                        </a:lnTo>
                        <a:lnTo>
                          <a:pt x="490" y="191"/>
                        </a:lnTo>
                        <a:lnTo>
                          <a:pt x="487" y="193"/>
                        </a:lnTo>
                        <a:lnTo>
                          <a:pt x="496" y="189"/>
                        </a:lnTo>
                        <a:lnTo>
                          <a:pt x="494" y="187"/>
                        </a:lnTo>
                        <a:lnTo>
                          <a:pt x="498" y="187"/>
                        </a:lnTo>
                        <a:lnTo>
                          <a:pt x="498" y="185"/>
                        </a:lnTo>
                        <a:lnTo>
                          <a:pt x="490" y="188"/>
                        </a:lnTo>
                        <a:lnTo>
                          <a:pt x="475" y="187"/>
                        </a:lnTo>
                        <a:lnTo>
                          <a:pt x="475" y="186"/>
                        </a:lnTo>
                        <a:lnTo>
                          <a:pt x="480" y="185"/>
                        </a:lnTo>
                        <a:lnTo>
                          <a:pt x="482" y="181"/>
                        </a:lnTo>
                        <a:lnTo>
                          <a:pt x="480" y="182"/>
                        </a:lnTo>
                        <a:lnTo>
                          <a:pt x="479" y="181"/>
                        </a:lnTo>
                        <a:lnTo>
                          <a:pt x="473" y="184"/>
                        </a:lnTo>
                        <a:lnTo>
                          <a:pt x="475" y="178"/>
                        </a:lnTo>
                        <a:lnTo>
                          <a:pt x="480" y="175"/>
                        </a:lnTo>
                        <a:lnTo>
                          <a:pt x="474" y="177"/>
                        </a:lnTo>
                        <a:lnTo>
                          <a:pt x="475" y="174"/>
                        </a:lnTo>
                        <a:lnTo>
                          <a:pt x="479" y="172"/>
                        </a:lnTo>
                        <a:lnTo>
                          <a:pt x="483" y="173"/>
                        </a:lnTo>
                        <a:lnTo>
                          <a:pt x="482" y="171"/>
                        </a:lnTo>
                        <a:lnTo>
                          <a:pt x="490" y="170"/>
                        </a:lnTo>
                        <a:lnTo>
                          <a:pt x="495" y="165"/>
                        </a:lnTo>
                        <a:lnTo>
                          <a:pt x="503" y="165"/>
                        </a:lnTo>
                        <a:lnTo>
                          <a:pt x="505" y="161"/>
                        </a:lnTo>
                        <a:lnTo>
                          <a:pt x="505" y="158"/>
                        </a:lnTo>
                        <a:lnTo>
                          <a:pt x="512" y="158"/>
                        </a:lnTo>
                        <a:lnTo>
                          <a:pt x="514" y="160"/>
                        </a:lnTo>
                        <a:lnTo>
                          <a:pt x="518" y="159"/>
                        </a:lnTo>
                        <a:lnTo>
                          <a:pt x="518" y="157"/>
                        </a:lnTo>
                        <a:lnTo>
                          <a:pt x="519" y="155"/>
                        </a:lnTo>
                        <a:lnTo>
                          <a:pt x="523" y="152"/>
                        </a:lnTo>
                        <a:lnTo>
                          <a:pt x="530" y="148"/>
                        </a:lnTo>
                        <a:lnTo>
                          <a:pt x="535" y="148"/>
                        </a:lnTo>
                        <a:lnTo>
                          <a:pt x="534" y="146"/>
                        </a:lnTo>
                        <a:lnTo>
                          <a:pt x="539" y="144"/>
                        </a:lnTo>
                        <a:lnTo>
                          <a:pt x="548" y="144"/>
                        </a:lnTo>
                        <a:lnTo>
                          <a:pt x="548" y="147"/>
                        </a:lnTo>
                        <a:lnTo>
                          <a:pt x="549" y="148"/>
                        </a:lnTo>
                        <a:lnTo>
                          <a:pt x="560" y="146"/>
                        </a:lnTo>
                        <a:lnTo>
                          <a:pt x="562" y="142"/>
                        </a:lnTo>
                        <a:lnTo>
                          <a:pt x="567" y="145"/>
                        </a:lnTo>
                        <a:lnTo>
                          <a:pt x="572" y="144"/>
                        </a:lnTo>
                        <a:lnTo>
                          <a:pt x="579" y="139"/>
                        </a:lnTo>
                        <a:lnTo>
                          <a:pt x="575" y="140"/>
                        </a:lnTo>
                        <a:lnTo>
                          <a:pt x="592" y="139"/>
                        </a:lnTo>
                        <a:lnTo>
                          <a:pt x="595" y="139"/>
                        </a:lnTo>
                        <a:lnTo>
                          <a:pt x="605" y="137"/>
                        </a:lnTo>
                        <a:lnTo>
                          <a:pt x="608" y="131"/>
                        </a:lnTo>
                        <a:lnTo>
                          <a:pt x="612" y="122"/>
                        </a:lnTo>
                        <a:lnTo>
                          <a:pt x="607" y="122"/>
                        </a:lnTo>
                        <a:lnTo>
                          <a:pt x="612" y="120"/>
                        </a:lnTo>
                        <a:lnTo>
                          <a:pt x="616" y="120"/>
                        </a:lnTo>
                        <a:lnTo>
                          <a:pt x="625" y="117"/>
                        </a:lnTo>
                        <a:lnTo>
                          <a:pt x="627" y="113"/>
                        </a:lnTo>
                        <a:lnTo>
                          <a:pt x="614" y="117"/>
                        </a:lnTo>
                        <a:lnTo>
                          <a:pt x="613" y="115"/>
                        </a:lnTo>
                        <a:lnTo>
                          <a:pt x="608" y="117"/>
                        </a:lnTo>
                        <a:lnTo>
                          <a:pt x="603" y="115"/>
                        </a:lnTo>
                        <a:lnTo>
                          <a:pt x="599" y="121"/>
                        </a:lnTo>
                        <a:lnTo>
                          <a:pt x="596" y="118"/>
                        </a:lnTo>
                        <a:lnTo>
                          <a:pt x="588" y="124"/>
                        </a:lnTo>
                        <a:lnTo>
                          <a:pt x="590" y="118"/>
                        </a:lnTo>
                        <a:lnTo>
                          <a:pt x="586" y="119"/>
                        </a:lnTo>
                        <a:lnTo>
                          <a:pt x="588" y="120"/>
                        </a:lnTo>
                        <a:lnTo>
                          <a:pt x="583" y="122"/>
                        </a:lnTo>
                        <a:lnTo>
                          <a:pt x="579" y="119"/>
                        </a:lnTo>
                        <a:lnTo>
                          <a:pt x="562" y="120"/>
                        </a:lnTo>
                        <a:lnTo>
                          <a:pt x="561" y="121"/>
                        </a:lnTo>
                        <a:lnTo>
                          <a:pt x="558" y="118"/>
                        </a:lnTo>
                        <a:lnTo>
                          <a:pt x="563" y="110"/>
                        </a:lnTo>
                        <a:lnTo>
                          <a:pt x="563" y="107"/>
                        </a:lnTo>
                        <a:lnTo>
                          <a:pt x="555" y="105"/>
                        </a:lnTo>
                        <a:lnTo>
                          <a:pt x="558" y="100"/>
                        </a:lnTo>
                        <a:lnTo>
                          <a:pt x="562" y="97"/>
                        </a:lnTo>
                        <a:lnTo>
                          <a:pt x="567" y="99"/>
                        </a:lnTo>
                        <a:lnTo>
                          <a:pt x="569" y="94"/>
                        </a:lnTo>
                        <a:lnTo>
                          <a:pt x="577" y="94"/>
                        </a:lnTo>
                        <a:lnTo>
                          <a:pt x="583" y="91"/>
                        </a:lnTo>
                        <a:lnTo>
                          <a:pt x="594" y="91"/>
                        </a:lnTo>
                        <a:lnTo>
                          <a:pt x="590" y="90"/>
                        </a:lnTo>
                        <a:lnTo>
                          <a:pt x="594" y="88"/>
                        </a:lnTo>
                        <a:lnTo>
                          <a:pt x="601" y="85"/>
                        </a:lnTo>
                        <a:lnTo>
                          <a:pt x="613" y="84"/>
                        </a:lnTo>
                        <a:lnTo>
                          <a:pt x="621" y="84"/>
                        </a:lnTo>
                        <a:lnTo>
                          <a:pt x="628" y="85"/>
                        </a:lnTo>
                        <a:lnTo>
                          <a:pt x="629" y="81"/>
                        </a:lnTo>
                        <a:lnTo>
                          <a:pt x="636" y="84"/>
                        </a:lnTo>
                        <a:lnTo>
                          <a:pt x="627" y="86"/>
                        </a:lnTo>
                        <a:lnTo>
                          <a:pt x="619" y="88"/>
                        </a:lnTo>
                        <a:lnTo>
                          <a:pt x="608" y="88"/>
                        </a:lnTo>
                        <a:lnTo>
                          <a:pt x="613" y="91"/>
                        </a:lnTo>
                        <a:lnTo>
                          <a:pt x="615" y="91"/>
                        </a:lnTo>
                        <a:lnTo>
                          <a:pt x="616" y="91"/>
                        </a:lnTo>
                        <a:lnTo>
                          <a:pt x="616" y="93"/>
                        </a:lnTo>
                        <a:lnTo>
                          <a:pt x="626" y="94"/>
                        </a:lnTo>
                        <a:lnTo>
                          <a:pt x="637" y="93"/>
                        </a:lnTo>
                        <a:lnTo>
                          <a:pt x="639" y="94"/>
                        </a:lnTo>
                        <a:lnTo>
                          <a:pt x="650" y="90"/>
                        </a:lnTo>
                        <a:lnTo>
                          <a:pt x="654" y="92"/>
                        </a:lnTo>
                        <a:lnTo>
                          <a:pt x="657" y="88"/>
                        </a:lnTo>
                        <a:lnTo>
                          <a:pt x="653" y="87"/>
                        </a:lnTo>
                        <a:lnTo>
                          <a:pt x="646" y="90"/>
                        </a:lnTo>
                        <a:lnTo>
                          <a:pt x="652" y="85"/>
                        </a:lnTo>
                        <a:lnTo>
                          <a:pt x="648" y="81"/>
                        </a:lnTo>
                        <a:lnTo>
                          <a:pt x="654" y="77"/>
                        </a:lnTo>
                        <a:lnTo>
                          <a:pt x="654" y="86"/>
                        </a:lnTo>
                        <a:lnTo>
                          <a:pt x="661" y="85"/>
                        </a:lnTo>
                        <a:lnTo>
                          <a:pt x="666" y="87"/>
                        </a:lnTo>
                        <a:lnTo>
                          <a:pt x="674" y="85"/>
                        </a:lnTo>
                        <a:lnTo>
                          <a:pt x="677" y="82"/>
                        </a:lnTo>
                        <a:lnTo>
                          <a:pt x="669" y="82"/>
                        </a:lnTo>
                        <a:lnTo>
                          <a:pt x="657" y="85"/>
                        </a:lnTo>
                        <a:lnTo>
                          <a:pt x="656" y="81"/>
                        </a:lnTo>
                        <a:lnTo>
                          <a:pt x="668" y="77"/>
                        </a:lnTo>
                        <a:lnTo>
                          <a:pt x="659" y="75"/>
                        </a:lnTo>
                        <a:lnTo>
                          <a:pt x="655" y="77"/>
                        </a:lnTo>
                        <a:lnTo>
                          <a:pt x="661" y="73"/>
                        </a:lnTo>
                        <a:lnTo>
                          <a:pt x="650" y="75"/>
                        </a:lnTo>
                        <a:lnTo>
                          <a:pt x="655" y="68"/>
                        </a:lnTo>
                        <a:lnTo>
                          <a:pt x="654" y="62"/>
                        </a:lnTo>
                        <a:lnTo>
                          <a:pt x="652" y="61"/>
                        </a:lnTo>
                        <a:lnTo>
                          <a:pt x="653" y="60"/>
                        </a:lnTo>
                        <a:lnTo>
                          <a:pt x="652" y="60"/>
                        </a:lnTo>
                        <a:lnTo>
                          <a:pt x="650" y="59"/>
                        </a:lnTo>
                        <a:lnTo>
                          <a:pt x="649" y="59"/>
                        </a:lnTo>
                        <a:lnTo>
                          <a:pt x="647" y="59"/>
                        </a:lnTo>
                        <a:lnTo>
                          <a:pt x="648" y="55"/>
                        </a:lnTo>
                        <a:lnTo>
                          <a:pt x="646" y="55"/>
                        </a:lnTo>
                        <a:lnTo>
                          <a:pt x="646" y="52"/>
                        </a:lnTo>
                        <a:lnTo>
                          <a:pt x="645" y="52"/>
                        </a:lnTo>
                        <a:lnTo>
                          <a:pt x="643" y="50"/>
                        </a:lnTo>
                        <a:lnTo>
                          <a:pt x="645" y="50"/>
                        </a:lnTo>
                        <a:lnTo>
                          <a:pt x="647" y="50"/>
                        </a:lnTo>
                        <a:lnTo>
                          <a:pt x="649" y="50"/>
                        </a:lnTo>
                        <a:lnTo>
                          <a:pt x="652" y="48"/>
                        </a:lnTo>
                        <a:lnTo>
                          <a:pt x="655" y="47"/>
                        </a:lnTo>
                        <a:lnTo>
                          <a:pt x="656" y="46"/>
                        </a:lnTo>
                        <a:lnTo>
                          <a:pt x="656" y="45"/>
                        </a:lnTo>
                        <a:lnTo>
                          <a:pt x="656" y="42"/>
                        </a:lnTo>
                        <a:lnTo>
                          <a:pt x="659" y="44"/>
                        </a:lnTo>
                        <a:lnTo>
                          <a:pt x="660" y="42"/>
                        </a:lnTo>
                        <a:lnTo>
                          <a:pt x="662" y="42"/>
                        </a:lnTo>
                        <a:lnTo>
                          <a:pt x="666" y="42"/>
                        </a:lnTo>
                        <a:lnTo>
                          <a:pt x="668" y="42"/>
                        </a:lnTo>
                        <a:lnTo>
                          <a:pt x="669" y="44"/>
                        </a:lnTo>
                        <a:lnTo>
                          <a:pt x="672" y="42"/>
                        </a:lnTo>
                        <a:lnTo>
                          <a:pt x="673" y="44"/>
                        </a:lnTo>
                        <a:lnTo>
                          <a:pt x="677" y="42"/>
                        </a:lnTo>
                        <a:lnTo>
                          <a:pt x="680" y="42"/>
                        </a:lnTo>
                        <a:lnTo>
                          <a:pt x="685" y="42"/>
                        </a:lnTo>
                        <a:lnTo>
                          <a:pt x="690" y="42"/>
                        </a:lnTo>
                        <a:lnTo>
                          <a:pt x="690" y="39"/>
                        </a:lnTo>
                        <a:lnTo>
                          <a:pt x="692" y="40"/>
                        </a:lnTo>
                        <a:lnTo>
                          <a:pt x="693" y="41"/>
                        </a:lnTo>
                        <a:lnTo>
                          <a:pt x="697" y="40"/>
                        </a:lnTo>
                        <a:lnTo>
                          <a:pt x="700" y="38"/>
                        </a:lnTo>
                        <a:lnTo>
                          <a:pt x="703" y="38"/>
                        </a:lnTo>
                        <a:lnTo>
                          <a:pt x="706" y="38"/>
                        </a:lnTo>
                        <a:lnTo>
                          <a:pt x="708" y="37"/>
                        </a:lnTo>
                        <a:lnTo>
                          <a:pt x="710" y="37"/>
                        </a:lnTo>
                        <a:lnTo>
                          <a:pt x="710" y="35"/>
                        </a:lnTo>
                        <a:lnTo>
                          <a:pt x="713" y="33"/>
                        </a:lnTo>
                        <a:lnTo>
                          <a:pt x="715" y="33"/>
                        </a:lnTo>
                        <a:lnTo>
                          <a:pt x="717" y="33"/>
                        </a:lnTo>
                        <a:lnTo>
                          <a:pt x="717" y="31"/>
                        </a:lnTo>
                        <a:lnTo>
                          <a:pt x="720" y="31"/>
                        </a:lnTo>
                        <a:lnTo>
                          <a:pt x="723" y="30"/>
                        </a:lnTo>
                        <a:lnTo>
                          <a:pt x="726" y="30"/>
                        </a:lnTo>
                        <a:lnTo>
                          <a:pt x="728" y="28"/>
                        </a:lnTo>
                        <a:lnTo>
                          <a:pt x="729" y="26"/>
                        </a:lnTo>
                        <a:lnTo>
                          <a:pt x="732" y="26"/>
                        </a:lnTo>
                        <a:lnTo>
                          <a:pt x="736" y="24"/>
                        </a:lnTo>
                        <a:lnTo>
                          <a:pt x="739" y="24"/>
                        </a:lnTo>
                        <a:lnTo>
                          <a:pt x="740" y="24"/>
                        </a:lnTo>
                        <a:lnTo>
                          <a:pt x="743" y="23"/>
                        </a:lnTo>
                        <a:lnTo>
                          <a:pt x="746" y="21"/>
                        </a:lnTo>
                        <a:lnTo>
                          <a:pt x="748" y="21"/>
                        </a:lnTo>
                        <a:lnTo>
                          <a:pt x="750" y="19"/>
                        </a:lnTo>
                        <a:lnTo>
                          <a:pt x="756" y="19"/>
                        </a:lnTo>
                        <a:lnTo>
                          <a:pt x="761" y="19"/>
                        </a:lnTo>
                        <a:lnTo>
                          <a:pt x="767" y="17"/>
                        </a:lnTo>
                        <a:lnTo>
                          <a:pt x="770" y="15"/>
                        </a:lnTo>
                        <a:lnTo>
                          <a:pt x="774" y="15"/>
                        </a:lnTo>
                        <a:lnTo>
                          <a:pt x="767" y="18"/>
                        </a:lnTo>
                        <a:lnTo>
                          <a:pt x="770" y="18"/>
                        </a:lnTo>
                        <a:lnTo>
                          <a:pt x="769" y="20"/>
                        </a:lnTo>
                        <a:lnTo>
                          <a:pt x="776" y="15"/>
                        </a:lnTo>
                        <a:lnTo>
                          <a:pt x="783" y="14"/>
                        </a:lnTo>
                        <a:lnTo>
                          <a:pt x="781" y="13"/>
                        </a:lnTo>
                        <a:lnTo>
                          <a:pt x="785" y="13"/>
                        </a:lnTo>
                        <a:lnTo>
                          <a:pt x="787" y="12"/>
                        </a:lnTo>
                        <a:lnTo>
                          <a:pt x="788" y="11"/>
                        </a:lnTo>
                        <a:lnTo>
                          <a:pt x="788" y="12"/>
                        </a:lnTo>
                        <a:lnTo>
                          <a:pt x="794" y="10"/>
                        </a:lnTo>
                        <a:lnTo>
                          <a:pt x="797" y="8"/>
                        </a:lnTo>
                        <a:lnTo>
                          <a:pt x="800" y="8"/>
                        </a:lnTo>
                        <a:lnTo>
                          <a:pt x="802" y="12"/>
                        </a:lnTo>
                        <a:lnTo>
                          <a:pt x="804" y="11"/>
                        </a:lnTo>
                        <a:lnTo>
                          <a:pt x="807" y="8"/>
                        </a:lnTo>
                        <a:lnTo>
                          <a:pt x="810" y="10"/>
                        </a:lnTo>
                        <a:lnTo>
                          <a:pt x="812" y="11"/>
                        </a:lnTo>
                        <a:lnTo>
                          <a:pt x="814" y="10"/>
                        </a:lnTo>
                        <a:lnTo>
                          <a:pt x="816" y="8"/>
                        </a:lnTo>
                        <a:lnTo>
                          <a:pt x="822" y="10"/>
                        </a:lnTo>
                        <a:lnTo>
                          <a:pt x="823" y="7"/>
                        </a:lnTo>
                        <a:lnTo>
                          <a:pt x="826" y="7"/>
                        </a:lnTo>
                        <a:lnTo>
                          <a:pt x="830" y="7"/>
                        </a:lnTo>
                        <a:lnTo>
                          <a:pt x="833" y="5"/>
                        </a:lnTo>
                        <a:lnTo>
                          <a:pt x="837" y="4"/>
                        </a:lnTo>
                        <a:lnTo>
                          <a:pt x="839" y="3"/>
                        </a:lnTo>
                        <a:lnTo>
                          <a:pt x="842" y="1"/>
                        </a:lnTo>
                        <a:lnTo>
                          <a:pt x="847" y="1"/>
                        </a:lnTo>
                        <a:lnTo>
                          <a:pt x="848" y="0"/>
                        </a:lnTo>
                        <a:lnTo>
                          <a:pt x="850" y="0"/>
                        </a:lnTo>
                        <a:lnTo>
                          <a:pt x="853" y="0"/>
                        </a:lnTo>
                        <a:lnTo>
                          <a:pt x="854" y="1"/>
                        </a:lnTo>
                        <a:lnTo>
                          <a:pt x="834" y="6"/>
                        </a:lnTo>
                        <a:lnTo>
                          <a:pt x="834" y="7"/>
                        </a:lnTo>
                        <a:lnTo>
                          <a:pt x="835" y="7"/>
                        </a:lnTo>
                        <a:lnTo>
                          <a:pt x="854" y="4"/>
                        </a:lnTo>
                        <a:lnTo>
                          <a:pt x="850" y="6"/>
                        </a:lnTo>
                        <a:lnTo>
                          <a:pt x="854" y="5"/>
                        </a:lnTo>
                        <a:lnTo>
                          <a:pt x="857" y="5"/>
                        </a:lnTo>
                        <a:lnTo>
                          <a:pt x="862" y="5"/>
                        </a:lnTo>
                        <a:lnTo>
                          <a:pt x="864" y="5"/>
                        </a:lnTo>
                        <a:lnTo>
                          <a:pt x="863" y="6"/>
                        </a:lnTo>
                        <a:lnTo>
                          <a:pt x="864" y="8"/>
                        </a:lnTo>
                        <a:lnTo>
                          <a:pt x="867" y="7"/>
                        </a:lnTo>
                        <a:lnTo>
                          <a:pt x="868" y="10"/>
                        </a:lnTo>
                        <a:lnTo>
                          <a:pt x="872" y="10"/>
                        </a:lnTo>
                        <a:lnTo>
                          <a:pt x="873" y="10"/>
                        </a:lnTo>
                        <a:lnTo>
                          <a:pt x="876" y="10"/>
                        </a:lnTo>
                        <a:lnTo>
                          <a:pt x="879" y="8"/>
                        </a:lnTo>
                        <a:lnTo>
                          <a:pt x="881" y="8"/>
                        </a:lnTo>
                        <a:lnTo>
                          <a:pt x="883" y="8"/>
                        </a:lnTo>
                        <a:lnTo>
                          <a:pt x="888" y="10"/>
                        </a:lnTo>
                        <a:lnTo>
                          <a:pt x="889" y="10"/>
                        </a:lnTo>
                        <a:lnTo>
                          <a:pt x="890" y="11"/>
                        </a:lnTo>
                        <a:lnTo>
                          <a:pt x="882" y="10"/>
                        </a:lnTo>
                        <a:lnTo>
                          <a:pt x="887" y="12"/>
                        </a:lnTo>
                        <a:lnTo>
                          <a:pt x="877" y="14"/>
                        </a:lnTo>
                        <a:lnTo>
                          <a:pt x="882" y="14"/>
                        </a:lnTo>
                        <a:lnTo>
                          <a:pt x="886" y="14"/>
                        </a:lnTo>
                        <a:lnTo>
                          <a:pt x="887" y="15"/>
                        </a:lnTo>
                        <a:lnTo>
                          <a:pt x="888" y="15"/>
                        </a:lnTo>
                        <a:lnTo>
                          <a:pt x="892" y="17"/>
                        </a:lnTo>
                        <a:lnTo>
                          <a:pt x="893" y="15"/>
                        </a:lnTo>
                        <a:lnTo>
                          <a:pt x="896" y="17"/>
                        </a:lnTo>
                        <a:lnTo>
                          <a:pt x="900" y="17"/>
                        </a:lnTo>
                        <a:lnTo>
                          <a:pt x="901" y="15"/>
                        </a:lnTo>
                        <a:lnTo>
                          <a:pt x="906" y="15"/>
                        </a:lnTo>
                        <a:lnTo>
                          <a:pt x="909" y="17"/>
                        </a:lnTo>
                        <a:lnTo>
                          <a:pt x="910" y="15"/>
                        </a:lnTo>
                        <a:lnTo>
                          <a:pt x="915" y="17"/>
                        </a:lnTo>
                        <a:lnTo>
                          <a:pt x="916" y="13"/>
                        </a:lnTo>
                        <a:lnTo>
                          <a:pt x="920" y="15"/>
                        </a:lnTo>
                        <a:lnTo>
                          <a:pt x="922" y="15"/>
                        </a:lnTo>
                        <a:lnTo>
                          <a:pt x="924" y="18"/>
                        </a:lnTo>
                        <a:lnTo>
                          <a:pt x="929" y="19"/>
                        </a:lnTo>
                        <a:lnTo>
                          <a:pt x="929" y="20"/>
                        </a:lnTo>
                        <a:lnTo>
                          <a:pt x="933" y="19"/>
                        </a:lnTo>
                        <a:lnTo>
                          <a:pt x="934" y="23"/>
                        </a:lnTo>
                        <a:lnTo>
                          <a:pt x="937" y="21"/>
                        </a:lnTo>
                        <a:lnTo>
                          <a:pt x="941" y="23"/>
                        </a:lnTo>
                        <a:lnTo>
                          <a:pt x="943" y="20"/>
                        </a:lnTo>
                        <a:lnTo>
                          <a:pt x="949" y="21"/>
                        </a:lnTo>
                        <a:lnTo>
                          <a:pt x="955" y="21"/>
                        </a:lnTo>
                        <a:lnTo>
                          <a:pt x="956" y="24"/>
                        </a:lnTo>
                        <a:lnTo>
                          <a:pt x="962" y="25"/>
                        </a:lnTo>
                        <a:lnTo>
                          <a:pt x="964" y="26"/>
                        </a:lnTo>
                        <a:lnTo>
                          <a:pt x="968" y="26"/>
                        </a:lnTo>
                        <a:lnTo>
                          <a:pt x="970" y="24"/>
                        </a:lnTo>
                        <a:lnTo>
                          <a:pt x="974" y="23"/>
                        </a:lnTo>
                        <a:lnTo>
                          <a:pt x="975" y="26"/>
                        </a:lnTo>
                        <a:lnTo>
                          <a:pt x="977" y="23"/>
                        </a:lnTo>
                        <a:lnTo>
                          <a:pt x="980" y="24"/>
                        </a:lnTo>
                        <a:lnTo>
                          <a:pt x="983" y="24"/>
                        </a:lnTo>
                        <a:lnTo>
                          <a:pt x="986" y="23"/>
                        </a:lnTo>
                        <a:lnTo>
                          <a:pt x="988" y="23"/>
                        </a:lnTo>
                        <a:lnTo>
                          <a:pt x="988" y="25"/>
                        </a:lnTo>
                        <a:lnTo>
                          <a:pt x="993" y="25"/>
                        </a:lnTo>
                        <a:lnTo>
                          <a:pt x="995" y="25"/>
                        </a:lnTo>
                        <a:lnTo>
                          <a:pt x="996" y="26"/>
                        </a:lnTo>
                        <a:lnTo>
                          <a:pt x="996" y="30"/>
                        </a:lnTo>
                        <a:lnTo>
                          <a:pt x="999" y="31"/>
                        </a:lnTo>
                        <a:lnTo>
                          <a:pt x="980" y="45"/>
                        </a:lnTo>
                        <a:lnTo>
                          <a:pt x="967" y="57"/>
                        </a:lnTo>
                        <a:lnTo>
                          <a:pt x="849" y="159"/>
                        </a:lnTo>
                        <a:lnTo>
                          <a:pt x="820" y="188"/>
                        </a:lnTo>
                        <a:lnTo>
                          <a:pt x="808" y="199"/>
                        </a:lnTo>
                        <a:lnTo>
                          <a:pt x="808" y="199"/>
                        </a:lnTo>
                        <a:close/>
                        <a:moveTo>
                          <a:pt x="874" y="224"/>
                        </a:moveTo>
                        <a:lnTo>
                          <a:pt x="874" y="221"/>
                        </a:lnTo>
                        <a:lnTo>
                          <a:pt x="875" y="214"/>
                        </a:lnTo>
                        <a:lnTo>
                          <a:pt x="873" y="217"/>
                        </a:lnTo>
                        <a:lnTo>
                          <a:pt x="872" y="217"/>
                        </a:lnTo>
                        <a:lnTo>
                          <a:pt x="870" y="215"/>
                        </a:lnTo>
                        <a:lnTo>
                          <a:pt x="872" y="209"/>
                        </a:lnTo>
                        <a:lnTo>
                          <a:pt x="874" y="212"/>
                        </a:lnTo>
                        <a:lnTo>
                          <a:pt x="877" y="213"/>
                        </a:lnTo>
                        <a:lnTo>
                          <a:pt x="875" y="219"/>
                        </a:lnTo>
                        <a:lnTo>
                          <a:pt x="875" y="220"/>
                        </a:lnTo>
                        <a:lnTo>
                          <a:pt x="874" y="224"/>
                        </a:lnTo>
                        <a:lnTo>
                          <a:pt x="874" y="224"/>
                        </a:lnTo>
                        <a:close/>
                        <a:moveTo>
                          <a:pt x="874" y="281"/>
                        </a:moveTo>
                        <a:lnTo>
                          <a:pt x="875" y="285"/>
                        </a:lnTo>
                        <a:lnTo>
                          <a:pt x="868" y="292"/>
                        </a:lnTo>
                        <a:lnTo>
                          <a:pt x="867" y="293"/>
                        </a:lnTo>
                        <a:lnTo>
                          <a:pt x="866" y="292"/>
                        </a:lnTo>
                        <a:lnTo>
                          <a:pt x="866" y="291"/>
                        </a:lnTo>
                        <a:lnTo>
                          <a:pt x="864" y="291"/>
                        </a:lnTo>
                        <a:lnTo>
                          <a:pt x="868" y="288"/>
                        </a:lnTo>
                        <a:lnTo>
                          <a:pt x="861" y="292"/>
                        </a:lnTo>
                        <a:lnTo>
                          <a:pt x="859" y="298"/>
                        </a:lnTo>
                        <a:lnTo>
                          <a:pt x="857" y="299"/>
                        </a:lnTo>
                        <a:lnTo>
                          <a:pt x="857" y="295"/>
                        </a:lnTo>
                        <a:lnTo>
                          <a:pt x="859" y="293"/>
                        </a:lnTo>
                        <a:lnTo>
                          <a:pt x="857" y="289"/>
                        </a:lnTo>
                        <a:lnTo>
                          <a:pt x="860" y="289"/>
                        </a:lnTo>
                        <a:lnTo>
                          <a:pt x="862" y="288"/>
                        </a:lnTo>
                        <a:lnTo>
                          <a:pt x="864" y="284"/>
                        </a:lnTo>
                        <a:lnTo>
                          <a:pt x="867" y="281"/>
                        </a:lnTo>
                        <a:lnTo>
                          <a:pt x="874" y="281"/>
                        </a:lnTo>
                        <a:lnTo>
                          <a:pt x="874" y="281"/>
                        </a:lnTo>
                        <a:close/>
                        <a:moveTo>
                          <a:pt x="1437" y="434"/>
                        </a:moveTo>
                        <a:lnTo>
                          <a:pt x="1431" y="438"/>
                        </a:lnTo>
                        <a:lnTo>
                          <a:pt x="1422" y="441"/>
                        </a:lnTo>
                        <a:lnTo>
                          <a:pt x="1421" y="440"/>
                        </a:lnTo>
                        <a:lnTo>
                          <a:pt x="1435" y="434"/>
                        </a:lnTo>
                        <a:lnTo>
                          <a:pt x="1437" y="434"/>
                        </a:lnTo>
                        <a:lnTo>
                          <a:pt x="1437" y="434"/>
                        </a:lnTo>
                        <a:close/>
                        <a:moveTo>
                          <a:pt x="1684" y="572"/>
                        </a:moveTo>
                        <a:lnTo>
                          <a:pt x="1684" y="574"/>
                        </a:lnTo>
                        <a:lnTo>
                          <a:pt x="1681" y="574"/>
                        </a:lnTo>
                        <a:lnTo>
                          <a:pt x="1680" y="573"/>
                        </a:lnTo>
                        <a:lnTo>
                          <a:pt x="1682" y="572"/>
                        </a:lnTo>
                        <a:lnTo>
                          <a:pt x="1684" y="572"/>
                        </a:lnTo>
                        <a:lnTo>
                          <a:pt x="1684" y="572"/>
                        </a:lnTo>
                        <a:close/>
                        <a:moveTo>
                          <a:pt x="1408" y="912"/>
                        </a:moveTo>
                        <a:lnTo>
                          <a:pt x="1410" y="914"/>
                        </a:lnTo>
                        <a:lnTo>
                          <a:pt x="1409" y="915"/>
                        </a:lnTo>
                        <a:lnTo>
                          <a:pt x="1406" y="915"/>
                        </a:lnTo>
                        <a:lnTo>
                          <a:pt x="1401" y="916"/>
                        </a:lnTo>
                        <a:lnTo>
                          <a:pt x="1402" y="916"/>
                        </a:lnTo>
                        <a:lnTo>
                          <a:pt x="1403" y="914"/>
                        </a:lnTo>
                        <a:lnTo>
                          <a:pt x="1403" y="914"/>
                        </a:lnTo>
                        <a:lnTo>
                          <a:pt x="1407" y="914"/>
                        </a:lnTo>
                        <a:lnTo>
                          <a:pt x="1408" y="912"/>
                        </a:lnTo>
                        <a:lnTo>
                          <a:pt x="1408" y="912"/>
                        </a:lnTo>
                        <a:close/>
                        <a:moveTo>
                          <a:pt x="1410" y="914"/>
                        </a:moveTo>
                        <a:lnTo>
                          <a:pt x="1408" y="912"/>
                        </a:lnTo>
                        <a:lnTo>
                          <a:pt x="1409" y="913"/>
                        </a:lnTo>
                        <a:lnTo>
                          <a:pt x="1409" y="912"/>
                        </a:lnTo>
                        <a:lnTo>
                          <a:pt x="1410" y="914"/>
                        </a:lnTo>
                        <a:lnTo>
                          <a:pt x="1410" y="914"/>
                        </a:lnTo>
                        <a:lnTo>
                          <a:pt x="1410" y="914"/>
                        </a:lnTo>
                        <a:close/>
                        <a:moveTo>
                          <a:pt x="802" y="742"/>
                        </a:moveTo>
                        <a:lnTo>
                          <a:pt x="803" y="743"/>
                        </a:lnTo>
                        <a:lnTo>
                          <a:pt x="804" y="745"/>
                        </a:lnTo>
                        <a:lnTo>
                          <a:pt x="804" y="745"/>
                        </a:lnTo>
                        <a:lnTo>
                          <a:pt x="804" y="747"/>
                        </a:lnTo>
                        <a:lnTo>
                          <a:pt x="802" y="746"/>
                        </a:lnTo>
                        <a:lnTo>
                          <a:pt x="801" y="745"/>
                        </a:lnTo>
                        <a:lnTo>
                          <a:pt x="802" y="742"/>
                        </a:lnTo>
                        <a:lnTo>
                          <a:pt x="802" y="742"/>
                        </a:lnTo>
                        <a:close/>
                        <a:moveTo>
                          <a:pt x="808" y="732"/>
                        </a:moveTo>
                        <a:lnTo>
                          <a:pt x="808" y="734"/>
                        </a:lnTo>
                        <a:lnTo>
                          <a:pt x="809" y="732"/>
                        </a:lnTo>
                        <a:lnTo>
                          <a:pt x="810" y="736"/>
                        </a:lnTo>
                        <a:lnTo>
                          <a:pt x="809" y="735"/>
                        </a:lnTo>
                        <a:lnTo>
                          <a:pt x="807" y="736"/>
                        </a:lnTo>
                        <a:lnTo>
                          <a:pt x="806" y="735"/>
                        </a:lnTo>
                        <a:lnTo>
                          <a:pt x="806" y="733"/>
                        </a:lnTo>
                        <a:lnTo>
                          <a:pt x="808" y="732"/>
                        </a:lnTo>
                        <a:lnTo>
                          <a:pt x="808" y="732"/>
                        </a:lnTo>
                        <a:close/>
                        <a:moveTo>
                          <a:pt x="788" y="721"/>
                        </a:moveTo>
                        <a:lnTo>
                          <a:pt x="789" y="720"/>
                        </a:lnTo>
                        <a:lnTo>
                          <a:pt x="790" y="720"/>
                        </a:lnTo>
                        <a:lnTo>
                          <a:pt x="793" y="720"/>
                        </a:lnTo>
                        <a:lnTo>
                          <a:pt x="793" y="721"/>
                        </a:lnTo>
                        <a:lnTo>
                          <a:pt x="793" y="722"/>
                        </a:lnTo>
                        <a:lnTo>
                          <a:pt x="790" y="723"/>
                        </a:lnTo>
                        <a:lnTo>
                          <a:pt x="789" y="723"/>
                        </a:lnTo>
                        <a:lnTo>
                          <a:pt x="788" y="721"/>
                        </a:lnTo>
                        <a:lnTo>
                          <a:pt x="788" y="721"/>
                        </a:lnTo>
                        <a:close/>
                        <a:moveTo>
                          <a:pt x="782" y="722"/>
                        </a:moveTo>
                        <a:lnTo>
                          <a:pt x="782" y="721"/>
                        </a:lnTo>
                        <a:lnTo>
                          <a:pt x="785" y="720"/>
                        </a:lnTo>
                        <a:lnTo>
                          <a:pt x="786" y="721"/>
                        </a:lnTo>
                        <a:lnTo>
                          <a:pt x="786" y="723"/>
                        </a:lnTo>
                        <a:lnTo>
                          <a:pt x="785" y="725"/>
                        </a:lnTo>
                        <a:lnTo>
                          <a:pt x="783" y="725"/>
                        </a:lnTo>
                        <a:lnTo>
                          <a:pt x="782" y="722"/>
                        </a:lnTo>
                        <a:lnTo>
                          <a:pt x="782" y="722"/>
                        </a:lnTo>
                        <a:close/>
                        <a:moveTo>
                          <a:pt x="69" y="1030"/>
                        </a:moveTo>
                        <a:lnTo>
                          <a:pt x="69" y="1032"/>
                        </a:lnTo>
                        <a:lnTo>
                          <a:pt x="67" y="1033"/>
                        </a:lnTo>
                        <a:lnTo>
                          <a:pt x="67" y="1032"/>
                        </a:lnTo>
                        <a:lnTo>
                          <a:pt x="65" y="1030"/>
                        </a:lnTo>
                        <a:lnTo>
                          <a:pt x="64" y="1028"/>
                        </a:lnTo>
                        <a:lnTo>
                          <a:pt x="66" y="1023"/>
                        </a:lnTo>
                        <a:lnTo>
                          <a:pt x="65" y="1019"/>
                        </a:lnTo>
                        <a:lnTo>
                          <a:pt x="65" y="1017"/>
                        </a:lnTo>
                        <a:lnTo>
                          <a:pt x="65" y="1016"/>
                        </a:lnTo>
                        <a:lnTo>
                          <a:pt x="65" y="1014"/>
                        </a:lnTo>
                        <a:lnTo>
                          <a:pt x="67" y="1013"/>
                        </a:lnTo>
                        <a:lnTo>
                          <a:pt x="67" y="1013"/>
                        </a:lnTo>
                        <a:lnTo>
                          <a:pt x="68" y="1012"/>
                        </a:lnTo>
                        <a:lnTo>
                          <a:pt x="69" y="1010"/>
                        </a:lnTo>
                        <a:lnTo>
                          <a:pt x="71" y="1009"/>
                        </a:lnTo>
                        <a:lnTo>
                          <a:pt x="69" y="1008"/>
                        </a:lnTo>
                        <a:lnTo>
                          <a:pt x="69" y="1007"/>
                        </a:lnTo>
                        <a:lnTo>
                          <a:pt x="69" y="1006"/>
                        </a:lnTo>
                        <a:lnTo>
                          <a:pt x="71" y="1004"/>
                        </a:lnTo>
                        <a:lnTo>
                          <a:pt x="72" y="1004"/>
                        </a:lnTo>
                        <a:lnTo>
                          <a:pt x="75" y="1008"/>
                        </a:lnTo>
                        <a:lnTo>
                          <a:pt x="75" y="1008"/>
                        </a:lnTo>
                        <a:lnTo>
                          <a:pt x="78" y="1008"/>
                        </a:lnTo>
                        <a:lnTo>
                          <a:pt x="80" y="1010"/>
                        </a:lnTo>
                        <a:lnTo>
                          <a:pt x="82" y="1013"/>
                        </a:lnTo>
                        <a:lnTo>
                          <a:pt x="82" y="1015"/>
                        </a:lnTo>
                        <a:lnTo>
                          <a:pt x="84" y="1015"/>
                        </a:lnTo>
                        <a:lnTo>
                          <a:pt x="84" y="1017"/>
                        </a:lnTo>
                        <a:lnTo>
                          <a:pt x="86" y="1020"/>
                        </a:lnTo>
                        <a:lnTo>
                          <a:pt x="85" y="1021"/>
                        </a:lnTo>
                        <a:lnTo>
                          <a:pt x="82" y="1023"/>
                        </a:lnTo>
                        <a:lnTo>
                          <a:pt x="78" y="1026"/>
                        </a:lnTo>
                        <a:lnTo>
                          <a:pt x="75" y="1026"/>
                        </a:lnTo>
                        <a:lnTo>
                          <a:pt x="74" y="1026"/>
                        </a:lnTo>
                        <a:lnTo>
                          <a:pt x="72" y="1028"/>
                        </a:lnTo>
                        <a:lnTo>
                          <a:pt x="69" y="1030"/>
                        </a:lnTo>
                        <a:lnTo>
                          <a:pt x="69" y="1030"/>
                        </a:lnTo>
                        <a:close/>
                        <a:moveTo>
                          <a:pt x="42" y="979"/>
                        </a:moveTo>
                        <a:lnTo>
                          <a:pt x="41" y="980"/>
                        </a:lnTo>
                        <a:lnTo>
                          <a:pt x="42" y="981"/>
                        </a:lnTo>
                        <a:lnTo>
                          <a:pt x="42" y="980"/>
                        </a:lnTo>
                        <a:lnTo>
                          <a:pt x="44" y="980"/>
                        </a:lnTo>
                        <a:lnTo>
                          <a:pt x="42" y="981"/>
                        </a:lnTo>
                        <a:lnTo>
                          <a:pt x="44" y="983"/>
                        </a:lnTo>
                        <a:lnTo>
                          <a:pt x="44" y="983"/>
                        </a:lnTo>
                        <a:lnTo>
                          <a:pt x="44" y="983"/>
                        </a:lnTo>
                        <a:lnTo>
                          <a:pt x="42" y="984"/>
                        </a:lnTo>
                        <a:lnTo>
                          <a:pt x="42" y="983"/>
                        </a:lnTo>
                        <a:lnTo>
                          <a:pt x="42" y="983"/>
                        </a:lnTo>
                        <a:lnTo>
                          <a:pt x="41" y="984"/>
                        </a:lnTo>
                        <a:lnTo>
                          <a:pt x="39" y="983"/>
                        </a:lnTo>
                        <a:lnTo>
                          <a:pt x="35" y="983"/>
                        </a:lnTo>
                        <a:lnTo>
                          <a:pt x="35" y="982"/>
                        </a:lnTo>
                        <a:lnTo>
                          <a:pt x="34" y="980"/>
                        </a:lnTo>
                        <a:lnTo>
                          <a:pt x="34" y="979"/>
                        </a:lnTo>
                        <a:lnTo>
                          <a:pt x="34" y="977"/>
                        </a:lnTo>
                        <a:lnTo>
                          <a:pt x="38" y="977"/>
                        </a:lnTo>
                        <a:lnTo>
                          <a:pt x="40" y="975"/>
                        </a:lnTo>
                        <a:lnTo>
                          <a:pt x="41" y="976"/>
                        </a:lnTo>
                        <a:lnTo>
                          <a:pt x="41" y="976"/>
                        </a:lnTo>
                        <a:lnTo>
                          <a:pt x="42" y="979"/>
                        </a:lnTo>
                        <a:lnTo>
                          <a:pt x="42" y="979"/>
                        </a:lnTo>
                        <a:close/>
                        <a:moveTo>
                          <a:pt x="56" y="986"/>
                        </a:moveTo>
                        <a:lnTo>
                          <a:pt x="56" y="987"/>
                        </a:lnTo>
                        <a:lnTo>
                          <a:pt x="56" y="987"/>
                        </a:lnTo>
                        <a:lnTo>
                          <a:pt x="55" y="986"/>
                        </a:lnTo>
                        <a:lnTo>
                          <a:pt x="55" y="987"/>
                        </a:lnTo>
                        <a:lnTo>
                          <a:pt x="54" y="986"/>
                        </a:lnTo>
                        <a:lnTo>
                          <a:pt x="55" y="986"/>
                        </a:lnTo>
                        <a:lnTo>
                          <a:pt x="55" y="986"/>
                        </a:lnTo>
                        <a:lnTo>
                          <a:pt x="56" y="986"/>
                        </a:lnTo>
                        <a:lnTo>
                          <a:pt x="56" y="986"/>
                        </a:lnTo>
                        <a:close/>
                        <a:moveTo>
                          <a:pt x="16" y="964"/>
                        </a:moveTo>
                        <a:lnTo>
                          <a:pt x="18" y="964"/>
                        </a:lnTo>
                        <a:lnTo>
                          <a:pt x="19" y="964"/>
                        </a:lnTo>
                        <a:lnTo>
                          <a:pt x="19" y="966"/>
                        </a:lnTo>
                        <a:lnTo>
                          <a:pt x="18" y="968"/>
                        </a:lnTo>
                        <a:lnTo>
                          <a:pt x="18" y="969"/>
                        </a:lnTo>
                        <a:lnTo>
                          <a:pt x="15" y="972"/>
                        </a:lnTo>
                        <a:lnTo>
                          <a:pt x="12" y="972"/>
                        </a:lnTo>
                        <a:lnTo>
                          <a:pt x="12" y="970"/>
                        </a:lnTo>
                        <a:lnTo>
                          <a:pt x="9" y="969"/>
                        </a:lnTo>
                        <a:lnTo>
                          <a:pt x="9" y="968"/>
                        </a:lnTo>
                        <a:lnTo>
                          <a:pt x="9" y="968"/>
                        </a:lnTo>
                        <a:lnTo>
                          <a:pt x="12" y="966"/>
                        </a:lnTo>
                        <a:lnTo>
                          <a:pt x="14" y="964"/>
                        </a:lnTo>
                        <a:lnTo>
                          <a:pt x="15" y="964"/>
                        </a:lnTo>
                        <a:lnTo>
                          <a:pt x="15" y="964"/>
                        </a:lnTo>
                        <a:lnTo>
                          <a:pt x="16" y="964"/>
                        </a:lnTo>
                        <a:lnTo>
                          <a:pt x="16" y="964"/>
                        </a:lnTo>
                        <a:close/>
                        <a:moveTo>
                          <a:pt x="1" y="974"/>
                        </a:moveTo>
                        <a:lnTo>
                          <a:pt x="0" y="973"/>
                        </a:lnTo>
                        <a:lnTo>
                          <a:pt x="1" y="972"/>
                        </a:lnTo>
                        <a:lnTo>
                          <a:pt x="4" y="970"/>
                        </a:lnTo>
                        <a:lnTo>
                          <a:pt x="5" y="968"/>
                        </a:lnTo>
                        <a:lnTo>
                          <a:pt x="5" y="969"/>
                        </a:lnTo>
                        <a:lnTo>
                          <a:pt x="5" y="970"/>
                        </a:lnTo>
                        <a:lnTo>
                          <a:pt x="4" y="972"/>
                        </a:lnTo>
                        <a:lnTo>
                          <a:pt x="2" y="972"/>
                        </a:lnTo>
                        <a:lnTo>
                          <a:pt x="1" y="974"/>
                        </a:lnTo>
                        <a:lnTo>
                          <a:pt x="1" y="974"/>
                        </a:lnTo>
                        <a:close/>
                        <a:moveTo>
                          <a:pt x="61" y="989"/>
                        </a:moveTo>
                        <a:lnTo>
                          <a:pt x="62" y="989"/>
                        </a:lnTo>
                        <a:lnTo>
                          <a:pt x="62" y="992"/>
                        </a:lnTo>
                        <a:lnTo>
                          <a:pt x="67" y="990"/>
                        </a:lnTo>
                        <a:lnTo>
                          <a:pt x="69" y="993"/>
                        </a:lnTo>
                        <a:lnTo>
                          <a:pt x="69" y="993"/>
                        </a:lnTo>
                        <a:lnTo>
                          <a:pt x="71" y="994"/>
                        </a:lnTo>
                        <a:lnTo>
                          <a:pt x="71" y="994"/>
                        </a:lnTo>
                        <a:lnTo>
                          <a:pt x="71" y="995"/>
                        </a:lnTo>
                        <a:lnTo>
                          <a:pt x="69" y="996"/>
                        </a:lnTo>
                        <a:lnTo>
                          <a:pt x="67" y="997"/>
                        </a:lnTo>
                        <a:lnTo>
                          <a:pt x="66" y="997"/>
                        </a:lnTo>
                        <a:lnTo>
                          <a:pt x="65" y="999"/>
                        </a:lnTo>
                        <a:lnTo>
                          <a:pt x="62" y="999"/>
                        </a:lnTo>
                        <a:lnTo>
                          <a:pt x="62" y="997"/>
                        </a:lnTo>
                        <a:lnTo>
                          <a:pt x="62" y="994"/>
                        </a:lnTo>
                        <a:lnTo>
                          <a:pt x="62" y="994"/>
                        </a:lnTo>
                        <a:lnTo>
                          <a:pt x="61" y="994"/>
                        </a:lnTo>
                        <a:lnTo>
                          <a:pt x="60" y="993"/>
                        </a:lnTo>
                        <a:lnTo>
                          <a:pt x="59" y="992"/>
                        </a:lnTo>
                        <a:lnTo>
                          <a:pt x="59" y="990"/>
                        </a:lnTo>
                        <a:lnTo>
                          <a:pt x="60" y="989"/>
                        </a:lnTo>
                        <a:lnTo>
                          <a:pt x="61" y="989"/>
                        </a:lnTo>
                        <a:lnTo>
                          <a:pt x="61" y="989"/>
                        </a:lnTo>
                        <a:close/>
                        <a:moveTo>
                          <a:pt x="56" y="994"/>
                        </a:moveTo>
                        <a:lnTo>
                          <a:pt x="55" y="995"/>
                        </a:lnTo>
                        <a:lnTo>
                          <a:pt x="53" y="995"/>
                        </a:lnTo>
                        <a:lnTo>
                          <a:pt x="53" y="993"/>
                        </a:lnTo>
                        <a:lnTo>
                          <a:pt x="52" y="992"/>
                        </a:lnTo>
                        <a:lnTo>
                          <a:pt x="53" y="992"/>
                        </a:lnTo>
                        <a:lnTo>
                          <a:pt x="55" y="992"/>
                        </a:lnTo>
                        <a:lnTo>
                          <a:pt x="56" y="994"/>
                        </a:lnTo>
                        <a:lnTo>
                          <a:pt x="56" y="994"/>
                        </a:lnTo>
                        <a:close/>
                        <a:moveTo>
                          <a:pt x="56" y="986"/>
                        </a:moveTo>
                        <a:lnTo>
                          <a:pt x="59" y="986"/>
                        </a:lnTo>
                        <a:lnTo>
                          <a:pt x="60" y="987"/>
                        </a:lnTo>
                        <a:lnTo>
                          <a:pt x="59" y="987"/>
                        </a:lnTo>
                        <a:lnTo>
                          <a:pt x="56" y="988"/>
                        </a:lnTo>
                        <a:lnTo>
                          <a:pt x="54" y="988"/>
                        </a:lnTo>
                        <a:lnTo>
                          <a:pt x="53" y="987"/>
                        </a:lnTo>
                        <a:lnTo>
                          <a:pt x="49" y="988"/>
                        </a:lnTo>
                        <a:lnTo>
                          <a:pt x="49" y="987"/>
                        </a:lnTo>
                        <a:lnTo>
                          <a:pt x="51" y="986"/>
                        </a:lnTo>
                        <a:lnTo>
                          <a:pt x="51" y="984"/>
                        </a:lnTo>
                        <a:lnTo>
                          <a:pt x="54" y="986"/>
                        </a:lnTo>
                        <a:lnTo>
                          <a:pt x="55" y="987"/>
                        </a:lnTo>
                        <a:lnTo>
                          <a:pt x="55" y="986"/>
                        </a:lnTo>
                        <a:lnTo>
                          <a:pt x="56" y="987"/>
                        </a:lnTo>
                        <a:lnTo>
                          <a:pt x="56" y="987"/>
                        </a:lnTo>
                        <a:lnTo>
                          <a:pt x="56" y="986"/>
                        </a:lnTo>
                        <a:lnTo>
                          <a:pt x="56" y="986"/>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537" name="Freeform 286">
                    <a:extLst>
                      <a:ext uri="{FF2B5EF4-FFF2-40B4-BE49-F238E27FC236}">
                        <a16:creationId xmlns:a16="http://schemas.microsoft.com/office/drawing/2014/main" id="{B57E0C43-53B8-8E47-A1D3-7BFCB4D0C0A6}"/>
                      </a:ext>
                    </a:extLst>
                  </p:cNvPr>
                  <p:cNvSpPr>
                    <a:spLocks/>
                  </p:cNvSpPr>
                  <p:nvPr>
                    <p:custDataLst>
                      <p:tags r:id="rId15"/>
                    </p:custDataLst>
                  </p:nvPr>
                </p:nvSpPr>
                <p:spPr bwMode="auto">
                  <a:xfrm>
                    <a:off x="1689100" y="2711801"/>
                    <a:ext cx="1598141" cy="800679"/>
                  </a:xfrm>
                  <a:custGeom>
                    <a:avLst/>
                    <a:gdLst>
                      <a:gd name="T0" fmla="*/ 32 w 994"/>
                      <a:gd name="T1" fmla="*/ 304 h 498"/>
                      <a:gd name="T2" fmla="*/ 5 w 994"/>
                      <a:gd name="T3" fmla="*/ 259 h 498"/>
                      <a:gd name="T4" fmla="*/ 2 w 994"/>
                      <a:gd name="T5" fmla="*/ 202 h 498"/>
                      <a:gd name="T6" fmla="*/ 28 w 994"/>
                      <a:gd name="T7" fmla="*/ 135 h 498"/>
                      <a:gd name="T8" fmla="*/ 72 w 994"/>
                      <a:gd name="T9" fmla="*/ 77 h 498"/>
                      <a:gd name="T10" fmla="*/ 85 w 994"/>
                      <a:gd name="T11" fmla="*/ 54 h 498"/>
                      <a:gd name="T12" fmla="*/ 94 w 994"/>
                      <a:gd name="T13" fmla="*/ 18 h 498"/>
                      <a:gd name="T14" fmla="*/ 119 w 994"/>
                      <a:gd name="T15" fmla="*/ 36 h 498"/>
                      <a:gd name="T16" fmla="*/ 128 w 994"/>
                      <a:gd name="T17" fmla="*/ 21 h 498"/>
                      <a:gd name="T18" fmla="*/ 132 w 994"/>
                      <a:gd name="T19" fmla="*/ 14 h 498"/>
                      <a:gd name="T20" fmla="*/ 580 w 994"/>
                      <a:gd name="T21" fmla="*/ 13 h 498"/>
                      <a:gd name="T22" fmla="*/ 633 w 994"/>
                      <a:gd name="T23" fmla="*/ 22 h 498"/>
                      <a:gd name="T24" fmla="*/ 603 w 994"/>
                      <a:gd name="T25" fmla="*/ 48 h 498"/>
                      <a:gd name="T26" fmla="*/ 615 w 994"/>
                      <a:gd name="T27" fmla="*/ 55 h 498"/>
                      <a:gd name="T28" fmla="*/ 663 w 994"/>
                      <a:gd name="T29" fmla="*/ 38 h 498"/>
                      <a:gd name="T30" fmla="*/ 664 w 994"/>
                      <a:gd name="T31" fmla="*/ 48 h 498"/>
                      <a:gd name="T32" fmla="*/ 709 w 994"/>
                      <a:gd name="T33" fmla="*/ 57 h 498"/>
                      <a:gd name="T34" fmla="*/ 684 w 994"/>
                      <a:gd name="T35" fmla="*/ 68 h 498"/>
                      <a:gd name="T36" fmla="*/ 654 w 994"/>
                      <a:gd name="T37" fmla="*/ 90 h 498"/>
                      <a:gd name="T38" fmla="*/ 629 w 994"/>
                      <a:gd name="T39" fmla="*/ 142 h 498"/>
                      <a:gd name="T40" fmla="*/ 679 w 994"/>
                      <a:gd name="T41" fmla="*/ 89 h 498"/>
                      <a:gd name="T42" fmla="*/ 726 w 994"/>
                      <a:gd name="T43" fmla="*/ 83 h 498"/>
                      <a:gd name="T44" fmla="*/ 715 w 994"/>
                      <a:gd name="T45" fmla="*/ 109 h 498"/>
                      <a:gd name="T46" fmla="*/ 696 w 994"/>
                      <a:gd name="T47" fmla="*/ 154 h 498"/>
                      <a:gd name="T48" fmla="*/ 781 w 994"/>
                      <a:gd name="T49" fmla="*/ 122 h 498"/>
                      <a:gd name="T50" fmla="*/ 906 w 994"/>
                      <a:gd name="T51" fmla="*/ 87 h 498"/>
                      <a:gd name="T52" fmla="*/ 975 w 994"/>
                      <a:gd name="T53" fmla="*/ 42 h 498"/>
                      <a:gd name="T54" fmla="*/ 987 w 994"/>
                      <a:gd name="T55" fmla="*/ 83 h 498"/>
                      <a:gd name="T56" fmla="*/ 963 w 994"/>
                      <a:gd name="T57" fmla="*/ 103 h 498"/>
                      <a:gd name="T58" fmla="*/ 953 w 994"/>
                      <a:gd name="T59" fmla="*/ 102 h 498"/>
                      <a:gd name="T60" fmla="*/ 916 w 994"/>
                      <a:gd name="T61" fmla="*/ 127 h 498"/>
                      <a:gd name="T62" fmla="*/ 920 w 994"/>
                      <a:gd name="T63" fmla="*/ 151 h 498"/>
                      <a:gd name="T64" fmla="*/ 900 w 994"/>
                      <a:gd name="T65" fmla="*/ 157 h 498"/>
                      <a:gd name="T66" fmla="*/ 871 w 994"/>
                      <a:gd name="T67" fmla="*/ 168 h 498"/>
                      <a:gd name="T68" fmla="*/ 843 w 994"/>
                      <a:gd name="T69" fmla="*/ 191 h 498"/>
                      <a:gd name="T70" fmla="*/ 814 w 994"/>
                      <a:gd name="T71" fmla="*/ 208 h 498"/>
                      <a:gd name="T72" fmla="*/ 800 w 994"/>
                      <a:gd name="T73" fmla="*/ 230 h 498"/>
                      <a:gd name="T74" fmla="*/ 797 w 994"/>
                      <a:gd name="T75" fmla="*/ 208 h 498"/>
                      <a:gd name="T76" fmla="*/ 791 w 994"/>
                      <a:gd name="T77" fmla="*/ 218 h 498"/>
                      <a:gd name="T78" fmla="*/ 778 w 994"/>
                      <a:gd name="T79" fmla="*/ 223 h 498"/>
                      <a:gd name="T80" fmla="*/ 789 w 994"/>
                      <a:gd name="T81" fmla="*/ 242 h 498"/>
                      <a:gd name="T82" fmla="*/ 789 w 994"/>
                      <a:gd name="T83" fmla="*/ 272 h 498"/>
                      <a:gd name="T84" fmla="*/ 771 w 994"/>
                      <a:gd name="T85" fmla="*/ 284 h 498"/>
                      <a:gd name="T86" fmla="*/ 751 w 994"/>
                      <a:gd name="T87" fmla="*/ 301 h 498"/>
                      <a:gd name="T88" fmla="*/ 708 w 994"/>
                      <a:gd name="T89" fmla="*/ 331 h 498"/>
                      <a:gd name="T90" fmla="*/ 681 w 994"/>
                      <a:gd name="T91" fmla="*/ 352 h 498"/>
                      <a:gd name="T92" fmla="*/ 666 w 994"/>
                      <a:gd name="T93" fmla="*/ 371 h 498"/>
                      <a:gd name="T94" fmla="*/ 671 w 994"/>
                      <a:gd name="T95" fmla="*/ 450 h 498"/>
                      <a:gd name="T96" fmla="*/ 659 w 994"/>
                      <a:gd name="T97" fmla="*/ 492 h 498"/>
                      <a:gd name="T98" fmla="*/ 641 w 994"/>
                      <a:gd name="T99" fmla="*/ 479 h 498"/>
                      <a:gd name="T100" fmla="*/ 633 w 994"/>
                      <a:gd name="T101" fmla="*/ 436 h 498"/>
                      <a:gd name="T102" fmla="*/ 626 w 994"/>
                      <a:gd name="T103" fmla="*/ 401 h 498"/>
                      <a:gd name="T104" fmla="*/ 591 w 994"/>
                      <a:gd name="T105" fmla="*/ 395 h 498"/>
                      <a:gd name="T106" fmla="*/ 519 w 994"/>
                      <a:gd name="T107" fmla="*/ 396 h 498"/>
                      <a:gd name="T108" fmla="*/ 522 w 994"/>
                      <a:gd name="T109" fmla="*/ 415 h 498"/>
                      <a:gd name="T110" fmla="*/ 489 w 994"/>
                      <a:gd name="T111" fmla="*/ 409 h 498"/>
                      <a:gd name="T112" fmla="*/ 443 w 994"/>
                      <a:gd name="T113" fmla="*/ 401 h 498"/>
                      <a:gd name="T114" fmla="*/ 393 w 994"/>
                      <a:gd name="T115" fmla="*/ 426 h 498"/>
                      <a:gd name="T116" fmla="*/ 336 w 994"/>
                      <a:gd name="T117" fmla="*/ 468 h 498"/>
                      <a:gd name="T118" fmla="*/ 257 w 994"/>
                      <a:gd name="T119" fmla="*/ 401 h 498"/>
                      <a:gd name="T120" fmla="*/ 100 w 994"/>
                      <a:gd name="T121" fmla="*/ 338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994" h="498">
                        <a:moveTo>
                          <a:pt x="57" y="341"/>
                        </a:moveTo>
                        <a:lnTo>
                          <a:pt x="57" y="339"/>
                        </a:lnTo>
                        <a:lnTo>
                          <a:pt x="56" y="339"/>
                        </a:lnTo>
                        <a:lnTo>
                          <a:pt x="57" y="336"/>
                        </a:lnTo>
                        <a:lnTo>
                          <a:pt x="56" y="335"/>
                        </a:lnTo>
                        <a:lnTo>
                          <a:pt x="57" y="329"/>
                        </a:lnTo>
                        <a:lnTo>
                          <a:pt x="57" y="325"/>
                        </a:lnTo>
                        <a:lnTo>
                          <a:pt x="55" y="324"/>
                        </a:lnTo>
                        <a:lnTo>
                          <a:pt x="55" y="319"/>
                        </a:lnTo>
                        <a:lnTo>
                          <a:pt x="52" y="319"/>
                        </a:lnTo>
                        <a:lnTo>
                          <a:pt x="49" y="317"/>
                        </a:lnTo>
                        <a:lnTo>
                          <a:pt x="46" y="317"/>
                        </a:lnTo>
                        <a:lnTo>
                          <a:pt x="45" y="317"/>
                        </a:lnTo>
                        <a:lnTo>
                          <a:pt x="46" y="315"/>
                        </a:lnTo>
                        <a:lnTo>
                          <a:pt x="45" y="310"/>
                        </a:lnTo>
                        <a:lnTo>
                          <a:pt x="37" y="310"/>
                        </a:lnTo>
                        <a:lnTo>
                          <a:pt x="33" y="309"/>
                        </a:lnTo>
                        <a:lnTo>
                          <a:pt x="33" y="307"/>
                        </a:lnTo>
                        <a:lnTo>
                          <a:pt x="32" y="304"/>
                        </a:lnTo>
                        <a:lnTo>
                          <a:pt x="26" y="301"/>
                        </a:lnTo>
                        <a:lnTo>
                          <a:pt x="23" y="302"/>
                        </a:lnTo>
                        <a:lnTo>
                          <a:pt x="20" y="302"/>
                        </a:lnTo>
                        <a:lnTo>
                          <a:pt x="20" y="302"/>
                        </a:lnTo>
                        <a:lnTo>
                          <a:pt x="14" y="302"/>
                        </a:lnTo>
                        <a:lnTo>
                          <a:pt x="13" y="299"/>
                        </a:lnTo>
                        <a:lnTo>
                          <a:pt x="14" y="297"/>
                        </a:lnTo>
                        <a:lnTo>
                          <a:pt x="15" y="295"/>
                        </a:lnTo>
                        <a:lnTo>
                          <a:pt x="16" y="291"/>
                        </a:lnTo>
                        <a:lnTo>
                          <a:pt x="18" y="288"/>
                        </a:lnTo>
                        <a:lnTo>
                          <a:pt x="14" y="285"/>
                        </a:lnTo>
                        <a:lnTo>
                          <a:pt x="15" y="282"/>
                        </a:lnTo>
                        <a:lnTo>
                          <a:pt x="13" y="279"/>
                        </a:lnTo>
                        <a:lnTo>
                          <a:pt x="10" y="277"/>
                        </a:lnTo>
                        <a:lnTo>
                          <a:pt x="10" y="275"/>
                        </a:lnTo>
                        <a:lnTo>
                          <a:pt x="10" y="268"/>
                        </a:lnTo>
                        <a:lnTo>
                          <a:pt x="7" y="267"/>
                        </a:lnTo>
                        <a:lnTo>
                          <a:pt x="7" y="264"/>
                        </a:lnTo>
                        <a:lnTo>
                          <a:pt x="5" y="259"/>
                        </a:lnTo>
                        <a:lnTo>
                          <a:pt x="7" y="258"/>
                        </a:lnTo>
                        <a:lnTo>
                          <a:pt x="10" y="257"/>
                        </a:lnTo>
                        <a:lnTo>
                          <a:pt x="13" y="256"/>
                        </a:lnTo>
                        <a:lnTo>
                          <a:pt x="13" y="252"/>
                        </a:lnTo>
                        <a:lnTo>
                          <a:pt x="12" y="250"/>
                        </a:lnTo>
                        <a:lnTo>
                          <a:pt x="8" y="251"/>
                        </a:lnTo>
                        <a:lnTo>
                          <a:pt x="6" y="245"/>
                        </a:lnTo>
                        <a:lnTo>
                          <a:pt x="8" y="242"/>
                        </a:lnTo>
                        <a:lnTo>
                          <a:pt x="7" y="239"/>
                        </a:lnTo>
                        <a:lnTo>
                          <a:pt x="8" y="236"/>
                        </a:lnTo>
                        <a:lnTo>
                          <a:pt x="10" y="232"/>
                        </a:lnTo>
                        <a:lnTo>
                          <a:pt x="6" y="229"/>
                        </a:lnTo>
                        <a:lnTo>
                          <a:pt x="2" y="229"/>
                        </a:lnTo>
                        <a:lnTo>
                          <a:pt x="6" y="227"/>
                        </a:lnTo>
                        <a:lnTo>
                          <a:pt x="6" y="223"/>
                        </a:lnTo>
                        <a:lnTo>
                          <a:pt x="1" y="214"/>
                        </a:lnTo>
                        <a:lnTo>
                          <a:pt x="0" y="210"/>
                        </a:lnTo>
                        <a:lnTo>
                          <a:pt x="2" y="208"/>
                        </a:lnTo>
                        <a:lnTo>
                          <a:pt x="2" y="202"/>
                        </a:lnTo>
                        <a:lnTo>
                          <a:pt x="7" y="195"/>
                        </a:lnTo>
                        <a:lnTo>
                          <a:pt x="6" y="188"/>
                        </a:lnTo>
                        <a:lnTo>
                          <a:pt x="2" y="183"/>
                        </a:lnTo>
                        <a:lnTo>
                          <a:pt x="3" y="180"/>
                        </a:lnTo>
                        <a:lnTo>
                          <a:pt x="14" y="170"/>
                        </a:lnTo>
                        <a:lnTo>
                          <a:pt x="15" y="168"/>
                        </a:lnTo>
                        <a:lnTo>
                          <a:pt x="15" y="165"/>
                        </a:lnTo>
                        <a:lnTo>
                          <a:pt x="21" y="158"/>
                        </a:lnTo>
                        <a:lnTo>
                          <a:pt x="23" y="157"/>
                        </a:lnTo>
                        <a:lnTo>
                          <a:pt x="22" y="154"/>
                        </a:lnTo>
                        <a:lnTo>
                          <a:pt x="21" y="151"/>
                        </a:lnTo>
                        <a:lnTo>
                          <a:pt x="23" y="149"/>
                        </a:lnTo>
                        <a:lnTo>
                          <a:pt x="25" y="148"/>
                        </a:lnTo>
                        <a:lnTo>
                          <a:pt x="26" y="145"/>
                        </a:lnTo>
                        <a:lnTo>
                          <a:pt x="23" y="145"/>
                        </a:lnTo>
                        <a:lnTo>
                          <a:pt x="25" y="144"/>
                        </a:lnTo>
                        <a:lnTo>
                          <a:pt x="23" y="140"/>
                        </a:lnTo>
                        <a:lnTo>
                          <a:pt x="26" y="138"/>
                        </a:lnTo>
                        <a:lnTo>
                          <a:pt x="28" y="135"/>
                        </a:lnTo>
                        <a:lnTo>
                          <a:pt x="28" y="130"/>
                        </a:lnTo>
                        <a:lnTo>
                          <a:pt x="32" y="129"/>
                        </a:lnTo>
                        <a:lnTo>
                          <a:pt x="36" y="121"/>
                        </a:lnTo>
                        <a:lnTo>
                          <a:pt x="40" y="118"/>
                        </a:lnTo>
                        <a:lnTo>
                          <a:pt x="42" y="118"/>
                        </a:lnTo>
                        <a:lnTo>
                          <a:pt x="43" y="115"/>
                        </a:lnTo>
                        <a:lnTo>
                          <a:pt x="47" y="114"/>
                        </a:lnTo>
                        <a:lnTo>
                          <a:pt x="47" y="110"/>
                        </a:lnTo>
                        <a:lnTo>
                          <a:pt x="52" y="108"/>
                        </a:lnTo>
                        <a:lnTo>
                          <a:pt x="53" y="102"/>
                        </a:lnTo>
                        <a:lnTo>
                          <a:pt x="56" y="98"/>
                        </a:lnTo>
                        <a:lnTo>
                          <a:pt x="60" y="92"/>
                        </a:lnTo>
                        <a:lnTo>
                          <a:pt x="60" y="90"/>
                        </a:lnTo>
                        <a:lnTo>
                          <a:pt x="62" y="89"/>
                        </a:lnTo>
                        <a:lnTo>
                          <a:pt x="63" y="87"/>
                        </a:lnTo>
                        <a:lnTo>
                          <a:pt x="66" y="83"/>
                        </a:lnTo>
                        <a:lnTo>
                          <a:pt x="68" y="80"/>
                        </a:lnTo>
                        <a:lnTo>
                          <a:pt x="67" y="78"/>
                        </a:lnTo>
                        <a:lnTo>
                          <a:pt x="72" y="77"/>
                        </a:lnTo>
                        <a:lnTo>
                          <a:pt x="73" y="74"/>
                        </a:lnTo>
                        <a:lnTo>
                          <a:pt x="73" y="71"/>
                        </a:lnTo>
                        <a:lnTo>
                          <a:pt x="75" y="70"/>
                        </a:lnTo>
                        <a:lnTo>
                          <a:pt x="75" y="68"/>
                        </a:lnTo>
                        <a:lnTo>
                          <a:pt x="76" y="67"/>
                        </a:lnTo>
                        <a:lnTo>
                          <a:pt x="77" y="65"/>
                        </a:lnTo>
                        <a:lnTo>
                          <a:pt x="77" y="62"/>
                        </a:lnTo>
                        <a:lnTo>
                          <a:pt x="80" y="63"/>
                        </a:lnTo>
                        <a:lnTo>
                          <a:pt x="85" y="62"/>
                        </a:lnTo>
                        <a:lnTo>
                          <a:pt x="83" y="61"/>
                        </a:lnTo>
                        <a:lnTo>
                          <a:pt x="80" y="62"/>
                        </a:lnTo>
                        <a:lnTo>
                          <a:pt x="79" y="61"/>
                        </a:lnTo>
                        <a:lnTo>
                          <a:pt x="79" y="62"/>
                        </a:lnTo>
                        <a:lnTo>
                          <a:pt x="79" y="60"/>
                        </a:lnTo>
                        <a:lnTo>
                          <a:pt x="82" y="54"/>
                        </a:lnTo>
                        <a:lnTo>
                          <a:pt x="81" y="57"/>
                        </a:lnTo>
                        <a:lnTo>
                          <a:pt x="82" y="57"/>
                        </a:lnTo>
                        <a:lnTo>
                          <a:pt x="85" y="56"/>
                        </a:lnTo>
                        <a:lnTo>
                          <a:pt x="85" y="54"/>
                        </a:lnTo>
                        <a:lnTo>
                          <a:pt x="87" y="53"/>
                        </a:lnTo>
                        <a:lnTo>
                          <a:pt x="85" y="53"/>
                        </a:lnTo>
                        <a:lnTo>
                          <a:pt x="83" y="51"/>
                        </a:lnTo>
                        <a:lnTo>
                          <a:pt x="85" y="49"/>
                        </a:lnTo>
                        <a:lnTo>
                          <a:pt x="85" y="49"/>
                        </a:lnTo>
                        <a:lnTo>
                          <a:pt x="89" y="48"/>
                        </a:lnTo>
                        <a:lnTo>
                          <a:pt x="87" y="45"/>
                        </a:lnTo>
                        <a:lnTo>
                          <a:pt x="85" y="48"/>
                        </a:lnTo>
                        <a:lnTo>
                          <a:pt x="87" y="44"/>
                        </a:lnTo>
                        <a:lnTo>
                          <a:pt x="88" y="42"/>
                        </a:lnTo>
                        <a:lnTo>
                          <a:pt x="87" y="38"/>
                        </a:lnTo>
                        <a:lnTo>
                          <a:pt x="89" y="36"/>
                        </a:lnTo>
                        <a:lnTo>
                          <a:pt x="90" y="31"/>
                        </a:lnTo>
                        <a:lnTo>
                          <a:pt x="90" y="31"/>
                        </a:lnTo>
                        <a:lnTo>
                          <a:pt x="89" y="29"/>
                        </a:lnTo>
                        <a:lnTo>
                          <a:pt x="90" y="27"/>
                        </a:lnTo>
                        <a:lnTo>
                          <a:pt x="90" y="23"/>
                        </a:lnTo>
                        <a:lnTo>
                          <a:pt x="94" y="21"/>
                        </a:lnTo>
                        <a:lnTo>
                          <a:pt x="94" y="18"/>
                        </a:lnTo>
                        <a:lnTo>
                          <a:pt x="103" y="23"/>
                        </a:lnTo>
                        <a:lnTo>
                          <a:pt x="113" y="24"/>
                        </a:lnTo>
                        <a:lnTo>
                          <a:pt x="117" y="23"/>
                        </a:lnTo>
                        <a:lnTo>
                          <a:pt x="119" y="25"/>
                        </a:lnTo>
                        <a:lnTo>
                          <a:pt x="120" y="25"/>
                        </a:lnTo>
                        <a:lnTo>
                          <a:pt x="121" y="24"/>
                        </a:lnTo>
                        <a:lnTo>
                          <a:pt x="122" y="24"/>
                        </a:lnTo>
                        <a:lnTo>
                          <a:pt x="121" y="25"/>
                        </a:lnTo>
                        <a:lnTo>
                          <a:pt x="123" y="24"/>
                        </a:lnTo>
                        <a:lnTo>
                          <a:pt x="121" y="27"/>
                        </a:lnTo>
                        <a:lnTo>
                          <a:pt x="121" y="29"/>
                        </a:lnTo>
                        <a:lnTo>
                          <a:pt x="122" y="29"/>
                        </a:lnTo>
                        <a:lnTo>
                          <a:pt x="122" y="28"/>
                        </a:lnTo>
                        <a:lnTo>
                          <a:pt x="123" y="28"/>
                        </a:lnTo>
                        <a:lnTo>
                          <a:pt x="122" y="31"/>
                        </a:lnTo>
                        <a:lnTo>
                          <a:pt x="120" y="33"/>
                        </a:lnTo>
                        <a:lnTo>
                          <a:pt x="120" y="35"/>
                        </a:lnTo>
                        <a:lnTo>
                          <a:pt x="117" y="36"/>
                        </a:lnTo>
                        <a:lnTo>
                          <a:pt x="119" y="36"/>
                        </a:lnTo>
                        <a:lnTo>
                          <a:pt x="119" y="38"/>
                        </a:lnTo>
                        <a:lnTo>
                          <a:pt x="116" y="40"/>
                        </a:lnTo>
                        <a:lnTo>
                          <a:pt x="115" y="41"/>
                        </a:lnTo>
                        <a:lnTo>
                          <a:pt x="116" y="42"/>
                        </a:lnTo>
                        <a:lnTo>
                          <a:pt x="117" y="41"/>
                        </a:lnTo>
                        <a:lnTo>
                          <a:pt x="120" y="40"/>
                        </a:lnTo>
                        <a:lnTo>
                          <a:pt x="121" y="35"/>
                        </a:lnTo>
                        <a:lnTo>
                          <a:pt x="122" y="35"/>
                        </a:lnTo>
                        <a:lnTo>
                          <a:pt x="121" y="34"/>
                        </a:lnTo>
                        <a:lnTo>
                          <a:pt x="129" y="27"/>
                        </a:lnTo>
                        <a:lnTo>
                          <a:pt x="129" y="22"/>
                        </a:lnTo>
                        <a:lnTo>
                          <a:pt x="128" y="23"/>
                        </a:lnTo>
                        <a:lnTo>
                          <a:pt x="127" y="25"/>
                        </a:lnTo>
                        <a:lnTo>
                          <a:pt x="127" y="23"/>
                        </a:lnTo>
                        <a:lnTo>
                          <a:pt x="128" y="22"/>
                        </a:lnTo>
                        <a:lnTo>
                          <a:pt x="129" y="22"/>
                        </a:lnTo>
                        <a:lnTo>
                          <a:pt x="130" y="21"/>
                        </a:lnTo>
                        <a:lnTo>
                          <a:pt x="129" y="18"/>
                        </a:lnTo>
                        <a:lnTo>
                          <a:pt x="128" y="21"/>
                        </a:lnTo>
                        <a:lnTo>
                          <a:pt x="125" y="22"/>
                        </a:lnTo>
                        <a:lnTo>
                          <a:pt x="125" y="25"/>
                        </a:lnTo>
                        <a:lnTo>
                          <a:pt x="127" y="25"/>
                        </a:lnTo>
                        <a:lnTo>
                          <a:pt x="127" y="28"/>
                        </a:lnTo>
                        <a:lnTo>
                          <a:pt x="125" y="28"/>
                        </a:lnTo>
                        <a:lnTo>
                          <a:pt x="123" y="25"/>
                        </a:lnTo>
                        <a:lnTo>
                          <a:pt x="125" y="23"/>
                        </a:lnTo>
                        <a:lnTo>
                          <a:pt x="123" y="22"/>
                        </a:lnTo>
                        <a:lnTo>
                          <a:pt x="127" y="18"/>
                        </a:lnTo>
                        <a:lnTo>
                          <a:pt x="128" y="17"/>
                        </a:lnTo>
                        <a:lnTo>
                          <a:pt x="130" y="15"/>
                        </a:lnTo>
                        <a:lnTo>
                          <a:pt x="129" y="15"/>
                        </a:lnTo>
                        <a:lnTo>
                          <a:pt x="130" y="14"/>
                        </a:lnTo>
                        <a:lnTo>
                          <a:pt x="130" y="17"/>
                        </a:lnTo>
                        <a:lnTo>
                          <a:pt x="132" y="15"/>
                        </a:lnTo>
                        <a:lnTo>
                          <a:pt x="133" y="15"/>
                        </a:lnTo>
                        <a:lnTo>
                          <a:pt x="134" y="11"/>
                        </a:lnTo>
                        <a:lnTo>
                          <a:pt x="133" y="11"/>
                        </a:lnTo>
                        <a:lnTo>
                          <a:pt x="132" y="14"/>
                        </a:lnTo>
                        <a:lnTo>
                          <a:pt x="130" y="13"/>
                        </a:lnTo>
                        <a:lnTo>
                          <a:pt x="132" y="11"/>
                        </a:lnTo>
                        <a:lnTo>
                          <a:pt x="132" y="8"/>
                        </a:lnTo>
                        <a:lnTo>
                          <a:pt x="141" y="8"/>
                        </a:lnTo>
                        <a:lnTo>
                          <a:pt x="163" y="7"/>
                        </a:lnTo>
                        <a:lnTo>
                          <a:pt x="193" y="7"/>
                        </a:lnTo>
                        <a:lnTo>
                          <a:pt x="227" y="7"/>
                        </a:lnTo>
                        <a:lnTo>
                          <a:pt x="273" y="7"/>
                        </a:lnTo>
                        <a:lnTo>
                          <a:pt x="336" y="7"/>
                        </a:lnTo>
                        <a:lnTo>
                          <a:pt x="397" y="7"/>
                        </a:lnTo>
                        <a:lnTo>
                          <a:pt x="430" y="7"/>
                        </a:lnTo>
                        <a:lnTo>
                          <a:pt x="467" y="7"/>
                        </a:lnTo>
                        <a:lnTo>
                          <a:pt x="519" y="7"/>
                        </a:lnTo>
                        <a:lnTo>
                          <a:pt x="554" y="7"/>
                        </a:lnTo>
                        <a:lnTo>
                          <a:pt x="575" y="0"/>
                        </a:lnTo>
                        <a:lnTo>
                          <a:pt x="577" y="0"/>
                        </a:lnTo>
                        <a:lnTo>
                          <a:pt x="580" y="0"/>
                        </a:lnTo>
                        <a:lnTo>
                          <a:pt x="576" y="11"/>
                        </a:lnTo>
                        <a:lnTo>
                          <a:pt x="580" y="13"/>
                        </a:lnTo>
                        <a:lnTo>
                          <a:pt x="588" y="14"/>
                        </a:lnTo>
                        <a:lnTo>
                          <a:pt x="588" y="16"/>
                        </a:lnTo>
                        <a:lnTo>
                          <a:pt x="601" y="14"/>
                        </a:lnTo>
                        <a:lnTo>
                          <a:pt x="603" y="15"/>
                        </a:lnTo>
                        <a:lnTo>
                          <a:pt x="606" y="17"/>
                        </a:lnTo>
                        <a:lnTo>
                          <a:pt x="607" y="17"/>
                        </a:lnTo>
                        <a:lnTo>
                          <a:pt x="608" y="18"/>
                        </a:lnTo>
                        <a:lnTo>
                          <a:pt x="607" y="18"/>
                        </a:lnTo>
                        <a:lnTo>
                          <a:pt x="608" y="22"/>
                        </a:lnTo>
                        <a:lnTo>
                          <a:pt x="608" y="22"/>
                        </a:lnTo>
                        <a:lnTo>
                          <a:pt x="610" y="22"/>
                        </a:lnTo>
                        <a:lnTo>
                          <a:pt x="610" y="20"/>
                        </a:lnTo>
                        <a:lnTo>
                          <a:pt x="613" y="20"/>
                        </a:lnTo>
                        <a:lnTo>
                          <a:pt x="616" y="22"/>
                        </a:lnTo>
                        <a:lnTo>
                          <a:pt x="617" y="23"/>
                        </a:lnTo>
                        <a:lnTo>
                          <a:pt x="617" y="24"/>
                        </a:lnTo>
                        <a:lnTo>
                          <a:pt x="620" y="24"/>
                        </a:lnTo>
                        <a:lnTo>
                          <a:pt x="619" y="25"/>
                        </a:lnTo>
                        <a:lnTo>
                          <a:pt x="633" y="22"/>
                        </a:lnTo>
                        <a:lnTo>
                          <a:pt x="633" y="24"/>
                        </a:lnTo>
                        <a:lnTo>
                          <a:pt x="642" y="24"/>
                        </a:lnTo>
                        <a:lnTo>
                          <a:pt x="646" y="27"/>
                        </a:lnTo>
                        <a:lnTo>
                          <a:pt x="650" y="27"/>
                        </a:lnTo>
                        <a:lnTo>
                          <a:pt x="644" y="29"/>
                        </a:lnTo>
                        <a:lnTo>
                          <a:pt x="643" y="30"/>
                        </a:lnTo>
                        <a:lnTo>
                          <a:pt x="636" y="31"/>
                        </a:lnTo>
                        <a:lnTo>
                          <a:pt x="631" y="33"/>
                        </a:lnTo>
                        <a:lnTo>
                          <a:pt x="628" y="34"/>
                        </a:lnTo>
                        <a:lnTo>
                          <a:pt x="626" y="34"/>
                        </a:lnTo>
                        <a:lnTo>
                          <a:pt x="622" y="37"/>
                        </a:lnTo>
                        <a:lnTo>
                          <a:pt x="617" y="38"/>
                        </a:lnTo>
                        <a:lnTo>
                          <a:pt x="616" y="38"/>
                        </a:lnTo>
                        <a:lnTo>
                          <a:pt x="613" y="42"/>
                        </a:lnTo>
                        <a:lnTo>
                          <a:pt x="611" y="43"/>
                        </a:lnTo>
                        <a:lnTo>
                          <a:pt x="610" y="44"/>
                        </a:lnTo>
                        <a:lnTo>
                          <a:pt x="607" y="47"/>
                        </a:lnTo>
                        <a:lnTo>
                          <a:pt x="604" y="48"/>
                        </a:lnTo>
                        <a:lnTo>
                          <a:pt x="603" y="48"/>
                        </a:lnTo>
                        <a:lnTo>
                          <a:pt x="601" y="49"/>
                        </a:lnTo>
                        <a:lnTo>
                          <a:pt x="599" y="51"/>
                        </a:lnTo>
                        <a:lnTo>
                          <a:pt x="600" y="53"/>
                        </a:lnTo>
                        <a:lnTo>
                          <a:pt x="601" y="51"/>
                        </a:lnTo>
                        <a:lnTo>
                          <a:pt x="603" y="51"/>
                        </a:lnTo>
                        <a:lnTo>
                          <a:pt x="607" y="51"/>
                        </a:lnTo>
                        <a:lnTo>
                          <a:pt x="607" y="51"/>
                        </a:lnTo>
                        <a:lnTo>
                          <a:pt x="609" y="51"/>
                        </a:lnTo>
                        <a:lnTo>
                          <a:pt x="610" y="50"/>
                        </a:lnTo>
                        <a:lnTo>
                          <a:pt x="614" y="49"/>
                        </a:lnTo>
                        <a:lnTo>
                          <a:pt x="614" y="49"/>
                        </a:lnTo>
                        <a:lnTo>
                          <a:pt x="616" y="48"/>
                        </a:lnTo>
                        <a:lnTo>
                          <a:pt x="617" y="48"/>
                        </a:lnTo>
                        <a:lnTo>
                          <a:pt x="620" y="48"/>
                        </a:lnTo>
                        <a:lnTo>
                          <a:pt x="621" y="49"/>
                        </a:lnTo>
                        <a:lnTo>
                          <a:pt x="619" y="50"/>
                        </a:lnTo>
                        <a:lnTo>
                          <a:pt x="619" y="51"/>
                        </a:lnTo>
                        <a:lnTo>
                          <a:pt x="616" y="53"/>
                        </a:lnTo>
                        <a:lnTo>
                          <a:pt x="615" y="55"/>
                        </a:lnTo>
                        <a:lnTo>
                          <a:pt x="619" y="54"/>
                        </a:lnTo>
                        <a:lnTo>
                          <a:pt x="619" y="53"/>
                        </a:lnTo>
                        <a:lnTo>
                          <a:pt x="622" y="55"/>
                        </a:lnTo>
                        <a:lnTo>
                          <a:pt x="623" y="55"/>
                        </a:lnTo>
                        <a:lnTo>
                          <a:pt x="626" y="54"/>
                        </a:lnTo>
                        <a:lnTo>
                          <a:pt x="627" y="53"/>
                        </a:lnTo>
                        <a:lnTo>
                          <a:pt x="629" y="53"/>
                        </a:lnTo>
                        <a:lnTo>
                          <a:pt x="630" y="53"/>
                        </a:lnTo>
                        <a:lnTo>
                          <a:pt x="634" y="51"/>
                        </a:lnTo>
                        <a:lnTo>
                          <a:pt x="636" y="50"/>
                        </a:lnTo>
                        <a:lnTo>
                          <a:pt x="639" y="50"/>
                        </a:lnTo>
                        <a:lnTo>
                          <a:pt x="642" y="50"/>
                        </a:lnTo>
                        <a:lnTo>
                          <a:pt x="648" y="47"/>
                        </a:lnTo>
                        <a:lnTo>
                          <a:pt x="651" y="45"/>
                        </a:lnTo>
                        <a:lnTo>
                          <a:pt x="654" y="44"/>
                        </a:lnTo>
                        <a:lnTo>
                          <a:pt x="656" y="42"/>
                        </a:lnTo>
                        <a:lnTo>
                          <a:pt x="657" y="41"/>
                        </a:lnTo>
                        <a:lnTo>
                          <a:pt x="661" y="40"/>
                        </a:lnTo>
                        <a:lnTo>
                          <a:pt x="663" y="38"/>
                        </a:lnTo>
                        <a:lnTo>
                          <a:pt x="667" y="37"/>
                        </a:lnTo>
                        <a:lnTo>
                          <a:pt x="670" y="37"/>
                        </a:lnTo>
                        <a:lnTo>
                          <a:pt x="671" y="36"/>
                        </a:lnTo>
                        <a:lnTo>
                          <a:pt x="674" y="37"/>
                        </a:lnTo>
                        <a:lnTo>
                          <a:pt x="674" y="38"/>
                        </a:lnTo>
                        <a:lnTo>
                          <a:pt x="671" y="38"/>
                        </a:lnTo>
                        <a:lnTo>
                          <a:pt x="670" y="38"/>
                        </a:lnTo>
                        <a:lnTo>
                          <a:pt x="669" y="41"/>
                        </a:lnTo>
                        <a:lnTo>
                          <a:pt x="668" y="42"/>
                        </a:lnTo>
                        <a:lnTo>
                          <a:pt x="664" y="43"/>
                        </a:lnTo>
                        <a:lnTo>
                          <a:pt x="662" y="44"/>
                        </a:lnTo>
                        <a:lnTo>
                          <a:pt x="661" y="45"/>
                        </a:lnTo>
                        <a:lnTo>
                          <a:pt x="659" y="48"/>
                        </a:lnTo>
                        <a:lnTo>
                          <a:pt x="657" y="51"/>
                        </a:lnTo>
                        <a:lnTo>
                          <a:pt x="659" y="50"/>
                        </a:lnTo>
                        <a:lnTo>
                          <a:pt x="660" y="49"/>
                        </a:lnTo>
                        <a:lnTo>
                          <a:pt x="663" y="47"/>
                        </a:lnTo>
                        <a:lnTo>
                          <a:pt x="663" y="49"/>
                        </a:lnTo>
                        <a:lnTo>
                          <a:pt x="664" y="48"/>
                        </a:lnTo>
                        <a:lnTo>
                          <a:pt x="668" y="48"/>
                        </a:lnTo>
                        <a:lnTo>
                          <a:pt x="670" y="49"/>
                        </a:lnTo>
                        <a:lnTo>
                          <a:pt x="671" y="53"/>
                        </a:lnTo>
                        <a:lnTo>
                          <a:pt x="673" y="55"/>
                        </a:lnTo>
                        <a:lnTo>
                          <a:pt x="673" y="56"/>
                        </a:lnTo>
                        <a:lnTo>
                          <a:pt x="674" y="57"/>
                        </a:lnTo>
                        <a:lnTo>
                          <a:pt x="676" y="57"/>
                        </a:lnTo>
                        <a:lnTo>
                          <a:pt x="679" y="56"/>
                        </a:lnTo>
                        <a:lnTo>
                          <a:pt x="680" y="58"/>
                        </a:lnTo>
                        <a:lnTo>
                          <a:pt x="682" y="58"/>
                        </a:lnTo>
                        <a:lnTo>
                          <a:pt x="684" y="55"/>
                        </a:lnTo>
                        <a:lnTo>
                          <a:pt x="684" y="57"/>
                        </a:lnTo>
                        <a:lnTo>
                          <a:pt x="693" y="54"/>
                        </a:lnTo>
                        <a:lnTo>
                          <a:pt x="699" y="53"/>
                        </a:lnTo>
                        <a:lnTo>
                          <a:pt x="703" y="54"/>
                        </a:lnTo>
                        <a:lnTo>
                          <a:pt x="708" y="51"/>
                        </a:lnTo>
                        <a:lnTo>
                          <a:pt x="714" y="51"/>
                        </a:lnTo>
                        <a:lnTo>
                          <a:pt x="711" y="53"/>
                        </a:lnTo>
                        <a:lnTo>
                          <a:pt x="709" y="57"/>
                        </a:lnTo>
                        <a:lnTo>
                          <a:pt x="720" y="57"/>
                        </a:lnTo>
                        <a:lnTo>
                          <a:pt x="724" y="56"/>
                        </a:lnTo>
                        <a:lnTo>
                          <a:pt x="722" y="63"/>
                        </a:lnTo>
                        <a:lnTo>
                          <a:pt x="723" y="65"/>
                        </a:lnTo>
                        <a:lnTo>
                          <a:pt x="727" y="64"/>
                        </a:lnTo>
                        <a:lnTo>
                          <a:pt x="729" y="64"/>
                        </a:lnTo>
                        <a:lnTo>
                          <a:pt x="730" y="68"/>
                        </a:lnTo>
                        <a:lnTo>
                          <a:pt x="729" y="69"/>
                        </a:lnTo>
                        <a:lnTo>
                          <a:pt x="720" y="68"/>
                        </a:lnTo>
                        <a:lnTo>
                          <a:pt x="715" y="68"/>
                        </a:lnTo>
                        <a:lnTo>
                          <a:pt x="713" y="65"/>
                        </a:lnTo>
                        <a:lnTo>
                          <a:pt x="711" y="67"/>
                        </a:lnTo>
                        <a:lnTo>
                          <a:pt x="709" y="70"/>
                        </a:lnTo>
                        <a:lnTo>
                          <a:pt x="706" y="67"/>
                        </a:lnTo>
                        <a:lnTo>
                          <a:pt x="702" y="65"/>
                        </a:lnTo>
                        <a:lnTo>
                          <a:pt x="699" y="65"/>
                        </a:lnTo>
                        <a:lnTo>
                          <a:pt x="695" y="68"/>
                        </a:lnTo>
                        <a:lnTo>
                          <a:pt x="691" y="68"/>
                        </a:lnTo>
                        <a:lnTo>
                          <a:pt x="684" y="68"/>
                        </a:lnTo>
                        <a:lnTo>
                          <a:pt x="682" y="71"/>
                        </a:lnTo>
                        <a:lnTo>
                          <a:pt x="680" y="71"/>
                        </a:lnTo>
                        <a:lnTo>
                          <a:pt x="677" y="72"/>
                        </a:lnTo>
                        <a:lnTo>
                          <a:pt x="676" y="75"/>
                        </a:lnTo>
                        <a:lnTo>
                          <a:pt x="675" y="74"/>
                        </a:lnTo>
                        <a:lnTo>
                          <a:pt x="680" y="69"/>
                        </a:lnTo>
                        <a:lnTo>
                          <a:pt x="676" y="70"/>
                        </a:lnTo>
                        <a:lnTo>
                          <a:pt x="674" y="71"/>
                        </a:lnTo>
                        <a:lnTo>
                          <a:pt x="671" y="74"/>
                        </a:lnTo>
                        <a:lnTo>
                          <a:pt x="673" y="71"/>
                        </a:lnTo>
                        <a:lnTo>
                          <a:pt x="671" y="70"/>
                        </a:lnTo>
                        <a:lnTo>
                          <a:pt x="666" y="76"/>
                        </a:lnTo>
                        <a:lnTo>
                          <a:pt x="656" y="85"/>
                        </a:lnTo>
                        <a:lnTo>
                          <a:pt x="654" y="88"/>
                        </a:lnTo>
                        <a:lnTo>
                          <a:pt x="653" y="88"/>
                        </a:lnTo>
                        <a:lnTo>
                          <a:pt x="646" y="94"/>
                        </a:lnTo>
                        <a:lnTo>
                          <a:pt x="646" y="96"/>
                        </a:lnTo>
                        <a:lnTo>
                          <a:pt x="649" y="95"/>
                        </a:lnTo>
                        <a:lnTo>
                          <a:pt x="654" y="90"/>
                        </a:lnTo>
                        <a:lnTo>
                          <a:pt x="657" y="89"/>
                        </a:lnTo>
                        <a:lnTo>
                          <a:pt x="662" y="83"/>
                        </a:lnTo>
                        <a:lnTo>
                          <a:pt x="667" y="81"/>
                        </a:lnTo>
                        <a:lnTo>
                          <a:pt x="667" y="83"/>
                        </a:lnTo>
                        <a:lnTo>
                          <a:pt x="666" y="83"/>
                        </a:lnTo>
                        <a:lnTo>
                          <a:pt x="664" y="85"/>
                        </a:lnTo>
                        <a:lnTo>
                          <a:pt x="656" y="94"/>
                        </a:lnTo>
                        <a:lnTo>
                          <a:pt x="650" y="101"/>
                        </a:lnTo>
                        <a:lnTo>
                          <a:pt x="650" y="103"/>
                        </a:lnTo>
                        <a:lnTo>
                          <a:pt x="647" y="105"/>
                        </a:lnTo>
                        <a:lnTo>
                          <a:pt x="643" y="109"/>
                        </a:lnTo>
                        <a:lnTo>
                          <a:pt x="642" y="114"/>
                        </a:lnTo>
                        <a:lnTo>
                          <a:pt x="640" y="117"/>
                        </a:lnTo>
                        <a:lnTo>
                          <a:pt x="635" y="123"/>
                        </a:lnTo>
                        <a:lnTo>
                          <a:pt x="633" y="130"/>
                        </a:lnTo>
                        <a:lnTo>
                          <a:pt x="634" y="131"/>
                        </a:lnTo>
                        <a:lnTo>
                          <a:pt x="633" y="134"/>
                        </a:lnTo>
                        <a:lnTo>
                          <a:pt x="630" y="138"/>
                        </a:lnTo>
                        <a:lnTo>
                          <a:pt x="629" y="142"/>
                        </a:lnTo>
                        <a:lnTo>
                          <a:pt x="629" y="154"/>
                        </a:lnTo>
                        <a:lnTo>
                          <a:pt x="629" y="154"/>
                        </a:lnTo>
                        <a:lnTo>
                          <a:pt x="634" y="155"/>
                        </a:lnTo>
                        <a:lnTo>
                          <a:pt x="640" y="154"/>
                        </a:lnTo>
                        <a:lnTo>
                          <a:pt x="641" y="152"/>
                        </a:lnTo>
                        <a:lnTo>
                          <a:pt x="646" y="150"/>
                        </a:lnTo>
                        <a:lnTo>
                          <a:pt x="653" y="143"/>
                        </a:lnTo>
                        <a:lnTo>
                          <a:pt x="655" y="140"/>
                        </a:lnTo>
                        <a:lnTo>
                          <a:pt x="660" y="132"/>
                        </a:lnTo>
                        <a:lnTo>
                          <a:pt x="661" y="124"/>
                        </a:lnTo>
                        <a:lnTo>
                          <a:pt x="661" y="118"/>
                        </a:lnTo>
                        <a:lnTo>
                          <a:pt x="661" y="115"/>
                        </a:lnTo>
                        <a:lnTo>
                          <a:pt x="664" y="111"/>
                        </a:lnTo>
                        <a:lnTo>
                          <a:pt x="664" y="107"/>
                        </a:lnTo>
                        <a:lnTo>
                          <a:pt x="668" y="103"/>
                        </a:lnTo>
                        <a:lnTo>
                          <a:pt x="674" y="97"/>
                        </a:lnTo>
                        <a:lnTo>
                          <a:pt x="675" y="92"/>
                        </a:lnTo>
                        <a:lnTo>
                          <a:pt x="679" y="91"/>
                        </a:lnTo>
                        <a:lnTo>
                          <a:pt x="679" y="89"/>
                        </a:lnTo>
                        <a:lnTo>
                          <a:pt x="684" y="88"/>
                        </a:lnTo>
                        <a:lnTo>
                          <a:pt x="690" y="83"/>
                        </a:lnTo>
                        <a:lnTo>
                          <a:pt x="686" y="91"/>
                        </a:lnTo>
                        <a:lnTo>
                          <a:pt x="689" y="87"/>
                        </a:lnTo>
                        <a:lnTo>
                          <a:pt x="687" y="91"/>
                        </a:lnTo>
                        <a:lnTo>
                          <a:pt x="689" y="90"/>
                        </a:lnTo>
                        <a:lnTo>
                          <a:pt x="693" y="83"/>
                        </a:lnTo>
                        <a:lnTo>
                          <a:pt x="695" y="81"/>
                        </a:lnTo>
                        <a:lnTo>
                          <a:pt x="702" y="78"/>
                        </a:lnTo>
                        <a:lnTo>
                          <a:pt x="700" y="77"/>
                        </a:lnTo>
                        <a:lnTo>
                          <a:pt x="701" y="75"/>
                        </a:lnTo>
                        <a:lnTo>
                          <a:pt x="704" y="72"/>
                        </a:lnTo>
                        <a:lnTo>
                          <a:pt x="703" y="71"/>
                        </a:lnTo>
                        <a:lnTo>
                          <a:pt x="708" y="71"/>
                        </a:lnTo>
                        <a:lnTo>
                          <a:pt x="711" y="74"/>
                        </a:lnTo>
                        <a:lnTo>
                          <a:pt x="716" y="75"/>
                        </a:lnTo>
                        <a:lnTo>
                          <a:pt x="716" y="77"/>
                        </a:lnTo>
                        <a:lnTo>
                          <a:pt x="726" y="80"/>
                        </a:lnTo>
                        <a:lnTo>
                          <a:pt x="726" y="83"/>
                        </a:lnTo>
                        <a:lnTo>
                          <a:pt x="726" y="87"/>
                        </a:lnTo>
                        <a:lnTo>
                          <a:pt x="724" y="85"/>
                        </a:lnTo>
                        <a:lnTo>
                          <a:pt x="722" y="87"/>
                        </a:lnTo>
                        <a:lnTo>
                          <a:pt x="723" y="90"/>
                        </a:lnTo>
                        <a:lnTo>
                          <a:pt x="723" y="92"/>
                        </a:lnTo>
                        <a:lnTo>
                          <a:pt x="721" y="97"/>
                        </a:lnTo>
                        <a:lnTo>
                          <a:pt x="720" y="101"/>
                        </a:lnTo>
                        <a:lnTo>
                          <a:pt x="715" y="102"/>
                        </a:lnTo>
                        <a:lnTo>
                          <a:pt x="714" y="104"/>
                        </a:lnTo>
                        <a:lnTo>
                          <a:pt x="713" y="107"/>
                        </a:lnTo>
                        <a:lnTo>
                          <a:pt x="708" y="108"/>
                        </a:lnTo>
                        <a:lnTo>
                          <a:pt x="707" y="109"/>
                        </a:lnTo>
                        <a:lnTo>
                          <a:pt x="704" y="114"/>
                        </a:lnTo>
                        <a:lnTo>
                          <a:pt x="707" y="115"/>
                        </a:lnTo>
                        <a:lnTo>
                          <a:pt x="713" y="112"/>
                        </a:lnTo>
                        <a:lnTo>
                          <a:pt x="714" y="110"/>
                        </a:lnTo>
                        <a:lnTo>
                          <a:pt x="715" y="110"/>
                        </a:lnTo>
                        <a:lnTo>
                          <a:pt x="715" y="109"/>
                        </a:lnTo>
                        <a:lnTo>
                          <a:pt x="715" y="109"/>
                        </a:lnTo>
                        <a:lnTo>
                          <a:pt x="722" y="107"/>
                        </a:lnTo>
                        <a:lnTo>
                          <a:pt x="726" y="108"/>
                        </a:lnTo>
                        <a:lnTo>
                          <a:pt x="727" y="114"/>
                        </a:lnTo>
                        <a:lnTo>
                          <a:pt x="723" y="124"/>
                        </a:lnTo>
                        <a:lnTo>
                          <a:pt x="724" y="128"/>
                        </a:lnTo>
                        <a:lnTo>
                          <a:pt x="718" y="135"/>
                        </a:lnTo>
                        <a:lnTo>
                          <a:pt x="715" y="137"/>
                        </a:lnTo>
                        <a:lnTo>
                          <a:pt x="716" y="135"/>
                        </a:lnTo>
                        <a:lnTo>
                          <a:pt x="717" y="134"/>
                        </a:lnTo>
                        <a:lnTo>
                          <a:pt x="716" y="134"/>
                        </a:lnTo>
                        <a:lnTo>
                          <a:pt x="715" y="135"/>
                        </a:lnTo>
                        <a:lnTo>
                          <a:pt x="715" y="136"/>
                        </a:lnTo>
                        <a:lnTo>
                          <a:pt x="711" y="138"/>
                        </a:lnTo>
                        <a:lnTo>
                          <a:pt x="710" y="141"/>
                        </a:lnTo>
                        <a:lnTo>
                          <a:pt x="707" y="142"/>
                        </a:lnTo>
                        <a:lnTo>
                          <a:pt x="704" y="145"/>
                        </a:lnTo>
                        <a:lnTo>
                          <a:pt x="703" y="147"/>
                        </a:lnTo>
                        <a:lnTo>
                          <a:pt x="699" y="152"/>
                        </a:lnTo>
                        <a:lnTo>
                          <a:pt x="696" y="154"/>
                        </a:lnTo>
                        <a:lnTo>
                          <a:pt x="701" y="155"/>
                        </a:lnTo>
                        <a:lnTo>
                          <a:pt x="702" y="156"/>
                        </a:lnTo>
                        <a:lnTo>
                          <a:pt x="703" y="157"/>
                        </a:lnTo>
                        <a:lnTo>
                          <a:pt x="706" y="156"/>
                        </a:lnTo>
                        <a:lnTo>
                          <a:pt x="710" y="161"/>
                        </a:lnTo>
                        <a:lnTo>
                          <a:pt x="713" y="160"/>
                        </a:lnTo>
                        <a:lnTo>
                          <a:pt x="720" y="158"/>
                        </a:lnTo>
                        <a:lnTo>
                          <a:pt x="723" y="158"/>
                        </a:lnTo>
                        <a:lnTo>
                          <a:pt x="729" y="155"/>
                        </a:lnTo>
                        <a:lnTo>
                          <a:pt x="738" y="151"/>
                        </a:lnTo>
                        <a:lnTo>
                          <a:pt x="747" y="148"/>
                        </a:lnTo>
                        <a:lnTo>
                          <a:pt x="748" y="148"/>
                        </a:lnTo>
                        <a:lnTo>
                          <a:pt x="762" y="142"/>
                        </a:lnTo>
                        <a:lnTo>
                          <a:pt x="775" y="136"/>
                        </a:lnTo>
                        <a:lnTo>
                          <a:pt x="781" y="131"/>
                        </a:lnTo>
                        <a:lnTo>
                          <a:pt x="778" y="130"/>
                        </a:lnTo>
                        <a:lnTo>
                          <a:pt x="780" y="130"/>
                        </a:lnTo>
                        <a:lnTo>
                          <a:pt x="780" y="125"/>
                        </a:lnTo>
                        <a:lnTo>
                          <a:pt x="781" y="122"/>
                        </a:lnTo>
                        <a:lnTo>
                          <a:pt x="791" y="120"/>
                        </a:lnTo>
                        <a:lnTo>
                          <a:pt x="800" y="120"/>
                        </a:lnTo>
                        <a:lnTo>
                          <a:pt x="806" y="123"/>
                        </a:lnTo>
                        <a:lnTo>
                          <a:pt x="809" y="122"/>
                        </a:lnTo>
                        <a:lnTo>
                          <a:pt x="814" y="120"/>
                        </a:lnTo>
                        <a:lnTo>
                          <a:pt x="820" y="121"/>
                        </a:lnTo>
                        <a:lnTo>
                          <a:pt x="822" y="120"/>
                        </a:lnTo>
                        <a:lnTo>
                          <a:pt x="829" y="117"/>
                        </a:lnTo>
                        <a:lnTo>
                          <a:pt x="831" y="114"/>
                        </a:lnTo>
                        <a:lnTo>
                          <a:pt x="830" y="110"/>
                        </a:lnTo>
                        <a:lnTo>
                          <a:pt x="834" y="108"/>
                        </a:lnTo>
                        <a:lnTo>
                          <a:pt x="830" y="107"/>
                        </a:lnTo>
                        <a:lnTo>
                          <a:pt x="831" y="104"/>
                        </a:lnTo>
                        <a:lnTo>
                          <a:pt x="842" y="100"/>
                        </a:lnTo>
                        <a:lnTo>
                          <a:pt x="853" y="92"/>
                        </a:lnTo>
                        <a:lnTo>
                          <a:pt x="866" y="87"/>
                        </a:lnTo>
                        <a:lnTo>
                          <a:pt x="876" y="87"/>
                        </a:lnTo>
                        <a:lnTo>
                          <a:pt x="884" y="87"/>
                        </a:lnTo>
                        <a:lnTo>
                          <a:pt x="906" y="87"/>
                        </a:lnTo>
                        <a:lnTo>
                          <a:pt x="920" y="87"/>
                        </a:lnTo>
                        <a:lnTo>
                          <a:pt x="922" y="82"/>
                        </a:lnTo>
                        <a:lnTo>
                          <a:pt x="924" y="82"/>
                        </a:lnTo>
                        <a:lnTo>
                          <a:pt x="928" y="81"/>
                        </a:lnTo>
                        <a:lnTo>
                          <a:pt x="930" y="81"/>
                        </a:lnTo>
                        <a:lnTo>
                          <a:pt x="930" y="82"/>
                        </a:lnTo>
                        <a:lnTo>
                          <a:pt x="931" y="83"/>
                        </a:lnTo>
                        <a:lnTo>
                          <a:pt x="934" y="78"/>
                        </a:lnTo>
                        <a:lnTo>
                          <a:pt x="936" y="80"/>
                        </a:lnTo>
                        <a:lnTo>
                          <a:pt x="935" y="77"/>
                        </a:lnTo>
                        <a:lnTo>
                          <a:pt x="945" y="69"/>
                        </a:lnTo>
                        <a:lnTo>
                          <a:pt x="945" y="68"/>
                        </a:lnTo>
                        <a:lnTo>
                          <a:pt x="945" y="68"/>
                        </a:lnTo>
                        <a:lnTo>
                          <a:pt x="947" y="63"/>
                        </a:lnTo>
                        <a:lnTo>
                          <a:pt x="953" y="58"/>
                        </a:lnTo>
                        <a:lnTo>
                          <a:pt x="958" y="49"/>
                        </a:lnTo>
                        <a:lnTo>
                          <a:pt x="973" y="40"/>
                        </a:lnTo>
                        <a:lnTo>
                          <a:pt x="976" y="38"/>
                        </a:lnTo>
                        <a:lnTo>
                          <a:pt x="975" y="42"/>
                        </a:lnTo>
                        <a:lnTo>
                          <a:pt x="977" y="43"/>
                        </a:lnTo>
                        <a:lnTo>
                          <a:pt x="982" y="41"/>
                        </a:lnTo>
                        <a:lnTo>
                          <a:pt x="985" y="41"/>
                        </a:lnTo>
                        <a:lnTo>
                          <a:pt x="987" y="40"/>
                        </a:lnTo>
                        <a:lnTo>
                          <a:pt x="989" y="40"/>
                        </a:lnTo>
                        <a:lnTo>
                          <a:pt x="994" y="45"/>
                        </a:lnTo>
                        <a:lnTo>
                          <a:pt x="991" y="45"/>
                        </a:lnTo>
                        <a:lnTo>
                          <a:pt x="991" y="47"/>
                        </a:lnTo>
                        <a:lnTo>
                          <a:pt x="984" y="68"/>
                        </a:lnTo>
                        <a:lnTo>
                          <a:pt x="982" y="74"/>
                        </a:lnTo>
                        <a:lnTo>
                          <a:pt x="984" y="75"/>
                        </a:lnTo>
                        <a:lnTo>
                          <a:pt x="984" y="74"/>
                        </a:lnTo>
                        <a:lnTo>
                          <a:pt x="987" y="75"/>
                        </a:lnTo>
                        <a:lnTo>
                          <a:pt x="987" y="76"/>
                        </a:lnTo>
                        <a:lnTo>
                          <a:pt x="985" y="77"/>
                        </a:lnTo>
                        <a:lnTo>
                          <a:pt x="985" y="80"/>
                        </a:lnTo>
                        <a:lnTo>
                          <a:pt x="984" y="81"/>
                        </a:lnTo>
                        <a:lnTo>
                          <a:pt x="985" y="84"/>
                        </a:lnTo>
                        <a:lnTo>
                          <a:pt x="987" y="83"/>
                        </a:lnTo>
                        <a:lnTo>
                          <a:pt x="988" y="85"/>
                        </a:lnTo>
                        <a:lnTo>
                          <a:pt x="990" y="90"/>
                        </a:lnTo>
                        <a:lnTo>
                          <a:pt x="988" y="92"/>
                        </a:lnTo>
                        <a:lnTo>
                          <a:pt x="987" y="92"/>
                        </a:lnTo>
                        <a:lnTo>
                          <a:pt x="984" y="95"/>
                        </a:lnTo>
                        <a:lnTo>
                          <a:pt x="983" y="95"/>
                        </a:lnTo>
                        <a:lnTo>
                          <a:pt x="983" y="94"/>
                        </a:lnTo>
                        <a:lnTo>
                          <a:pt x="981" y="96"/>
                        </a:lnTo>
                        <a:lnTo>
                          <a:pt x="980" y="95"/>
                        </a:lnTo>
                        <a:lnTo>
                          <a:pt x="981" y="96"/>
                        </a:lnTo>
                        <a:lnTo>
                          <a:pt x="978" y="96"/>
                        </a:lnTo>
                        <a:lnTo>
                          <a:pt x="978" y="97"/>
                        </a:lnTo>
                        <a:lnTo>
                          <a:pt x="976" y="98"/>
                        </a:lnTo>
                        <a:lnTo>
                          <a:pt x="975" y="97"/>
                        </a:lnTo>
                        <a:lnTo>
                          <a:pt x="970" y="98"/>
                        </a:lnTo>
                        <a:lnTo>
                          <a:pt x="969" y="101"/>
                        </a:lnTo>
                        <a:lnTo>
                          <a:pt x="967" y="98"/>
                        </a:lnTo>
                        <a:lnTo>
                          <a:pt x="965" y="102"/>
                        </a:lnTo>
                        <a:lnTo>
                          <a:pt x="963" y="103"/>
                        </a:lnTo>
                        <a:lnTo>
                          <a:pt x="962" y="101"/>
                        </a:lnTo>
                        <a:lnTo>
                          <a:pt x="963" y="100"/>
                        </a:lnTo>
                        <a:lnTo>
                          <a:pt x="963" y="97"/>
                        </a:lnTo>
                        <a:lnTo>
                          <a:pt x="962" y="98"/>
                        </a:lnTo>
                        <a:lnTo>
                          <a:pt x="962" y="101"/>
                        </a:lnTo>
                        <a:lnTo>
                          <a:pt x="960" y="101"/>
                        </a:lnTo>
                        <a:lnTo>
                          <a:pt x="960" y="103"/>
                        </a:lnTo>
                        <a:lnTo>
                          <a:pt x="957" y="105"/>
                        </a:lnTo>
                        <a:lnTo>
                          <a:pt x="958" y="107"/>
                        </a:lnTo>
                        <a:lnTo>
                          <a:pt x="956" y="107"/>
                        </a:lnTo>
                        <a:lnTo>
                          <a:pt x="957" y="105"/>
                        </a:lnTo>
                        <a:lnTo>
                          <a:pt x="956" y="105"/>
                        </a:lnTo>
                        <a:lnTo>
                          <a:pt x="956" y="101"/>
                        </a:lnTo>
                        <a:lnTo>
                          <a:pt x="957" y="98"/>
                        </a:lnTo>
                        <a:lnTo>
                          <a:pt x="957" y="97"/>
                        </a:lnTo>
                        <a:lnTo>
                          <a:pt x="955" y="97"/>
                        </a:lnTo>
                        <a:lnTo>
                          <a:pt x="954" y="98"/>
                        </a:lnTo>
                        <a:lnTo>
                          <a:pt x="954" y="101"/>
                        </a:lnTo>
                        <a:lnTo>
                          <a:pt x="953" y="102"/>
                        </a:lnTo>
                        <a:lnTo>
                          <a:pt x="949" y="108"/>
                        </a:lnTo>
                        <a:lnTo>
                          <a:pt x="948" y="108"/>
                        </a:lnTo>
                        <a:lnTo>
                          <a:pt x="944" y="110"/>
                        </a:lnTo>
                        <a:lnTo>
                          <a:pt x="945" y="109"/>
                        </a:lnTo>
                        <a:lnTo>
                          <a:pt x="943" y="109"/>
                        </a:lnTo>
                        <a:lnTo>
                          <a:pt x="941" y="110"/>
                        </a:lnTo>
                        <a:lnTo>
                          <a:pt x="940" y="112"/>
                        </a:lnTo>
                        <a:lnTo>
                          <a:pt x="940" y="111"/>
                        </a:lnTo>
                        <a:lnTo>
                          <a:pt x="938" y="110"/>
                        </a:lnTo>
                        <a:lnTo>
                          <a:pt x="935" y="114"/>
                        </a:lnTo>
                        <a:lnTo>
                          <a:pt x="935" y="112"/>
                        </a:lnTo>
                        <a:lnTo>
                          <a:pt x="930" y="114"/>
                        </a:lnTo>
                        <a:lnTo>
                          <a:pt x="929" y="116"/>
                        </a:lnTo>
                        <a:lnTo>
                          <a:pt x="928" y="116"/>
                        </a:lnTo>
                        <a:lnTo>
                          <a:pt x="926" y="116"/>
                        </a:lnTo>
                        <a:lnTo>
                          <a:pt x="926" y="118"/>
                        </a:lnTo>
                        <a:lnTo>
                          <a:pt x="921" y="121"/>
                        </a:lnTo>
                        <a:lnTo>
                          <a:pt x="920" y="124"/>
                        </a:lnTo>
                        <a:lnTo>
                          <a:pt x="916" y="127"/>
                        </a:lnTo>
                        <a:lnTo>
                          <a:pt x="914" y="129"/>
                        </a:lnTo>
                        <a:lnTo>
                          <a:pt x="914" y="130"/>
                        </a:lnTo>
                        <a:lnTo>
                          <a:pt x="913" y="134"/>
                        </a:lnTo>
                        <a:lnTo>
                          <a:pt x="916" y="134"/>
                        </a:lnTo>
                        <a:lnTo>
                          <a:pt x="915" y="135"/>
                        </a:lnTo>
                        <a:lnTo>
                          <a:pt x="914" y="136"/>
                        </a:lnTo>
                        <a:lnTo>
                          <a:pt x="910" y="136"/>
                        </a:lnTo>
                        <a:lnTo>
                          <a:pt x="909" y="138"/>
                        </a:lnTo>
                        <a:lnTo>
                          <a:pt x="908" y="142"/>
                        </a:lnTo>
                        <a:lnTo>
                          <a:pt x="909" y="143"/>
                        </a:lnTo>
                        <a:lnTo>
                          <a:pt x="910" y="143"/>
                        </a:lnTo>
                        <a:lnTo>
                          <a:pt x="913" y="144"/>
                        </a:lnTo>
                        <a:lnTo>
                          <a:pt x="911" y="147"/>
                        </a:lnTo>
                        <a:lnTo>
                          <a:pt x="910" y="148"/>
                        </a:lnTo>
                        <a:lnTo>
                          <a:pt x="911" y="149"/>
                        </a:lnTo>
                        <a:lnTo>
                          <a:pt x="911" y="151"/>
                        </a:lnTo>
                        <a:lnTo>
                          <a:pt x="916" y="152"/>
                        </a:lnTo>
                        <a:lnTo>
                          <a:pt x="920" y="152"/>
                        </a:lnTo>
                        <a:lnTo>
                          <a:pt x="920" y="151"/>
                        </a:lnTo>
                        <a:lnTo>
                          <a:pt x="918" y="150"/>
                        </a:lnTo>
                        <a:lnTo>
                          <a:pt x="920" y="150"/>
                        </a:lnTo>
                        <a:lnTo>
                          <a:pt x="918" y="149"/>
                        </a:lnTo>
                        <a:lnTo>
                          <a:pt x="918" y="148"/>
                        </a:lnTo>
                        <a:lnTo>
                          <a:pt x="918" y="147"/>
                        </a:lnTo>
                        <a:lnTo>
                          <a:pt x="921" y="147"/>
                        </a:lnTo>
                        <a:lnTo>
                          <a:pt x="921" y="150"/>
                        </a:lnTo>
                        <a:lnTo>
                          <a:pt x="921" y="154"/>
                        </a:lnTo>
                        <a:lnTo>
                          <a:pt x="920" y="156"/>
                        </a:lnTo>
                        <a:lnTo>
                          <a:pt x="918" y="157"/>
                        </a:lnTo>
                        <a:lnTo>
                          <a:pt x="918" y="155"/>
                        </a:lnTo>
                        <a:lnTo>
                          <a:pt x="908" y="157"/>
                        </a:lnTo>
                        <a:lnTo>
                          <a:pt x="903" y="160"/>
                        </a:lnTo>
                        <a:lnTo>
                          <a:pt x="902" y="160"/>
                        </a:lnTo>
                        <a:lnTo>
                          <a:pt x="906" y="157"/>
                        </a:lnTo>
                        <a:lnTo>
                          <a:pt x="908" y="154"/>
                        </a:lnTo>
                        <a:lnTo>
                          <a:pt x="908" y="154"/>
                        </a:lnTo>
                        <a:lnTo>
                          <a:pt x="901" y="158"/>
                        </a:lnTo>
                        <a:lnTo>
                          <a:pt x="900" y="157"/>
                        </a:lnTo>
                        <a:lnTo>
                          <a:pt x="898" y="158"/>
                        </a:lnTo>
                        <a:lnTo>
                          <a:pt x="898" y="157"/>
                        </a:lnTo>
                        <a:lnTo>
                          <a:pt x="896" y="158"/>
                        </a:lnTo>
                        <a:lnTo>
                          <a:pt x="896" y="160"/>
                        </a:lnTo>
                        <a:lnTo>
                          <a:pt x="895" y="158"/>
                        </a:lnTo>
                        <a:lnTo>
                          <a:pt x="894" y="160"/>
                        </a:lnTo>
                        <a:lnTo>
                          <a:pt x="893" y="161"/>
                        </a:lnTo>
                        <a:lnTo>
                          <a:pt x="886" y="162"/>
                        </a:lnTo>
                        <a:lnTo>
                          <a:pt x="886" y="162"/>
                        </a:lnTo>
                        <a:lnTo>
                          <a:pt x="877" y="163"/>
                        </a:lnTo>
                        <a:lnTo>
                          <a:pt x="875" y="163"/>
                        </a:lnTo>
                        <a:lnTo>
                          <a:pt x="868" y="163"/>
                        </a:lnTo>
                        <a:lnTo>
                          <a:pt x="864" y="165"/>
                        </a:lnTo>
                        <a:lnTo>
                          <a:pt x="858" y="163"/>
                        </a:lnTo>
                        <a:lnTo>
                          <a:pt x="854" y="168"/>
                        </a:lnTo>
                        <a:lnTo>
                          <a:pt x="851" y="170"/>
                        </a:lnTo>
                        <a:lnTo>
                          <a:pt x="851" y="171"/>
                        </a:lnTo>
                        <a:lnTo>
                          <a:pt x="856" y="170"/>
                        </a:lnTo>
                        <a:lnTo>
                          <a:pt x="871" y="168"/>
                        </a:lnTo>
                        <a:lnTo>
                          <a:pt x="878" y="165"/>
                        </a:lnTo>
                        <a:lnTo>
                          <a:pt x="877" y="167"/>
                        </a:lnTo>
                        <a:lnTo>
                          <a:pt x="880" y="168"/>
                        </a:lnTo>
                        <a:lnTo>
                          <a:pt x="883" y="167"/>
                        </a:lnTo>
                        <a:lnTo>
                          <a:pt x="884" y="167"/>
                        </a:lnTo>
                        <a:lnTo>
                          <a:pt x="883" y="169"/>
                        </a:lnTo>
                        <a:lnTo>
                          <a:pt x="873" y="171"/>
                        </a:lnTo>
                        <a:lnTo>
                          <a:pt x="869" y="175"/>
                        </a:lnTo>
                        <a:lnTo>
                          <a:pt x="856" y="176"/>
                        </a:lnTo>
                        <a:lnTo>
                          <a:pt x="850" y="176"/>
                        </a:lnTo>
                        <a:lnTo>
                          <a:pt x="847" y="177"/>
                        </a:lnTo>
                        <a:lnTo>
                          <a:pt x="847" y="177"/>
                        </a:lnTo>
                        <a:lnTo>
                          <a:pt x="846" y="176"/>
                        </a:lnTo>
                        <a:lnTo>
                          <a:pt x="841" y="178"/>
                        </a:lnTo>
                        <a:lnTo>
                          <a:pt x="841" y="180"/>
                        </a:lnTo>
                        <a:lnTo>
                          <a:pt x="844" y="180"/>
                        </a:lnTo>
                        <a:lnTo>
                          <a:pt x="846" y="178"/>
                        </a:lnTo>
                        <a:lnTo>
                          <a:pt x="843" y="187"/>
                        </a:lnTo>
                        <a:lnTo>
                          <a:pt x="843" y="191"/>
                        </a:lnTo>
                        <a:lnTo>
                          <a:pt x="838" y="194"/>
                        </a:lnTo>
                        <a:lnTo>
                          <a:pt x="837" y="196"/>
                        </a:lnTo>
                        <a:lnTo>
                          <a:pt x="834" y="198"/>
                        </a:lnTo>
                        <a:lnTo>
                          <a:pt x="834" y="198"/>
                        </a:lnTo>
                        <a:lnTo>
                          <a:pt x="834" y="199"/>
                        </a:lnTo>
                        <a:lnTo>
                          <a:pt x="829" y="203"/>
                        </a:lnTo>
                        <a:lnTo>
                          <a:pt x="823" y="209"/>
                        </a:lnTo>
                        <a:lnTo>
                          <a:pt x="821" y="210"/>
                        </a:lnTo>
                        <a:lnTo>
                          <a:pt x="820" y="210"/>
                        </a:lnTo>
                        <a:lnTo>
                          <a:pt x="821" y="208"/>
                        </a:lnTo>
                        <a:lnTo>
                          <a:pt x="822" y="205"/>
                        </a:lnTo>
                        <a:lnTo>
                          <a:pt x="817" y="203"/>
                        </a:lnTo>
                        <a:lnTo>
                          <a:pt x="815" y="199"/>
                        </a:lnTo>
                        <a:lnTo>
                          <a:pt x="814" y="198"/>
                        </a:lnTo>
                        <a:lnTo>
                          <a:pt x="814" y="197"/>
                        </a:lnTo>
                        <a:lnTo>
                          <a:pt x="813" y="199"/>
                        </a:lnTo>
                        <a:lnTo>
                          <a:pt x="813" y="202"/>
                        </a:lnTo>
                        <a:lnTo>
                          <a:pt x="815" y="203"/>
                        </a:lnTo>
                        <a:lnTo>
                          <a:pt x="814" y="208"/>
                        </a:lnTo>
                        <a:lnTo>
                          <a:pt x="814" y="210"/>
                        </a:lnTo>
                        <a:lnTo>
                          <a:pt x="815" y="212"/>
                        </a:lnTo>
                        <a:lnTo>
                          <a:pt x="817" y="214"/>
                        </a:lnTo>
                        <a:lnTo>
                          <a:pt x="815" y="221"/>
                        </a:lnTo>
                        <a:lnTo>
                          <a:pt x="813" y="227"/>
                        </a:lnTo>
                        <a:lnTo>
                          <a:pt x="809" y="229"/>
                        </a:lnTo>
                        <a:lnTo>
                          <a:pt x="803" y="234"/>
                        </a:lnTo>
                        <a:lnTo>
                          <a:pt x="803" y="238"/>
                        </a:lnTo>
                        <a:lnTo>
                          <a:pt x="800" y="241"/>
                        </a:lnTo>
                        <a:lnTo>
                          <a:pt x="795" y="245"/>
                        </a:lnTo>
                        <a:lnTo>
                          <a:pt x="793" y="248"/>
                        </a:lnTo>
                        <a:lnTo>
                          <a:pt x="793" y="248"/>
                        </a:lnTo>
                        <a:lnTo>
                          <a:pt x="791" y="244"/>
                        </a:lnTo>
                        <a:lnTo>
                          <a:pt x="795" y="238"/>
                        </a:lnTo>
                        <a:lnTo>
                          <a:pt x="798" y="234"/>
                        </a:lnTo>
                        <a:lnTo>
                          <a:pt x="801" y="232"/>
                        </a:lnTo>
                        <a:lnTo>
                          <a:pt x="800" y="231"/>
                        </a:lnTo>
                        <a:lnTo>
                          <a:pt x="802" y="230"/>
                        </a:lnTo>
                        <a:lnTo>
                          <a:pt x="800" y="230"/>
                        </a:lnTo>
                        <a:lnTo>
                          <a:pt x="797" y="231"/>
                        </a:lnTo>
                        <a:lnTo>
                          <a:pt x="801" y="229"/>
                        </a:lnTo>
                        <a:lnTo>
                          <a:pt x="800" y="225"/>
                        </a:lnTo>
                        <a:lnTo>
                          <a:pt x="800" y="224"/>
                        </a:lnTo>
                        <a:lnTo>
                          <a:pt x="798" y="223"/>
                        </a:lnTo>
                        <a:lnTo>
                          <a:pt x="798" y="222"/>
                        </a:lnTo>
                        <a:lnTo>
                          <a:pt x="794" y="223"/>
                        </a:lnTo>
                        <a:lnTo>
                          <a:pt x="794" y="218"/>
                        </a:lnTo>
                        <a:lnTo>
                          <a:pt x="795" y="218"/>
                        </a:lnTo>
                        <a:lnTo>
                          <a:pt x="795" y="217"/>
                        </a:lnTo>
                        <a:lnTo>
                          <a:pt x="797" y="217"/>
                        </a:lnTo>
                        <a:lnTo>
                          <a:pt x="797" y="215"/>
                        </a:lnTo>
                        <a:lnTo>
                          <a:pt x="795" y="216"/>
                        </a:lnTo>
                        <a:lnTo>
                          <a:pt x="796" y="212"/>
                        </a:lnTo>
                        <a:lnTo>
                          <a:pt x="798" y="212"/>
                        </a:lnTo>
                        <a:lnTo>
                          <a:pt x="798" y="210"/>
                        </a:lnTo>
                        <a:lnTo>
                          <a:pt x="795" y="212"/>
                        </a:lnTo>
                        <a:lnTo>
                          <a:pt x="796" y="210"/>
                        </a:lnTo>
                        <a:lnTo>
                          <a:pt x="797" y="208"/>
                        </a:lnTo>
                        <a:lnTo>
                          <a:pt x="800" y="209"/>
                        </a:lnTo>
                        <a:lnTo>
                          <a:pt x="801" y="207"/>
                        </a:lnTo>
                        <a:lnTo>
                          <a:pt x="798" y="209"/>
                        </a:lnTo>
                        <a:lnTo>
                          <a:pt x="798" y="205"/>
                        </a:lnTo>
                        <a:lnTo>
                          <a:pt x="802" y="202"/>
                        </a:lnTo>
                        <a:lnTo>
                          <a:pt x="804" y="202"/>
                        </a:lnTo>
                        <a:lnTo>
                          <a:pt x="807" y="197"/>
                        </a:lnTo>
                        <a:lnTo>
                          <a:pt x="804" y="198"/>
                        </a:lnTo>
                        <a:lnTo>
                          <a:pt x="804" y="198"/>
                        </a:lnTo>
                        <a:lnTo>
                          <a:pt x="804" y="199"/>
                        </a:lnTo>
                        <a:lnTo>
                          <a:pt x="800" y="203"/>
                        </a:lnTo>
                        <a:lnTo>
                          <a:pt x="800" y="202"/>
                        </a:lnTo>
                        <a:lnTo>
                          <a:pt x="796" y="205"/>
                        </a:lnTo>
                        <a:lnTo>
                          <a:pt x="795" y="204"/>
                        </a:lnTo>
                        <a:lnTo>
                          <a:pt x="795" y="205"/>
                        </a:lnTo>
                        <a:lnTo>
                          <a:pt x="795" y="208"/>
                        </a:lnTo>
                        <a:lnTo>
                          <a:pt x="794" y="209"/>
                        </a:lnTo>
                        <a:lnTo>
                          <a:pt x="793" y="215"/>
                        </a:lnTo>
                        <a:lnTo>
                          <a:pt x="791" y="218"/>
                        </a:lnTo>
                        <a:lnTo>
                          <a:pt x="793" y="222"/>
                        </a:lnTo>
                        <a:lnTo>
                          <a:pt x="791" y="223"/>
                        </a:lnTo>
                        <a:lnTo>
                          <a:pt x="791" y="227"/>
                        </a:lnTo>
                        <a:lnTo>
                          <a:pt x="791" y="229"/>
                        </a:lnTo>
                        <a:lnTo>
                          <a:pt x="784" y="223"/>
                        </a:lnTo>
                        <a:lnTo>
                          <a:pt x="784" y="224"/>
                        </a:lnTo>
                        <a:lnTo>
                          <a:pt x="783" y="223"/>
                        </a:lnTo>
                        <a:lnTo>
                          <a:pt x="782" y="219"/>
                        </a:lnTo>
                        <a:lnTo>
                          <a:pt x="777" y="222"/>
                        </a:lnTo>
                        <a:lnTo>
                          <a:pt x="778" y="218"/>
                        </a:lnTo>
                        <a:lnTo>
                          <a:pt x="782" y="217"/>
                        </a:lnTo>
                        <a:lnTo>
                          <a:pt x="780" y="217"/>
                        </a:lnTo>
                        <a:lnTo>
                          <a:pt x="780" y="216"/>
                        </a:lnTo>
                        <a:lnTo>
                          <a:pt x="778" y="217"/>
                        </a:lnTo>
                        <a:lnTo>
                          <a:pt x="776" y="218"/>
                        </a:lnTo>
                        <a:lnTo>
                          <a:pt x="776" y="219"/>
                        </a:lnTo>
                        <a:lnTo>
                          <a:pt x="776" y="222"/>
                        </a:lnTo>
                        <a:lnTo>
                          <a:pt x="776" y="222"/>
                        </a:lnTo>
                        <a:lnTo>
                          <a:pt x="778" y="223"/>
                        </a:lnTo>
                        <a:lnTo>
                          <a:pt x="781" y="221"/>
                        </a:lnTo>
                        <a:lnTo>
                          <a:pt x="782" y="225"/>
                        </a:lnTo>
                        <a:lnTo>
                          <a:pt x="786" y="225"/>
                        </a:lnTo>
                        <a:lnTo>
                          <a:pt x="787" y="227"/>
                        </a:lnTo>
                        <a:lnTo>
                          <a:pt x="787" y="227"/>
                        </a:lnTo>
                        <a:lnTo>
                          <a:pt x="788" y="229"/>
                        </a:lnTo>
                        <a:lnTo>
                          <a:pt x="791" y="231"/>
                        </a:lnTo>
                        <a:lnTo>
                          <a:pt x="789" y="236"/>
                        </a:lnTo>
                        <a:lnTo>
                          <a:pt x="789" y="237"/>
                        </a:lnTo>
                        <a:lnTo>
                          <a:pt x="786" y="237"/>
                        </a:lnTo>
                        <a:lnTo>
                          <a:pt x="784" y="234"/>
                        </a:lnTo>
                        <a:lnTo>
                          <a:pt x="784" y="231"/>
                        </a:lnTo>
                        <a:lnTo>
                          <a:pt x="783" y="231"/>
                        </a:lnTo>
                        <a:lnTo>
                          <a:pt x="784" y="234"/>
                        </a:lnTo>
                        <a:lnTo>
                          <a:pt x="786" y="237"/>
                        </a:lnTo>
                        <a:lnTo>
                          <a:pt x="789" y="238"/>
                        </a:lnTo>
                        <a:lnTo>
                          <a:pt x="788" y="239"/>
                        </a:lnTo>
                        <a:lnTo>
                          <a:pt x="789" y="239"/>
                        </a:lnTo>
                        <a:lnTo>
                          <a:pt x="789" y="242"/>
                        </a:lnTo>
                        <a:lnTo>
                          <a:pt x="788" y="243"/>
                        </a:lnTo>
                        <a:lnTo>
                          <a:pt x="787" y="242"/>
                        </a:lnTo>
                        <a:lnTo>
                          <a:pt x="787" y="244"/>
                        </a:lnTo>
                        <a:lnTo>
                          <a:pt x="783" y="244"/>
                        </a:lnTo>
                        <a:lnTo>
                          <a:pt x="786" y="245"/>
                        </a:lnTo>
                        <a:lnTo>
                          <a:pt x="784" y="247"/>
                        </a:lnTo>
                        <a:lnTo>
                          <a:pt x="787" y="248"/>
                        </a:lnTo>
                        <a:lnTo>
                          <a:pt x="786" y="250"/>
                        </a:lnTo>
                        <a:lnTo>
                          <a:pt x="786" y="250"/>
                        </a:lnTo>
                        <a:lnTo>
                          <a:pt x="787" y="251"/>
                        </a:lnTo>
                        <a:lnTo>
                          <a:pt x="790" y="251"/>
                        </a:lnTo>
                        <a:lnTo>
                          <a:pt x="791" y="255"/>
                        </a:lnTo>
                        <a:lnTo>
                          <a:pt x="790" y="259"/>
                        </a:lnTo>
                        <a:lnTo>
                          <a:pt x="790" y="259"/>
                        </a:lnTo>
                        <a:lnTo>
                          <a:pt x="790" y="264"/>
                        </a:lnTo>
                        <a:lnTo>
                          <a:pt x="790" y="265"/>
                        </a:lnTo>
                        <a:lnTo>
                          <a:pt x="790" y="268"/>
                        </a:lnTo>
                        <a:lnTo>
                          <a:pt x="790" y="270"/>
                        </a:lnTo>
                        <a:lnTo>
                          <a:pt x="789" y="272"/>
                        </a:lnTo>
                        <a:lnTo>
                          <a:pt x="789" y="274"/>
                        </a:lnTo>
                        <a:lnTo>
                          <a:pt x="790" y="275"/>
                        </a:lnTo>
                        <a:lnTo>
                          <a:pt x="790" y="276"/>
                        </a:lnTo>
                        <a:lnTo>
                          <a:pt x="793" y="277"/>
                        </a:lnTo>
                        <a:lnTo>
                          <a:pt x="793" y="278"/>
                        </a:lnTo>
                        <a:lnTo>
                          <a:pt x="794" y="279"/>
                        </a:lnTo>
                        <a:lnTo>
                          <a:pt x="791" y="282"/>
                        </a:lnTo>
                        <a:lnTo>
                          <a:pt x="790" y="282"/>
                        </a:lnTo>
                        <a:lnTo>
                          <a:pt x="788" y="283"/>
                        </a:lnTo>
                        <a:lnTo>
                          <a:pt x="786" y="282"/>
                        </a:lnTo>
                        <a:lnTo>
                          <a:pt x="783" y="281"/>
                        </a:lnTo>
                        <a:lnTo>
                          <a:pt x="782" y="281"/>
                        </a:lnTo>
                        <a:lnTo>
                          <a:pt x="781" y="281"/>
                        </a:lnTo>
                        <a:lnTo>
                          <a:pt x="775" y="281"/>
                        </a:lnTo>
                        <a:lnTo>
                          <a:pt x="777" y="282"/>
                        </a:lnTo>
                        <a:lnTo>
                          <a:pt x="776" y="283"/>
                        </a:lnTo>
                        <a:lnTo>
                          <a:pt x="774" y="283"/>
                        </a:lnTo>
                        <a:lnTo>
                          <a:pt x="771" y="283"/>
                        </a:lnTo>
                        <a:lnTo>
                          <a:pt x="771" y="284"/>
                        </a:lnTo>
                        <a:lnTo>
                          <a:pt x="770" y="285"/>
                        </a:lnTo>
                        <a:lnTo>
                          <a:pt x="770" y="287"/>
                        </a:lnTo>
                        <a:lnTo>
                          <a:pt x="771" y="287"/>
                        </a:lnTo>
                        <a:lnTo>
                          <a:pt x="774" y="288"/>
                        </a:lnTo>
                        <a:lnTo>
                          <a:pt x="774" y="289"/>
                        </a:lnTo>
                        <a:lnTo>
                          <a:pt x="774" y="292"/>
                        </a:lnTo>
                        <a:lnTo>
                          <a:pt x="773" y="294"/>
                        </a:lnTo>
                        <a:lnTo>
                          <a:pt x="773" y="295"/>
                        </a:lnTo>
                        <a:lnTo>
                          <a:pt x="770" y="294"/>
                        </a:lnTo>
                        <a:lnTo>
                          <a:pt x="769" y="294"/>
                        </a:lnTo>
                        <a:lnTo>
                          <a:pt x="767" y="294"/>
                        </a:lnTo>
                        <a:lnTo>
                          <a:pt x="763" y="294"/>
                        </a:lnTo>
                        <a:lnTo>
                          <a:pt x="763" y="295"/>
                        </a:lnTo>
                        <a:lnTo>
                          <a:pt x="762" y="295"/>
                        </a:lnTo>
                        <a:lnTo>
                          <a:pt x="762" y="297"/>
                        </a:lnTo>
                        <a:lnTo>
                          <a:pt x="760" y="297"/>
                        </a:lnTo>
                        <a:lnTo>
                          <a:pt x="756" y="298"/>
                        </a:lnTo>
                        <a:lnTo>
                          <a:pt x="754" y="299"/>
                        </a:lnTo>
                        <a:lnTo>
                          <a:pt x="751" y="301"/>
                        </a:lnTo>
                        <a:lnTo>
                          <a:pt x="751" y="302"/>
                        </a:lnTo>
                        <a:lnTo>
                          <a:pt x="747" y="305"/>
                        </a:lnTo>
                        <a:lnTo>
                          <a:pt x="744" y="310"/>
                        </a:lnTo>
                        <a:lnTo>
                          <a:pt x="741" y="314"/>
                        </a:lnTo>
                        <a:lnTo>
                          <a:pt x="740" y="315"/>
                        </a:lnTo>
                        <a:lnTo>
                          <a:pt x="740" y="314"/>
                        </a:lnTo>
                        <a:lnTo>
                          <a:pt x="736" y="314"/>
                        </a:lnTo>
                        <a:lnTo>
                          <a:pt x="734" y="312"/>
                        </a:lnTo>
                        <a:lnTo>
                          <a:pt x="731" y="314"/>
                        </a:lnTo>
                        <a:lnTo>
                          <a:pt x="729" y="315"/>
                        </a:lnTo>
                        <a:lnTo>
                          <a:pt x="727" y="315"/>
                        </a:lnTo>
                        <a:lnTo>
                          <a:pt x="726" y="316"/>
                        </a:lnTo>
                        <a:lnTo>
                          <a:pt x="724" y="318"/>
                        </a:lnTo>
                        <a:lnTo>
                          <a:pt x="721" y="319"/>
                        </a:lnTo>
                        <a:lnTo>
                          <a:pt x="717" y="324"/>
                        </a:lnTo>
                        <a:lnTo>
                          <a:pt x="716" y="328"/>
                        </a:lnTo>
                        <a:lnTo>
                          <a:pt x="714" y="330"/>
                        </a:lnTo>
                        <a:lnTo>
                          <a:pt x="711" y="331"/>
                        </a:lnTo>
                        <a:lnTo>
                          <a:pt x="708" y="331"/>
                        </a:lnTo>
                        <a:lnTo>
                          <a:pt x="708" y="334"/>
                        </a:lnTo>
                        <a:lnTo>
                          <a:pt x="704" y="335"/>
                        </a:lnTo>
                        <a:lnTo>
                          <a:pt x="702" y="337"/>
                        </a:lnTo>
                        <a:lnTo>
                          <a:pt x="701" y="337"/>
                        </a:lnTo>
                        <a:lnTo>
                          <a:pt x="699" y="339"/>
                        </a:lnTo>
                        <a:lnTo>
                          <a:pt x="697" y="342"/>
                        </a:lnTo>
                        <a:lnTo>
                          <a:pt x="693" y="342"/>
                        </a:lnTo>
                        <a:lnTo>
                          <a:pt x="693" y="343"/>
                        </a:lnTo>
                        <a:lnTo>
                          <a:pt x="691" y="342"/>
                        </a:lnTo>
                        <a:lnTo>
                          <a:pt x="690" y="341"/>
                        </a:lnTo>
                        <a:lnTo>
                          <a:pt x="689" y="342"/>
                        </a:lnTo>
                        <a:lnTo>
                          <a:pt x="690" y="344"/>
                        </a:lnTo>
                        <a:lnTo>
                          <a:pt x="686" y="348"/>
                        </a:lnTo>
                        <a:lnTo>
                          <a:pt x="682" y="345"/>
                        </a:lnTo>
                        <a:lnTo>
                          <a:pt x="686" y="348"/>
                        </a:lnTo>
                        <a:lnTo>
                          <a:pt x="682" y="350"/>
                        </a:lnTo>
                        <a:lnTo>
                          <a:pt x="681" y="351"/>
                        </a:lnTo>
                        <a:lnTo>
                          <a:pt x="680" y="351"/>
                        </a:lnTo>
                        <a:lnTo>
                          <a:pt x="681" y="352"/>
                        </a:lnTo>
                        <a:lnTo>
                          <a:pt x="681" y="352"/>
                        </a:lnTo>
                        <a:lnTo>
                          <a:pt x="680" y="354"/>
                        </a:lnTo>
                        <a:lnTo>
                          <a:pt x="679" y="354"/>
                        </a:lnTo>
                        <a:lnTo>
                          <a:pt x="679" y="355"/>
                        </a:lnTo>
                        <a:lnTo>
                          <a:pt x="677" y="356"/>
                        </a:lnTo>
                        <a:lnTo>
                          <a:pt x="676" y="355"/>
                        </a:lnTo>
                        <a:lnTo>
                          <a:pt x="676" y="356"/>
                        </a:lnTo>
                        <a:lnTo>
                          <a:pt x="674" y="358"/>
                        </a:lnTo>
                        <a:lnTo>
                          <a:pt x="674" y="358"/>
                        </a:lnTo>
                        <a:lnTo>
                          <a:pt x="674" y="358"/>
                        </a:lnTo>
                        <a:lnTo>
                          <a:pt x="674" y="358"/>
                        </a:lnTo>
                        <a:lnTo>
                          <a:pt x="673" y="362"/>
                        </a:lnTo>
                        <a:lnTo>
                          <a:pt x="673" y="362"/>
                        </a:lnTo>
                        <a:lnTo>
                          <a:pt x="671" y="362"/>
                        </a:lnTo>
                        <a:lnTo>
                          <a:pt x="673" y="363"/>
                        </a:lnTo>
                        <a:lnTo>
                          <a:pt x="670" y="365"/>
                        </a:lnTo>
                        <a:lnTo>
                          <a:pt x="670" y="368"/>
                        </a:lnTo>
                        <a:lnTo>
                          <a:pt x="667" y="370"/>
                        </a:lnTo>
                        <a:lnTo>
                          <a:pt x="666" y="371"/>
                        </a:lnTo>
                        <a:lnTo>
                          <a:pt x="667" y="370"/>
                        </a:lnTo>
                        <a:lnTo>
                          <a:pt x="666" y="372"/>
                        </a:lnTo>
                        <a:lnTo>
                          <a:pt x="666" y="372"/>
                        </a:lnTo>
                        <a:lnTo>
                          <a:pt x="666" y="374"/>
                        </a:lnTo>
                        <a:lnTo>
                          <a:pt x="667" y="374"/>
                        </a:lnTo>
                        <a:lnTo>
                          <a:pt x="664" y="379"/>
                        </a:lnTo>
                        <a:lnTo>
                          <a:pt x="664" y="381"/>
                        </a:lnTo>
                        <a:lnTo>
                          <a:pt x="663" y="383"/>
                        </a:lnTo>
                        <a:lnTo>
                          <a:pt x="663" y="383"/>
                        </a:lnTo>
                        <a:lnTo>
                          <a:pt x="663" y="389"/>
                        </a:lnTo>
                        <a:lnTo>
                          <a:pt x="664" y="394"/>
                        </a:lnTo>
                        <a:lnTo>
                          <a:pt x="663" y="401"/>
                        </a:lnTo>
                        <a:lnTo>
                          <a:pt x="664" y="405"/>
                        </a:lnTo>
                        <a:lnTo>
                          <a:pt x="667" y="410"/>
                        </a:lnTo>
                        <a:lnTo>
                          <a:pt x="669" y="417"/>
                        </a:lnTo>
                        <a:lnTo>
                          <a:pt x="670" y="425"/>
                        </a:lnTo>
                        <a:lnTo>
                          <a:pt x="668" y="429"/>
                        </a:lnTo>
                        <a:lnTo>
                          <a:pt x="668" y="439"/>
                        </a:lnTo>
                        <a:lnTo>
                          <a:pt x="671" y="450"/>
                        </a:lnTo>
                        <a:lnTo>
                          <a:pt x="673" y="456"/>
                        </a:lnTo>
                        <a:lnTo>
                          <a:pt x="673" y="464"/>
                        </a:lnTo>
                        <a:lnTo>
                          <a:pt x="670" y="469"/>
                        </a:lnTo>
                        <a:lnTo>
                          <a:pt x="669" y="479"/>
                        </a:lnTo>
                        <a:lnTo>
                          <a:pt x="667" y="481"/>
                        </a:lnTo>
                        <a:lnTo>
                          <a:pt x="663" y="486"/>
                        </a:lnTo>
                        <a:lnTo>
                          <a:pt x="663" y="488"/>
                        </a:lnTo>
                        <a:lnTo>
                          <a:pt x="662" y="490"/>
                        </a:lnTo>
                        <a:lnTo>
                          <a:pt x="663" y="489"/>
                        </a:lnTo>
                        <a:lnTo>
                          <a:pt x="666" y="485"/>
                        </a:lnTo>
                        <a:lnTo>
                          <a:pt x="666" y="486"/>
                        </a:lnTo>
                        <a:lnTo>
                          <a:pt x="663" y="490"/>
                        </a:lnTo>
                        <a:lnTo>
                          <a:pt x="663" y="492"/>
                        </a:lnTo>
                        <a:lnTo>
                          <a:pt x="661" y="495"/>
                        </a:lnTo>
                        <a:lnTo>
                          <a:pt x="659" y="497"/>
                        </a:lnTo>
                        <a:lnTo>
                          <a:pt x="657" y="498"/>
                        </a:lnTo>
                        <a:lnTo>
                          <a:pt x="655" y="498"/>
                        </a:lnTo>
                        <a:lnTo>
                          <a:pt x="660" y="495"/>
                        </a:lnTo>
                        <a:lnTo>
                          <a:pt x="659" y="492"/>
                        </a:lnTo>
                        <a:lnTo>
                          <a:pt x="657" y="492"/>
                        </a:lnTo>
                        <a:lnTo>
                          <a:pt x="657" y="492"/>
                        </a:lnTo>
                        <a:lnTo>
                          <a:pt x="656" y="493"/>
                        </a:lnTo>
                        <a:lnTo>
                          <a:pt x="656" y="496"/>
                        </a:lnTo>
                        <a:lnTo>
                          <a:pt x="654" y="497"/>
                        </a:lnTo>
                        <a:lnTo>
                          <a:pt x="655" y="493"/>
                        </a:lnTo>
                        <a:lnTo>
                          <a:pt x="654" y="493"/>
                        </a:lnTo>
                        <a:lnTo>
                          <a:pt x="654" y="493"/>
                        </a:lnTo>
                        <a:lnTo>
                          <a:pt x="654" y="493"/>
                        </a:lnTo>
                        <a:lnTo>
                          <a:pt x="654" y="492"/>
                        </a:lnTo>
                        <a:lnTo>
                          <a:pt x="653" y="492"/>
                        </a:lnTo>
                        <a:lnTo>
                          <a:pt x="648" y="493"/>
                        </a:lnTo>
                        <a:lnTo>
                          <a:pt x="647" y="491"/>
                        </a:lnTo>
                        <a:lnTo>
                          <a:pt x="648" y="490"/>
                        </a:lnTo>
                        <a:lnTo>
                          <a:pt x="649" y="489"/>
                        </a:lnTo>
                        <a:lnTo>
                          <a:pt x="648" y="484"/>
                        </a:lnTo>
                        <a:lnTo>
                          <a:pt x="647" y="482"/>
                        </a:lnTo>
                        <a:lnTo>
                          <a:pt x="642" y="478"/>
                        </a:lnTo>
                        <a:lnTo>
                          <a:pt x="641" y="479"/>
                        </a:lnTo>
                        <a:lnTo>
                          <a:pt x="640" y="476"/>
                        </a:lnTo>
                        <a:lnTo>
                          <a:pt x="640" y="469"/>
                        </a:lnTo>
                        <a:lnTo>
                          <a:pt x="637" y="466"/>
                        </a:lnTo>
                        <a:lnTo>
                          <a:pt x="636" y="466"/>
                        </a:lnTo>
                        <a:lnTo>
                          <a:pt x="636" y="466"/>
                        </a:lnTo>
                        <a:lnTo>
                          <a:pt x="634" y="466"/>
                        </a:lnTo>
                        <a:lnTo>
                          <a:pt x="633" y="463"/>
                        </a:lnTo>
                        <a:lnTo>
                          <a:pt x="634" y="459"/>
                        </a:lnTo>
                        <a:lnTo>
                          <a:pt x="628" y="444"/>
                        </a:lnTo>
                        <a:lnTo>
                          <a:pt x="629" y="444"/>
                        </a:lnTo>
                        <a:lnTo>
                          <a:pt x="631" y="442"/>
                        </a:lnTo>
                        <a:lnTo>
                          <a:pt x="635" y="437"/>
                        </a:lnTo>
                        <a:lnTo>
                          <a:pt x="634" y="436"/>
                        </a:lnTo>
                        <a:lnTo>
                          <a:pt x="634" y="438"/>
                        </a:lnTo>
                        <a:lnTo>
                          <a:pt x="633" y="438"/>
                        </a:lnTo>
                        <a:lnTo>
                          <a:pt x="633" y="436"/>
                        </a:lnTo>
                        <a:lnTo>
                          <a:pt x="631" y="436"/>
                        </a:lnTo>
                        <a:lnTo>
                          <a:pt x="630" y="436"/>
                        </a:lnTo>
                        <a:lnTo>
                          <a:pt x="633" y="436"/>
                        </a:lnTo>
                        <a:lnTo>
                          <a:pt x="631" y="438"/>
                        </a:lnTo>
                        <a:lnTo>
                          <a:pt x="628" y="442"/>
                        </a:lnTo>
                        <a:lnTo>
                          <a:pt x="628" y="437"/>
                        </a:lnTo>
                        <a:lnTo>
                          <a:pt x="628" y="432"/>
                        </a:lnTo>
                        <a:lnTo>
                          <a:pt x="629" y="432"/>
                        </a:lnTo>
                        <a:lnTo>
                          <a:pt x="629" y="431"/>
                        </a:lnTo>
                        <a:lnTo>
                          <a:pt x="633" y="425"/>
                        </a:lnTo>
                        <a:lnTo>
                          <a:pt x="634" y="421"/>
                        </a:lnTo>
                        <a:lnTo>
                          <a:pt x="633" y="418"/>
                        </a:lnTo>
                        <a:lnTo>
                          <a:pt x="634" y="416"/>
                        </a:lnTo>
                        <a:lnTo>
                          <a:pt x="634" y="415"/>
                        </a:lnTo>
                        <a:lnTo>
                          <a:pt x="634" y="411"/>
                        </a:lnTo>
                        <a:lnTo>
                          <a:pt x="633" y="411"/>
                        </a:lnTo>
                        <a:lnTo>
                          <a:pt x="629" y="412"/>
                        </a:lnTo>
                        <a:lnTo>
                          <a:pt x="629" y="409"/>
                        </a:lnTo>
                        <a:lnTo>
                          <a:pt x="628" y="408"/>
                        </a:lnTo>
                        <a:lnTo>
                          <a:pt x="628" y="405"/>
                        </a:lnTo>
                        <a:lnTo>
                          <a:pt x="624" y="404"/>
                        </a:lnTo>
                        <a:lnTo>
                          <a:pt x="626" y="401"/>
                        </a:lnTo>
                        <a:lnTo>
                          <a:pt x="622" y="399"/>
                        </a:lnTo>
                        <a:lnTo>
                          <a:pt x="623" y="398"/>
                        </a:lnTo>
                        <a:lnTo>
                          <a:pt x="622" y="396"/>
                        </a:lnTo>
                        <a:lnTo>
                          <a:pt x="616" y="392"/>
                        </a:lnTo>
                        <a:lnTo>
                          <a:pt x="616" y="391"/>
                        </a:lnTo>
                        <a:lnTo>
                          <a:pt x="611" y="392"/>
                        </a:lnTo>
                        <a:lnTo>
                          <a:pt x="610" y="395"/>
                        </a:lnTo>
                        <a:lnTo>
                          <a:pt x="610" y="395"/>
                        </a:lnTo>
                        <a:lnTo>
                          <a:pt x="609" y="396"/>
                        </a:lnTo>
                        <a:lnTo>
                          <a:pt x="600" y="399"/>
                        </a:lnTo>
                        <a:lnTo>
                          <a:pt x="600" y="398"/>
                        </a:lnTo>
                        <a:lnTo>
                          <a:pt x="595" y="399"/>
                        </a:lnTo>
                        <a:lnTo>
                          <a:pt x="596" y="401"/>
                        </a:lnTo>
                        <a:lnTo>
                          <a:pt x="594" y="401"/>
                        </a:lnTo>
                        <a:lnTo>
                          <a:pt x="591" y="401"/>
                        </a:lnTo>
                        <a:lnTo>
                          <a:pt x="591" y="399"/>
                        </a:lnTo>
                        <a:lnTo>
                          <a:pt x="591" y="399"/>
                        </a:lnTo>
                        <a:lnTo>
                          <a:pt x="593" y="398"/>
                        </a:lnTo>
                        <a:lnTo>
                          <a:pt x="591" y="395"/>
                        </a:lnTo>
                        <a:lnTo>
                          <a:pt x="583" y="388"/>
                        </a:lnTo>
                        <a:lnTo>
                          <a:pt x="576" y="385"/>
                        </a:lnTo>
                        <a:lnTo>
                          <a:pt x="569" y="385"/>
                        </a:lnTo>
                        <a:lnTo>
                          <a:pt x="559" y="388"/>
                        </a:lnTo>
                        <a:lnTo>
                          <a:pt x="556" y="388"/>
                        </a:lnTo>
                        <a:lnTo>
                          <a:pt x="553" y="388"/>
                        </a:lnTo>
                        <a:lnTo>
                          <a:pt x="550" y="385"/>
                        </a:lnTo>
                        <a:lnTo>
                          <a:pt x="551" y="381"/>
                        </a:lnTo>
                        <a:lnTo>
                          <a:pt x="550" y="379"/>
                        </a:lnTo>
                        <a:lnTo>
                          <a:pt x="546" y="386"/>
                        </a:lnTo>
                        <a:lnTo>
                          <a:pt x="542" y="386"/>
                        </a:lnTo>
                        <a:lnTo>
                          <a:pt x="535" y="386"/>
                        </a:lnTo>
                        <a:lnTo>
                          <a:pt x="526" y="388"/>
                        </a:lnTo>
                        <a:lnTo>
                          <a:pt x="524" y="386"/>
                        </a:lnTo>
                        <a:lnTo>
                          <a:pt x="521" y="390"/>
                        </a:lnTo>
                        <a:lnTo>
                          <a:pt x="520" y="390"/>
                        </a:lnTo>
                        <a:lnTo>
                          <a:pt x="517" y="392"/>
                        </a:lnTo>
                        <a:lnTo>
                          <a:pt x="515" y="394"/>
                        </a:lnTo>
                        <a:lnTo>
                          <a:pt x="519" y="396"/>
                        </a:lnTo>
                        <a:lnTo>
                          <a:pt x="521" y="392"/>
                        </a:lnTo>
                        <a:lnTo>
                          <a:pt x="523" y="392"/>
                        </a:lnTo>
                        <a:lnTo>
                          <a:pt x="527" y="390"/>
                        </a:lnTo>
                        <a:lnTo>
                          <a:pt x="526" y="395"/>
                        </a:lnTo>
                        <a:lnTo>
                          <a:pt x="523" y="396"/>
                        </a:lnTo>
                        <a:lnTo>
                          <a:pt x="524" y="396"/>
                        </a:lnTo>
                        <a:lnTo>
                          <a:pt x="523" y="397"/>
                        </a:lnTo>
                        <a:lnTo>
                          <a:pt x="523" y="398"/>
                        </a:lnTo>
                        <a:lnTo>
                          <a:pt x="522" y="398"/>
                        </a:lnTo>
                        <a:lnTo>
                          <a:pt x="520" y="401"/>
                        </a:lnTo>
                        <a:lnTo>
                          <a:pt x="519" y="399"/>
                        </a:lnTo>
                        <a:lnTo>
                          <a:pt x="519" y="401"/>
                        </a:lnTo>
                        <a:lnTo>
                          <a:pt x="516" y="402"/>
                        </a:lnTo>
                        <a:lnTo>
                          <a:pt x="517" y="403"/>
                        </a:lnTo>
                        <a:lnTo>
                          <a:pt x="516" y="404"/>
                        </a:lnTo>
                        <a:lnTo>
                          <a:pt x="517" y="405"/>
                        </a:lnTo>
                        <a:lnTo>
                          <a:pt x="523" y="408"/>
                        </a:lnTo>
                        <a:lnTo>
                          <a:pt x="524" y="410"/>
                        </a:lnTo>
                        <a:lnTo>
                          <a:pt x="522" y="415"/>
                        </a:lnTo>
                        <a:lnTo>
                          <a:pt x="521" y="412"/>
                        </a:lnTo>
                        <a:lnTo>
                          <a:pt x="519" y="415"/>
                        </a:lnTo>
                        <a:lnTo>
                          <a:pt x="519" y="414"/>
                        </a:lnTo>
                        <a:lnTo>
                          <a:pt x="519" y="412"/>
                        </a:lnTo>
                        <a:lnTo>
                          <a:pt x="516" y="410"/>
                        </a:lnTo>
                        <a:lnTo>
                          <a:pt x="510" y="408"/>
                        </a:lnTo>
                        <a:lnTo>
                          <a:pt x="507" y="411"/>
                        </a:lnTo>
                        <a:lnTo>
                          <a:pt x="503" y="412"/>
                        </a:lnTo>
                        <a:lnTo>
                          <a:pt x="504" y="411"/>
                        </a:lnTo>
                        <a:lnTo>
                          <a:pt x="502" y="409"/>
                        </a:lnTo>
                        <a:lnTo>
                          <a:pt x="501" y="410"/>
                        </a:lnTo>
                        <a:lnTo>
                          <a:pt x="497" y="410"/>
                        </a:lnTo>
                        <a:lnTo>
                          <a:pt x="494" y="414"/>
                        </a:lnTo>
                        <a:lnTo>
                          <a:pt x="493" y="414"/>
                        </a:lnTo>
                        <a:lnTo>
                          <a:pt x="491" y="411"/>
                        </a:lnTo>
                        <a:lnTo>
                          <a:pt x="489" y="410"/>
                        </a:lnTo>
                        <a:lnTo>
                          <a:pt x="484" y="408"/>
                        </a:lnTo>
                        <a:lnTo>
                          <a:pt x="487" y="406"/>
                        </a:lnTo>
                        <a:lnTo>
                          <a:pt x="489" y="409"/>
                        </a:lnTo>
                        <a:lnTo>
                          <a:pt x="487" y="404"/>
                        </a:lnTo>
                        <a:lnTo>
                          <a:pt x="484" y="404"/>
                        </a:lnTo>
                        <a:lnTo>
                          <a:pt x="483" y="403"/>
                        </a:lnTo>
                        <a:lnTo>
                          <a:pt x="483" y="401"/>
                        </a:lnTo>
                        <a:lnTo>
                          <a:pt x="481" y="401"/>
                        </a:lnTo>
                        <a:lnTo>
                          <a:pt x="482" y="399"/>
                        </a:lnTo>
                        <a:lnTo>
                          <a:pt x="479" y="399"/>
                        </a:lnTo>
                        <a:lnTo>
                          <a:pt x="479" y="397"/>
                        </a:lnTo>
                        <a:lnTo>
                          <a:pt x="476" y="397"/>
                        </a:lnTo>
                        <a:lnTo>
                          <a:pt x="473" y="399"/>
                        </a:lnTo>
                        <a:lnTo>
                          <a:pt x="474" y="399"/>
                        </a:lnTo>
                        <a:lnTo>
                          <a:pt x="474" y="402"/>
                        </a:lnTo>
                        <a:lnTo>
                          <a:pt x="480" y="403"/>
                        </a:lnTo>
                        <a:lnTo>
                          <a:pt x="479" y="404"/>
                        </a:lnTo>
                        <a:lnTo>
                          <a:pt x="474" y="402"/>
                        </a:lnTo>
                        <a:lnTo>
                          <a:pt x="464" y="402"/>
                        </a:lnTo>
                        <a:lnTo>
                          <a:pt x="454" y="398"/>
                        </a:lnTo>
                        <a:lnTo>
                          <a:pt x="446" y="399"/>
                        </a:lnTo>
                        <a:lnTo>
                          <a:pt x="443" y="401"/>
                        </a:lnTo>
                        <a:lnTo>
                          <a:pt x="434" y="403"/>
                        </a:lnTo>
                        <a:lnTo>
                          <a:pt x="434" y="403"/>
                        </a:lnTo>
                        <a:lnTo>
                          <a:pt x="427" y="406"/>
                        </a:lnTo>
                        <a:lnTo>
                          <a:pt x="426" y="406"/>
                        </a:lnTo>
                        <a:lnTo>
                          <a:pt x="428" y="404"/>
                        </a:lnTo>
                        <a:lnTo>
                          <a:pt x="432" y="403"/>
                        </a:lnTo>
                        <a:lnTo>
                          <a:pt x="426" y="403"/>
                        </a:lnTo>
                        <a:lnTo>
                          <a:pt x="429" y="399"/>
                        </a:lnTo>
                        <a:lnTo>
                          <a:pt x="428" y="398"/>
                        </a:lnTo>
                        <a:lnTo>
                          <a:pt x="426" y="401"/>
                        </a:lnTo>
                        <a:lnTo>
                          <a:pt x="423" y="401"/>
                        </a:lnTo>
                        <a:lnTo>
                          <a:pt x="423" y="401"/>
                        </a:lnTo>
                        <a:lnTo>
                          <a:pt x="423" y="401"/>
                        </a:lnTo>
                        <a:lnTo>
                          <a:pt x="423" y="401"/>
                        </a:lnTo>
                        <a:lnTo>
                          <a:pt x="422" y="403"/>
                        </a:lnTo>
                        <a:lnTo>
                          <a:pt x="423" y="406"/>
                        </a:lnTo>
                        <a:lnTo>
                          <a:pt x="426" y="408"/>
                        </a:lnTo>
                        <a:lnTo>
                          <a:pt x="410" y="417"/>
                        </a:lnTo>
                        <a:lnTo>
                          <a:pt x="393" y="426"/>
                        </a:lnTo>
                        <a:lnTo>
                          <a:pt x="383" y="434"/>
                        </a:lnTo>
                        <a:lnTo>
                          <a:pt x="379" y="438"/>
                        </a:lnTo>
                        <a:lnTo>
                          <a:pt x="374" y="444"/>
                        </a:lnTo>
                        <a:lnTo>
                          <a:pt x="370" y="450"/>
                        </a:lnTo>
                        <a:lnTo>
                          <a:pt x="369" y="457"/>
                        </a:lnTo>
                        <a:lnTo>
                          <a:pt x="368" y="464"/>
                        </a:lnTo>
                        <a:lnTo>
                          <a:pt x="369" y="468"/>
                        </a:lnTo>
                        <a:lnTo>
                          <a:pt x="369" y="477"/>
                        </a:lnTo>
                        <a:lnTo>
                          <a:pt x="367" y="477"/>
                        </a:lnTo>
                        <a:lnTo>
                          <a:pt x="366" y="478"/>
                        </a:lnTo>
                        <a:lnTo>
                          <a:pt x="364" y="479"/>
                        </a:lnTo>
                        <a:lnTo>
                          <a:pt x="361" y="478"/>
                        </a:lnTo>
                        <a:lnTo>
                          <a:pt x="361" y="475"/>
                        </a:lnTo>
                        <a:lnTo>
                          <a:pt x="356" y="475"/>
                        </a:lnTo>
                        <a:lnTo>
                          <a:pt x="350" y="475"/>
                        </a:lnTo>
                        <a:lnTo>
                          <a:pt x="348" y="471"/>
                        </a:lnTo>
                        <a:lnTo>
                          <a:pt x="344" y="470"/>
                        </a:lnTo>
                        <a:lnTo>
                          <a:pt x="341" y="469"/>
                        </a:lnTo>
                        <a:lnTo>
                          <a:pt x="336" y="468"/>
                        </a:lnTo>
                        <a:lnTo>
                          <a:pt x="336" y="458"/>
                        </a:lnTo>
                        <a:lnTo>
                          <a:pt x="333" y="455"/>
                        </a:lnTo>
                        <a:lnTo>
                          <a:pt x="335" y="444"/>
                        </a:lnTo>
                        <a:lnTo>
                          <a:pt x="332" y="442"/>
                        </a:lnTo>
                        <a:lnTo>
                          <a:pt x="329" y="437"/>
                        </a:lnTo>
                        <a:lnTo>
                          <a:pt x="328" y="431"/>
                        </a:lnTo>
                        <a:lnTo>
                          <a:pt x="324" y="429"/>
                        </a:lnTo>
                        <a:lnTo>
                          <a:pt x="322" y="411"/>
                        </a:lnTo>
                        <a:lnTo>
                          <a:pt x="315" y="404"/>
                        </a:lnTo>
                        <a:lnTo>
                          <a:pt x="313" y="398"/>
                        </a:lnTo>
                        <a:lnTo>
                          <a:pt x="301" y="397"/>
                        </a:lnTo>
                        <a:lnTo>
                          <a:pt x="297" y="396"/>
                        </a:lnTo>
                        <a:lnTo>
                          <a:pt x="294" y="398"/>
                        </a:lnTo>
                        <a:lnTo>
                          <a:pt x="290" y="398"/>
                        </a:lnTo>
                        <a:lnTo>
                          <a:pt x="284" y="410"/>
                        </a:lnTo>
                        <a:lnTo>
                          <a:pt x="277" y="415"/>
                        </a:lnTo>
                        <a:lnTo>
                          <a:pt x="274" y="414"/>
                        </a:lnTo>
                        <a:lnTo>
                          <a:pt x="264" y="408"/>
                        </a:lnTo>
                        <a:lnTo>
                          <a:pt x="257" y="401"/>
                        </a:lnTo>
                        <a:lnTo>
                          <a:pt x="256" y="395"/>
                        </a:lnTo>
                        <a:lnTo>
                          <a:pt x="259" y="391"/>
                        </a:lnTo>
                        <a:lnTo>
                          <a:pt x="259" y="389"/>
                        </a:lnTo>
                        <a:lnTo>
                          <a:pt x="256" y="381"/>
                        </a:lnTo>
                        <a:lnTo>
                          <a:pt x="252" y="377"/>
                        </a:lnTo>
                        <a:lnTo>
                          <a:pt x="248" y="372"/>
                        </a:lnTo>
                        <a:lnTo>
                          <a:pt x="245" y="370"/>
                        </a:lnTo>
                        <a:lnTo>
                          <a:pt x="245" y="368"/>
                        </a:lnTo>
                        <a:lnTo>
                          <a:pt x="242" y="365"/>
                        </a:lnTo>
                        <a:lnTo>
                          <a:pt x="239" y="363"/>
                        </a:lnTo>
                        <a:lnTo>
                          <a:pt x="239" y="358"/>
                        </a:lnTo>
                        <a:lnTo>
                          <a:pt x="236" y="358"/>
                        </a:lnTo>
                        <a:lnTo>
                          <a:pt x="235" y="357"/>
                        </a:lnTo>
                        <a:lnTo>
                          <a:pt x="207" y="357"/>
                        </a:lnTo>
                        <a:lnTo>
                          <a:pt x="203" y="366"/>
                        </a:lnTo>
                        <a:lnTo>
                          <a:pt x="154" y="366"/>
                        </a:lnTo>
                        <a:lnTo>
                          <a:pt x="123" y="354"/>
                        </a:lnTo>
                        <a:lnTo>
                          <a:pt x="97" y="344"/>
                        </a:lnTo>
                        <a:lnTo>
                          <a:pt x="100" y="338"/>
                        </a:lnTo>
                        <a:lnTo>
                          <a:pt x="57" y="341"/>
                        </a:lnTo>
                        <a:lnTo>
                          <a:pt x="57" y="341"/>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grpSp>
            <p:sp>
              <p:nvSpPr>
                <p:cNvPr id="370" name="Ukraine">
                  <a:extLst>
                    <a:ext uri="{FF2B5EF4-FFF2-40B4-BE49-F238E27FC236}">
                      <a16:creationId xmlns:a16="http://schemas.microsoft.com/office/drawing/2014/main" id="{2459038C-207E-DD4E-9604-B4D96DDDB88C}"/>
                    </a:ext>
                  </a:extLst>
                </p:cNvPr>
                <p:cNvSpPr>
                  <a:spLocks/>
                </p:cNvSpPr>
                <p:nvPr/>
              </p:nvSpPr>
              <p:spPr bwMode="auto">
                <a:xfrm>
                  <a:off x="6874070" y="2423611"/>
                  <a:ext cx="412600" cy="233272"/>
                </a:xfrm>
                <a:custGeom>
                  <a:avLst/>
                  <a:gdLst>
                    <a:gd name="T0" fmla="*/ 60 w 283"/>
                    <a:gd name="T1" fmla="*/ 13 h 160"/>
                    <a:gd name="T2" fmla="*/ 95 w 283"/>
                    <a:gd name="T3" fmla="*/ 16 h 160"/>
                    <a:gd name="T4" fmla="*/ 124 w 283"/>
                    <a:gd name="T5" fmla="*/ 17 h 160"/>
                    <a:gd name="T6" fmla="*/ 153 w 283"/>
                    <a:gd name="T7" fmla="*/ 1 h 160"/>
                    <a:gd name="T8" fmla="*/ 174 w 283"/>
                    <a:gd name="T9" fmla="*/ 16 h 160"/>
                    <a:gd name="T10" fmla="*/ 206 w 283"/>
                    <a:gd name="T11" fmla="*/ 39 h 160"/>
                    <a:gd name="T12" fmla="*/ 244 w 283"/>
                    <a:gd name="T13" fmla="*/ 48 h 160"/>
                    <a:gd name="T14" fmla="*/ 279 w 283"/>
                    <a:gd name="T15" fmla="*/ 71 h 160"/>
                    <a:gd name="T16" fmla="*/ 264 w 283"/>
                    <a:gd name="T17" fmla="*/ 93 h 160"/>
                    <a:gd name="T18" fmla="*/ 252 w 283"/>
                    <a:gd name="T19" fmla="*/ 108 h 160"/>
                    <a:gd name="T20" fmla="*/ 235 w 283"/>
                    <a:gd name="T21" fmla="*/ 113 h 160"/>
                    <a:gd name="T22" fmla="*/ 220 w 283"/>
                    <a:gd name="T23" fmla="*/ 123 h 160"/>
                    <a:gd name="T24" fmla="*/ 202 w 283"/>
                    <a:gd name="T25" fmla="*/ 125 h 160"/>
                    <a:gd name="T26" fmla="*/ 201 w 283"/>
                    <a:gd name="T27" fmla="*/ 128 h 160"/>
                    <a:gd name="T28" fmla="*/ 214 w 283"/>
                    <a:gd name="T29" fmla="*/ 135 h 160"/>
                    <a:gd name="T30" fmla="*/ 226 w 283"/>
                    <a:gd name="T31" fmla="*/ 141 h 160"/>
                    <a:gd name="T32" fmla="*/ 240 w 283"/>
                    <a:gd name="T33" fmla="*/ 144 h 160"/>
                    <a:gd name="T34" fmla="*/ 232 w 283"/>
                    <a:gd name="T35" fmla="*/ 150 h 160"/>
                    <a:gd name="T36" fmla="*/ 216 w 283"/>
                    <a:gd name="T37" fmla="*/ 152 h 160"/>
                    <a:gd name="T38" fmla="*/ 207 w 283"/>
                    <a:gd name="T39" fmla="*/ 160 h 160"/>
                    <a:gd name="T40" fmla="*/ 195 w 283"/>
                    <a:gd name="T41" fmla="*/ 151 h 160"/>
                    <a:gd name="T42" fmla="*/ 176 w 283"/>
                    <a:gd name="T43" fmla="*/ 141 h 160"/>
                    <a:gd name="T44" fmla="*/ 179 w 283"/>
                    <a:gd name="T45" fmla="*/ 133 h 160"/>
                    <a:gd name="T46" fmla="*/ 190 w 283"/>
                    <a:gd name="T47" fmla="*/ 128 h 160"/>
                    <a:gd name="T48" fmla="*/ 183 w 283"/>
                    <a:gd name="T49" fmla="*/ 125 h 160"/>
                    <a:gd name="T50" fmla="*/ 173 w 283"/>
                    <a:gd name="T51" fmla="*/ 125 h 160"/>
                    <a:gd name="T52" fmla="*/ 168 w 283"/>
                    <a:gd name="T53" fmla="*/ 120 h 160"/>
                    <a:gd name="T54" fmla="*/ 156 w 283"/>
                    <a:gd name="T55" fmla="*/ 116 h 160"/>
                    <a:gd name="T56" fmla="*/ 146 w 283"/>
                    <a:gd name="T57" fmla="*/ 120 h 160"/>
                    <a:gd name="T58" fmla="*/ 140 w 283"/>
                    <a:gd name="T59" fmla="*/ 128 h 160"/>
                    <a:gd name="T60" fmla="*/ 130 w 283"/>
                    <a:gd name="T61" fmla="*/ 134 h 160"/>
                    <a:gd name="T62" fmla="*/ 129 w 283"/>
                    <a:gd name="T63" fmla="*/ 140 h 160"/>
                    <a:gd name="T64" fmla="*/ 123 w 283"/>
                    <a:gd name="T65" fmla="*/ 141 h 160"/>
                    <a:gd name="T66" fmla="*/ 120 w 283"/>
                    <a:gd name="T67" fmla="*/ 144 h 160"/>
                    <a:gd name="T68" fmla="*/ 115 w 283"/>
                    <a:gd name="T69" fmla="*/ 144 h 160"/>
                    <a:gd name="T70" fmla="*/ 109 w 283"/>
                    <a:gd name="T71" fmla="*/ 140 h 160"/>
                    <a:gd name="T72" fmla="*/ 106 w 283"/>
                    <a:gd name="T73" fmla="*/ 137 h 160"/>
                    <a:gd name="T74" fmla="*/ 112 w 283"/>
                    <a:gd name="T75" fmla="*/ 127 h 160"/>
                    <a:gd name="T76" fmla="*/ 120 w 283"/>
                    <a:gd name="T77" fmla="*/ 117 h 160"/>
                    <a:gd name="T78" fmla="*/ 127 w 283"/>
                    <a:gd name="T79" fmla="*/ 110 h 160"/>
                    <a:gd name="T80" fmla="*/ 107 w 283"/>
                    <a:gd name="T81" fmla="*/ 85 h 160"/>
                    <a:gd name="T82" fmla="*/ 68 w 283"/>
                    <a:gd name="T83" fmla="*/ 87 h 160"/>
                    <a:gd name="T84" fmla="*/ 53 w 283"/>
                    <a:gd name="T85" fmla="*/ 91 h 160"/>
                    <a:gd name="T86" fmla="*/ 42 w 283"/>
                    <a:gd name="T87" fmla="*/ 91 h 160"/>
                    <a:gd name="T88" fmla="*/ 28 w 283"/>
                    <a:gd name="T89" fmla="*/ 90 h 160"/>
                    <a:gd name="T90" fmla="*/ 17 w 283"/>
                    <a:gd name="T91" fmla="*/ 87 h 160"/>
                    <a:gd name="T92" fmla="*/ 7 w 283"/>
                    <a:gd name="T93" fmla="*/ 84 h 160"/>
                    <a:gd name="T94" fmla="*/ 3 w 283"/>
                    <a:gd name="T95" fmla="*/ 66 h 160"/>
                    <a:gd name="T96" fmla="*/ 9 w 283"/>
                    <a:gd name="T97" fmla="*/ 66 h 160"/>
                    <a:gd name="T98" fmla="*/ 10 w 283"/>
                    <a:gd name="T99" fmla="*/ 54 h 160"/>
                    <a:gd name="T100" fmla="*/ 19 w 283"/>
                    <a:gd name="T101" fmla="*/ 46 h 160"/>
                    <a:gd name="T102" fmla="*/ 26 w 283"/>
                    <a:gd name="T103" fmla="*/ 34 h 160"/>
                    <a:gd name="T104" fmla="*/ 23 w 283"/>
                    <a:gd name="T105" fmla="*/ 28 h 160"/>
                    <a:gd name="T106" fmla="*/ 16 w 283"/>
                    <a:gd name="T107" fmla="*/ 17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83" h="160">
                      <a:moveTo>
                        <a:pt x="16" y="17"/>
                      </a:moveTo>
                      <a:lnTo>
                        <a:pt x="22" y="14"/>
                      </a:lnTo>
                      <a:lnTo>
                        <a:pt x="27" y="8"/>
                      </a:lnTo>
                      <a:lnTo>
                        <a:pt x="41" y="8"/>
                      </a:lnTo>
                      <a:lnTo>
                        <a:pt x="60" y="13"/>
                      </a:lnTo>
                      <a:lnTo>
                        <a:pt x="68" y="12"/>
                      </a:lnTo>
                      <a:lnTo>
                        <a:pt x="72" y="17"/>
                      </a:lnTo>
                      <a:lnTo>
                        <a:pt x="92" y="16"/>
                      </a:lnTo>
                      <a:lnTo>
                        <a:pt x="95" y="19"/>
                      </a:lnTo>
                      <a:lnTo>
                        <a:pt x="95" y="16"/>
                      </a:lnTo>
                      <a:lnTo>
                        <a:pt x="101" y="16"/>
                      </a:lnTo>
                      <a:lnTo>
                        <a:pt x="106" y="18"/>
                      </a:lnTo>
                      <a:lnTo>
                        <a:pt x="108" y="17"/>
                      </a:lnTo>
                      <a:lnTo>
                        <a:pt x="123" y="21"/>
                      </a:lnTo>
                      <a:lnTo>
                        <a:pt x="124" y="17"/>
                      </a:lnTo>
                      <a:lnTo>
                        <a:pt x="130" y="13"/>
                      </a:lnTo>
                      <a:lnTo>
                        <a:pt x="135" y="1"/>
                      </a:lnTo>
                      <a:lnTo>
                        <a:pt x="142" y="7"/>
                      </a:lnTo>
                      <a:lnTo>
                        <a:pt x="147" y="1"/>
                      </a:lnTo>
                      <a:lnTo>
                        <a:pt x="153" y="1"/>
                      </a:lnTo>
                      <a:lnTo>
                        <a:pt x="153" y="1"/>
                      </a:lnTo>
                      <a:lnTo>
                        <a:pt x="157" y="0"/>
                      </a:lnTo>
                      <a:lnTo>
                        <a:pt x="169" y="1"/>
                      </a:lnTo>
                      <a:lnTo>
                        <a:pt x="175" y="6"/>
                      </a:lnTo>
                      <a:lnTo>
                        <a:pt x="174" y="16"/>
                      </a:lnTo>
                      <a:lnTo>
                        <a:pt x="180" y="23"/>
                      </a:lnTo>
                      <a:lnTo>
                        <a:pt x="186" y="23"/>
                      </a:lnTo>
                      <a:lnTo>
                        <a:pt x="192" y="23"/>
                      </a:lnTo>
                      <a:lnTo>
                        <a:pt x="201" y="37"/>
                      </a:lnTo>
                      <a:lnTo>
                        <a:pt x="206" y="39"/>
                      </a:lnTo>
                      <a:lnTo>
                        <a:pt x="210" y="37"/>
                      </a:lnTo>
                      <a:lnTo>
                        <a:pt x="217" y="41"/>
                      </a:lnTo>
                      <a:lnTo>
                        <a:pt x="222" y="43"/>
                      </a:lnTo>
                      <a:lnTo>
                        <a:pt x="233" y="39"/>
                      </a:lnTo>
                      <a:lnTo>
                        <a:pt x="244" y="48"/>
                      </a:lnTo>
                      <a:lnTo>
                        <a:pt x="255" y="46"/>
                      </a:lnTo>
                      <a:lnTo>
                        <a:pt x="260" y="50"/>
                      </a:lnTo>
                      <a:lnTo>
                        <a:pt x="277" y="58"/>
                      </a:lnTo>
                      <a:lnTo>
                        <a:pt x="275" y="65"/>
                      </a:lnTo>
                      <a:lnTo>
                        <a:pt x="279" y="71"/>
                      </a:lnTo>
                      <a:lnTo>
                        <a:pt x="277" y="73"/>
                      </a:lnTo>
                      <a:lnTo>
                        <a:pt x="283" y="81"/>
                      </a:lnTo>
                      <a:lnTo>
                        <a:pt x="281" y="90"/>
                      </a:lnTo>
                      <a:lnTo>
                        <a:pt x="266" y="90"/>
                      </a:lnTo>
                      <a:lnTo>
                        <a:pt x="264" y="93"/>
                      </a:lnTo>
                      <a:lnTo>
                        <a:pt x="259" y="96"/>
                      </a:lnTo>
                      <a:lnTo>
                        <a:pt x="260" y="99"/>
                      </a:lnTo>
                      <a:lnTo>
                        <a:pt x="262" y="104"/>
                      </a:lnTo>
                      <a:lnTo>
                        <a:pt x="255" y="106"/>
                      </a:lnTo>
                      <a:lnTo>
                        <a:pt x="252" y="108"/>
                      </a:lnTo>
                      <a:lnTo>
                        <a:pt x="244" y="108"/>
                      </a:lnTo>
                      <a:lnTo>
                        <a:pt x="244" y="113"/>
                      </a:lnTo>
                      <a:lnTo>
                        <a:pt x="242" y="111"/>
                      </a:lnTo>
                      <a:lnTo>
                        <a:pt x="237" y="116"/>
                      </a:lnTo>
                      <a:lnTo>
                        <a:pt x="235" y="113"/>
                      </a:lnTo>
                      <a:lnTo>
                        <a:pt x="234" y="117"/>
                      </a:lnTo>
                      <a:lnTo>
                        <a:pt x="229" y="118"/>
                      </a:lnTo>
                      <a:lnTo>
                        <a:pt x="228" y="121"/>
                      </a:lnTo>
                      <a:lnTo>
                        <a:pt x="227" y="119"/>
                      </a:lnTo>
                      <a:lnTo>
                        <a:pt x="220" y="123"/>
                      </a:lnTo>
                      <a:lnTo>
                        <a:pt x="217" y="120"/>
                      </a:lnTo>
                      <a:lnTo>
                        <a:pt x="216" y="126"/>
                      </a:lnTo>
                      <a:lnTo>
                        <a:pt x="212" y="126"/>
                      </a:lnTo>
                      <a:lnTo>
                        <a:pt x="206" y="125"/>
                      </a:lnTo>
                      <a:lnTo>
                        <a:pt x="202" y="125"/>
                      </a:lnTo>
                      <a:lnTo>
                        <a:pt x="200" y="125"/>
                      </a:lnTo>
                      <a:lnTo>
                        <a:pt x="199" y="125"/>
                      </a:lnTo>
                      <a:lnTo>
                        <a:pt x="199" y="126"/>
                      </a:lnTo>
                      <a:lnTo>
                        <a:pt x="200" y="127"/>
                      </a:lnTo>
                      <a:lnTo>
                        <a:pt x="201" y="128"/>
                      </a:lnTo>
                      <a:lnTo>
                        <a:pt x="204" y="128"/>
                      </a:lnTo>
                      <a:lnTo>
                        <a:pt x="208" y="130"/>
                      </a:lnTo>
                      <a:lnTo>
                        <a:pt x="210" y="130"/>
                      </a:lnTo>
                      <a:lnTo>
                        <a:pt x="213" y="132"/>
                      </a:lnTo>
                      <a:lnTo>
                        <a:pt x="214" y="135"/>
                      </a:lnTo>
                      <a:lnTo>
                        <a:pt x="217" y="138"/>
                      </a:lnTo>
                      <a:lnTo>
                        <a:pt x="215" y="140"/>
                      </a:lnTo>
                      <a:lnTo>
                        <a:pt x="219" y="141"/>
                      </a:lnTo>
                      <a:lnTo>
                        <a:pt x="224" y="138"/>
                      </a:lnTo>
                      <a:lnTo>
                        <a:pt x="226" y="141"/>
                      </a:lnTo>
                      <a:lnTo>
                        <a:pt x="230" y="143"/>
                      </a:lnTo>
                      <a:lnTo>
                        <a:pt x="232" y="140"/>
                      </a:lnTo>
                      <a:lnTo>
                        <a:pt x="234" y="141"/>
                      </a:lnTo>
                      <a:lnTo>
                        <a:pt x="237" y="140"/>
                      </a:lnTo>
                      <a:lnTo>
                        <a:pt x="240" y="144"/>
                      </a:lnTo>
                      <a:lnTo>
                        <a:pt x="237" y="147"/>
                      </a:lnTo>
                      <a:lnTo>
                        <a:pt x="239" y="147"/>
                      </a:lnTo>
                      <a:lnTo>
                        <a:pt x="237" y="148"/>
                      </a:lnTo>
                      <a:lnTo>
                        <a:pt x="236" y="148"/>
                      </a:lnTo>
                      <a:lnTo>
                        <a:pt x="232" y="150"/>
                      </a:lnTo>
                      <a:lnTo>
                        <a:pt x="226" y="150"/>
                      </a:lnTo>
                      <a:lnTo>
                        <a:pt x="222" y="148"/>
                      </a:lnTo>
                      <a:lnTo>
                        <a:pt x="221" y="147"/>
                      </a:lnTo>
                      <a:lnTo>
                        <a:pt x="220" y="152"/>
                      </a:lnTo>
                      <a:lnTo>
                        <a:pt x="216" y="152"/>
                      </a:lnTo>
                      <a:lnTo>
                        <a:pt x="213" y="154"/>
                      </a:lnTo>
                      <a:lnTo>
                        <a:pt x="213" y="157"/>
                      </a:lnTo>
                      <a:lnTo>
                        <a:pt x="209" y="158"/>
                      </a:lnTo>
                      <a:lnTo>
                        <a:pt x="207" y="159"/>
                      </a:lnTo>
                      <a:lnTo>
                        <a:pt x="207" y="160"/>
                      </a:lnTo>
                      <a:lnTo>
                        <a:pt x="202" y="160"/>
                      </a:lnTo>
                      <a:lnTo>
                        <a:pt x="197" y="160"/>
                      </a:lnTo>
                      <a:lnTo>
                        <a:pt x="196" y="155"/>
                      </a:lnTo>
                      <a:lnTo>
                        <a:pt x="195" y="153"/>
                      </a:lnTo>
                      <a:lnTo>
                        <a:pt x="195" y="151"/>
                      </a:lnTo>
                      <a:lnTo>
                        <a:pt x="194" y="148"/>
                      </a:lnTo>
                      <a:lnTo>
                        <a:pt x="192" y="145"/>
                      </a:lnTo>
                      <a:lnTo>
                        <a:pt x="186" y="144"/>
                      </a:lnTo>
                      <a:lnTo>
                        <a:pt x="181" y="144"/>
                      </a:lnTo>
                      <a:lnTo>
                        <a:pt x="176" y="141"/>
                      </a:lnTo>
                      <a:lnTo>
                        <a:pt x="173" y="141"/>
                      </a:lnTo>
                      <a:lnTo>
                        <a:pt x="173" y="139"/>
                      </a:lnTo>
                      <a:lnTo>
                        <a:pt x="174" y="138"/>
                      </a:lnTo>
                      <a:lnTo>
                        <a:pt x="176" y="134"/>
                      </a:lnTo>
                      <a:lnTo>
                        <a:pt x="179" y="133"/>
                      </a:lnTo>
                      <a:lnTo>
                        <a:pt x="181" y="131"/>
                      </a:lnTo>
                      <a:lnTo>
                        <a:pt x="182" y="131"/>
                      </a:lnTo>
                      <a:lnTo>
                        <a:pt x="187" y="131"/>
                      </a:lnTo>
                      <a:lnTo>
                        <a:pt x="189" y="130"/>
                      </a:lnTo>
                      <a:lnTo>
                        <a:pt x="190" y="128"/>
                      </a:lnTo>
                      <a:lnTo>
                        <a:pt x="190" y="126"/>
                      </a:lnTo>
                      <a:lnTo>
                        <a:pt x="190" y="126"/>
                      </a:lnTo>
                      <a:lnTo>
                        <a:pt x="186" y="126"/>
                      </a:lnTo>
                      <a:lnTo>
                        <a:pt x="184" y="126"/>
                      </a:lnTo>
                      <a:lnTo>
                        <a:pt x="183" y="125"/>
                      </a:lnTo>
                      <a:lnTo>
                        <a:pt x="179" y="126"/>
                      </a:lnTo>
                      <a:lnTo>
                        <a:pt x="179" y="127"/>
                      </a:lnTo>
                      <a:lnTo>
                        <a:pt x="175" y="125"/>
                      </a:lnTo>
                      <a:lnTo>
                        <a:pt x="174" y="124"/>
                      </a:lnTo>
                      <a:lnTo>
                        <a:pt x="173" y="125"/>
                      </a:lnTo>
                      <a:lnTo>
                        <a:pt x="169" y="125"/>
                      </a:lnTo>
                      <a:lnTo>
                        <a:pt x="167" y="123"/>
                      </a:lnTo>
                      <a:lnTo>
                        <a:pt x="166" y="121"/>
                      </a:lnTo>
                      <a:lnTo>
                        <a:pt x="167" y="120"/>
                      </a:lnTo>
                      <a:lnTo>
                        <a:pt x="168" y="120"/>
                      </a:lnTo>
                      <a:lnTo>
                        <a:pt x="167" y="118"/>
                      </a:lnTo>
                      <a:lnTo>
                        <a:pt x="164" y="117"/>
                      </a:lnTo>
                      <a:lnTo>
                        <a:pt x="163" y="116"/>
                      </a:lnTo>
                      <a:lnTo>
                        <a:pt x="159" y="114"/>
                      </a:lnTo>
                      <a:lnTo>
                        <a:pt x="156" y="116"/>
                      </a:lnTo>
                      <a:lnTo>
                        <a:pt x="152" y="117"/>
                      </a:lnTo>
                      <a:lnTo>
                        <a:pt x="152" y="118"/>
                      </a:lnTo>
                      <a:lnTo>
                        <a:pt x="149" y="117"/>
                      </a:lnTo>
                      <a:lnTo>
                        <a:pt x="148" y="118"/>
                      </a:lnTo>
                      <a:lnTo>
                        <a:pt x="146" y="120"/>
                      </a:lnTo>
                      <a:lnTo>
                        <a:pt x="143" y="120"/>
                      </a:lnTo>
                      <a:lnTo>
                        <a:pt x="141" y="123"/>
                      </a:lnTo>
                      <a:lnTo>
                        <a:pt x="139" y="123"/>
                      </a:lnTo>
                      <a:lnTo>
                        <a:pt x="139" y="125"/>
                      </a:lnTo>
                      <a:lnTo>
                        <a:pt x="140" y="128"/>
                      </a:lnTo>
                      <a:lnTo>
                        <a:pt x="139" y="130"/>
                      </a:lnTo>
                      <a:lnTo>
                        <a:pt x="136" y="131"/>
                      </a:lnTo>
                      <a:lnTo>
                        <a:pt x="134" y="131"/>
                      </a:lnTo>
                      <a:lnTo>
                        <a:pt x="133" y="133"/>
                      </a:lnTo>
                      <a:lnTo>
                        <a:pt x="130" y="134"/>
                      </a:lnTo>
                      <a:lnTo>
                        <a:pt x="128" y="134"/>
                      </a:lnTo>
                      <a:lnTo>
                        <a:pt x="130" y="135"/>
                      </a:lnTo>
                      <a:lnTo>
                        <a:pt x="129" y="139"/>
                      </a:lnTo>
                      <a:lnTo>
                        <a:pt x="129" y="140"/>
                      </a:lnTo>
                      <a:lnTo>
                        <a:pt x="129" y="140"/>
                      </a:lnTo>
                      <a:lnTo>
                        <a:pt x="128" y="140"/>
                      </a:lnTo>
                      <a:lnTo>
                        <a:pt x="127" y="140"/>
                      </a:lnTo>
                      <a:lnTo>
                        <a:pt x="127" y="140"/>
                      </a:lnTo>
                      <a:lnTo>
                        <a:pt x="127" y="141"/>
                      </a:lnTo>
                      <a:lnTo>
                        <a:pt x="123" y="141"/>
                      </a:lnTo>
                      <a:lnTo>
                        <a:pt x="122" y="141"/>
                      </a:lnTo>
                      <a:lnTo>
                        <a:pt x="122" y="141"/>
                      </a:lnTo>
                      <a:lnTo>
                        <a:pt x="121" y="143"/>
                      </a:lnTo>
                      <a:lnTo>
                        <a:pt x="120" y="143"/>
                      </a:lnTo>
                      <a:lnTo>
                        <a:pt x="120" y="144"/>
                      </a:lnTo>
                      <a:lnTo>
                        <a:pt x="117" y="143"/>
                      </a:lnTo>
                      <a:lnTo>
                        <a:pt x="117" y="144"/>
                      </a:lnTo>
                      <a:lnTo>
                        <a:pt x="116" y="144"/>
                      </a:lnTo>
                      <a:lnTo>
                        <a:pt x="115" y="144"/>
                      </a:lnTo>
                      <a:lnTo>
                        <a:pt x="115" y="144"/>
                      </a:lnTo>
                      <a:lnTo>
                        <a:pt x="113" y="144"/>
                      </a:lnTo>
                      <a:lnTo>
                        <a:pt x="112" y="143"/>
                      </a:lnTo>
                      <a:lnTo>
                        <a:pt x="110" y="143"/>
                      </a:lnTo>
                      <a:lnTo>
                        <a:pt x="110" y="141"/>
                      </a:lnTo>
                      <a:lnTo>
                        <a:pt x="109" y="140"/>
                      </a:lnTo>
                      <a:lnTo>
                        <a:pt x="109" y="140"/>
                      </a:lnTo>
                      <a:lnTo>
                        <a:pt x="108" y="139"/>
                      </a:lnTo>
                      <a:lnTo>
                        <a:pt x="108" y="138"/>
                      </a:lnTo>
                      <a:lnTo>
                        <a:pt x="107" y="138"/>
                      </a:lnTo>
                      <a:lnTo>
                        <a:pt x="106" y="137"/>
                      </a:lnTo>
                      <a:lnTo>
                        <a:pt x="106" y="133"/>
                      </a:lnTo>
                      <a:lnTo>
                        <a:pt x="107" y="134"/>
                      </a:lnTo>
                      <a:lnTo>
                        <a:pt x="108" y="134"/>
                      </a:lnTo>
                      <a:lnTo>
                        <a:pt x="110" y="130"/>
                      </a:lnTo>
                      <a:lnTo>
                        <a:pt x="112" y="127"/>
                      </a:lnTo>
                      <a:lnTo>
                        <a:pt x="114" y="125"/>
                      </a:lnTo>
                      <a:lnTo>
                        <a:pt x="115" y="120"/>
                      </a:lnTo>
                      <a:lnTo>
                        <a:pt x="114" y="118"/>
                      </a:lnTo>
                      <a:lnTo>
                        <a:pt x="115" y="117"/>
                      </a:lnTo>
                      <a:lnTo>
                        <a:pt x="120" y="117"/>
                      </a:lnTo>
                      <a:lnTo>
                        <a:pt x="122" y="118"/>
                      </a:lnTo>
                      <a:lnTo>
                        <a:pt x="124" y="118"/>
                      </a:lnTo>
                      <a:lnTo>
                        <a:pt x="128" y="117"/>
                      </a:lnTo>
                      <a:lnTo>
                        <a:pt x="129" y="113"/>
                      </a:lnTo>
                      <a:lnTo>
                        <a:pt x="127" y="110"/>
                      </a:lnTo>
                      <a:lnTo>
                        <a:pt x="122" y="107"/>
                      </a:lnTo>
                      <a:lnTo>
                        <a:pt x="119" y="100"/>
                      </a:lnTo>
                      <a:lnTo>
                        <a:pt x="113" y="97"/>
                      </a:lnTo>
                      <a:lnTo>
                        <a:pt x="112" y="87"/>
                      </a:lnTo>
                      <a:lnTo>
                        <a:pt x="107" y="85"/>
                      </a:lnTo>
                      <a:lnTo>
                        <a:pt x="100" y="84"/>
                      </a:lnTo>
                      <a:lnTo>
                        <a:pt x="87" y="77"/>
                      </a:lnTo>
                      <a:lnTo>
                        <a:pt x="73" y="80"/>
                      </a:lnTo>
                      <a:lnTo>
                        <a:pt x="67" y="85"/>
                      </a:lnTo>
                      <a:lnTo>
                        <a:pt x="68" y="87"/>
                      </a:lnTo>
                      <a:lnTo>
                        <a:pt x="68" y="90"/>
                      </a:lnTo>
                      <a:lnTo>
                        <a:pt x="62" y="90"/>
                      </a:lnTo>
                      <a:lnTo>
                        <a:pt x="60" y="91"/>
                      </a:lnTo>
                      <a:lnTo>
                        <a:pt x="57" y="91"/>
                      </a:lnTo>
                      <a:lnTo>
                        <a:pt x="53" y="91"/>
                      </a:lnTo>
                      <a:lnTo>
                        <a:pt x="52" y="93"/>
                      </a:lnTo>
                      <a:lnTo>
                        <a:pt x="47" y="94"/>
                      </a:lnTo>
                      <a:lnTo>
                        <a:pt x="46" y="93"/>
                      </a:lnTo>
                      <a:lnTo>
                        <a:pt x="43" y="92"/>
                      </a:lnTo>
                      <a:lnTo>
                        <a:pt x="42" y="91"/>
                      </a:lnTo>
                      <a:lnTo>
                        <a:pt x="42" y="91"/>
                      </a:lnTo>
                      <a:lnTo>
                        <a:pt x="37" y="91"/>
                      </a:lnTo>
                      <a:lnTo>
                        <a:pt x="32" y="91"/>
                      </a:lnTo>
                      <a:lnTo>
                        <a:pt x="30" y="90"/>
                      </a:lnTo>
                      <a:lnTo>
                        <a:pt x="28" y="90"/>
                      </a:lnTo>
                      <a:lnTo>
                        <a:pt x="26" y="88"/>
                      </a:lnTo>
                      <a:lnTo>
                        <a:pt x="23" y="90"/>
                      </a:lnTo>
                      <a:lnTo>
                        <a:pt x="22" y="88"/>
                      </a:lnTo>
                      <a:lnTo>
                        <a:pt x="20" y="90"/>
                      </a:lnTo>
                      <a:lnTo>
                        <a:pt x="17" y="87"/>
                      </a:lnTo>
                      <a:lnTo>
                        <a:pt x="14" y="90"/>
                      </a:lnTo>
                      <a:lnTo>
                        <a:pt x="14" y="88"/>
                      </a:lnTo>
                      <a:lnTo>
                        <a:pt x="13" y="87"/>
                      </a:lnTo>
                      <a:lnTo>
                        <a:pt x="9" y="85"/>
                      </a:lnTo>
                      <a:lnTo>
                        <a:pt x="7" y="84"/>
                      </a:lnTo>
                      <a:lnTo>
                        <a:pt x="5" y="84"/>
                      </a:lnTo>
                      <a:lnTo>
                        <a:pt x="0" y="81"/>
                      </a:lnTo>
                      <a:lnTo>
                        <a:pt x="0" y="79"/>
                      </a:lnTo>
                      <a:lnTo>
                        <a:pt x="1" y="74"/>
                      </a:lnTo>
                      <a:lnTo>
                        <a:pt x="3" y="66"/>
                      </a:lnTo>
                      <a:lnTo>
                        <a:pt x="7" y="67"/>
                      </a:lnTo>
                      <a:lnTo>
                        <a:pt x="7" y="68"/>
                      </a:lnTo>
                      <a:lnTo>
                        <a:pt x="12" y="70"/>
                      </a:lnTo>
                      <a:lnTo>
                        <a:pt x="12" y="66"/>
                      </a:lnTo>
                      <a:lnTo>
                        <a:pt x="9" y="66"/>
                      </a:lnTo>
                      <a:lnTo>
                        <a:pt x="9" y="64"/>
                      </a:lnTo>
                      <a:lnTo>
                        <a:pt x="9" y="61"/>
                      </a:lnTo>
                      <a:lnTo>
                        <a:pt x="8" y="60"/>
                      </a:lnTo>
                      <a:lnTo>
                        <a:pt x="6" y="58"/>
                      </a:lnTo>
                      <a:lnTo>
                        <a:pt x="10" y="54"/>
                      </a:lnTo>
                      <a:lnTo>
                        <a:pt x="9" y="53"/>
                      </a:lnTo>
                      <a:lnTo>
                        <a:pt x="12" y="52"/>
                      </a:lnTo>
                      <a:lnTo>
                        <a:pt x="13" y="52"/>
                      </a:lnTo>
                      <a:lnTo>
                        <a:pt x="15" y="48"/>
                      </a:lnTo>
                      <a:lnTo>
                        <a:pt x="19" y="46"/>
                      </a:lnTo>
                      <a:lnTo>
                        <a:pt x="20" y="43"/>
                      </a:lnTo>
                      <a:lnTo>
                        <a:pt x="20" y="41"/>
                      </a:lnTo>
                      <a:lnTo>
                        <a:pt x="25" y="41"/>
                      </a:lnTo>
                      <a:lnTo>
                        <a:pt x="26" y="39"/>
                      </a:lnTo>
                      <a:lnTo>
                        <a:pt x="26" y="34"/>
                      </a:lnTo>
                      <a:lnTo>
                        <a:pt x="25" y="34"/>
                      </a:lnTo>
                      <a:lnTo>
                        <a:pt x="25" y="33"/>
                      </a:lnTo>
                      <a:lnTo>
                        <a:pt x="27" y="32"/>
                      </a:lnTo>
                      <a:lnTo>
                        <a:pt x="26" y="31"/>
                      </a:lnTo>
                      <a:lnTo>
                        <a:pt x="23" y="28"/>
                      </a:lnTo>
                      <a:lnTo>
                        <a:pt x="20" y="26"/>
                      </a:lnTo>
                      <a:lnTo>
                        <a:pt x="16" y="24"/>
                      </a:lnTo>
                      <a:lnTo>
                        <a:pt x="19" y="23"/>
                      </a:lnTo>
                      <a:lnTo>
                        <a:pt x="17" y="18"/>
                      </a:lnTo>
                      <a:lnTo>
                        <a:pt x="16" y="17"/>
                      </a:lnTo>
                      <a:lnTo>
                        <a:pt x="16" y="17"/>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71" name="UAE">
                  <a:extLst>
                    <a:ext uri="{FF2B5EF4-FFF2-40B4-BE49-F238E27FC236}">
                      <a16:creationId xmlns:a16="http://schemas.microsoft.com/office/drawing/2014/main" id="{38E087C0-54CC-674C-B406-D974B02586F9}"/>
                    </a:ext>
                  </a:extLst>
                </p:cNvPr>
                <p:cNvSpPr>
                  <a:spLocks/>
                </p:cNvSpPr>
                <p:nvPr/>
              </p:nvSpPr>
              <p:spPr bwMode="auto">
                <a:xfrm>
                  <a:off x="7675942" y="3213818"/>
                  <a:ext cx="137047" cy="104973"/>
                </a:xfrm>
                <a:custGeom>
                  <a:avLst/>
                  <a:gdLst>
                    <a:gd name="T0" fmla="*/ 79 w 94"/>
                    <a:gd name="T1" fmla="*/ 64 h 72"/>
                    <a:gd name="T2" fmla="*/ 91 w 94"/>
                    <a:gd name="T3" fmla="*/ 37 h 72"/>
                    <a:gd name="T4" fmla="*/ 94 w 94"/>
                    <a:gd name="T5" fmla="*/ 11 h 72"/>
                    <a:gd name="T6" fmla="*/ 93 w 94"/>
                    <a:gd name="T7" fmla="*/ 6 h 72"/>
                    <a:gd name="T8" fmla="*/ 85 w 94"/>
                    <a:gd name="T9" fmla="*/ 0 h 72"/>
                    <a:gd name="T10" fmla="*/ 80 w 94"/>
                    <a:gd name="T11" fmla="*/ 5 h 72"/>
                    <a:gd name="T12" fmla="*/ 78 w 94"/>
                    <a:gd name="T13" fmla="*/ 5 h 72"/>
                    <a:gd name="T14" fmla="*/ 78 w 94"/>
                    <a:gd name="T15" fmla="*/ 4 h 72"/>
                    <a:gd name="T16" fmla="*/ 77 w 94"/>
                    <a:gd name="T17" fmla="*/ 6 h 72"/>
                    <a:gd name="T18" fmla="*/ 77 w 94"/>
                    <a:gd name="T19" fmla="*/ 7 h 72"/>
                    <a:gd name="T20" fmla="*/ 77 w 94"/>
                    <a:gd name="T21" fmla="*/ 10 h 72"/>
                    <a:gd name="T22" fmla="*/ 77 w 94"/>
                    <a:gd name="T23" fmla="*/ 10 h 72"/>
                    <a:gd name="T24" fmla="*/ 73 w 94"/>
                    <a:gd name="T25" fmla="*/ 13 h 72"/>
                    <a:gd name="T26" fmla="*/ 66 w 94"/>
                    <a:gd name="T27" fmla="*/ 20 h 72"/>
                    <a:gd name="T28" fmla="*/ 64 w 94"/>
                    <a:gd name="T29" fmla="*/ 20 h 72"/>
                    <a:gd name="T30" fmla="*/ 65 w 94"/>
                    <a:gd name="T31" fmla="*/ 24 h 72"/>
                    <a:gd name="T32" fmla="*/ 63 w 94"/>
                    <a:gd name="T33" fmla="*/ 24 h 72"/>
                    <a:gd name="T34" fmla="*/ 64 w 94"/>
                    <a:gd name="T35" fmla="*/ 26 h 72"/>
                    <a:gd name="T36" fmla="*/ 63 w 94"/>
                    <a:gd name="T37" fmla="*/ 27 h 72"/>
                    <a:gd name="T38" fmla="*/ 63 w 94"/>
                    <a:gd name="T39" fmla="*/ 29 h 72"/>
                    <a:gd name="T40" fmla="*/ 61 w 94"/>
                    <a:gd name="T41" fmla="*/ 30 h 72"/>
                    <a:gd name="T42" fmla="*/ 61 w 94"/>
                    <a:gd name="T43" fmla="*/ 32 h 72"/>
                    <a:gd name="T44" fmla="*/ 60 w 94"/>
                    <a:gd name="T45" fmla="*/ 32 h 72"/>
                    <a:gd name="T46" fmla="*/ 58 w 94"/>
                    <a:gd name="T47" fmla="*/ 33 h 72"/>
                    <a:gd name="T48" fmla="*/ 51 w 94"/>
                    <a:gd name="T49" fmla="*/ 36 h 72"/>
                    <a:gd name="T50" fmla="*/ 47 w 94"/>
                    <a:gd name="T51" fmla="*/ 36 h 72"/>
                    <a:gd name="T52" fmla="*/ 45 w 94"/>
                    <a:gd name="T53" fmla="*/ 36 h 72"/>
                    <a:gd name="T54" fmla="*/ 44 w 94"/>
                    <a:gd name="T55" fmla="*/ 36 h 72"/>
                    <a:gd name="T56" fmla="*/ 43 w 94"/>
                    <a:gd name="T57" fmla="*/ 33 h 72"/>
                    <a:gd name="T58" fmla="*/ 39 w 94"/>
                    <a:gd name="T59" fmla="*/ 33 h 72"/>
                    <a:gd name="T60" fmla="*/ 37 w 94"/>
                    <a:gd name="T61" fmla="*/ 34 h 72"/>
                    <a:gd name="T62" fmla="*/ 36 w 94"/>
                    <a:gd name="T63" fmla="*/ 34 h 72"/>
                    <a:gd name="T64" fmla="*/ 31 w 94"/>
                    <a:gd name="T65" fmla="*/ 34 h 72"/>
                    <a:gd name="T66" fmla="*/ 30 w 94"/>
                    <a:gd name="T67" fmla="*/ 33 h 72"/>
                    <a:gd name="T68" fmla="*/ 28 w 94"/>
                    <a:gd name="T69" fmla="*/ 34 h 72"/>
                    <a:gd name="T70" fmla="*/ 26 w 94"/>
                    <a:gd name="T71" fmla="*/ 36 h 72"/>
                    <a:gd name="T72" fmla="*/ 25 w 94"/>
                    <a:gd name="T73" fmla="*/ 37 h 72"/>
                    <a:gd name="T74" fmla="*/ 24 w 94"/>
                    <a:gd name="T75" fmla="*/ 38 h 72"/>
                    <a:gd name="T76" fmla="*/ 20 w 94"/>
                    <a:gd name="T77" fmla="*/ 38 h 72"/>
                    <a:gd name="T78" fmla="*/ 18 w 94"/>
                    <a:gd name="T79" fmla="*/ 37 h 72"/>
                    <a:gd name="T80" fmla="*/ 18 w 94"/>
                    <a:gd name="T81" fmla="*/ 38 h 72"/>
                    <a:gd name="T82" fmla="*/ 17 w 94"/>
                    <a:gd name="T83" fmla="*/ 37 h 72"/>
                    <a:gd name="T84" fmla="*/ 16 w 94"/>
                    <a:gd name="T85" fmla="*/ 36 h 72"/>
                    <a:gd name="T86" fmla="*/ 14 w 94"/>
                    <a:gd name="T87" fmla="*/ 32 h 72"/>
                    <a:gd name="T88" fmla="*/ 13 w 94"/>
                    <a:gd name="T89" fmla="*/ 32 h 72"/>
                    <a:gd name="T90" fmla="*/ 12 w 94"/>
                    <a:gd name="T91" fmla="*/ 32 h 72"/>
                    <a:gd name="T92" fmla="*/ 12 w 94"/>
                    <a:gd name="T93" fmla="*/ 30 h 72"/>
                    <a:gd name="T94" fmla="*/ 11 w 94"/>
                    <a:gd name="T95" fmla="*/ 31 h 72"/>
                    <a:gd name="T96" fmla="*/ 10 w 94"/>
                    <a:gd name="T97" fmla="*/ 32 h 72"/>
                    <a:gd name="T98" fmla="*/ 8 w 94"/>
                    <a:gd name="T99" fmla="*/ 30 h 72"/>
                    <a:gd name="T100" fmla="*/ 5 w 94"/>
                    <a:gd name="T101" fmla="*/ 31 h 72"/>
                    <a:gd name="T102" fmla="*/ 5 w 94"/>
                    <a:gd name="T103" fmla="*/ 29 h 72"/>
                    <a:gd name="T104" fmla="*/ 7 w 94"/>
                    <a:gd name="T105" fmla="*/ 27 h 72"/>
                    <a:gd name="T106" fmla="*/ 8 w 94"/>
                    <a:gd name="T107" fmla="*/ 25 h 72"/>
                    <a:gd name="T108" fmla="*/ 8 w 94"/>
                    <a:gd name="T109" fmla="*/ 24 h 72"/>
                    <a:gd name="T110" fmla="*/ 6 w 94"/>
                    <a:gd name="T111" fmla="*/ 25 h 72"/>
                    <a:gd name="T112" fmla="*/ 5 w 94"/>
                    <a:gd name="T113" fmla="*/ 24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94" h="72">
                      <a:moveTo>
                        <a:pt x="0" y="25"/>
                      </a:moveTo>
                      <a:lnTo>
                        <a:pt x="3" y="32"/>
                      </a:lnTo>
                      <a:lnTo>
                        <a:pt x="11" y="46"/>
                      </a:lnTo>
                      <a:lnTo>
                        <a:pt x="20" y="57"/>
                      </a:lnTo>
                      <a:lnTo>
                        <a:pt x="72" y="72"/>
                      </a:lnTo>
                      <a:lnTo>
                        <a:pt x="79" y="64"/>
                      </a:lnTo>
                      <a:lnTo>
                        <a:pt x="78" y="53"/>
                      </a:lnTo>
                      <a:lnTo>
                        <a:pt x="83" y="45"/>
                      </a:lnTo>
                      <a:lnTo>
                        <a:pt x="83" y="40"/>
                      </a:lnTo>
                      <a:lnTo>
                        <a:pt x="80" y="37"/>
                      </a:lnTo>
                      <a:lnTo>
                        <a:pt x="84" y="37"/>
                      </a:lnTo>
                      <a:lnTo>
                        <a:pt x="91" y="37"/>
                      </a:lnTo>
                      <a:lnTo>
                        <a:pt x="86" y="32"/>
                      </a:lnTo>
                      <a:lnTo>
                        <a:pt x="84" y="25"/>
                      </a:lnTo>
                      <a:lnTo>
                        <a:pt x="85" y="22"/>
                      </a:lnTo>
                      <a:lnTo>
                        <a:pt x="87" y="19"/>
                      </a:lnTo>
                      <a:lnTo>
                        <a:pt x="94" y="13"/>
                      </a:lnTo>
                      <a:lnTo>
                        <a:pt x="94" y="11"/>
                      </a:lnTo>
                      <a:lnTo>
                        <a:pt x="94" y="10"/>
                      </a:lnTo>
                      <a:lnTo>
                        <a:pt x="94" y="9"/>
                      </a:lnTo>
                      <a:lnTo>
                        <a:pt x="93" y="9"/>
                      </a:lnTo>
                      <a:lnTo>
                        <a:pt x="93" y="9"/>
                      </a:lnTo>
                      <a:lnTo>
                        <a:pt x="93" y="7"/>
                      </a:lnTo>
                      <a:lnTo>
                        <a:pt x="93" y="6"/>
                      </a:lnTo>
                      <a:lnTo>
                        <a:pt x="93" y="6"/>
                      </a:lnTo>
                      <a:lnTo>
                        <a:pt x="87" y="7"/>
                      </a:lnTo>
                      <a:lnTo>
                        <a:pt x="86" y="0"/>
                      </a:lnTo>
                      <a:lnTo>
                        <a:pt x="85" y="2"/>
                      </a:lnTo>
                      <a:lnTo>
                        <a:pt x="85" y="0"/>
                      </a:lnTo>
                      <a:lnTo>
                        <a:pt x="85" y="0"/>
                      </a:lnTo>
                      <a:lnTo>
                        <a:pt x="84" y="0"/>
                      </a:lnTo>
                      <a:lnTo>
                        <a:pt x="84" y="2"/>
                      </a:lnTo>
                      <a:lnTo>
                        <a:pt x="81" y="3"/>
                      </a:lnTo>
                      <a:lnTo>
                        <a:pt x="81" y="4"/>
                      </a:lnTo>
                      <a:lnTo>
                        <a:pt x="80" y="4"/>
                      </a:lnTo>
                      <a:lnTo>
                        <a:pt x="80" y="5"/>
                      </a:lnTo>
                      <a:lnTo>
                        <a:pt x="80" y="6"/>
                      </a:lnTo>
                      <a:lnTo>
                        <a:pt x="79" y="6"/>
                      </a:lnTo>
                      <a:lnTo>
                        <a:pt x="79" y="6"/>
                      </a:lnTo>
                      <a:lnTo>
                        <a:pt x="78" y="6"/>
                      </a:lnTo>
                      <a:lnTo>
                        <a:pt x="78" y="6"/>
                      </a:lnTo>
                      <a:lnTo>
                        <a:pt x="78" y="5"/>
                      </a:lnTo>
                      <a:lnTo>
                        <a:pt x="78" y="4"/>
                      </a:lnTo>
                      <a:lnTo>
                        <a:pt x="78" y="4"/>
                      </a:lnTo>
                      <a:lnTo>
                        <a:pt x="78" y="4"/>
                      </a:lnTo>
                      <a:lnTo>
                        <a:pt x="78" y="4"/>
                      </a:lnTo>
                      <a:lnTo>
                        <a:pt x="78" y="4"/>
                      </a:lnTo>
                      <a:lnTo>
                        <a:pt x="78" y="4"/>
                      </a:lnTo>
                      <a:lnTo>
                        <a:pt x="78" y="4"/>
                      </a:lnTo>
                      <a:lnTo>
                        <a:pt x="77" y="6"/>
                      </a:lnTo>
                      <a:lnTo>
                        <a:pt x="77" y="6"/>
                      </a:lnTo>
                      <a:lnTo>
                        <a:pt x="77" y="6"/>
                      </a:lnTo>
                      <a:lnTo>
                        <a:pt x="77" y="6"/>
                      </a:lnTo>
                      <a:lnTo>
                        <a:pt x="77" y="6"/>
                      </a:lnTo>
                      <a:lnTo>
                        <a:pt x="77" y="7"/>
                      </a:lnTo>
                      <a:lnTo>
                        <a:pt x="77" y="7"/>
                      </a:lnTo>
                      <a:lnTo>
                        <a:pt x="77" y="7"/>
                      </a:lnTo>
                      <a:lnTo>
                        <a:pt x="77" y="7"/>
                      </a:lnTo>
                      <a:lnTo>
                        <a:pt x="77" y="7"/>
                      </a:lnTo>
                      <a:lnTo>
                        <a:pt x="77" y="7"/>
                      </a:lnTo>
                      <a:lnTo>
                        <a:pt x="77" y="9"/>
                      </a:lnTo>
                      <a:lnTo>
                        <a:pt x="77" y="9"/>
                      </a:lnTo>
                      <a:lnTo>
                        <a:pt x="77" y="9"/>
                      </a:lnTo>
                      <a:lnTo>
                        <a:pt x="76" y="9"/>
                      </a:lnTo>
                      <a:lnTo>
                        <a:pt x="76" y="10"/>
                      </a:lnTo>
                      <a:lnTo>
                        <a:pt x="77" y="10"/>
                      </a:lnTo>
                      <a:lnTo>
                        <a:pt x="77" y="9"/>
                      </a:lnTo>
                      <a:lnTo>
                        <a:pt x="77" y="9"/>
                      </a:lnTo>
                      <a:lnTo>
                        <a:pt x="77" y="9"/>
                      </a:lnTo>
                      <a:lnTo>
                        <a:pt x="77" y="9"/>
                      </a:lnTo>
                      <a:lnTo>
                        <a:pt x="77" y="9"/>
                      </a:lnTo>
                      <a:lnTo>
                        <a:pt x="77" y="10"/>
                      </a:lnTo>
                      <a:lnTo>
                        <a:pt x="77" y="10"/>
                      </a:lnTo>
                      <a:lnTo>
                        <a:pt x="76" y="10"/>
                      </a:lnTo>
                      <a:lnTo>
                        <a:pt x="74" y="10"/>
                      </a:lnTo>
                      <a:lnTo>
                        <a:pt x="74" y="11"/>
                      </a:lnTo>
                      <a:lnTo>
                        <a:pt x="73" y="12"/>
                      </a:lnTo>
                      <a:lnTo>
                        <a:pt x="73" y="13"/>
                      </a:lnTo>
                      <a:lnTo>
                        <a:pt x="72" y="16"/>
                      </a:lnTo>
                      <a:lnTo>
                        <a:pt x="70" y="18"/>
                      </a:lnTo>
                      <a:lnTo>
                        <a:pt x="68" y="18"/>
                      </a:lnTo>
                      <a:lnTo>
                        <a:pt x="67" y="18"/>
                      </a:lnTo>
                      <a:lnTo>
                        <a:pt x="66" y="19"/>
                      </a:lnTo>
                      <a:lnTo>
                        <a:pt x="66" y="20"/>
                      </a:lnTo>
                      <a:lnTo>
                        <a:pt x="66" y="20"/>
                      </a:lnTo>
                      <a:lnTo>
                        <a:pt x="66" y="20"/>
                      </a:lnTo>
                      <a:lnTo>
                        <a:pt x="66" y="22"/>
                      </a:lnTo>
                      <a:lnTo>
                        <a:pt x="65" y="20"/>
                      </a:lnTo>
                      <a:lnTo>
                        <a:pt x="65" y="20"/>
                      </a:lnTo>
                      <a:lnTo>
                        <a:pt x="64" y="20"/>
                      </a:lnTo>
                      <a:lnTo>
                        <a:pt x="64" y="20"/>
                      </a:lnTo>
                      <a:lnTo>
                        <a:pt x="64" y="22"/>
                      </a:lnTo>
                      <a:lnTo>
                        <a:pt x="65" y="23"/>
                      </a:lnTo>
                      <a:lnTo>
                        <a:pt x="66" y="23"/>
                      </a:lnTo>
                      <a:lnTo>
                        <a:pt x="65" y="24"/>
                      </a:lnTo>
                      <a:lnTo>
                        <a:pt x="65" y="24"/>
                      </a:lnTo>
                      <a:lnTo>
                        <a:pt x="64" y="23"/>
                      </a:lnTo>
                      <a:lnTo>
                        <a:pt x="63" y="23"/>
                      </a:lnTo>
                      <a:lnTo>
                        <a:pt x="63" y="23"/>
                      </a:lnTo>
                      <a:lnTo>
                        <a:pt x="63" y="24"/>
                      </a:lnTo>
                      <a:lnTo>
                        <a:pt x="63" y="24"/>
                      </a:lnTo>
                      <a:lnTo>
                        <a:pt x="63" y="24"/>
                      </a:lnTo>
                      <a:lnTo>
                        <a:pt x="64" y="25"/>
                      </a:lnTo>
                      <a:lnTo>
                        <a:pt x="64" y="25"/>
                      </a:lnTo>
                      <a:lnTo>
                        <a:pt x="64" y="26"/>
                      </a:lnTo>
                      <a:lnTo>
                        <a:pt x="64" y="26"/>
                      </a:lnTo>
                      <a:lnTo>
                        <a:pt x="64" y="26"/>
                      </a:lnTo>
                      <a:lnTo>
                        <a:pt x="64" y="26"/>
                      </a:lnTo>
                      <a:lnTo>
                        <a:pt x="64" y="26"/>
                      </a:lnTo>
                      <a:lnTo>
                        <a:pt x="63" y="25"/>
                      </a:lnTo>
                      <a:lnTo>
                        <a:pt x="63" y="26"/>
                      </a:lnTo>
                      <a:lnTo>
                        <a:pt x="63" y="26"/>
                      </a:lnTo>
                      <a:lnTo>
                        <a:pt x="63" y="27"/>
                      </a:lnTo>
                      <a:lnTo>
                        <a:pt x="63" y="27"/>
                      </a:lnTo>
                      <a:lnTo>
                        <a:pt x="63" y="27"/>
                      </a:lnTo>
                      <a:lnTo>
                        <a:pt x="63" y="27"/>
                      </a:lnTo>
                      <a:lnTo>
                        <a:pt x="63" y="27"/>
                      </a:lnTo>
                      <a:lnTo>
                        <a:pt x="63" y="29"/>
                      </a:lnTo>
                      <a:lnTo>
                        <a:pt x="63" y="29"/>
                      </a:lnTo>
                      <a:lnTo>
                        <a:pt x="63" y="29"/>
                      </a:lnTo>
                      <a:lnTo>
                        <a:pt x="61" y="29"/>
                      </a:lnTo>
                      <a:lnTo>
                        <a:pt x="61" y="27"/>
                      </a:lnTo>
                      <a:lnTo>
                        <a:pt x="60" y="29"/>
                      </a:lnTo>
                      <a:lnTo>
                        <a:pt x="60" y="29"/>
                      </a:lnTo>
                      <a:lnTo>
                        <a:pt x="61" y="29"/>
                      </a:lnTo>
                      <a:lnTo>
                        <a:pt x="61" y="30"/>
                      </a:lnTo>
                      <a:lnTo>
                        <a:pt x="61" y="31"/>
                      </a:lnTo>
                      <a:lnTo>
                        <a:pt x="61" y="31"/>
                      </a:lnTo>
                      <a:lnTo>
                        <a:pt x="61" y="32"/>
                      </a:lnTo>
                      <a:lnTo>
                        <a:pt x="61" y="32"/>
                      </a:lnTo>
                      <a:lnTo>
                        <a:pt x="61" y="32"/>
                      </a:lnTo>
                      <a:lnTo>
                        <a:pt x="61" y="32"/>
                      </a:lnTo>
                      <a:lnTo>
                        <a:pt x="61" y="32"/>
                      </a:lnTo>
                      <a:lnTo>
                        <a:pt x="61" y="32"/>
                      </a:lnTo>
                      <a:lnTo>
                        <a:pt x="61" y="32"/>
                      </a:lnTo>
                      <a:lnTo>
                        <a:pt x="60" y="32"/>
                      </a:lnTo>
                      <a:lnTo>
                        <a:pt x="60" y="32"/>
                      </a:lnTo>
                      <a:lnTo>
                        <a:pt x="60" y="32"/>
                      </a:lnTo>
                      <a:lnTo>
                        <a:pt x="60" y="32"/>
                      </a:lnTo>
                      <a:lnTo>
                        <a:pt x="60" y="32"/>
                      </a:lnTo>
                      <a:lnTo>
                        <a:pt x="59" y="32"/>
                      </a:lnTo>
                      <a:lnTo>
                        <a:pt x="59" y="32"/>
                      </a:lnTo>
                      <a:lnTo>
                        <a:pt x="59" y="32"/>
                      </a:lnTo>
                      <a:lnTo>
                        <a:pt x="58" y="33"/>
                      </a:lnTo>
                      <a:lnTo>
                        <a:pt x="58" y="34"/>
                      </a:lnTo>
                      <a:lnTo>
                        <a:pt x="57" y="34"/>
                      </a:lnTo>
                      <a:lnTo>
                        <a:pt x="57" y="34"/>
                      </a:lnTo>
                      <a:lnTo>
                        <a:pt x="53" y="36"/>
                      </a:lnTo>
                      <a:lnTo>
                        <a:pt x="51" y="36"/>
                      </a:lnTo>
                      <a:lnTo>
                        <a:pt x="51" y="36"/>
                      </a:lnTo>
                      <a:lnTo>
                        <a:pt x="51" y="36"/>
                      </a:lnTo>
                      <a:lnTo>
                        <a:pt x="50" y="36"/>
                      </a:lnTo>
                      <a:lnTo>
                        <a:pt x="50" y="36"/>
                      </a:lnTo>
                      <a:lnTo>
                        <a:pt x="48" y="36"/>
                      </a:lnTo>
                      <a:lnTo>
                        <a:pt x="48" y="36"/>
                      </a:lnTo>
                      <a:lnTo>
                        <a:pt x="47" y="36"/>
                      </a:lnTo>
                      <a:lnTo>
                        <a:pt x="46" y="37"/>
                      </a:lnTo>
                      <a:lnTo>
                        <a:pt x="46" y="37"/>
                      </a:lnTo>
                      <a:lnTo>
                        <a:pt x="46" y="36"/>
                      </a:lnTo>
                      <a:lnTo>
                        <a:pt x="46" y="36"/>
                      </a:lnTo>
                      <a:lnTo>
                        <a:pt x="46" y="36"/>
                      </a:lnTo>
                      <a:lnTo>
                        <a:pt x="45" y="36"/>
                      </a:lnTo>
                      <a:lnTo>
                        <a:pt x="45" y="36"/>
                      </a:lnTo>
                      <a:lnTo>
                        <a:pt x="44" y="36"/>
                      </a:lnTo>
                      <a:lnTo>
                        <a:pt x="44" y="36"/>
                      </a:lnTo>
                      <a:lnTo>
                        <a:pt x="44" y="36"/>
                      </a:lnTo>
                      <a:lnTo>
                        <a:pt x="44" y="36"/>
                      </a:lnTo>
                      <a:lnTo>
                        <a:pt x="44" y="36"/>
                      </a:lnTo>
                      <a:lnTo>
                        <a:pt x="43" y="34"/>
                      </a:lnTo>
                      <a:lnTo>
                        <a:pt x="43" y="34"/>
                      </a:lnTo>
                      <a:lnTo>
                        <a:pt x="43" y="33"/>
                      </a:lnTo>
                      <a:lnTo>
                        <a:pt x="43" y="33"/>
                      </a:lnTo>
                      <a:lnTo>
                        <a:pt x="43" y="33"/>
                      </a:lnTo>
                      <a:lnTo>
                        <a:pt x="43" y="33"/>
                      </a:lnTo>
                      <a:lnTo>
                        <a:pt x="41" y="36"/>
                      </a:lnTo>
                      <a:lnTo>
                        <a:pt x="41" y="36"/>
                      </a:lnTo>
                      <a:lnTo>
                        <a:pt x="40" y="36"/>
                      </a:lnTo>
                      <a:lnTo>
                        <a:pt x="40" y="34"/>
                      </a:lnTo>
                      <a:lnTo>
                        <a:pt x="40" y="34"/>
                      </a:lnTo>
                      <a:lnTo>
                        <a:pt x="39" y="33"/>
                      </a:lnTo>
                      <a:lnTo>
                        <a:pt x="39" y="33"/>
                      </a:lnTo>
                      <a:lnTo>
                        <a:pt x="38" y="33"/>
                      </a:lnTo>
                      <a:lnTo>
                        <a:pt x="39" y="34"/>
                      </a:lnTo>
                      <a:lnTo>
                        <a:pt x="38" y="34"/>
                      </a:lnTo>
                      <a:lnTo>
                        <a:pt x="38" y="34"/>
                      </a:lnTo>
                      <a:lnTo>
                        <a:pt x="37" y="34"/>
                      </a:lnTo>
                      <a:lnTo>
                        <a:pt x="36" y="34"/>
                      </a:lnTo>
                      <a:lnTo>
                        <a:pt x="36" y="34"/>
                      </a:lnTo>
                      <a:lnTo>
                        <a:pt x="36" y="34"/>
                      </a:lnTo>
                      <a:lnTo>
                        <a:pt x="36" y="34"/>
                      </a:lnTo>
                      <a:lnTo>
                        <a:pt x="36" y="34"/>
                      </a:lnTo>
                      <a:lnTo>
                        <a:pt x="36" y="34"/>
                      </a:lnTo>
                      <a:lnTo>
                        <a:pt x="34" y="34"/>
                      </a:lnTo>
                      <a:lnTo>
                        <a:pt x="33" y="34"/>
                      </a:lnTo>
                      <a:lnTo>
                        <a:pt x="32" y="34"/>
                      </a:lnTo>
                      <a:lnTo>
                        <a:pt x="31" y="34"/>
                      </a:lnTo>
                      <a:lnTo>
                        <a:pt x="31" y="34"/>
                      </a:lnTo>
                      <a:lnTo>
                        <a:pt x="31" y="34"/>
                      </a:lnTo>
                      <a:lnTo>
                        <a:pt x="31" y="34"/>
                      </a:lnTo>
                      <a:lnTo>
                        <a:pt x="31" y="34"/>
                      </a:lnTo>
                      <a:lnTo>
                        <a:pt x="31" y="34"/>
                      </a:lnTo>
                      <a:lnTo>
                        <a:pt x="31" y="34"/>
                      </a:lnTo>
                      <a:lnTo>
                        <a:pt x="30" y="33"/>
                      </a:lnTo>
                      <a:lnTo>
                        <a:pt x="30" y="33"/>
                      </a:lnTo>
                      <a:lnTo>
                        <a:pt x="30" y="33"/>
                      </a:lnTo>
                      <a:lnTo>
                        <a:pt x="28" y="33"/>
                      </a:lnTo>
                      <a:lnTo>
                        <a:pt x="28" y="33"/>
                      </a:lnTo>
                      <a:lnTo>
                        <a:pt x="28" y="33"/>
                      </a:lnTo>
                      <a:lnTo>
                        <a:pt x="28" y="33"/>
                      </a:lnTo>
                      <a:lnTo>
                        <a:pt x="28" y="34"/>
                      </a:lnTo>
                      <a:lnTo>
                        <a:pt x="28" y="34"/>
                      </a:lnTo>
                      <a:lnTo>
                        <a:pt x="28" y="34"/>
                      </a:lnTo>
                      <a:lnTo>
                        <a:pt x="27" y="34"/>
                      </a:lnTo>
                      <a:lnTo>
                        <a:pt x="27" y="34"/>
                      </a:lnTo>
                      <a:lnTo>
                        <a:pt x="26" y="34"/>
                      </a:lnTo>
                      <a:lnTo>
                        <a:pt x="26" y="36"/>
                      </a:lnTo>
                      <a:lnTo>
                        <a:pt x="26" y="36"/>
                      </a:lnTo>
                      <a:lnTo>
                        <a:pt x="26" y="36"/>
                      </a:lnTo>
                      <a:lnTo>
                        <a:pt x="26" y="36"/>
                      </a:lnTo>
                      <a:lnTo>
                        <a:pt x="26" y="36"/>
                      </a:lnTo>
                      <a:lnTo>
                        <a:pt x="25" y="37"/>
                      </a:lnTo>
                      <a:lnTo>
                        <a:pt x="25" y="37"/>
                      </a:lnTo>
                      <a:lnTo>
                        <a:pt x="25" y="37"/>
                      </a:lnTo>
                      <a:lnTo>
                        <a:pt x="24" y="37"/>
                      </a:lnTo>
                      <a:lnTo>
                        <a:pt x="24" y="37"/>
                      </a:lnTo>
                      <a:lnTo>
                        <a:pt x="24" y="37"/>
                      </a:lnTo>
                      <a:lnTo>
                        <a:pt x="24" y="37"/>
                      </a:lnTo>
                      <a:lnTo>
                        <a:pt x="24" y="38"/>
                      </a:lnTo>
                      <a:lnTo>
                        <a:pt x="23" y="38"/>
                      </a:lnTo>
                      <a:lnTo>
                        <a:pt x="21" y="38"/>
                      </a:lnTo>
                      <a:lnTo>
                        <a:pt x="21" y="38"/>
                      </a:lnTo>
                      <a:lnTo>
                        <a:pt x="21" y="38"/>
                      </a:lnTo>
                      <a:lnTo>
                        <a:pt x="21" y="38"/>
                      </a:lnTo>
                      <a:lnTo>
                        <a:pt x="20" y="38"/>
                      </a:lnTo>
                      <a:lnTo>
                        <a:pt x="20" y="38"/>
                      </a:lnTo>
                      <a:lnTo>
                        <a:pt x="20" y="38"/>
                      </a:lnTo>
                      <a:lnTo>
                        <a:pt x="19" y="37"/>
                      </a:lnTo>
                      <a:lnTo>
                        <a:pt x="19" y="37"/>
                      </a:lnTo>
                      <a:lnTo>
                        <a:pt x="19" y="37"/>
                      </a:lnTo>
                      <a:lnTo>
                        <a:pt x="18" y="37"/>
                      </a:lnTo>
                      <a:lnTo>
                        <a:pt x="18" y="37"/>
                      </a:lnTo>
                      <a:lnTo>
                        <a:pt x="18" y="37"/>
                      </a:lnTo>
                      <a:lnTo>
                        <a:pt x="18" y="38"/>
                      </a:lnTo>
                      <a:lnTo>
                        <a:pt x="18" y="38"/>
                      </a:lnTo>
                      <a:lnTo>
                        <a:pt x="18" y="38"/>
                      </a:lnTo>
                      <a:lnTo>
                        <a:pt x="18" y="38"/>
                      </a:lnTo>
                      <a:lnTo>
                        <a:pt x="18" y="38"/>
                      </a:lnTo>
                      <a:lnTo>
                        <a:pt x="18" y="38"/>
                      </a:lnTo>
                      <a:lnTo>
                        <a:pt x="17" y="37"/>
                      </a:lnTo>
                      <a:lnTo>
                        <a:pt x="17" y="37"/>
                      </a:lnTo>
                      <a:lnTo>
                        <a:pt x="17" y="37"/>
                      </a:lnTo>
                      <a:lnTo>
                        <a:pt x="17" y="37"/>
                      </a:lnTo>
                      <a:lnTo>
                        <a:pt x="16" y="37"/>
                      </a:lnTo>
                      <a:lnTo>
                        <a:pt x="16" y="37"/>
                      </a:lnTo>
                      <a:lnTo>
                        <a:pt x="16" y="37"/>
                      </a:lnTo>
                      <a:lnTo>
                        <a:pt x="16" y="37"/>
                      </a:lnTo>
                      <a:lnTo>
                        <a:pt x="16" y="36"/>
                      </a:lnTo>
                      <a:lnTo>
                        <a:pt x="16" y="36"/>
                      </a:lnTo>
                      <a:lnTo>
                        <a:pt x="14" y="36"/>
                      </a:lnTo>
                      <a:lnTo>
                        <a:pt x="14" y="36"/>
                      </a:lnTo>
                      <a:lnTo>
                        <a:pt x="13" y="34"/>
                      </a:lnTo>
                      <a:lnTo>
                        <a:pt x="13" y="33"/>
                      </a:lnTo>
                      <a:lnTo>
                        <a:pt x="14" y="33"/>
                      </a:lnTo>
                      <a:lnTo>
                        <a:pt x="14" y="32"/>
                      </a:lnTo>
                      <a:lnTo>
                        <a:pt x="16" y="32"/>
                      </a:lnTo>
                      <a:lnTo>
                        <a:pt x="14" y="32"/>
                      </a:lnTo>
                      <a:lnTo>
                        <a:pt x="14" y="31"/>
                      </a:lnTo>
                      <a:lnTo>
                        <a:pt x="13" y="32"/>
                      </a:lnTo>
                      <a:lnTo>
                        <a:pt x="13" y="32"/>
                      </a:lnTo>
                      <a:lnTo>
                        <a:pt x="13" y="32"/>
                      </a:lnTo>
                      <a:lnTo>
                        <a:pt x="13" y="32"/>
                      </a:lnTo>
                      <a:lnTo>
                        <a:pt x="12" y="32"/>
                      </a:lnTo>
                      <a:lnTo>
                        <a:pt x="12" y="32"/>
                      </a:lnTo>
                      <a:lnTo>
                        <a:pt x="12" y="32"/>
                      </a:lnTo>
                      <a:lnTo>
                        <a:pt x="12" y="32"/>
                      </a:lnTo>
                      <a:lnTo>
                        <a:pt x="12" y="32"/>
                      </a:lnTo>
                      <a:lnTo>
                        <a:pt x="12" y="32"/>
                      </a:lnTo>
                      <a:lnTo>
                        <a:pt x="12" y="32"/>
                      </a:lnTo>
                      <a:lnTo>
                        <a:pt x="12" y="32"/>
                      </a:lnTo>
                      <a:lnTo>
                        <a:pt x="12" y="30"/>
                      </a:lnTo>
                      <a:lnTo>
                        <a:pt x="12" y="30"/>
                      </a:lnTo>
                      <a:lnTo>
                        <a:pt x="12" y="30"/>
                      </a:lnTo>
                      <a:lnTo>
                        <a:pt x="11" y="29"/>
                      </a:lnTo>
                      <a:lnTo>
                        <a:pt x="11" y="29"/>
                      </a:lnTo>
                      <a:lnTo>
                        <a:pt x="11" y="29"/>
                      </a:lnTo>
                      <a:lnTo>
                        <a:pt x="11" y="29"/>
                      </a:lnTo>
                      <a:lnTo>
                        <a:pt x="11" y="30"/>
                      </a:lnTo>
                      <a:lnTo>
                        <a:pt x="11" y="31"/>
                      </a:lnTo>
                      <a:lnTo>
                        <a:pt x="11" y="32"/>
                      </a:lnTo>
                      <a:lnTo>
                        <a:pt x="11" y="32"/>
                      </a:lnTo>
                      <a:lnTo>
                        <a:pt x="11" y="32"/>
                      </a:lnTo>
                      <a:lnTo>
                        <a:pt x="11" y="32"/>
                      </a:lnTo>
                      <a:lnTo>
                        <a:pt x="10" y="32"/>
                      </a:lnTo>
                      <a:lnTo>
                        <a:pt x="10" y="32"/>
                      </a:lnTo>
                      <a:lnTo>
                        <a:pt x="10" y="32"/>
                      </a:lnTo>
                      <a:lnTo>
                        <a:pt x="11" y="31"/>
                      </a:lnTo>
                      <a:lnTo>
                        <a:pt x="10" y="31"/>
                      </a:lnTo>
                      <a:lnTo>
                        <a:pt x="10" y="30"/>
                      </a:lnTo>
                      <a:lnTo>
                        <a:pt x="8" y="30"/>
                      </a:lnTo>
                      <a:lnTo>
                        <a:pt x="8" y="30"/>
                      </a:lnTo>
                      <a:lnTo>
                        <a:pt x="7" y="30"/>
                      </a:lnTo>
                      <a:lnTo>
                        <a:pt x="7" y="31"/>
                      </a:lnTo>
                      <a:lnTo>
                        <a:pt x="7" y="31"/>
                      </a:lnTo>
                      <a:lnTo>
                        <a:pt x="7" y="32"/>
                      </a:lnTo>
                      <a:lnTo>
                        <a:pt x="6" y="32"/>
                      </a:lnTo>
                      <a:lnTo>
                        <a:pt x="5" y="31"/>
                      </a:lnTo>
                      <a:lnTo>
                        <a:pt x="5" y="31"/>
                      </a:lnTo>
                      <a:lnTo>
                        <a:pt x="5" y="30"/>
                      </a:lnTo>
                      <a:lnTo>
                        <a:pt x="5" y="30"/>
                      </a:lnTo>
                      <a:lnTo>
                        <a:pt x="5" y="30"/>
                      </a:lnTo>
                      <a:lnTo>
                        <a:pt x="5" y="29"/>
                      </a:lnTo>
                      <a:lnTo>
                        <a:pt x="5" y="29"/>
                      </a:lnTo>
                      <a:lnTo>
                        <a:pt x="5" y="27"/>
                      </a:lnTo>
                      <a:lnTo>
                        <a:pt x="5" y="27"/>
                      </a:lnTo>
                      <a:lnTo>
                        <a:pt x="6" y="27"/>
                      </a:lnTo>
                      <a:lnTo>
                        <a:pt x="6" y="27"/>
                      </a:lnTo>
                      <a:lnTo>
                        <a:pt x="7" y="27"/>
                      </a:lnTo>
                      <a:lnTo>
                        <a:pt x="7" y="27"/>
                      </a:lnTo>
                      <a:lnTo>
                        <a:pt x="7" y="27"/>
                      </a:lnTo>
                      <a:lnTo>
                        <a:pt x="7" y="26"/>
                      </a:lnTo>
                      <a:lnTo>
                        <a:pt x="7" y="26"/>
                      </a:lnTo>
                      <a:lnTo>
                        <a:pt x="7" y="26"/>
                      </a:lnTo>
                      <a:lnTo>
                        <a:pt x="7" y="25"/>
                      </a:lnTo>
                      <a:lnTo>
                        <a:pt x="8" y="25"/>
                      </a:lnTo>
                      <a:lnTo>
                        <a:pt x="8" y="25"/>
                      </a:lnTo>
                      <a:lnTo>
                        <a:pt x="8" y="25"/>
                      </a:lnTo>
                      <a:lnTo>
                        <a:pt x="10" y="25"/>
                      </a:lnTo>
                      <a:lnTo>
                        <a:pt x="10" y="25"/>
                      </a:lnTo>
                      <a:lnTo>
                        <a:pt x="8" y="25"/>
                      </a:lnTo>
                      <a:lnTo>
                        <a:pt x="8" y="24"/>
                      </a:lnTo>
                      <a:lnTo>
                        <a:pt x="8" y="25"/>
                      </a:lnTo>
                      <a:lnTo>
                        <a:pt x="8" y="25"/>
                      </a:lnTo>
                      <a:lnTo>
                        <a:pt x="7" y="25"/>
                      </a:lnTo>
                      <a:lnTo>
                        <a:pt x="7" y="25"/>
                      </a:lnTo>
                      <a:lnTo>
                        <a:pt x="6" y="25"/>
                      </a:lnTo>
                      <a:lnTo>
                        <a:pt x="6" y="25"/>
                      </a:lnTo>
                      <a:lnTo>
                        <a:pt x="5" y="25"/>
                      </a:lnTo>
                      <a:lnTo>
                        <a:pt x="5" y="25"/>
                      </a:lnTo>
                      <a:lnTo>
                        <a:pt x="5" y="25"/>
                      </a:lnTo>
                      <a:lnTo>
                        <a:pt x="5" y="25"/>
                      </a:lnTo>
                      <a:lnTo>
                        <a:pt x="5" y="24"/>
                      </a:lnTo>
                      <a:lnTo>
                        <a:pt x="5" y="24"/>
                      </a:lnTo>
                      <a:lnTo>
                        <a:pt x="5" y="24"/>
                      </a:lnTo>
                      <a:lnTo>
                        <a:pt x="4" y="24"/>
                      </a:lnTo>
                      <a:lnTo>
                        <a:pt x="0" y="25"/>
                      </a:lnTo>
                      <a:lnTo>
                        <a:pt x="0" y="25"/>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72" name="Turkey">
                  <a:extLst>
                    <a:ext uri="{FF2B5EF4-FFF2-40B4-BE49-F238E27FC236}">
                      <a16:creationId xmlns:a16="http://schemas.microsoft.com/office/drawing/2014/main" id="{61946AD9-1327-764E-ABD6-C4E07567F018}"/>
                    </a:ext>
                  </a:extLst>
                </p:cNvPr>
                <p:cNvSpPr>
                  <a:spLocks noEditPoints="1"/>
                </p:cNvSpPr>
                <p:nvPr/>
              </p:nvSpPr>
              <p:spPr bwMode="auto">
                <a:xfrm>
                  <a:off x="6995080" y="2725406"/>
                  <a:ext cx="475291" cy="183702"/>
                </a:xfrm>
                <a:custGeom>
                  <a:avLst/>
                  <a:gdLst>
                    <a:gd name="T0" fmla="*/ 225 w 326"/>
                    <a:gd name="T1" fmla="*/ 24 h 126"/>
                    <a:gd name="T2" fmla="*/ 194 w 326"/>
                    <a:gd name="T3" fmla="*/ 21 h 126"/>
                    <a:gd name="T4" fmla="*/ 167 w 326"/>
                    <a:gd name="T5" fmla="*/ 17 h 126"/>
                    <a:gd name="T6" fmla="*/ 146 w 326"/>
                    <a:gd name="T7" fmla="*/ 1 h 126"/>
                    <a:gd name="T8" fmla="*/ 101 w 326"/>
                    <a:gd name="T9" fmla="*/ 7 h 126"/>
                    <a:gd name="T10" fmla="*/ 69 w 326"/>
                    <a:gd name="T11" fmla="*/ 19 h 126"/>
                    <a:gd name="T12" fmla="*/ 57 w 326"/>
                    <a:gd name="T13" fmla="*/ 27 h 126"/>
                    <a:gd name="T14" fmla="*/ 51 w 326"/>
                    <a:gd name="T15" fmla="*/ 31 h 126"/>
                    <a:gd name="T16" fmla="*/ 33 w 326"/>
                    <a:gd name="T17" fmla="*/ 34 h 126"/>
                    <a:gd name="T18" fmla="*/ 19 w 326"/>
                    <a:gd name="T19" fmla="*/ 34 h 126"/>
                    <a:gd name="T20" fmla="*/ 3 w 326"/>
                    <a:gd name="T21" fmla="*/ 43 h 126"/>
                    <a:gd name="T22" fmla="*/ 13 w 326"/>
                    <a:gd name="T23" fmla="*/ 53 h 126"/>
                    <a:gd name="T24" fmla="*/ 12 w 326"/>
                    <a:gd name="T25" fmla="*/ 57 h 126"/>
                    <a:gd name="T26" fmla="*/ 16 w 326"/>
                    <a:gd name="T27" fmla="*/ 65 h 126"/>
                    <a:gd name="T28" fmla="*/ 18 w 326"/>
                    <a:gd name="T29" fmla="*/ 70 h 126"/>
                    <a:gd name="T30" fmla="*/ 17 w 326"/>
                    <a:gd name="T31" fmla="*/ 72 h 126"/>
                    <a:gd name="T32" fmla="*/ 23 w 326"/>
                    <a:gd name="T33" fmla="*/ 75 h 126"/>
                    <a:gd name="T34" fmla="*/ 14 w 326"/>
                    <a:gd name="T35" fmla="*/ 74 h 126"/>
                    <a:gd name="T36" fmla="*/ 10 w 326"/>
                    <a:gd name="T37" fmla="*/ 74 h 126"/>
                    <a:gd name="T38" fmla="*/ 9 w 326"/>
                    <a:gd name="T39" fmla="*/ 77 h 126"/>
                    <a:gd name="T40" fmla="*/ 12 w 326"/>
                    <a:gd name="T41" fmla="*/ 80 h 126"/>
                    <a:gd name="T42" fmla="*/ 17 w 326"/>
                    <a:gd name="T43" fmla="*/ 84 h 126"/>
                    <a:gd name="T44" fmla="*/ 26 w 326"/>
                    <a:gd name="T45" fmla="*/ 88 h 126"/>
                    <a:gd name="T46" fmla="*/ 27 w 326"/>
                    <a:gd name="T47" fmla="*/ 98 h 126"/>
                    <a:gd name="T48" fmla="*/ 31 w 326"/>
                    <a:gd name="T49" fmla="*/ 100 h 126"/>
                    <a:gd name="T50" fmla="*/ 29 w 326"/>
                    <a:gd name="T51" fmla="*/ 103 h 126"/>
                    <a:gd name="T52" fmla="*/ 30 w 326"/>
                    <a:gd name="T53" fmla="*/ 104 h 126"/>
                    <a:gd name="T54" fmla="*/ 41 w 326"/>
                    <a:gd name="T55" fmla="*/ 105 h 126"/>
                    <a:gd name="T56" fmla="*/ 43 w 326"/>
                    <a:gd name="T57" fmla="*/ 106 h 126"/>
                    <a:gd name="T58" fmla="*/ 34 w 326"/>
                    <a:gd name="T59" fmla="*/ 108 h 126"/>
                    <a:gd name="T60" fmla="*/ 36 w 326"/>
                    <a:gd name="T61" fmla="*/ 111 h 126"/>
                    <a:gd name="T62" fmla="*/ 41 w 326"/>
                    <a:gd name="T63" fmla="*/ 112 h 126"/>
                    <a:gd name="T64" fmla="*/ 44 w 326"/>
                    <a:gd name="T65" fmla="*/ 111 h 126"/>
                    <a:gd name="T66" fmla="*/ 47 w 326"/>
                    <a:gd name="T67" fmla="*/ 108 h 126"/>
                    <a:gd name="T68" fmla="*/ 52 w 326"/>
                    <a:gd name="T69" fmla="*/ 111 h 126"/>
                    <a:gd name="T70" fmla="*/ 58 w 326"/>
                    <a:gd name="T71" fmla="*/ 111 h 126"/>
                    <a:gd name="T72" fmla="*/ 59 w 326"/>
                    <a:gd name="T73" fmla="*/ 114 h 126"/>
                    <a:gd name="T74" fmla="*/ 66 w 326"/>
                    <a:gd name="T75" fmla="*/ 120 h 126"/>
                    <a:gd name="T76" fmla="*/ 73 w 326"/>
                    <a:gd name="T77" fmla="*/ 121 h 126"/>
                    <a:gd name="T78" fmla="*/ 83 w 326"/>
                    <a:gd name="T79" fmla="*/ 121 h 126"/>
                    <a:gd name="T80" fmla="*/ 84 w 326"/>
                    <a:gd name="T81" fmla="*/ 110 h 126"/>
                    <a:gd name="T82" fmla="*/ 98 w 326"/>
                    <a:gd name="T83" fmla="*/ 111 h 126"/>
                    <a:gd name="T84" fmla="*/ 114 w 326"/>
                    <a:gd name="T85" fmla="*/ 120 h 126"/>
                    <a:gd name="T86" fmla="*/ 130 w 326"/>
                    <a:gd name="T87" fmla="*/ 123 h 126"/>
                    <a:gd name="T88" fmla="*/ 141 w 326"/>
                    <a:gd name="T89" fmla="*/ 119 h 126"/>
                    <a:gd name="T90" fmla="*/ 154 w 326"/>
                    <a:gd name="T91" fmla="*/ 107 h 126"/>
                    <a:gd name="T92" fmla="*/ 171 w 326"/>
                    <a:gd name="T93" fmla="*/ 113 h 126"/>
                    <a:gd name="T94" fmla="*/ 180 w 326"/>
                    <a:gd name="T95" fmla="*/ 110 h 126"/>
                    <a:gd name="T96" fmla="*/ 174 w 326"/>
                    <a:gd name="T97" fmla="*/ 120 h 126"/>
                    <a:gd name="T98" fmla="*/ 210 w 326"/>
                    <a:gd name="T99" fmla="*/ 110 h 126"/>
                    <a:gd name="T100" fmla="*/ 290 w 326"/>
                    <a:gd name="T101" fmla="*/ 98 h 126"/>
                    <a:gd name="T102" fmla="*/ 320 w 326"/>
                    <a:gd name="T103" fmla="*/ 87 h 126"/>
                    <a:gd name="T104" fmla="*/ 311 w 326"/>
                    <a:gd name="T105" fmla="*/ 52 h 126"/>
                    <a:gd name="T106" fmla="*/ 284 w 326"/>
                    <a:gd name="T107" fmla="*/ 19 h 126"/>
                    <a:gd name="T108" fmla="*/ 19 w 326"/>
                    <a:gd name="T109" fmla="*/ 31 h 126"/>
                    <a:gd name="T110" fmla="*/ 45 w 326"/>
                    <a:gd name="T111" fmla="*/ 24 h 126"/>
                    <a:gd name="T112" fmla="*/ 30 w 326"/>
                    <a:gd name="T113" fmla="*/ 5 h 126"/>
                    <a:gd name="T114" fmla="*/ 12 w 326"/>
                    <a:gd name="T115" fmla="*/ 3 h 126"/>
                    <a:gd name="T116" fmla="*/ 3 w 326"/>
                    <a:gd name="T117" fmla="*/ 19 h 126"/>
                    <a:gd name="T118" fmla="*/ 0 w 326"/>
                    <a:gd name="T119" fmla="*/ 31 h 126"/>
                    <a:gd name="T120" fmla="*/ 3 w 326"/>
                    <a:gd name="T121" fmla="*/ 38 h 126"/>
                    <a:gd name="T122" fmla="*/ 13 w 326"/>
                    <a:gd name="T123" fmla="*/ 33 h 1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26" h="126">
                      <a:moveTo>
                        <a:pt x="254" y="13"/>
                      </a:moveTo>
                      <a:lnTo>
                        <a:pt x="253" y="13"/>
                      </a:lnTo>
                      <a:lnTo>
                        <a:pt x="253" y="14"/>
                      </a:lnTo>
                      <a:lnTo>
                        <a:pt x="253" y="17"/>
                      </a:lnTo>
                      <a:lnTo>
                        <a:pt x="251" y="17"/>
                      </a:lnTo>
                      <a:lnTo>
                        <a:pt x="250" y="18"/>
                      </a:lnTo>
                      <a:lnTo>
                        <a:pt x="247" y="18"/>
                      </a:lnTo>
                      <a:lnTo>
                        <a:pt x="247" y="18"/>
                      </a:lnTo>
                      <a:lnTo>
                        <a:pt x="246" y="19"/>
                      </a:lnTo>
                      <a:lnTo>
                        <a:pt x="244" y="19"/>
                      </a:lnTo>
                      <a:lnTo>
                        <a:pt x="243" y="20"/>
                      </a:lnTo>
                      <a:lnTo>
                        <a:pt x="241" y="20"/>
                      </a:lnTo>
                      <a:lnTo>
                        <a:pt x="240" y="21"/>
                      </a:lnTo>
                      <a:lnTo>
                        <a:pt x="240" y="23"/>
                      </a:lnTo>
                      <a:lnTo>
                        <a:pt x="238" y="23"/>
                      </a:lnTo>
                      <a:lnTo>
                        <a:pt x="237" y="23"/>
                      </a:lnTo>
                      <a:lnTo>
                        <a:pt x="236" y="24"/>
                      </a:lnTo>
                      <a:lnTo>
                        <a:pt x="233" y="25"/>
                      </a:lnTo>
                      <a:lnTo>
                        <a:pt x="232" y="24"/>
                      </a:lnTo>
                      <a:lnTo>
                        <a:pt x="230" y="24"/>
                      </a:lnTo>
                      <a:lnTo>
                        <a:pt x="230" y="24"/>
                      </a:lnTo>
                      <a:lnTo>
                        <a:pt x="228" y="24"/>
                      </a:lnTo>
                      <a:lnTo>
                        <a:pt x="226" y="23"/>
                      </a:lnTo>
                      <a:lnTo>
                        <a:pt x="225" y="24"/>
                      </a:lnTo>
                      <a:lnTo>
                        <a:pt x="224" y="23"/>
                      </a:lnTo>
                      <a:lnTo>
                        <a:pt x="221" y="20"/>
                      </a:lnTo>
                      <a:lnTo>
                        <a:pt x="220" y="20"/>
                      </a:lnTo>
                      <a:lnTo>
                        <a:pt x="218" y="21"/>
                      </a:lnTo>
                      <a:lnTo>
                        <a:pt x="217" y="21"/>
                      </a:lnTo>
                      <a:lnTo>
                        <a:pt x="214" y="23"/>
                      </a:lnTo>
                      <a:lnTo>
                        <a:pt x="214" y="23"/>
                      </a:lnTo>
                      <a:lnTo>
                        <a:pt x="213" y="23"/>
                      </a:lnTo>
                      <a:lnTo>
                        <a:pt x="212" y="23"/>
                      </a:lnTo>
                      <a:lnTo>
                        <a:pt x="211" y="23"/>
                      </a:lnTo>
                      <a:lnTo>
                        <a:pt x="210" y="24"/>
                      </a:lnTo>
                      <a:lnTo>
                        <a:pt x="210" y="24"/>
                      </a:lnTo>
                      <a:lnTo>
                        <a:pt x="209" y="24"/>
                      </a:lnTo>
                      <a:lnTo>
                        <a:pt x="207" y="25"/>
                      </a:lnTo>
                      <a:lnTo>
                        <a:pt x="204" y="25"/>
                      </a:lnTo>
                      <a:lnTo>
                        <a:pt x="204" y="25"/>
                      </a:lnTo>
                      <a:lnTo>
                        <a:pt x="201" y="24"/>
                      </a:lnTo>
                      <a:lnTo>
                        <a:pt x="201" y="24"/>
                      </a:lnTo>
                      <a:lnTo>
                        <a:pt x="198" y="24"/>
                      </a:lnTo>
                      <a:lnTo>
                        <a:pt x="196" y="24"/>
                      </a:lnTo>
                      <a:lnTo>
                        <a:pt x="194" y="23"/>
                      </a:lnTo>
                      <a:lnTo>
                        <a:pt x="194" y="23"/>
                      </a:lnTo>
                      <a:lnTo>
                        <a:pt x="194" y="21"/>
                      </a:lnTo>
                      <a:lnTo>
                        <a:pt x="194" y="21"/>
                      </a:lnTo>
                      <a:lnTo>
                        <a:pt x="194" y="20"/>
                      </a:lnTo>
                      <a:lnTo>
                        <a:pt x="192" y="20"/>
                      </a:lnTo>
                      <a:lnTo>
                        <a:pt x="192" y="20"/>
                      </a:lnTo>
                      <a:lnTo>
                        <a:pt x="191" y="20"/>
                      </a:lnTo>
                      <a:lnTo>
                        <a:pt x="190" y="21"/>
                      </a:lnTo>
                      <a:lnTo>
                        <a:pt x="190" y="23"/>
                      </a:lnTo>
                      <a:lnTo>
                        <a:pt x="187" y="21"/>
                      </a:lnTo>
                      <a:lnTo>
                        <a:pt x="186" y="20"/>
                      </a:lnTo>
                      <a:lnTo>
                        <a:pt x="186" y="20"/>
                      </a:lnTo>
                      <a:lnTo>
                        <a:pt x="185" y="20"/>
                      </a:lnTo>
                      <a:lnTo>
                        <a:pt x="183" y="20"/>
                      </a:lnTo>
                      <a:lnTo>
                        <a:pt x="181" y="19"/>
                      </a:lnTo>
                      <a:lnTo>
                        <a:pt x="180" y="19"/>
                      </a:lnTo>
                      <a:lnTo>
                        <a:pt x="180" y="18"/>
                      </a:lnTo>
                      <a:lnTo>
                        <a:pt x="180" y="18"/>
                      </a:lnTo>
                      <a:lnTo>
                        <a:pt x="177" y="17"/>
                      </a:lnTo>
                      <a:lnTo>
                        <a:pt x="174" y="17"/>
                      </a:lnTo>
                      <a:lnTo>
                        <a:pt x="173" y="17"/>
                      </a:lnTo>
                      <a:lnTo>
                        <a:pt x="172" y="18"/>
                      </a:lnTo>
                      <a:lnTo>
                        <a:pt x="171" y="18"/>
                      </a:lnTo>
                      <a:lnTo>
                        <a:pt x="170" y="18"/>
                      </a:lnTo>
                      <a:lnTo>
                        <a:pt x="170" y="18"/>
                      </a:lnTo>
                      <a:lnTo>
                        <a:pt x="169" y="18"/>
                      </a:lnTo>
                      <a:lnTo>
                        <a:pt x="167" y="17"/>
                      </a:lnTo>
                      <a:lnTo>
                        <a:pt x="165" y="13"/>
                      </a:lnTo>
                      <a:lnTo>
                        <a:pt x="165" y="13"/>
                      </a:lnTo>
                      <a:lnTo>
                        <a:pt x="165" y="12"/>
                      </a:lnTo>
                      <a:lnTo>
                        <a:pt x="165" y="10"/>
                      </a:lnTo>
                      <a:lnTo>
                        <a:pt x="164" y="10"/>
                      </a:lnTo>
                      <a:lnTo>
                        <a:pt x="163" y="8"/>
                      </a:lnTo>
                      <a:lnTo>
                        <a:pt x="163" y="10"/>
                      </a:lnTo>
                      <a:lnTo>
                        <a:pt x="161" y="8"/>
                      </a:lnTo>
                      <a:lnTo>
                        <a:pt x="161" y="8"/>
                      </a:lnTo>
                      <a:lnTo>
                        <a:pt x="160" y="8"/>
                      </a:lnTo>
                      <a:lnTo>
                        <a:pt x="161" y="8"/>
                      </a:lnTo>
                      <a:lnTo>
                        <a:pt x="158" y="10"/>
                      </a:lnTo>
                      <a:lnTo>
                        <a:pt x="154" y="10"/>
                      </a:lnTo>
                      <a:lnTo>
                        <a:pt x="153" y="10"/>
                      </a:lnTo>
                      <a:lnTo>
                        <a:pt x="152" y="10"/>
                      </a:lnTo>
                      <a:lnTo>
                        <a:pt x="150" y="8"/>
                      </a:lnTo>
                      <a:lnTo>
                        <a:pt x="149" y="6"/>
                      </a:lnTo>
                      <a:lnTo>
                        <a:pt x="147" y="6"/>
                      </a:lnTo>
                      <a:lnTo>
                        <a:pt x="146" y="4"/>
                      </a:lnTo>
                      <a:lnTo>
                        <a:pt x="146" y="1"/>
                      </a:lnTo>
                      <a:lnTo>
                        <a:pt x="146" y="1"/>
                      </a:lnTo>
                      <a:lnTo>
                        <a:pt x="147" y="1"/>
                      </a:lnTo>
                      <a:lnTo>
                        <a:pt x="146" y="1"/>
                      </a:lnTo>
                      <a:lnTo>
                        <a:pt x="146" y="1"/>
                      </a:lnTo>
                      <a:lnTo>
                        <a:pt x="145" y="1"/>
                      </a:lnTo>
                      <a:lnTo>
                        <a:pt x="144" y="1"/>
                      </a:lnTo>
                      <a:lnTo>
                        <a:pt x="143" y="1"/>
                      </a:lnTo>
                      <a:lnTo>
                        <a:pt x="143" y="3"/>
                      </a:lnTo>
                      <a:lnTo>
                        <a:pt x="139" y="4"/>
                      </a:lnTo>
                      <a:lnTo>
                        <a:pt x="137" y="4"/>
                      </a:lnTo>
                      <a:lnTo>
                        <a:pt x="137" y="3"/>
                      </a:lnTo>
                      <a:lnTo>
                        <a:pt x="136" y="3"/>
                      </a:lnTo>
                      <a:lnTo>
                        <a:pt x="133" y="4"/>
                      </a:lnTo>
                      <a:lnTo>
                        <a:pt x="130" y="3"/>
                      </a:lnTo>
                      <a:lnTo>
                        <a:pt x="125" y="3"/>
                      </a:lnTo>
                      <a:lnTo>
                        <a:pt x="117" y="1"/>
                      </a:lnTo>
                      <a:lnTo>
                        <a:pt x="116" y="3"/>
                      </a:lnTo>
                      <a:lnTo>
                        <a:pt x="111" y="4"/>
                      </a:lnTo>
                      <a:lnTo>
                        <a:pt x="111" y="5"/>
                      </a:lnTo>
                      <a:lnTo>
                        <a:pt x="110" y="5"/>
                      </a:lnTo>
                      <a:lnTo>
                        <a:pt x="109" y="5"/>
                      </a:lnTo>
                      <a:lnTo>
                        <a:pt x="106" y="6"/>
                      </a:lnTo>
                      <a:lnTo>
                        <a:pt x="105" y="6"/>
                      </a:lnTo>
                      <a:lnTo>
                        <a:pt x="104" y="6"/>
                      </a:lnTo>
                      <a:lnTo>
                        <a:pt x="104" y="6"/>
                      </a:lnTo>
                      <a:lnTo>
                        <a:pt x="103" y="6"/>
                      </a:lnTo>
                      <a:lnTo>
                        <a:pt x="103" y="8"/>
                      </a:lnTo>
                      <a:lnTo>
                        <a:pt x="101" y="7"/>
                      </a:lnTo>
                      <a:lnTo>
                        <a:pt x="101" y="8"/>
                      </a:lnTo>
                      <a:lnTo>
                        <a:pt x="100" y="8"/>
                      </a:lnTo>
                      <a:lnTo>
                        <a:pt x="98" y="10"/>
                      </a:lnTo>
                      <a:lnTo>
                        <a:pt x="97" y="11"/>
                      </a:lnTo>
                      <a:lnTo>
                        <a:pt x="96" y="11"/>
                      </a:lnTo>
                      <a:lnTo>
                        <a:pt x="94" y="13"/>
                      </a:lnTo>
                      <a:lnTo>
                        <a:pt x="92" y="13"/>
                      </a:lnTo>
                      <a:lnTo>
                        <a:pt x="91" y="14"/>
                      </a:lnTo>
                      <a:lnTo>
                        <a:pt x="90" y="16"/>
                      </a:lnTo>
                      <a:lnTo>
                        <a:pt x="87" y="17"/>
                      </a:lnTo>
                      <a:lnTo>
                        <a:pt x="87" y="18"/>
                      </a:lnTo>
                      <a:lnTo>
                        <a:pt x="86" y="18"/>
                      </a:lnTo>
                      <a:lnTo>
                        <a:pt x="86" y="18"/>
                      </a:lnTo>
                      <a:lnTo>
                        <a:pt x="86" y="19"/>
                      </a:lnTo>
                      <a:lnTo>
                        <a:pt x="86" y="20"/>
                      </a:lnTo>
                      <a:lnTo>
                        <a:pt x="84" y="21"/>
                      </a:lnTo>
                      <a:lnTo>
                        <a:pt x="83" y="20"/>
                      </a:lnTo>
                      <a:lnTo>
                        <a:pt x="80" y="21"/>
                      </a:lnTo>
                      <a:lnTo>
                        <a:pt x="76" y="21"/>
                      </a:lnTo>
                      <a:lnTo>
                        <a:pt x="73" y="20"/>
                      </a:lnTo>
                      <a:lnTo>
                        <a:pt x="71" y="20"/>
                      </a:lnTo>
                      <a:lnTo>
                        <a:pt x="70" y="19"/>
                      </a:lnTo>
                      <a:lnTo>
                        <a:pt x="70" y="19"/>
                      </a:lnTo>
                      <a:lnTo>
                        <a:pt x="69" y="19"/>
                      </a:lnTo>
                      <a:lnTo>
                        <a:pt x="67" y="19"/>
                      </a:lnTo>
                      <a:lnTo>
                        <a:pt x="66" y="20"/>
                      </a:lnTo>
                      <a:lnTo>
                        <a:pt x="65" y="20"/>
                      </a:lnTo>
                      <a:lnTo>
                        <a:pt x="59" y="20"/>
                      </a:lnTo>
                      <a:lnTo>
                        <a:pt x="57" y="19"/>
                      </a:lnTo>
                      <a:lnTo>
                        <a:pt x="57" y="19"/>
                      </a:lnTo>
                      <a:lnTo>
                        <a:pt x="52" y="18"/>
                      </a:lnTo>
                      <a:lnTo>
                        <a:pt x="50" y="18"/>
                      </a:lnTo>
                      <a:lnTo>
                        <a:pt x="50" y="18"/>
                      </a:lnTo>
                      <a:lnTo>
                        <a:pt x="50" y="19"/>
                      </a:lnTo>
                      <a:lnTo>
                        <a:pt x="50" y="20"/>
                      </a:lnTo>
                      <a:lnTo>
                        <a:pt x="50" y="23"/>
                      </a:lnTo>
                      <a:lnTo>
                        <a:pt x="49" y="23"/>
                      </a:lnTo>
                      <a:lnTo>
                        <a:pt x="49" y="24"/>
                      </a:lnTo>
                      <a:lnTo>
                        <a:pt x="50" y="24"/>
                      </a:lnTo>
                      <a:lnTo>
                        <a:pt x="51" y="25"/>
                      </a:lnTo>
                      <a:lnTo>
                        <a:pt x="52" y="25"/>
                      </a:lnTo>
                      <a:lnTo>
                        <a:pt x="52" y="26"/>
                      </a:lnTo>
                      <a:lnTo>
                        <a:pt x="52" y="27"/>
                      </a:lnTo>
                      <a:lnTo>
                        <a:pt x="54" y="26"/>
                      </a:lnTo>
                      <a:lnTo>
                        <a:pt x="54" y="27"/>
                      </a:lnTo>
                      <a:lnTo>
                        <a:pt x="54" y="28"/>
                      </a:lnTo>
                      <a:lnTo>
                        <a:pt x="54" y="27"/>
                      </a:lnTo>
                      <a:lnTo>
                        <a:pt x="57" y="27"/>
                      </a:lnTo>
                      <a:lnTo>
                        <a:pt x="57" y="27"/>
                      </a:lnTo>
                      <a:lnTo>
                        <a:pt x="59" y="27"/>
                      </a:lnTo>
                      <a:lnTo>
                        <a:pt x="60" y="27"/>
                      </a:lnTo>
                      <a:lnTo>
                        <a:pt x="60" y="27"/>
                      </a:lnTo>
                      <a:lnTo>
                        <a:pt x="60" y="27"/>
                      </a:lnTo>
                      <a:lnTo>
                        <a:pt x="60" y="27"/>
                      </a:lnTo>
                      <a:lnTo>
                        <a:pt x="60" y="27"/>
                      </a:lnTo>
                      <a:lnTo>
                        <a:pt x="60" y="27"/>
                      </a:lnTo>
                      <a:lnTo>
                        <a:pt x="61" y="27"/>
                      </a:lnTo>
                      <a:lnTo>
                        <a:pt x="63" y="27"/>
                      </a:lnTo>
                      <a:lnTo>
                        <a:pt x="63" y="27"/>
                      </a:lnTo>
                      <a:lnTo>
                        <a:pt x="63" y="27"/>
                      </a:lnTo>
                      <a:lnTo>
                        <a:pt x="63" y="28"/>
                      </a:lnTo>
                      <a:lnTo>
                        <a:pt x="61" y="28"/>
                      </a:lnTo>
                      <a:lnTo>
                        <a:pt x="61" y="28"/>
                      </a:lnTo>
                      <a:lnTo>
                        <a:pt x="60" y="28"/>
                      </a:lnTo>
                      <a:lnTo>
                        <a:pt x="59" y="28"/>
                      </a:lnTo>
                      <a:lnTo>
                        <a:pt x="59" y="28"/>
                      </a:lnTo>
                      <a:lnTo>
                        <a:pt x="58" y="30"/>
                      </a:lnTo>
                      <a:lnTo>
                        <a:pt x="57" y="28"/>
                      </a:lnTo>
                      <a:lnTo>
                        <a:pt x="56" y="30"/>
                      </a:lnTo>
                      <a:lnTo>
                        <a:pt x="54" y="30"/>
                      </a:lnTo>
                      <a:lnTo>
                        <a:pt x="53" y="31"/>
                      </a:lnTo>
                      <a:lnTo>
                        <a:pt x="51" y="31"/>
                      </a:lnTo>
                      <a:lnTo>
                        <a:pt x="51" y="31"/>
                      </a:lnTo>
                      <a:lnTo>
                        <a:pt x="49" y="31"/>
                      </a:lnTo>
                      <a:lnTo>
                        <a:pt x="46" y="32"/>
                      </a:lnTo>
                      <a:lnTo>
                        <a:pt x="46" y="32"/>
                      </a:lnTo>
                      <a:lnTo>
                        <a:pt x="46" y="33"/>
                      </a:lnTo>
                      <a:lnTo>
                        <a:pt x="47" y="34"/>
                      </a:lnTo>
                      <a:lnTo>
                        <a:pt x="50" y="34"/>
                      </a:lnTo>
                      <a:lnTo>
                        <a:pt x="50" y="34"/>
                      </a:lnTo>
                      <a:lnTo>
                        <a:pt x="51" y="34"/>
                      </a:lnTo>
                      <a:lnTo>
                        <a:pt x="50" y="34"/>
                      </a:lnTo>
                      <a:lnTo>
                        <a:pt x="50" y="36"/>
                      </a:lnTo>
                      <a:lnTo>
                        <a:pt x="47" y="36"/>
                      </a:lnTo>
                      <a:lnTo>
                        <a:pt x="46" y="36"/>
                      </a:lnTo>
                      <a:lnTo>
                        <a:pt x="45" y="36"/>
                      </a:lnTo>
                      <a:lnTo>
                        <a:pt x="43" y="36"/>
                      </a:lnTo>
                      <a:lnTo>
                        <a:pt x="40" y="36"/>
                      </a:lnTo>
                      <a:lnTo>
                        <a:pt x="37" y="36"/>
                      </a:lnTo>
                      <a:lnTo>
                        <a:pt x="33" y="37"/>
                      </a:lnTo>
                      <a:lnTo>
                        <a:pt x="31" y="37"/>
                      </a:lnTo>
                      <a:lnTo>
                        <a:pt x="31" y="36"/>
                      </a:lnTo>
                      <a:lnTo>
                        <a:pt x="31" y="36"/>
                      </a:lnTo>
                      <a:lnTo>
                        <a:pt x="31" y="36"/>
                      </a:lnTo>
                      <a:lnTo>
                        <a:pt x="32" y="34"/>
                      </a:lnTo>
                      <a:lnTo>
                        <a:pt x="33" y="34"/>
                      </a:lnTo>
                      <a:lnTo>
                        <a:pt x="33" y="33"/>
                      </a:lnTo>
                      <a:lnTo>
                        <a:pt x="31" y="32"/>
                      </a:lnTo>
                      <a:lnTo>
                        <a:pt x="30" y="32"/>
                      </a:lnTo>
                      <a:lnTo>
                        <a:pt x="29" y="32"/>
                      </a:lnTo>
                      <a:lnTo>
                        <a:pt x="27" y="34"/>
                      </a:lnTo>
                      <a:lnTo>
                        <a:pt x="29" y="34"/>
                      </a:lnTo>
                      <a:lnTo>
                        <a:pt x="27" y="34"/>
                      </a:lnTo>
                      <a:lnTo>
                        <a:pt x="29" y="36"/>
                      </a:lnTo>
                      <a:lnTo>
                        <a:pt x="29" y="36"/>
                      </a:lnTo>
                      <a:lnTo>
                        <a:pt x="30" y="36"/>
                      </a:lnTo>
                      <a:lnTo>
                        <a:pt x="30" y="36"/>
                      </a:lnTo>
                      <a:lnTo>
                        <a:pt x="30" y="37"/>
                      </a:lnTo>
                      <a:lnTo>
                        <a:pt x="29" y="38"/>
                      </a:lnTo>
                      <a:lnTo>
                        <a:pt x="27" y="38"/>
                      </a:lnTo>
                      <a:lnTo>
                        <a:pt x="26" y="38"/>
                      </a:lnTo>
                      <a:lnTo>
                        <a:pt x="26" y="38"/>
                      </a:lnTo>
                      <a:lnTo>
                        <a:pt x="25" y="38"/>
                      </a:lnTo>
                      <a:lnTo>
                        <a:pt x="25" y="38"/>
                      </a:lnTo>
                      <a:lnTo>
                        <a:pt x="24" y="38"/>
                      </a:lnTo>
                      <a:lnTo>
                        <a:pt x="23" y="38"/>
                      </a:lnTo>
                      <a:lnTo>
                        <a:pt x="20" y="36"/>
                      </a:lnTo>
                      <a:lnTo>
                        <a:pt x="21" y="34"/>
                      </a:lnTo>
                      <a:lnTo>
                        <a:pt x="19" y="34"/>
                      </a:lnTo>
                      <a:lnTo>
                        <a:pt x="19" y="34"/>
                      </a:lnTo>
                      <a:lnTo>
                        <a:pt x="19" y="34"/>
                      </a:lnTo>
                      <a:lnTo>
                        <a:pt x="18" y="34"/>
                      </a:lnTo>
                      <a:lnTo>
                        <a:pt x="17" y="34"/>
                      </a:lnTo>
                      <a:lnTo>
                        <a:pt x="16" y="36"/>
                      </a:lnTo>
                      <a:lnTo>
                        <a:pt x="16" y="36"/>
                      </a:lnTo>
                      <a:lnTo>
                        <a:pt x="13" y="36"/>
                      </a:lnTo>
                      <a:lnTo>
                        <a:pt x="11" y="36"/>
                      </a:lnTo>
                      <a:lnTo>
                        <a:pt x="11" y="36"/>
                      </a:lnTo>
                      <a:lnTo>
                        <a:pt x="10" y="36"/>
                      </a:lnTo>
                      <a:lnTo>
                        <a:pt x="10" y="37"/>
                      </a:lnTo>
                      <a:lnTo>
                        <a:pt x="9" y="38"/>
                      </a:lnTo>
                      <a:lnTo>
                        <a:pt x="9" y="38"/>
                      </a:lnTo>
                      <a:lnTo>
                        <a:pt x="7" y="39"/>
                      </a:lnTo>
                      <a:lnTo>
                        <a:pt x="7" y="39"/>
                      </a:lnTo>
                      <a:lnTo>
                        <a:pt x="6" y="40"/>
                      </a:lnTo>
                      <a:lnTo>
                        <a:pt x="6" y="40"/>
                      </a:lnTo>
                      <a:lnTo>
                        <a:pt x="6" y="40"/>
                      </a:lnTo>
                      <a:lnTo>
                        <a:pt x="6" y="40"/>
                      </a:lnTo>
                      <a:lnTo>
                        <a:pt x="5" y="40"/>
                      </a:lnTo>
                      <a:lnTo>
                        <a:pt x="5" y="41"/>
                      </a:lnTo>
                      <a:lnTo>
                        <a:pt x="5" y="43"/>
                      </a:lnTo>
                      <a:lnTo>
                        <a:pt x="5" y="43"/>
                      </a:lnTo>
                      <a:lnTo>
                        <a:pt x="4" y="44"/>
                      </a:lnTo>
                      <a:lnTo>
                        <a:pt x="3" y="43"/>
                      </a:lnTo>
                      <a:lnTo>
                        <a:pt x="3" y="43"/>
                      </a:lnTo>
                      <a:lnTo>
                        <a:pt x="3" y="44"/>
                      </a:lnTo>
                      <a:lnTo>
                        <a:pt x="3" y="47"/>
                      </a:lnTo>
                      <a:lnTo>
                        <a:pt x="3" y="48"/>
                      </a:lnTo>
                      <a:lnTo>
                        <a:pt x="3" y="48"/>
                      </a:lnTo>
                      <a:lnTo>
                        <a:pt x="4" y="50"/>
                      </a:lnTo>
                      <a:lnTo>
                        <a:pt x="4" y="51"/>
                      </a:lnTo>
                      <a:lnTo>
                        <a:pt x="3" y="53"/>
                      </a:lnTo>
                      <a:lnTo>
                        <a:pt x="3" y="54"/>
                      </a:lnTo>
                      <a:lnTo>
                        <a:pt x="4" y="54"/>
                      </a:lnTo>
                      <a:lnTo>
                        <a:pt x="5" y="55"/>
                      </a:lnTo>
                      <a:lnTo>
                        <a:pt x="5" y="54"/>
                      </a:lnTo>
                      <a:lnTo>
                        <a:pt x="6" y="54"/>
                      </a:lnTo>
                      <a:lnTo>
                        <a:pt x="9" y="54"/>
                      </a:lnTo>
                      <a:lnTo>
                        <a:pt x="9" y="54"/>
                      </a:lnTo>
                      <a:lnTo>
                        <a:pt x="9" y="53"/>
                      </a:lnTo>
                      <a:lnTo>
                        <a:pt x="9" y="53"/>
                      </a:lnTo>
                      <a:lnTo>
                        <a:pt x="9" y="53"/>
                      </a:lnTo>
                      <a:lnTo>
                        <a:pt x="9" y="53"/>
                      </a:lnTo>
                      <a:lnTo>
                        <a:pt x="10" y="53"/>
                      </a:lnTo>
                      <a:lnTo>
                        <a:pt x="11" y="53"/>
                      </a:lnTo>
                      <a:lnTo>
                        <a:pt x="12" y="53"/>
                      </a:lnTo>
                      <a:lnTo>
                        <a:pt x="12" y="53"/>
                      </a:lnTo>
                      <a:lnTo>
                        <a:pt x="13" y="53"/>
                      </a:lnTo>
                      <a:lnTo>
                        <a:pt x="14" y="53"/>
                      </a:lnTo>
                      <a:lnTo>
                        <a:pt x="14" y="53"/>
                      </a:lnTo>
                      <a:lnTo>
                        <a:pt x="14" y="53"/>
                      </a:lnTo>
                      <a:lnTo>
                        <a:pt x="16" y="53"/>
                      </a:lnTo>
                      <a:lnTo>
                        <a:pt x="16" y="53"/>
                      </a:lnTo>
                      <a:lnTo>
                        <a:pt x="17" y="53"/>
                      </a:lnTo>
                      <a:lnTo>
                        <a:pt x="17" y="53"/>
                      </a:lnTo>
                      <a:lnTo>
                        <a:pt x="17" y="53"/>
                      </a:lnTo>
                      <a:lnTo>
                        <a:pt x="17" y="54"/>
                      </a:lnTo>
                      <a:lnTo>
                        <a:pt x="17" y="54"/>
                      </a:lnTo>
                      <a:lnTo>
                        <a:pt x="16" y="54"/>
                      </a:lnTo>
                      <a:lnTo>
                        <a:pt x="14" y="54"/>
                      </a:lnTo>
                      <a:lnTo>
                        <a:pt x="14" y="54"/>
                      </a:lnTo>
                      <a:lnTo>
                        <a:pt x="14" y="54"/>
                      </a:lnTo>
                      <a:lnTo>
                        <a:pt x="14" y="55"/>
                      </a:lnTo>
                      <a:lnTo>
                        <a:pt x="14" y="55"/>
                      </a:lnTo>
                      <a:lnTo>
                        <a:pt x="14" y="55"/>
                      </a:lnTo>
                      <a:lnTo>
                        <a:pt x="13" y="57"/>
                      </a:lnTo>
                      <a:lnTo>
                        <a:pt x="12" y="57"/>
                      </a:lnTo>
                      <a:lnTo>
                        <a:pt x="13" y="57"/>
                      </a:lnTo>
                      <a:lnTo>
                        <a:pt x="13" y="57"/>
                      </a:lnTo>
                      <a:lnTo>
                        <a:pt x="13" y="58"/>
                      </a:lnTo>
                      <a:lnTo>
                        <a:pt x="12" y="57"/>
                      </a:lnTo>
                      <a:lnTo>
                        <a:pt x="12" y="57"/>
                      </a:lnTo>
                      <a:lnTo>
                        <a:pt x="12" y="58"/>
                      </a:lnTo>
                      <a:lnTo>
                        <a:pt x="12" y="57"/>
                      </a:lnTo>
                      <a:lnTo>
                        <a:pt x="12" y="58"/>
                      </a:lnTo>
                      <a:lnTo>
                        <a:pt x="11" y="58"/>
                      </a:lnTo>
                      <a:lnTo>
                        <a:pt x="12" y="59"/>
                      </a:lnTo>
                      <a:lnTo>
                        <a:pt x="13" y="59"/>
                      </a:lnTo>
                      <a:lnTo>
                        <a:pt x="13" y="60"/>
                      </a:lnTo>
                      <a:lnTo>
                        <a:pt x="13" y="60"/>
                      </a:lnTo>
                      <a:lnTo>
                        <a:pt x="14" y="60"/>
                      </a:lnTo>
                      <a:lnTo>
                        <a:pt x="14" y="61"/>
                      </a:lnTo>
                      <a:lnTo>
                        <a:pt x="16" y="60"/>
                      </a:lnTo>
                      <a:lnTo>
                        <a:pt x="16" y="61"/>
                      </a:lnTo>
                      <a:lnTo>
                        <a:pt x="17" y="63"/>
                      </a:lnTo>
                      <a:lnTo>
                        <a:pt x="17" y="63"/>
                      </a:lnTo>
                      <a:lnTo>
                        <a:pt x="17" y="63"/>
                      </a:lnTo>
                      <a:lnTo>
                        <a:pt x="16" y="63"/>
                      </a:lnTo>
                      <a:lnTo>
                        <a:pt x="16" y="63"/>
                      </a:lnTo>
                      <a:lnTo>
                        <a:pt x="16" y="64"/>
                      </a:lnTo>
                      <a:lnTo>
                        <a:pt x="16" y="64"/>
                      </a:lnTo>
                      <a:lnTo>
                        <a:pt x="16" y="64"/>
                      </a:lnTo>
                      <a:lnTo>
                        <a:pt x="16" y="64"/>
                      </a:lnTo>
                      <a:lnTo>
                        <a:pt x="16" y="65"/>
                      </a:lnTo>
                      <a:lnTo>
                        <a:pt x="16" y="65"/>
                      </a:lnTo>
                      <a:lnTo>
                        <a:pt x="16" y="65"/>
                      </a:lnTo>
                      <a:lnTo>
                        <a:pt x="16" y="66"/>
                      </a:lnTo>
                      <a:lnTo>
                        <a:pt x="17" y="66"/>
                      </a:lnTo>
                      <a:lnTo>
                        <a:pt x="18" y="66"/>
                      </a:lnTo>
                      <a:lnTo>
                        <a:pt x="18" y="65"/>
                      </a:lnTo>
                      <a:lnTo>
                        <a:pt x="18" y="65"/>
                      </a:lnTo>
                      <a:lnTo>
                        <a:pt x="19" y="65"/>
                      </a:lnTo>
                      <a:lnTo>
                        <a:pt x="19" y="65"/>
                      </a:lnTo>
                      <a:lnTo>
                        <a:pt x="19" y="66"/>
                      </a:lnTo>
                      <a:lnTo>
                        <a:pt x="19" y="65"/>
                      </a:lnTo>
                      <a:lnTo>
                        <a:pt x="19" y="65"/>
                      </a:lnTo>
                      <a:lnTo>
                        <a:pt x="19" y="66"/>
                      </a:lnTo>
                      <a:lnTo>
                        <a:pt x="19" y="67"/>
                      </a:lnTo>
                      <a:lnTo>
                        <a:pt x="19" y="67"/>
                      </a:lnTo>
                      <a:lnTo>
                        <a:pt x="19" y="67"/>
                      </a:lnTo>
                      <a:lnTo>
                        <a:pt x="19" y="67"/>
                      </a:lnTo>
                      <a:lnTo>
                        <a:pt x="19" y="68"/>
                      </a:lnTo>
                      <a:lnTo>
                        <a:pt x="18" y="68"/>
                      </a:lnTo>
                      <a:lnTo>
                        <a:pt x="18" y="68"/>
                      </a:lnTo>
                      <a:lnTo>
                        <a:pt x="18" y="68"/>
                      </a:lnTo>
                      <a:lnTo>
                        <a:pt x="18" y="67"/>
                      </a:lnTo>
                      <a:lnTo>
                        <a:pt x="17" y="67"/>
                      </a:lnTo>
                      <a:lnTo>
                        <a:pt x="17" y="68"/>
                      </a:lnTo>
                      <a:lnTo>
                        <a:pt x="18" y="68"/>
                      </a:lnTo>
                      <a:lnTo>
                        <a:pt x="18" y="70"/>
                      </a:lnTo>
                      <a:lnTo>
                        <a:pt x="18" y="68"/>
                      </a:lnTo>
                      <a:lnTo>
                        <a:pt x="17" y="70"/>
                      </a:lnTo>
                      <a:lnTo>
                        <a:pt x="18" y="70"/>
                      </a:lnTo>
                      <a:lnTo>
                        <a:pt x="17" y="70"/>
                      </a:lnTo>
                      <a:lnTo>
                        <a:pt x="17" y="70"/>
                      </a:lnTo>
                      <a:lnTo>
                        <a:pt x="17" y="70"/>
                      </a:lnTo>
                      <a:lnTo>
                        <a:pt x="17" y="70"/>
                      </a:lnTo>
                      <a:lnTo>
                        <a:pt x="17" y="70"/>
                      </a:lnTo>
                      <a:lnTo>
                        <a:pt x="16" y="70"/>
                      </a:lnTo>
                      <a:lnTo>
                        <a:pt x="14" y="70"/>
                      </a:lnTo>
                      <a:lnTo>
                        <a:pt x="14" y="70"/>
                      </a:lnTo>
                      <a:lnTo>
                        <a:pt x="14" y="70"/>
                      </a:lnTo>
                      <a:lnTo>
                        <a:pt x="14" y="71"/>
                      </a:lnTo>
                      <a:lnTo>
                        <a:pt x="14" y="70"/>
                      </a:lnTo>
                      <a:lnTo>
                        <a:pt x="16" y="71"/>
                      </a:lnTo>
                      <a:lnTo>
                        <a:pt x="14" y="71"/>
                      </a:lnTo>
                      <a:lnTo>
                        <a:pt x="14" y="71"/>
                      </a:lnTo>
                      <a:lnTo>
                        <a:pt x="16" y="71"/>
                      </a:lnTo>
                      <a:lnTo>
                        <a:pt x="16" y="71"/>
                      </a:lnTo>
                      <a:lnTo>
                        <a:pt x="17" y="72"/>
                      </a:lnTo>
                      <a:lnTo>
                        <a:pt x="17" y="72"/>
                      </a:lnTo>
                      <a:lnTo>
                        <a:pt x="17" y="71"/>
                      </a:lnTo>
                      <a:lnTo>
                        <a:pt x="17" y="72"/>
                      </a:lnTo>
                      <a:lnTo>
                        <a:pt x="17" y="72"/>
                      </a:lnTo>
                      <a:lnTo>
                        <a:pt x="17" y="73"/>
                      </a:lnTo>
                      <a:lnTo>
                        <a:pt x="17" y="73"/>
                      </a:lnTo>
                      <a:lnTo>
                        <a:pt x="18" y="74"/>
                      </a:lnTo>
                      <a:lnTo>
                        <a:pt x="17" y="73"/>
                      </a:lnTo>
                      <a:lnTo>
                        <a:pt x="17" y="73"/>
                      </a:lnTo>
                      <a:lnTo>
                        <a:pt x="17" y="73"/>
                      </a:lnTo>
                      <a:lnTo>
                        <a:pt x="17" y="74"/>
                      </a:lnTo>
                      <a:lnTo>
                        <a:pt x="18" y="74"/>
                      </a:lnTo>
                      <a:lnTo>
                        <a:pt x="18" y="74"/>
                      </a:lnTo>
                      <a:lnTo>
                        <a:pt x="18" y="75"/>
                      </a:lnTo>
                      <a:lnTo>
                        <a:pt x="18" y="73"/>
                      </a:lnTo>
                      <a:lnTo>
                        <a:pt x="18" y="74"/>
                      </a:lnTo>
                      <a:lnTo>
                        <a:pt x="18" y="75"/>
                      </a:lnTo>
                      <a:lnTo>
                        <a:pt x="18" y="75"/>
                      </a:lnTo>
                      <a:lnTo>
                        <a:pt x="18" y="75"/>
                      </a:lnTo>
                      <a:lnTo>
                        <a:pt x="18" y="75"/>
                      </a:lnTo>
                      <a:lnTo>
                        <a:pt x="19" y="75"/>
                      </a:lnTo>
                      <a:lnTo>
                        <a:pt x="19" y="75"/>
                      </a:lnTo>
                      <a:lnTo>
                        <a:pt x="20" y="75"/>
                      </a:lnTo>
                      <a:lnTo>
                        <a:pt x="20" y="75"/>
                      </a:lnTo>
                      <a:lnTo>
                        <a:pt x="20" y="74"/>
                      </a:lnTo>
                      <a:lnTo>
                        <a:pt x="20" y="74"/>
                      </a:lnTo>
                      <a:lnTo>
                        <a:pt x="21" y="75"/>
                      </a:lnTo>
                      <a:lnTo>
                        <a:pt x="23" y="75"/>
                      </a:lnTo>
                      <a:lnTo>
                        <a:pt x="23" y="77"/>
                      </a:lnTo>
                      <a:lnTo>
                        <a:pt x="21" y="77"/>
                      </a:lnTo>
                      <a:lnTo>
                        <a:pt x="20" y="75"/>
                      </a:lnTo>
                      <a:lnTo>
                        <a:pt x="20" y="77"/>
                      </a:lnTo>
                      <a:lnTo>
                        <a:pt x="18" y="77"/>
                      </a:lnTo>
                      <a:lnTo>
                        <a:pt x="17" y="77"/>
                      </a:lnTo>
                      <a:lnTo>
                        <a:pt x="17" y="77"/>
                      </a:lnTo>
                      <a:lnTo>
                        <a:pt x="16" y="77"/>
                      </a:lnTo>
                      <a:lnTo>
                        <a:pt x="16" y="75"/>
                      </a:lnTo>
                      <a:lnTo>
                        <a:pt x="14" y="75"/>
                      </a:lnTo>
                      <a:lnTo>
                        <a:pt x="14" y="75"/>
                      </a:lnTo>
                      <a:lnTo>
                        <a:pt x="14" y="77"/>
                      </a:lnTo>
                      <a:lnTo>
                        <a:pt x="16" y="77"/>
                      </a:lnTo>
                      <a:lnTo>
                        <a:pt x="14" y="78"/>
                      </a:lnTo>
                      <a:lnTo>
                        <a:pt x="14" y="78"/>
                      </a:lnTo>
                      <a:lnTo>
                        <a:pt x="14" y="78"/>
                      </a:lnTo>
                      <a:lnTo>
                        <a:pt x="13" y="77"/>
                      </a:lnTo>
                      <a:lnTo>
                        <a:pt x="13" y="75"/>
                      </a:lnTo>
                      <a:lnTo>
                        <a:pt x="13" y="75"/>
                      </a:lnTo>
                      <a:lnTo>
                        <a:pt x="13" y="74"/>
                      </a:lnTo>
                      <a:lnTo>
                        <a:pt x="13" y="74"/>
                      </a:lnTo>
                      <a:lnTo>
                        <a:pt x="13" y="74"/>
                      </a:lnTo>
                      <a:lnTo>
                        <a:pt x="14" y="74"/>
                      </a:lnTo>
                      <a:lnTo>
                        <a:pt x="14" y="74"/>
                      </a:lnTo>
                      <a:lnTo>
                        <a:pt x="14" y="74"/>
                      </a:lnTo>
                      <a:lnTo>
                        <a:pt x="14" y="73"/>
                      </a:lnTo>
                      <a:lnTo>
                        <a:pt x="13" y="73"/>
                      </a:lnTo>
                      <a:lnTo>
                        <a:pt x="13" y="73"/>
                      </a:lnTo>
                      <a:lnTo>
                        <a:pt x="12" y="73"/>
                      </a:lnTo>
                      <a:lnTo>
                        <a:pt x="12" y="73"/>
                      </a:lnTo>
                      <a:lnTo>
                        <a:pt x="12" y="72"/>
                      </a:lnTo>
                      <a:lnTo>
                        <a:pt x="12" y="72"/>
                      </a:lnTo>
                      <a:lnTo>
                        <a:pt x="12" y="71"/>
                      </a:lnTo>
                      <a:lnTo>
                        <a:pt x="12" y="71"/>
                      </a:lnTo>
                      <a:lnTo>
                        <a:pt x="11" y="71"/>
                      </a:lnTo>
                      <a:lnTo>
                        <a:pt x="10" y="70"/>
                      </a:lnTo>
                      <a:lnTo>
                        <a:pt x="10" y="70"/>
                      </a:lnTo>
                      <a:lnTo>
                        <a:pt x="10" y="70"/>
                      </a:lnTo>
                      <a:lnTo>
                        <a:pt x="9" y="71"/>
                      </a:lnTo>
                      <a:lnTo>
                        <a:pt x="9" y="71"/>
                      </a:lnTo>
                      <a:lnTo>
                        <a:pt x="9" y="71"/>
                      </a:lnTo>
                      <a:lnTo>
                        <a:pt x="9" y="72"/>
                      </a:lnTo>
                      <a:lnTo>
                        <a:pt x="9" y="73"/>
                      </a:lnTo>
                      <a:lnTo>
                        <a:pt x="9" y="73"/>
                      </a:lnTo>
                      <a:lnTo>
                        <a:pt x="9" y="73"/>
                      </a:lnTo>
                      <a:lnTo>
                        <a:pt x="10" y="73"/>
                      </a:lnTo>
                      <a:lnTo>
                        <a:pt x="10" y="73"/>
                      </a:lnTo>
                      <a:lnTo>
                        <a:pt x="10" y="74"/>
                      </a:lnTo>
                      <a:lnTo>
                        <a:pt x="10" y="74"/>
                      </a:lnTo>
                      <a:lnTo>
                        <a:pt x="10" y="75"/>
                      </a:lnTo>
                      <a:lnTo>
                        <a:pt x="10" y="75"/>
                      </a:lnTo>
                      <a:lnTo>
                        <a:pt x="10" y="74"/>
                      </a:lnTo>
                      <a:lnTo>
                        <a:pt x="10" y="74"/>
                      </a:lnTo>
                      <a:lnTo>
                        <a:pt x="11" y="75"/>
                      </a:lnTo>
                      <a:lnTo>
                        <a:pt x="12" y="75"/>
                      </a:lnTo>
                      <a:lnTo>
                        <a:pt x="12" y="77"/>
                      </a:lnTo>
                      <a:lnTo>
                        <a:pt x="12" y="77"/>
                      </a:lnTo>
                      <a:lnTo>
                        <a:pt x="12" y="75"/>
                      </a:lnTo>
                      <a:lnTo>
                        <a:pt x="11" y="75"/>
                      </a:lnTo>
                      <a:lnTo>
                        <a:pt x="11" y="75"/>
                      </a:lnTo>
                      <a:lnTo>
                        <a:pt x="11" y="77"/>
                      </a:lnTo>
                      <a:lnTo>
                        <a:pt x="12" y="77"/>
                      </a:lnTo>
                      <a:lnTo>
                        <a:pt x="12" y="77"/>
                      </a:lnTo>
                      <a:lnTo>
                        <a:pt x="12" y="77"/>
                      </a:lnTo>
                      <a:lnTo>
                        <a:pt x="11" y="77"/>
                      </a:lnTo>
                      <a:lnTo>
                        <a:pt x="11" y="78"/>
                      </a:lnTo>
                      <a:lnTo>
                        <a:pt x="10" y="78"/>
                      </a:lnTo>
                      <a:lnTo>
                        <a:pt x="10" y="78"/>
                      </a:lnTo>
                      <a:lnTo>
                        <a:pt x="9" y="78"/>
                      </a:lnTo>
                      <a:lnTo>
                        <a:pt x="9" y="78"/>
                      </a:lnTo>
                      <a:lnTo>
                        <a:pt x="9" y="77"/>
                      </a:lnTo>
                      <a:lnTo>
                        <a:pt x="9" y="77"/>
                      </a:lnTo>
                      <a:lnTo>
                        <a:pt x="9" y="77"/>
                      </a:lnTo>
                      <a:lnTo>
                        <a:pt x="9" y="77"/>
                      </a:lnTo>
                      <a:lnTo>
                        <a:pt x="9" y="78"/>
                      </a:lnTo>
                      <a:lnTo>
                        <a:pt x="9" y="78"/>
                      </a:lnTo>
                      <a:lnTo>
                        <a:pt x="7" y="78"/>
                      </a:lnTo>
                      <a:lnTo>
                        <a:pt x="7" y="78"/>
                      </a:lnTo>
                      <a:lnTo>
                        <a:pt x="7" y="78"/>
                      </a:lnTo>
                      <a:lnTo>
                        <a:pt x="7" y="78"/>
                      </a:lnTo>
                      <a:lnTo>
                        <a:pt x="9" y="78"/>
                      </a:lnTo>
                      <a:lnTo>
                        <a:pt x="9" y="78"/>
                      </a:lnTo>
                      <a:lnTo>
                        <a:pt x="9" y="79"/>
                      </a:lnTo>
                      <a:lnTo>
                        <a:pt x="9" y="79"/>
                      </a:lnTo>
                      <a:lnTo>
                        <a:pt x="9" y="80"/>
                      </a:lnTo>
                      <a:lnTo>
                        <a:pt x="9" y="80"/>
                      </a:lnTo>
                      <a:lnTo>
                        <a:pt x="10" y="80"/>
                      </a:lnTo>
                      <a:lnTo>
                        <a:pt x="10" y="79"/>
                      </a:lnTo>
                      <a:lnTo>
                        <a:pt x="10" y="79"/>
                      </a:lnTo>
                      <a:lnTo>
                        <a:pt x="10" y="79"/>
                      </a:lnTo>
                      <a:lnTo>
                        <a:pt x="10" y="80"/>
                      </a:lnTo>
                      <a:lnTo>
                        <a:pt x="11" y="80"/>
                      </a:lnTo>
                      <a:lnTo>
                        <a:pt x="11" y="80"/>
                      </a:lnTo>
                      <a:lnTo>
                        <a:pt x="11" y="80"/>
                      </a:lnTo>
                      <a:lnTo>
                        <a:pt x="11" y="80"/>
                      </a:lnTo>
                      <a:lnTo>
                        <a:pt x="12" y="80"/>
                      </a:lnTo>
                      <a:lnTo>
                        <a:pt x="12" y="81"/>
                      </a:lnTo>
                      <a:lnTo>
                        <a:pt x="12" y="81"/>
                      </a:lnTo>
                      <a:lnTo>
                        <a:pt x="13" y="81"/>
                      </a:lnTo>
                      <a:lnTo>
                        <a:pt x="12" y="81"/>
                      </a:lnTo>
                      <a:lnTo>
                        <a:pt x="13" y="83"/>
                      </a:lnTo>
                      <a:lnTo>
                        <a:pt x="13" y="81"/>
                      </a:lnTo>
                      <a:lnTo>
                        <a:pt x="13" y="81"/>
                      </a:lnTo>
                      <a:lnTo>
                        <a:pt x="13" y="83"/>
                      </a:lnTo>
                      <a:lnTo>
                        <a:pt x="14" y="83"/>
                      </a:lnTo>
                      <a:lnTo>
                        <a:pt x="14" y="83"/>
                      </a:lnTo>
                      <a:lnTo>
                        <a:pt x="14" y="81"/>
                      </a:lnTo>
                      <a:lnTo>
                        <a:pt x="14" y="80"/>
                      </a:lnTo>
                      <a:lnTo>
                        <a:pt x="16" y="80"/>
                      </a:lnTo>
                      <a:lnTo>
                        <a:pt x="16" y="80"/>
                      </a:lnTo>
                      <a:lnTo>
                        <a:pt x="16" y="80"/>
                      </a:lnTo>
                      <a:lnTo>
                        <a:pt x="17" y="80"/>
                      </a:lnTo>
                      <a:lnTo>
                        <a:pt x="17" y="80"/>
                      </a:lnTo>
                      <a:lnTo>
                        <a:pt x="17" y="81"/>
                      </a:lnTo>
                      <a:lnTo>
                        <a:pt x="16" y="81"/>
                      </a:lnTo>
                      <a:lnTo>
                        <a:pt x="17" y="81"/>
                      </a:lnTo>
                      <a:lnTo>
                        <a:pt x="17" y="81"/>
                      </a:lnTo>
                      <a:lnTo>
                        <a:pt x="18" y="83"/>
                      </a:lnTo>
                      <a:lnTo>
                        <a:pt x="17" y="83"/>
                      </a:lnTo>
                      <a:lnTo>
                        <a:pt x="17" y="84"/>
                      </a:lnTo>
                      <a:lnTo>
                        <a:pt x="18" y="84"/>
                      </a:lnTo>
                      <a:lnTo>
                        <a:pt x="18" y="85"/>
                      </a:lnTo>
                      <a:lnTo>
                        <a:pt x="18" y="85"/>
                      </a:lnTo>
                      <a:lnTo>
                        <a:pt x="19" y="84"/>
                      </a:lnTo>
                      <a:lnTo>
                        <a:pt x="19" y="84"/>
                      </a:lnTo>
                      <a:lnTo>
                        <a:pt x="19" y="83"/>
                      </a:lnTo>
                      <a:lnTo>
                        <a:pt x="20" y="83"/>
                      </a:lnTo>
                      <a:lnTo>
                        <a:pt x="20" y="84"/>
                      </a:lnTo>
                      <a:lnTo>
                        <a:pt x="20" y="84"/>
                      </a:lnTo>
                      <a:lnTo>
                        <a:pt x="21" y="85"/>
                      </a:lnTo>
                      <a:lnTo>
                        <a:pt x="21" y="84"/>
                      </a:lnTo>
                      <a:lnTo>
                        <a:pt x="23" y="85"/>
                      </a:lnTo>
                      <a:lnTo>
                        <a:pt x="24" y="85"/>
                      </a:lnTo>
                      <a:lnTo>
                        <a:pt x="24" y="85"/>
                      </a:lnTo>
                      <a:lnTo>
                        <a:pt x="25" y="85"/>
                      </a:lnTo>
                      <a:lnTo>
                        <a:pt x="25" y="85"/>
                      </a:lnTo>
                      <a:lnTo>
                        <a:pt x="25" y="85"/>
                      </a:lnTo>
                      <a:lnTo>
                        <a:pt x="25" y="85"/>
                      </a:lnTo>
                      <a:lnTo>
                        <a:pt x="26" y="86"/>
                      </a:lnTo>
                      <a:lnTo>
                        <a:pt x="26" y="86"/>
                      </a:lnTo>
                      <a:lnTo>
                        <a:pt x="25" y="87"/>
                      </a:lnTo>
                      <a:lnTo>
                        <a:pt x="26" y="87"/>
                      </a:lnTo>
                      <a:lnTo>
                        <a:pt x="26" y="88"/>
                      </a:lnTo>
                      <a:lnTo>
                        <a:pt x="26" y="88"/>
                      </a:lnTo>
                      <a:lnTo>
                        <a:pt x="26" y="90"/>
                      </a:lnTo>
                      <a:lnTo>
                        <a:pt x="26" y="91"/>
                      </a:lnTo>
                      <a:lnTo>
                        <a:pt x="25" y="91"/>
                      </a:lnTo>
                      <a:lnTo>
                        <a:pt x="24" y="92"/>
                      </a:lnTo>
                      <a:lnTo>
                        <a:pt x="24" y="92"/>
                      </a:lnTo>
                      <a:lnTo>
                        <a:pt x="23" y="91"/>
                      </a:lnTo>
                      <a:lnTo>
                        <a:pt x="23" y="91"/>
                      </a:lnTo>
                      <a:lnTo>
                        <a:pt x="23" y="91"/>
                      </a:lnTo>
                      <a:lnTo>
                        <a:pt x="23" y="92"/>
                      </a:lnTo>
                      <a:lnTo>
                        <a:pt x="23" y="92"/>
                      </a:lnTo>
                      <a:lnTo>
                        <a:pt x="24" y="92"/>
                      </a:lnTo>
                      <a:lnTo>
                        <a:pt x="24" y="92"/>
                      </a:lnTo>
                      <a:lnTo>
                        <a:pt x="25" y="92"/>
                      </a:lnTo>
                      <a:lnTo>
                        <a:pt x="25" y="93"/>
                      </a:lnTo>
                      <a:lnTo>
                        <a:pt x="25" y="93"/>
                      </a:lnTo>
                      <a:lnTo>
                        <a:pt x="25" y="94"/>
                      </a:lnTo>
                      <a:lnTo>
                        <a:pt x="26" y="95"/>
                      </a:lnTo>
                      <a:lnTo>
                        <a:pt x="26" y="97"/>
                      </a:lnTo>
                      <a:lnTo>
                        <a:pt x="26" y="97"/>
                      </a:lnTo>
                      <a:lnTo>
                        <a:pt x="25" y="98"/>
                      </a:lnTo>
                      <a:lnTo>
                        <a:pt x="26" y="98"/>
                      </a:lnTo>
                      <a:lnTo>
                        <a:pt x="26" y="98"/>
                      </a:lnTo>
                      <a:lnTo>
                        <a:pt x="27" y="98"/>
                      </a:lnTo>
                      <a:lnTo>
                        <a:pt x="27" y="98"/>
                      </a:lnTo>
                      <a:lnTo>
                        <a:pt x="27" y="98"/>
                      </a:lnTo>
                      <a:lnTo>
                        <a:pt x="27" y="98"/>
                      </a:lnTo>
                      <a:lnTo>
                        <a:pt x="27" y="98"/>
                      </a:lnTo>
                      <a:lnTo>
                        <a:pt x="29" y="98"/>
                      </a:lnTo>
                      <a:lnTo>
                        <a:pt x="29" y="97"/>
                      </a:lnTo>
                      <a:lnTo>
                        <a:pt x="29" y="97"/>
                      </a:lnTo>
                      <a:lnTo>
                        <a:pt x="29" y="97"/>
                      </a:lnTo>
                      <a:lnTo>
                        <a:pt x="29" y="97"/>
                      </a:lnTo>
                      <a:lnTo>
                        <a:pt x="29" y="97"/>
                      </a:lnTo>
                      <a:lnTo>
                        <a:pt x="29" y="97"/>
                      </a:lnTo>
                      <a:lnTo>
                        <a:pt x="29" y="98"/>
                      </a:lnTo>
                      <a:lnTo>
                        <a:pt x="29" y="98"/>
                      </a:lnTo>
                      <a:lnTo>
                        <a:pt x="29" y="98"/>
                      </a:lnTo>
                      <a:lnTo>
                        <a:pt x="29" y="99"/>
                      </a:lnTo>
                      <a:lnTo>
                        <a:pt x="29" y="99"/>
                      </a:lnTo>
                      <a:lnTo>
                        <a:pt x="30" y="99"/>
                      </a:lnTo>
                      <a:lnTo>
                        <a:pt x="30" y="99"/>
                      </a:lnTo>
                      <a:lnTo>
                        <a:pt x="31" y="98"/>
                      </a:lnTo>
                      <a:lnTo>
                        <a:pt x="31" y="98"/>
                      </a:lnTo>
                      <a:lnTo>
                        <a:pt x="31" y="99"/>
                      </a:lnTo>
                      <a:lnTo>
                        <a:pt x="31" y="99"/>
                      </a:lnTo>
                      <a:lnTo>
                        <a:pt x="31" y="100"/>
                      </a:lnTo>
                      <a:lnTo>
                        <a:pt x="31" y="100"/>
                      </a:lnTo>
                      <a:lnTo>
                        <a:pt x="31" y="100"/>
                      </a:lnTo>
                      <a:lnTo>
                        <a:pt x="32" y="100"/>
                      </a:lnTo>
                      <a:lnTo>
                        <a:pt x="32" y="100"/>
                      </a:lnTo>
                      <a:lnTo>
                        <a:pt x="33" y="99"/>
                      </a:lnTo>
                      <a:lnTo>
                        <a:pt x="33" y="100"/>
                      </a:lnTo>
                      <a:lnTo>
                        <a:pt x="33" y="100"/>
                      </a:lnTo>
                      <a:lnTo>
                        <a:pt x="33" y="101"/>
                      </a:lnTo>
                      <a:lnTo>
                        <a:pt x="32" y="101"/>
                      </a:lnTo>
                      <a:lnTo>
                        <a:pt x="32" y="101"/>
                      </a:lnTo>
                      <a:lnTo>
                        <a:pt x="32" y="101"/>
                      </a:lnTo>
                      <a:lnTo>
                        <a:pt x="32" y="101"/>
                      </a:lnTo>
                      <a:lnTo>
                        <a:pt x="32" y="103"/>
                      </a:lnTo>
                      <a:lnTo>
                        <a:pt x="32" y="103"/>
                      </a:lnTo>
                      <a:lnTo>
                        <a:pt x="32" y="104"/>
                      </a:lnTo>
                      <a:lnTo>
                        <a:pt x="32" y="104"/>
                      </a:lnTo>
                      <a:lnTo>
                        <a:pt x="31" y="104"/>
                      </a:lnTo>
                      <a:lnTo>
                        <a:pt x="30" y="104"/>
                      </a:lnTo>
                      <a:lnTo>
                        <a:pt x="30" y="104"/>
                      </a:lnTo>
                      <a:lnTo>
                        <a:pt x="30" y="101"/>
                      </a:lnTo>
                      <a:lnTo>
                        <a:pt x="29" y="101"/>
                      </a:lnTo>
                      <a:lnTo>
                        <a:pt x="29" y="101"/>
                      </a:lnTo>
                      <a:lnTo>
                        <a:pt x="29" y="101"/>
                      </a:lnTo>
                      <a:lnTo>
                        <a:pt x="29" y="101"/>
                      </a:lnTo>
                      <a:lnTo>
                        <a:pt x="29" y="101"/>
                      </a:lnTo>
                      <a:lnTo>
                        <a:pt x="29" y="103"/>
                      </a:lnTo>
                      <a:lnTo>
                        <a:pt x="29" y="103"/>
                      </a:lnTo>
                      <a:lnTo>
                        <a:pt x="29" y="104"/>
                      </a:lnTo>
                      <a:lnTo>
                        <a:pt x="27" y="103"/>
                      </a:lnTo>
                      <a:lnTo>
                        <a:pt x="27" y="103"/>
                      </a:lnTo>
                      <a:lnTo>
                        <a:pt x="26" y="104"/>
                      </a:lnTo>
                      <a:lnTo>
                        <a:pt x="27" y="104"/>
                      </a:lnTo>
                      <a:lnTo>
                        <a:pt x="27" y="104"/>
                      </a:lnTo>
                      <a:lnTo>
                        <a:pt x="27" y="104"/>
                      </a:lnTo>
                      <a:lnTo>
                        <a:pt x="27" y="105"/>
                      </a:lnTo>
                      <a:lnTo>
                        <a:pt x="27" y="105"/>
                      </a:lnTo>
                      <a:lnTo>
                        <a:pt x="26" y="105"/>
                      </a:lnTo>
                      <a:lnTo>
                        <a:pt x="26" y="106"/>
                      </a:lnTo>
                      <a:lnTo>
                        <a:pt x="27" y="106"/>
                      </a:lnTo>
                      <a:lnTo>
                        <a:pt x="29" y="106"/>
                      </a:lnTo>
                      <a:lnTo>
                        <a:pt x="29" y="106"/>
                      </a:lnTo>
                      <a:lnTo>
                        <a:pt x="29" y="106"/>
                      </a:lnTo>
                      <a:lnTo>
                        <a:pt x="29" y="106"/>
                      </a:lnTo>
                      <a:lnTo>
                        <a:pt x="29" y="106"/>
                      </a:lnTo>
                      <a:lnTo>
                        <a:pt x="29" y="105"/>
                      </a:lnTo>
                      <a:lnTo>
                        <a:pt x="29" y="105"/>
                      </a:lnTo>
                      <a:lnTo>
                        <a:pt x="30" y="105"/>
                      </a:lnTo>
                      <a:lnTo>
                        <a:pt x="30" y="105"/>
                      </a:lnTo>
                      <a:lnTo>
                        <a:pt x="30" y="105"/>
                      </a:lnTo>
                      <a:lnTo>
                        <a:pt x="30" y="104"/>
                      </a:lnTo>
                      <a:lnTo>
                        <a:pt x="31" y="105"/>
                      </a:lnTo>
                      <a:lnTo>
                        <a:pt x="31" y="105"/>
                      </a:lnTo>
                      <a:lnTo>
                        <a:pt x="32" y="105"/>
                      </a:lnTo>
                      <a:lnTo>
                        <a:pt x="32" y="106"/>
                      </a:lnTo>
                      <a:lnTo>
                        <a:pt x="32" y="106"/>
                      </a:lnTo>
                      <a:lnTo>
                        <a:pt x="32" y="105"/>
                      </a:lnTo>
                      <a:lnTo>
                        <a:pt x="32" y="105"/>
                      </a:lnTo>
                      <a:lnTo>
                        <a:pt x="33" y="105"/>
                      </a:lnTo>
                      <a:lnTo>
                        <a:pt x="34" y="105"/>
                      </a:lnTo>
                      <a:lnTo>
                        <a:pt x="34" y="105"/>
                      </a:lnTo>
                      <a:lnTo>
                        <a:pt x="36" y="105"/>
                      </a:lnTo>
                      <a:lnTo>
                        <a:pt x="36" y="105"/>
                      </a:lnTo>
                      <a:lnTo>
                        <a:pt x="36" y="105"/>
                      </a:lnTo>
                      <a:lnTo>
                        <a:pt x="37" y="105"/>
                      </a:lnTo>
                      <a:lnTo>
                        <a:pt x="38" y="105"/>
                      </a:lnTo>
                      <a:lnTo>
                        <a:pt x="38" y="104"/>
                      </a:lnTo>
                      <a:lnTo>
                        <a:pt x="38" y="104"/>
                      </a:lnTo>
                      <a:lnTo>
                        <a:pt x="39" y="105"/>
                      </a:lnTo>
                      <a:lnTo>
                        <a:pt x="39" y="105"/>
                      </a:lnTo>
                      <a:lnTo>
                        <a:pt x="40" y="104"/>
                      </a:lnTo>
                      <a:lnTo>
                        <a:pt x="40" y="104"/>
                      </a:lnTo>
                      <a:lnTo>
                        <a:pt x="40" y="104"/>
                      </a:lnTo>
                      <a:lnTo>
                        <a:pt x="41" y="104"/>
                      </a:lnTo>
                      <a:lnTo>
                        <a:pt x="41" y="105"/>
                      </a:lnTo>
                      <a:lnTo>
                        <a:pt x="41" y="105"/>
                      </a:lnTo>
                      <a:lnTo>
                        <a:pt x="41" y="105"/>
                      </a:lnTo>
                      <a:lnTo>
                        <a:pt x="41" y="104"/>
                      </a:lnTo>
                      <a:lnTo>
                        <a:pt x="43" y="104"/>
                      </a:lnTo>
                      <a:lnTo>
                        <a:pt x="43" y="104"/>
                      </a:lnTo>
                      <a:lnTo>
                        <a:pt x="44" y="104"/>
                      </a:lnTo>
                      <a:lnTo>
                        <a:pt x="45" y="104"/>
                      </a:lnTo>
                      <a:lnTo>
                        <a:pt x="46" y="104"/>
                      </a:lnTo>
                      <a:lnTo>
                        <a:pt x="45" y="105"/>
                      </a:lnTo>
                      <a:lnTo>
                        <a:pt x="45" y="105"/>
                      </a:lnTo>
                      <a:lnTo>
                        <a:pt x="45" y="105"/>
                      </a:lnTo>
                      <a:lnTo>
                        <a:pt x="44" y="105"/>
                      </a:lnTo>
                      <a:lnTo>
                        <a:pt x="44" y="105"/>
                      </a:lnTo>
                      <a:lnTo>
                        <a:pt x="44" y="105"/>
                      </a:lnTo>
                      <a:lnTo>
                        <a:pt x="43" y="105"/>
                      </a:lnTo>
                      <a:lnTo>
                        <a:pt x="43" y="105"/>
                      </a:lnTo>
                      <a:lnTo>
                        <a:pt x="43" y="106"/>
                      </a:lnTo>
                      <a:lnTo>
                        <a:pt x="43" y="106"/>
                      </a:lnTo>
                      <a:lnTo>
                        <a:pt x="43" y="106"/>
                      </a:lnTo>
                      <a:lnTo>
                        <a:pt x="43" y="107"/>
                      </a:lnTo>
                      <a:lnTo>
                        <a:pt x="43" y="107"/>
                      </a:lnTo>
                      <a:lnTo>
                        <a:pt x="43" y="107"/>
                      </a:lnTo>
                      <a:lnTo>
                        <a:pt x="43" y="106"/>
                      </a:lnTo>
                      <a:lnTo>
                        <a:pt x="43" y="106"/>
                      </a:lnTo>
                      <a:lnTo>
                        <a:pt x="43" y="106"/>
                      </a:lnTo>
                      <a:lnTo>
                        <a:pt x="41" y="106"/>
                      </a:lnTo>
                      <a:lnTo>
                        <a:pt x="41" y="106"/>
                      </a:lnTo>
                      <a:lnTo>
                        <a:pt x="40" y="106"/>
                      </a:lnTo>
                      <a:lnTo>
                        <a:pt x="41" y="107"/>
                      </a:lnTo>
                      <a:lnTo>
                        <a:pt x="41" y="107"/>
                      </a:lnTo>
                      <a:lnTo>
                        <a:pt x="41" y="107"/>
                      </a:lnTo>
                      <a:lnTo>
                        <a:pt x="41" y="107"/>
                      </a:lnTo>
                      <a:lnTo>
                        <a:pt x="40" y="107"/>
                      </a:lnTo>
                      <a:lnTo>
                        <a:pt x="41" y="107"/>
                      </a:lnTo>
                      <a:lnTo>
                        <a:pt x="41" y="108"/>
                      </a:lnTo>
                      <a:lnTo>
                        <a:pt x="40" y="107"/>
                      </a:lnTo>
                      <a:lnTo>
                        <a:pt x="40" y="107"/>
                      </a:lnTo>
                      <a:lnTo>
                        <a:pt x="41" y="108"/>
                      </a:lnTo>
                      <a:lnTo>
                        <a:pt x="41" y="108"/>
                      </a:lnTo>
                      <a:lnTo>
                        <a:pt x="40" y="108"/>
                      </a:lnTo>
                      <a:lnTo>
                        <a:pt x="40" y="108"/>
                      </a:lnTo>
                      <a:lnTo>
                        <a:pt x="39" y="108"/>
                      </a:lnTo>
                      <a:lnTo>
                        <a:pt x="38" y="107"/>
                      </a:lnTo>
                      <a:lnTo>
                        <a:pt x="37" y="108"/>
                      </a:lnTo>
                      <a:lnTo>
                        <a:pt x="37" y="108"/>
                      </a:lnTo>
                      <a:lnTo>
                        <a:pt x="36" y="108"/>
                      </a:lnTo>
                      <a:lnTo>
                        <a:pt x="34" y="108"/>
                      </a:lnTo>
                      <a:lnTo>
                        <a:pt x="34" y="108"/>
                      </a:lnTo>
                      <a:lnTo>
                        <a:pt x="33" y="108"/>
                      </a:lnTo>
                      <a:lnTo>
                        <a:pt x="33" y="108"/>
                      </a:lnTo>
                      <a:lnTo>
                        <a:pt x="33" y="110"/>
                      </a:lnTo>
                      <a:lnTo>
                        <a:pt x="33" y="110"/>
                      </a:lnTo>
                      <a:lnTo>
                        <a:pt x="33" y="110"/>
                      </a:lnTo>
                      <a:lnTo>
                        <a:pt x="32" y="110"/>
                      </a:lnTo>
                      <a:lnTo>
                        <a:pt x="31" y="110"/>
                      </a:lnTo>
                      <a:lnTo>
                        <a:pt x="31" y="110"/>
                      </a:lnTo>
                      <a:lnTo>
                        <a:pt x="31" y="110"/>
                      </a:lnTo>
                      <a:lnTo>
                        <a:pt x="30" y="110"/>
                      </a:lnTo>
                      <a:lnTo>
                        <a:pt x="30" y="111"/>
                      </a:lnTo>
                      <a:lnTo>
                        <a:pt x="31" y="111"/>
                      </a:lnTo>
                      <a:lnTo>
                        <a:pt x="30" y="111"/>
                      </a:lnTo>
                      <a:lnTo>
                        <a:pt x="30" y="111"/>
                      </a:lnTo>
                      <a:lnTo>
                        <a:pt x="30" y="111"/>
                      </a:lnTo>
                      <a:lnTo>
                        <a:pt x="30" y="112"/>
                      </a:lnTo>
                      <a:lnTo>
                        <a:pt x="31" y="112"/>
                      </a:lnTo>
                      <a:lnTo>
                        <a:pt x="32" y="112"/>
                      </a:lnTo>
                      <a:lnTo>
                        <a:pt x="33" y="111"/>
                      </a:lnTo>
                      <a:lnTo>
                        <a:pt x="34" y="111"/>
                      </a:lnTo>
                      <a:lnTo>
                        <a:pt x="34" y="111"/>
                      </a:lnTo>
                      <a:lnTo>
                        <a:pt x="34" y="112"/>
                      </a:lnTo>
                      <a:lnTo>
                        <a:pt x="36" y="112"/>
                      </a:lnTo>
                      <a:lnTo>
                        <a:pt x="36" y="111"/>
                      </a:lnTo>
                      <a:lnTo>
                        <a:pt x="36" y="111"/>
                      </a:lnTo>
                      <a:lnTo>
                        <a:pt x="34" y="111"/>
                      </a:lnTo>
                      <a:lnTo>
                        <a:pt x="36" y="110"/>
                      </a:lnTo>
                      <a:lnTo>
                        <a:pt x="36" y="110"/>
                      </a:lnTo>
                      <a:lnTo>
                        <a:pt x="37" y="110"/>
                      </a:lnTo>
                      <a:lnTo>
                        <a:pt x="37" y="110"/>
                      </a:lnTo>
                      <a:lnTo>
                        <a:pt x="38" y="110"/>
                      </a:lnTo>
                      <a:lnTo>
                        <a:pt x="39" y="110"/>
                      </a:lnTo>
                      <a:lnTo>
                        <a:pt x="39" y="111"/>
                      </a:lnTo>
                      <a:lnTo>
                        <a:pt x="41" y="110"/>
                      </a:lnTo>
                      <a:lnTo>
                        <a:pt x="41" y="110"/>
                      </a:lnTo>
                      <a:lnTo>
                        <a:pt x="41" y="110"/>
                      </a:lnTo>
                      <a:lnTo>
                        <a:pt x="43" y="110"/>
                      </a:lnTo>
                      <a:lnTo>
                        <a:pt x="43" y="110"/>
                      </a:lnTo>
                      <a:lnTo>
                        <a:pt x="43" y="110"/>
                      </a:lnTo>
                      <a:lnTo>
                        <a:pt x="43" y="110"/>
                      </a:lnTo>
                      <a:lnTo>
                        <a:pt x="43" y="111"/>
                      </a:lnTo>
                      <a:lnTo>
                        <a:pt x="43" y="111"/>
                      </a:lnTo>
                      <a:lnTo>
                        <a:pt x="41" y="111"/>
                      </a:lnTo>
                      <a:lnTo>
                        <a:pt x="41" y="111"/>
                      </a:lnTo>
                      <a:lnTo>
                        <a:pt x="41" y="111"/>
                      </a:lnTo>
                      <a:lnTo>
                        <a:pt x="40" y="111"/>
                      </a:lnTo>
                      <a:lnTo>
                        <a:pt x="41" y="112"/>
                      </a:lnTo>
                      <a:lnTo>
                        <a:pt x="41" y="112"/>
                      </a:lnTo>
                      <a:lnTo>
                        <a:pt x="41" y="111"/>
                      </a:lnTo>
                      <a:lnTo>
                        <a:pt x="41" y="112"/>
                      </a:lnTo>
                      <a:lnTo>
                        <a:pt x="41" y="112"/>
                      </a:lnTo>
                      <a:lnTo>
                        <a:pt x="41" y="112"/>
                      </a:lnTo>
                      <a:lnTo>
                        <a:pt x="41" y="112"/>
                      </a:lnTo>
                      <a:lnTo>
                        <a:pt x="43" y="112"/>
                      </a:lnTo>
                      <a:lnTo>
                        <a:pt x="43" y="113"/>
                      </a:lnTo>
                      <a:lnTo>
                        <a:pt x="41" y="113"/>
                      </a:lnTo>
                      <a:lnTo>
                        <a:pt x="41" y="113"/>
                      </a:lnTo>
                      <a:lnTo>
                        <a:pt x="41" y="113"/>
                      </a:lnTo>
                      <a:lnTo>
                        <a:pt x="41" y="114"/>
                      </a:lnTo>
                      <a:lnTo>
                        <a:pt x="41" y="114"/>
                      </a:lnTo>
                      <a:lnTo>
                        <a:pt x="41" y="114"/>
                      </a:lnTo>
                      <a:lnTo>
                        <a:pt x="41" y="114"/>
                      </a:lnTo>
                      <a:lnTo>
                        <a:pt x="41" y="114"/>
                      </a:lnTo>
                      <a:lnTo>
                        <a:pt x="43" y="114"/>
                      </a:lnTo>
                      <a:lnTo>
                        <a:pt x="43" y="114"/>
                      </a:lnTo>
                      <a:lnTo>
                        <a:pt x="43" y="113"/>
                      </a:lnTo>
                      <a:lnTo>
                        <a:pt x="43" y="113"/>
                      </a:lnTo>
                      <a:lnTo>
                        <a:pt x="44" y="112"/>
                      </a:lnTo>
                      <a:lnTo>
                        <a:pt x="43" y="111"/>
                      </a:lnTo>
                      <a:lnTo>
                        <a:pt x="44" y="111"/>
                      </a:lnTo>
                      <a:lnTo>
                        <a:pt x="44" y="111"/>
                      </a:lnTo>
                      <a:lnTo>
                        <a:pt x="44" y="111"/>
                      </a:lnTo>
                      <a:lnTo>
                        <a:pt x="45" y="111"/>
                      </a:lnTo>
                      <a:lnTo>
                        <a:pt x="45" y="111"/>
                      </a:lnTo>
                      <a:lnTo>
                        <a:pt x="45" y="111"/>
                      </a:lnTo>
                      <a:lnTo>
                        <a:pt x="45" y="111"/>
                      </a:lnTo>
                      <a:lnTo>
                        <a:pt x="45" y="111"/>
                      </a:lnTo>
                      <a:lnTo>
                        <a:pt x="46" y="111"/>
                      </a:lnTo>
                      <a:lnTo>
                        <a:pt x="46" y="111"/>
                      </a:lnTo>
                      <a:lnTo>
                        <a:pt x="46" y="110"/>
                      </a:lnTo>
                      <a:lnTo>
                        <a:pt x="45" y="110"/>
                      </a:lnTo>
                      <a:lnTo>
                        <a:pt x="45" y="110"/>
                      </a:lnTo>
                      <a:lnTo>
                        <a:pt x="45" y="110"/>
                      </a:lnTo>
                      <a:lnTo>
                        <a:pt x="45" y="110"/>
                      </a:lnTo>
                      <a:lnTo>
                        <a:pt x="45" y="108"/>
                      </a:lnTo>
                      <a:lnTo>
                        <a:pt x="45" y="108"/>
                      </a:lnTo>
                      <a:lnTo>
                        <a:pt x="45" y="107"/>
                      </a:lnTo>
                      <a:lnTo>
                        <a:pt x="45" y="108"/>
                      </a:lnTo>
                      <a:lnTo>
                        <a:pt x="45" y="108"/>
                      </a:lnTo>
                      <a:lnTo>
                        <a:pt x="45" y="108"/>
                      </a:lnTo>
                      <a:lnTo>
                        <a:pt x="46" y="108"/>
                      </a:lnTo>
                      <a:lnTo>
                        <a:pt x="45" y="108"/>
                      </a:lnTo>
                      <a:lnTo>
                        <a:pt x="46" y="108"/>
                      </a:lnTo>
                      <a:lnTo>
                        <a:pt x="46" y="108"/>
                      </a:lnTo>
                      <a:lnTo>
                        <a:pt x="46" y="108"/>
                      </a:lnTo>
                      <a:lnTo>
                        <a:pt x="47" y="108"/>
                      </a:lnTo>
                      <a:lnTo>
                        <a:pt x="47" y="108"/>
                      </a:lnTo>
                      <a:lnTo>
                        <a:pt x="47" y="108"/>
                      </a:lnTo>
                      <a:lnTo>
                        <a:pt x="47" y="107"/>
                      </a:lnTo>
                      <a:lnTo>
                        <a:pt x="49" y="107"/>
                      </a:lnTo>
                      <a:lnTo>
                        <a:pt x="49" y="107"/>
                      </a:lnTo>
                      <a:lnTo>
                        <a:pt x="49" y="107"/>
                      </a:lnTo>
                      <a:lnTo>
                        <a:pt x="49" y="107"/>
                      </a:lnTo>
                      <a:lnTo>
                        <a:pt x="49" y="107"/>
                      </a:lnTo>
                      <a:lnTo>
                        <a:pt x="47" y="108"/>
                      </a:lnTo>
                      <a:lnTo>
                        <a:pt x="49" y="108"/>
                      </a:lnTo>
                      <a:lnTo>
                        <a:pt x="49" y="108"/>
                      </a:lnTo>
                      <a:lnTo>
                        <a:pt x="50" y="108"/>
                      </a:lnTo>
                      <a:lnTo>
                        <a:pt x="49" y="108"/>
                      </a:lnTo>
                      <a:lnTo>
                        <a:pt x="50" y="108"/>
                      </a:lnTo>
                      <a:lnTo>
                        <a:pt x="50" y="108"/>
                      </a:lnTo>
                      <a:lnTo>
                        <a:pt x="51" y="108"/>
                      </a:lnTo>
                      <a:lnTo>
                        <a:pt x="50" y="108"/>
                      </a:lnTo>
                      <a:lnTo>
                        <a:pt x="50" y="110"/>
                      </a:lnTo>
                      <a:lnTo>
                        <a:pt x="51" y="110"/>
                      </a:lnTo>
                      <a:lnTo>
                        <a:pt x="50" y="111"/>
                      </a:lnTo>
                      <a:lnTo>
                        <a:pt x="51" y="111"/>
                      </a:lnTo>
                      <a:lnTo>
                        <a:pt x="51" y="111"/>
                      </a:lnTo>
                      <a:lnTo>
                        <a:pt x="52" y="111"/>
                      </a:lnTo>
                      <a:lnTo>
                        <a:pt x="52" y="111"/>
                      </a:lnTo>
                      <a:lnTo>
                        <a:pt x="52" y="111"/>
                      </a:lnTo>
                      <a:lnTo>
                        <a:pt x="52" y="111"/>
                      </a:lnTo>
                      <a:lnTo>
                        <a:pt x="53" y="112"/>
                      </a:lnTo>
                      <a:lnTo>
                        <a:pt x="53" y="112"/>
                      </a:lnTo>
                      <a:lnTo>
                        <a:pt x="54" y="112"/>
                      </a:lnTo>
                      <a:lnTo>
                        <a:pt x="54" y="112"/>
                      </a:lnTo>
                      <a:lnTo>
                        <a:pt x="54" y="113"/>
                      </a:lnTo>
                      <a:lnTo>
                        <a:pt x="54" y="113"/>
                      </a:lnTo>
                      <a:lnTo>
                        <a:pt x="56" y="114"/>
                      </a:lnTo>
                      <a:lnTo>
                        <a:pt x="56" y="113"/>
                      </a:lnTo>
                      <a:lnTo>
                        <a:pt x="56" y="113"/>
                      </a:lnTo>
                      <a:lnTo>
                        <a:pt x="56" y="112"/>
                      </a:lnTo>
                      <a:lnTo>
                        <a:pt x="56" y="112"/>
                      </a:lnTo>
                      <a:lnTo>
                        <a:pt x="56" y="112"/>
                      </a:lnTo>
                      <a:lnTo>
                        <a:pt x="54" y="112"/>
                      </a:lnTo>
                      <a:lnTo>
                        <a:pt x="54" y="111"/>
                      </a:lnTo>
                      <a:lnTo>
                        <a:pt x="54" y="111"/>
                      </a:lnTo>
                      <a:lnTo>
                        <a:pt x="56" y="111"/>
                      </a:lnTo>
                      <a:lnTo>
                        <a:pt x="56" y="111"/>
                      </a:lnTo>
                      <a:lnTo>
                        <a:pt x="56" y="111"/>
                      </a:lnTo>
                      <a:lnTo>
                        <a:pt x="56" y="110"/>
                      </a:lnTo>
                      <a:lnTo>
                        <a:pt x="56" y="110"/>
                      </a:lnTo>
                      <a:lnTo>
                        <a:pt x="57" y="111"/>
                      </a:lnTo>
                      <a:lnTo>
                        <a:pt x="58" y="111"/>
                      </a:lnTo>
                      <a:lnTo>
                        <a:pt x="58" y="111"/>
                      </a:lnTo>
                      <a:lnTo>
                        <a:pt x="58" y="111"/>
                      </a:lnTo>
                      <a:lnTo>
                        <a:pt x="59" y="111"/>
                      </a:lnTo>
                      <a:lnTo>
                        <a:pt x="59" y="112"/>
                      </a:lnTo>
                      <a:lnTo>
                        <a:pt x="59" y="112"/>
                      </a:lnTo>
                      <a:lnTo>
                        <a:pt x="60" y="112"/>
                      </a:lnTo>
                      <a:lnTo>
                        <a:pt x="60" y="113"/>
                      </a:lnTo>
                      <a:lnTo>
                        <a:pt x="59" y="113"/>
                      </a:lnTo>
                      <a:lnTo>
                        <a:pt x="59" y="112"/>
                      </a:lnTo>
                      <a:lnTo>
                        <a:pt x="59" y="112"/>
                      </a:lnTo>
                      <a:lnTo>
                        <a:pt x="59" y="112"/>
                      </a:lnTo>
                      <a:lnTo>
                        <a:pt x="58" y="112"/>
                      </a:lnTo>
                      <a:lnTo>
                        <a:pt x="58" y="113"/>
                      </a:lnTo>
                      <a:lnTo>
                        <a:pt x="59" y="113"/>
                      </a:lnTo>
                      <a:lnTo>
                        <a:pt x="58" y="113"/>
                      </a:lnTo>
                      <a:lnTo>
                        <a:pt x="58" y="114"/>
                      </a:lnTo>
                      <a:lnTo>
                        <a:pt x="58" y="114"/>
                      </a:lnTo>
                      <a:lnTo>
                        <a:pt x="59" y="114"/>
                      </a:lnTo>
                      <a:lnTo>
                        <a:pt x="58" y="114"/>
                      </a:lnTo>
                      <a:lnTo>
                        <a:pt x="59" y="114"/>
                      </a:lnTo>
                      <a:lnTo>
                        <a:pt x="59" y="114"/>
                      </a:lnTo>
                      <a:lnTo>
                        <a:pt x="59" y="114"/>
                      </a:lnTo>
                      <a:lnTo>
                        <a:pt x="59" y="114"/>
                      </a:lnTo>
                      <a:lnTo>
                        <a:pt x="59" y="114"/>
                      </a:lnTo>
                      <a:lnTo>
                        <a:pt x="60" y="114"/>
                      </a:lnTo>
                      <a:lnTo>
                        <a:pt x="60" y="114"/>
                      </a:lnTo>
                      <a:lnTo>
                        <a:pt x="60" y="115"/>
                      </a:lnTo>
                      <a:lnTo>
                        <a:pt x="60" y="117"/>
                      </a:lnTo>
                      <a:lnTo>
                        <a:pt x="60" y="117"/>
                      </a:lnTo>
                      <a:lnTo>
                        <a:pt x="60" y="118"/>
                      </a:lnTo>
                      <a:lnTo>
                        <a:pt x="60" y="118"/>
                      </a:lnTo>
                      <a:lnTo>
                        <a:pt x="60" y="118"/>
                      </a:lnTo>
                      <a:lnTo>
                        <a:pt x="61" y="119"/>
                      </a:lnTo>
                      <a:lnTo>
                        <a:pt x="61" y="119"/>
                      </a:lnTo>
                      <a:lnTo>
                        <a:pt x="63" y="119"/>
                      </a:lnTo>
                      <a:lnTo>
                        <a:pt x="63" y="119"/>
                      </a:lnTo>
                      <a:lnTo>
                        <a:pt x="64" y="120"/>
                      </a:lnTo>
                      <a:lnTo>
                        <a:pt x="64" y="120"/>
                      </a:lnTo>
                      <a:lnTo>
                        <a:pt x="65" y="120"/>
                      </a:lnTo>
                      <a:lnTo>
                        <a:pt x="65" y="120"/>
                      </a:lnTo>
                      <a:lnTo>
                        <a:pt x="65" y="120"/>
                      </a:lnTo>
                      <a:lnTo>
                        <a:pt x="65" y="120"/>
                      </a:lnTo>
                      <a:lnTo>
                        <a:pt x="65" y="120"/>
                      </a:lnTo>
                      <a:lnTo>
                        <a:pt x="65" y="120"/>
                      </a:lnTo>
                      <a:lnTo>
                        <a:pt x="66" y="120"/>
                      </a:lnTo>
                      <a:lnTo>
                        <a:pt x="65" y="120"/>
                      </a:lnTo>
                      <a:lnTo>
                        <a:pt x="66" y="120"/>
                      </a:lnTo>
                      <a:lnTo>
                        <a:pt x="66" y="120"/>
                      </a:lnTo>
                      <a:lnTo>
                        <a:pt x="66" y="120"/>
                      </a:lnTo>
                      <a:lnTo>
                        <a:pt x="67" y="121"/>
                      </a:lnTo>
                      <a:lnTo>
                        <a:pt x="67" y="121"/>
                      </a:lnTo>
                      <a:lnTo>
                        <a:pt x="69" y="121"/>
                      </a:lnTo>
                      <a:lnTo>
                        <a:pt x="69" y="121"/>
                      </a:lnTo>
                      <a:lnTo>
                        <a:pt x="69" y="121"/>
                      </a:lnTo>
                      <a:lnTo>
                        <a:pt x="69" y="121"/>
                      </a:lnTo>
                      <a:lnTo>
                        <a:pt x="69" y="121"/>
                      </a:lnTo>
                      <a:lnTo>
                        <a:pt x="69" y="121"/>
                      </a:lnTo>
                      <a:lnTo>
                        <a:pt x="69" y="123"/>
                      </a:lnTo>
                      <a:lnTo>
                        <a:pt x="70" y="123"/>
                      </a:lnTo>
                      <a:lnTo>
                        <a:pt x="70" y="123"/>
                      </a:lnTo>
                      <a:lnTo>
                        <a:pt x="70" y="123"/>
                      </a:lnTo>
                      <a:lnTo>
                        <a:pt x="70" y="123"/>
                      </a:lnTo>
                      <a:lnTo>
                        <a:pt x="71" y="123"/>
                      </a:lnTo>
                      <a:lnTo>
                        <a:pt x="71" y="123"/>
                      </a:lnTo>
                      <a:lnTo>
                        <a:pt x="72" y="123"/>
                      </a:lnTo>
                      <a:lnTo>
                        <a:pt x="72" y="123"/>
                      </a:lnTo>
                      <a:lnTo>
                        <a:pt x="72" y="123"/>
                      </a:lnTo>
                      <a:lnTo>
                        <a:pt x="71" y="123"/>
                      </a:lnTo>
                      <a:lnTo>
                        <a:pt x="72" y="121"/>
                      </a:lnTo>
                      <a:lnTo>
                        <a:pt x="72" y="121"/>
                      </a:lnTo>
                      <a:lnTo>
                        <a:pt x="73" y="121"/>
                      </a:lnTo>
                      <a:lnTo>
                        <a:pt x="73" y="121"/>
                      </a:lnTo>
                      <a:lnTo>
                        <a:pt x="73" y="121"/>
                      </a:lnTo>
                      <a:lnTo>
                        <a:pt x="74" y="121"/>
                      </a:lnTo>
                      <a:lnTo>
                        <a:pt x="76" y="123"/>
                      </a:lnTo>
                      <a:lnTo>
                        <a:pt x="77" y="121"/>
                      </a:lnTo>
                      <a:lnTo>
                        <a:pt x="77" y="120"/>
                      </a:lnTo>
                      <a:lnTo>
                        <a:pt x="77" y="120"/>
                      </a:lnTo>
                      <a:lnTo>
                        <a:pt x="77" y="120"/>
                      </a:lnTo>
                      <a:lnTo>
                        <a:pt x="77" y="120"/>
                      </a:lnTo>
                      <a:lnTo>
                        <a:pt x="78" y="120"/>
                      </a:lnTo>
                      <a:lnTo>
                        <a:pt x="78" y="120"/>
                      </a:lnTo>
                      <a:lnTo>
                        <a:pt x="78" y="120"/>
                      </a:lnTo>
                      <a:lnTo>
                        <a:pt x="78" y="120"/>
                      </a:lnTo>
                      <a:lnTo>
                        <a:pt x="78" y="120"/>
                      </a:lnTo>
                      <a:lnTo>
                        <a:pt x="79" y="120"/>
                      </a:lnTo>
                      <a:lnTo>
                        <a:pt x="79" y="119"/>
                      </a:lnTo>
                      <a:lnTo>
                        <a:pt x="80" y="120"/>
                      </a:lnTo>
                      <a:lnTo>
                        <a:pt x="81" y="120"/>
                      </a:lnTo>
                      <a:lnTo>
                        <a:pt x="81" y="120"/>
                      </a:lnTo>
                      <a:lnTo>
                        <a:pt x="81" y="120"/>
                      </a:lnTo>
                      <a:lnTo>
                        <a:pt x="83" y="120"/>
                      </a:lnTo>
                      <a:lnTo>
                        <a:pt x="81" y="120"/>
                      </a:lnTo>
                      <a:lnTo>
                        <a:pt x="81" y="120"/>
                      </a:lnTo>
                      <a:lnTo>
                        <a:pt x="81" y="121"/>
                      </a:lnTo>
                      <a:lnTo>
                        <a:pt x="83" y="121"/>
                      </a:lnTo>
                      <a:lnTo>
                        <a:pt x="83" y="121"/>
                      </a:lnTo>
                      <a:lnTo>
                        <a:pt x="84" y="120"/>
                      </a:lnTo>
                      <a:lnTo>
                        <a:pt x="84" y="120"/>
                      </a:lnTo>
                      <a:lnTo>
                        <a:pt x="84" y="120"/>
                      </a:lnTo>
                      <a:lnTo>
                        <a:pt x="84" y="119"/>
                      </a:lnTo>
                      <a:lnTo>
                        <a:pt x="84" y="119"/>
                      </a:lnTo>
                      <a:lnTo>
                        <a:pt x="84" y="118"/>
                      </a:lnTo>
                      <a:lnTo>
                        <a:pt x="83" y="117"/>
                      </a:lnTo>
                      <a:lnTo>
                        <a:pt x="83" y="117"/>
                      </a:lnTo>
                      <a:lnTo>
                        <a:pt x="84" y="115"/>
                      </a:lnTo>
                      <a:lnTo>
                        <a:pt x="84" y="115"/>
                      </a:lnTo>
                      <a:lnTo>
                        <a:pt x="85" y="114"/>
                      </a:lnTo>
                      <a:lnTo>
                        <a:pt x="85" y="114"/>
                      </a:lnTo>
                      <a:lnTo>
                        <a:pt x="85" y="113"/>
                      </a:lnTo>
                      <a:lnTo>
                        <a:pt x="85" y="113"/>
                      </a:lnTo>
                      <a:lnTo>
                        <a:pt x="85" y="113"/>
                      </a:lnTo>
                      <a:lnTo>
                        <a:pt x="84" y="113"/>
                      </a:lnTo>
                      <a:lnTo>
                        <a:pt x="84" y="112"/>
                      </a:lnTo>
                      <a:lnTo>
                        <a:pt x="84" y="111"/>
                      </a:lnTo>
                      <a:lnTo>
                        <a:pt x="84" y="111"/>
                      </a:lnTo>
                      <a:lnTo>
                        <a:pt x="84" y="111"/>
                      </a:lnTo>
                      <a:lnTo>
                        <a:pt x="85" y="111"/>
                      </a:lnTo>
                      <a:lnTo>
                        <a:pt x="84" y="110"/>
                      </a:lnTo>
                      <a:lnTo>
                        <a:pt x="84" y="110"/>
                      </a:lnTo>
                      <a:lnTo>
                        <a:pt x="84" y="108"/>
                      </a:lnTo>
                      <a:lnTo>
                        <a:pt x="84" y="108"/>
                      </a:lnTo>
                      <a:lnTo>
                        <a:pt x="84" y="108"/>
                      </a:lnTo>
                      <a:lnTo>
                        <a:pt x="84" y="108"/>
                      </a:lnTo>
                      <a:lnTo>
                        <a:pt x="85" y="107"/>
                      </a:lnTo>
                      <a:lnTo>
                        <a:pt x="85" y="107"/>
                      </a:lnTo>
                      <a:lnTo>
                        <a:pt x="85" y="107"/>
                      </a:lnTo>
                      <a:lnTo>
                        <a:pt x="86" y="108"/>
                      </a:lnTo>
                      <a:lnTo>
                        <a:pt x="86" y="108"/>
                      </a:lnTo>
                      <a:lnTo>
                        <a:pt x="89" y="108"/>
                      </a:lnTo>
                      <a:lnTo>
                        <a:pt x="90" y="108"/>
                      </a:lnTo>
                      <a:lnTo>
                        <a:pt x="91" y="108"/>
                      </a:lnTo>
                      <a:lnTo>
                        <a:pt x="91" y="107"/>
                      </a:lnTo>
                      <a:lnTo>
                        <a:pt x="92" y="108"/>
                      </a:lnTo>
                      <a:lnTo>
                        <a:pt x="93" y="108"/>
                      </a:lnTo>
                      <a:lnTo>
                        <a:pt x="94" y="108"/>
                      </a:lnTo>
                      <a:lnTo>
                        <a:pt x="96" y="108"/>
                      </a:lnTo>
                      <a:lnTo>
                        <a:pt x="97" y="108"/>
                      </a:lnTo>
                      <a:lnTo>
                        <a:pt x="97" y="108"/>
                      </a:lnTo>
                      <a:lnTo>
                        <a:pt x="98" y="108"/>
                      </a:lnTo>
                      <a:lnTo>
                        <a:pt x="97" y="110"/>
                      </a:lnTo>
                      <a:lnTo>
                        <a:pt x="97" y="110"/>
                      </a:lnTo>
                      <a:lnTo>
                        <a:pt x="98" y="110"/>
                      </a:lnTo>
                      <a:lnTo>
                        <a:pt x="98" y="111"/>
                      </a:lnTo>
                      <a:lnTo>
                        <a:pt x="100" y="111"/>
                      </a:lnTo>
                      <a:lnTo>
                        <a:pt x="100" y="111"/>
                      </a:lnTo>
                      <a:lnTo>
                        <a:pt x="101" y="112"/>
                      </a:lnTo>
                      <a:lnTo>
                        <a:pt x="103" y="112"/>
                      </a:lnTo>
                      <a:lnTo>
                        <a:pt x="104" y="112"/>
                      </a:lnTo>
                      <a:lnTo>
                        <a:pt x="104" y="113"/>
                      </a:lnTo>
                      <a:lnTo>
                        <a:pt x="104" y="113"/>
                      </a:lnTo>
                      <a:lnTo>
                        <a:pt x="105" y="113"/>
                      </a:lnTo>
                      <a:lnTo>
                        <a:pt x="106" y="113"/>
                      </a:lnTo>
                      <a:lnTo>
                        <a:pt x="106" y="114"/>
                      </a:lnTo>
                      <a:lnTo>
                        <a:pt x="107" y="114"/>
                      </a:lnTo>
                      <a:lnTo>
                        <a:pt x="107" y="114"/>
                      </a:lnTo>
                      <a:lnTo>
                        <a:pt x="109" y="114"/>
                      </a:lnTo>
                      <a:lnTo>
                        <a:pt x="109" y="114"/>
                      </a:lnTo>
                      <a:lnTo>
                        <a:pt x="110" y="114"/>
                      </a:lnTo>
                      <a:lnTo>
                        <a:pt x="110" y="115"/>
                      </a:lnTo>
                      <a:lnTo>
                        <a:pt x="110" y="115"/>
                      </a:lnTo>
                      <a:lnTo>
                        <a:pt x="111" y="115"/>
                      </a:lnTo>
                      <a:lnTo>
                        <a:pt x="112" y="117"/>
                      </a:lnTo>
                      <a:lnTo>
                        <a:pt x="113" y="117"/>
                      </a:lnTo>
                      <a:lnTo>
                        <a:pt x="113" y="119"/>
                      </a:lnTo>
                      <a:lnTo>
                        <a:pt x="114" y="119"/>
                      </a:lnTo>
                      <a:lnTo>
                        <a:pt x="114" y="120"/>
                      </a:lnTo>
                      <a:lnTo>
                        <a:pt x="114" y="120"/>
                      </a:lnTo>
                      <a:lnTo>
                        <a:pt x="114" y="120"/>
                      </a:lnTo>
                      <a:lnTo>
                        <a:pt x="114" y="121"/>
                      </a:lnTo>
                      <a:lnTo>
                        <a:pt x="116" y="121"/>
                      </a:lnTo>
                      <a:lnTo>
                        <a:pt x="117" y="123"/>
                      </a:lnTo>
                      <a:lnTo>
                        <a:pt x="118" y="123"/>
                      </a:lnTo>
                      <a:lnTo>
                        <a:pt x="119" y="124"/>
                      </a:lnTo>
                      <a:lnTo>
                        <a:pt x="120" y="125"/>
                      </a:lnTo>
                      <a:lnTo>
                        <a:pt x="121" y="125"/>
                      </a:lnTo>
                      <a:lnTo>
                        <a:pt x="123" y="125"/>
                      </a:lnTo>
                      <a:lnTo>
                        <a:pt x="124" y="125"/>
                      </a:lnTo>
                      <a:lnTo>
                        <a:pt x="124" y="125"/>
                      </a:lnTo>
                      <a:lnTo>
                        <a:pt x="124" y="124"/>
                      </a:lnTo>
                      <a:lnTo>
                        <a:pt x="125" y="124"/>
                      </a:lnTo>
                      <a:lnTo>
                        <a:pt x="125" y="123"/>
                      </a:lnTo>
                      <a:lnTo>
                        <a:pt x="126" y="123"/>
                      </a:lnTo>
                      <a:lnTo>
                        <a:pt x="126" y="124"/>
                      </a:lnTo>
                      <a:lnTo>
                        <a:pt x="127" y="124"/>
                      </a:lnTo>
                      <a:lnTo>
                        <a:pt x="127" y="124"/>
                      </a:lnTo>
                      <a:lnTo>
                        <a:pt x="129" y="124"/>
                      </a:lnTo>
                      <a:lnTo>
                        <a:pt x="129" y="124"/>
                      </a:lnTo>
                      <a:lnTo>
                        <a:pt x="129" y="123"/>
                      </a:lnTo>
                      <a:lnTo>
                        <a:pt x="129" y="123"/>
                      </a:lnTo>
                      <a:lnTo>
                        <a:pt x="129" y="123"/>
                      </a:lnTo>
                      <a:lnTo>
                        <a:pt x="130" y="123"/>
                      </a:lnTo>
                      <a:lnTo>
                        <a:pt x="131" y="123"/>
                      </a:lnTo>
                      <a:lnTo>
                        <a:pt x="132" y="123"/>
                      </a:lnTo>
                      <a:lnTo>
                        <a:pt x="133" y="123"/>
                      </a:lnTo>
                      <a:lnTo>
                        <a:pt x="133" y="123"/>
                      </a:lnTo>
                      <a:lnTo>
                        <a:pt x="134" y="123"/>
                      </a:lnTo>
                      <a:lnTo>
                        <a:pt x="136" y="123"/>
                      </a:lnTo>
                      <a:lnTo>
                        <a:pt x="136" y="123"/>
                      </a:lnTo>
                      <a:lnTo>
                        <a:pt x="137" y="123"/>
                      </a:lnTo>
                      <a:lnTo>
                        <a:pt x="137" y="121"/>
                      </a:lnTo>
                      <a:lnTo>
                        <a:pt x="137" y="121"/>
                      </a:lnTo>
                      <a:lnTo>
                        <a:pt x="138" y="121"/>
                      </a:lnTo>
                      <a:lnTo>
                        <a:pt x="138" y="121"/>
                      </a:lnTo>
                      <a:lnTo>
                        <a:pt x="138" y="121"/>
                      </a:lnTo>
                      <a:lnTo>
                        <a:pt x="138" y="121"/>
                      </a:lnTo>
                      <a:lnTo>
                        <a:pt x="138" y="121"/>
                      </a:lnTo>
                      <a:lnTo>
                        <a:pt x="139" y="121"/>
                      </a:lnTo>
                      <a:lnTo>
                        <a:pt x="140" y="120"/>
                      </a:lnTo>
                      <a:lnTo>
                        <a:pt x="140" y="120"/>
                      </a:lnTo>
                      <a:lnTo>
                        <a:pt x="141" y="120"/>
                      </a:lnTo>
                      <a:lnTo>
                        <a:pt x="141" y="120"/>
                      </a:lnTo>
                      <a:lnTo>
                        <a:pt x="141" y="120"/>
                      </a:lnTo>
                      <a:lnTo>
                        <a:pt x="140" y="120"/>
                      </a:lnTo>
                      <a:lnTo>
                        <a:pt x="141" y="119"/>
                      </a:lnTo>
                      <a:lnTo>
                        <a:pt x="141" y="119"/>
                      </a:lnTo>
                      <a:lnTo>
                        <a:pt x="143" y="119"/>
                      </a:lnTo>
                      <a:lnTo>
                        <a:pt x="143" y="119"/>
                      </a:lnTo>
                      <a:lnTo>
                        <a:pt x="143" y="120"/>
                      </a:lnTo>
                      <a:lnTo>
                        <a:pt x="144" y="120"/>
                      </a:lnTo>
                      <a:lnTo>
                        <a:pt x="144" y="120"/>
                      </a:lnTo>
                      <a:lnTo>
                        <a:pt x="144" y="120"/>
                      </a:lnTo>
                      <a:lnTo>
                        <a:pt x="145" y="120"/>
                      </a:lnTo>
                      <a:lnTo>
                        <a:pt x="145" y="119"/>
                      </a:lnTo>
                      <a:lnTo>
                        <a:pt x="145" y="119"/>
                      </a:lnTo>
                      <a:lnTo>
                        <a:pt x="145" y="118"/>
                      </a:lnTo>
                      <a:lnTo>
                        <a:pt x="145" y="117"/>
                      </a:lnTo>
                      <a:lnTo>
                        <a:pt x="145" y="117"/>
                      </a:lnTo>
                      <a:lnTo>
                        <a:pt x="146" y="117"/>
                      </a:lnTo>
                      <a:lnTo>
                        <a:pt x="146" y="117"/>
                      </a:lnTo>
                      <a:lnTo>
                        <a:pt x="146" y="117"/>
                      </a:lnTo>
                      <a:lnTo>
                        <a:pt x="147" y="114"/>
                      </a:lnTo>
                      <a:lnTo>
                        <a:pt x="147" y="114"/>
                      </a:lnTo>
                      <a:lnTo>
                        <a:pt x="147" y="114"/>
                      </a:lnTo>
                      <a:lnTo>
                        <a:pt x="149" y="112"/>
                      </a:lnTo>
                      <a:lnTo>
                        <a:pt x="150" y="112"/>
                      </a:lnTo>
                      <a:lnTo>
                        <a:pt x="152" y="110"/>
                      </a:lnTo>
                      <a:lnTo>
                        <a:pt x="153" y="108"/>
                      </a:lnTo>
                      <a:lnTo>
                        <a:pt x="154" y="108"/>
                      </a:lnTo>
                      <a:lnTo>
                        <a:pt x="154" y="107"/>
                      </a:lnTo>
                      <a:lnTo>
                        <a:pt x="157" y="108"/>
                      </a:lnTo>
                      <a:lnTo>
                        <a:pt x="157" y="108"/>
                      </a:lnTo>
                      <a:lnTo>
                        <a:pt x="157" y="110"/>
                      </a:lnTo>
                      <a:lnTo>
                        <a:pt x="158" y="111"/>
                      </a:lnTo>
                      <a:lnTo>
                        <a:pt x="158" y="111"/>
                      </a:lnTo>
                      <a:lnTo>
                        <a:pt x="159" y="111"/>
                      </a:lnTo>
                      <a:lnTo>
                        <a:pt x="159" y="111"/>
                      </a:lnTo>
                      <a:lnTo>
                        <a:pt x="161" y="113"/>
                      </a:lnTo>
                      <a:lnTo>
                        <a:pt x="164" y="113"/>
                      </a:lnTo>
                      <a:lnTo>
                        <a:pt x="165" y="114"/>
                      </a:lnTo>
                      <a:lnTo>
                        <a:pt x="165" y="114"/>
                      </a:lnTo>
                      <a:lnTo>
                        <a:pt x="165" y="114"/>
                      </a:lnTo>
                      <a:lnTo>
                        <a:pt x="166" y="114"/>
                      </a:lnTo>
                      <a:lnTo>
                        <a:pt x="167" y="114"/>
                      </a:lnTo>
                      <a:lnTo>
                        <a:pt x="167" y="114"/>
                      </a:lnTo>
                      <a:lnTo>
                        <a:pt x="169" y="114"/>
                      </a:lnTo>
                      <a:lnTo>
                        <a:pt x="169" y="114"/>
                      </a:lnTo>
                      <a:lnTo>
                        <a:pt x="169" y="114"/>
                      </a:lnTo>
                      <a:lnTo>
                        <a:pt x="169" y="113"/>
                      </a:lnTo>
                      <a:lnTo>
                        <a:pt x="169" y="113"/>
                      </a:lnTo>
                      <a:lnTo>
                        <a:pt x="170" y="114"/>
                      </a:lnTo>
                      <a:lnTo>
                        <a:pt x="170" y="114"/>
                      </a:lnTo>
                      <a:lnTo>
                        <a:pt x="170" y="113"/>
                      </a:lnTo>
                      <a:lnTo>
                        <a:pt x="171" y="113"/>
                      </a:lnTo>
                      <a:lnTo>
                        <a:pt x="171" y="113"/>
                      </a:lnTo>
                      <a:lnTo>
                        <a:pt x="171" y="112"/>
                      </a:lnTo>
                      <a:lnTo>
                        <a:pt x="171" y="112"/>
                      </a:lnTo>
                      <a:lnTo>
                        <a:pt x="171" y="111"/>
                      </a:lnTo>
                      <a:lnTo>
                        <a:pt x="171" y="111"/>
                      </a:lnTo>
                      <a:lnTo>
                        <a:pt x="171" y="111"/>
                      </a:lnTo>
                      <a:lnTo>
                        <a:pt x="171" y="111"/>
                      </a:lnTo>
                      <a:lnTo>
                        <a:pt x="171" y="111"/>
                      </a:lnTo>
                      <a:lnTo>
                        <a:pt x="171" y="111"/>
                      </a:lnTo>
                      <a:lnTo>
                        <a:pt x="171" y="111"/>
                      </a:lnTo>
                      <a:lnTo>
                        <a:pt x="170" y="111"/>
                      </a:lnTo>
                      <a:lnTo>
                        <a:pt x="170" y="111"/>
                      </a:lnTo>
                      <a:lnTo>
                        <a:pt x="171" y="110"/>
                      </a:lnTo>
                      <a:lnTo>
                        <a:pt x="171" y="110"/>
                      </a:lnTo>
                      <a:lnTo>
                        <a:pt x="174" y="108"/>
                      </a:lnTo>
                      <a:lnTo>
                        <a:pt x="176" y="108"/>
                      </a:lnTo>
                      <a:lnTo>
                        <a:pt x="176" y="107"/>
                      </a:lnTo>
                      <a:lnTo>
                        <a:pt x="176" y="107"/>
                      </a:lnTo>
                      <a:lnTo>
                        <a:pt x="177" y="106"/>
                      </a:lnTo>
                      <a:lnTo>
                        <a:pt x="178" y="107"/>
                      </a:lnTo>
                      <a:lnTo>
                        <a:pt x="178" y="107"/>
                      </a:lnTo>
                      <a:lnTo>
                        <a:pt x="179" y="108"/>
                      </a:lnTo>
                      <a:lnTo>
                        <a:pt x="180" y="108"/>
                      </a:lnTo>
                      <a:lnTo>
                        <a:pt x="180" y="110"/>
                      </a:lnTo>
                      <a:lnTo>
                        <a:pt x="180" y="110"/>
                      </a:lnTo>
                      <a:lnTo>
                        <a:pt x="180" y="111"/>
                      </a:lnTo>
                      <a:lnTo>
                        <a:pt x="180" y="112"/>
                      </a:lnTo>
                      <a:lnTo>
                        <a:pt x="180" y="113"/>
                      </a:lnTo>
                      <a:lnTo>
                        <a:pt x="179" y="114"/>
                      </a:lnTo>
                      <a:lnTo>
                        <a:pt x="179" y="114"/>
                      </a:lnTo>
                      <a:lnTo>
                        <a:pt x="179" y="114"/>
                      </a:lnTo>
                      <a:lnTo>
                        <a:pt x="179" y="114"/>
                      </a:lnTo>
                      <a:lnTo>
                        <a:pt x="178" y="114"/>
                      </a:lnTo>
                      <a:lnTo>
                        <a:pt x="178" y="114"/>
                      </a:lnTo>
                      <a:lnTo>
                        <a:pt x="178" y="115"/>
                      </a:lnTo>
                      <a:lnTo>
                        <a:pt x="177" y="115"/>
                      </a:lnTo>
                      <a:lnTo>
                        <a:pt x="177" y="115"/>
                      </a:lnTo>
                      <a:lnTo>
                        <a:pt x="176" y="115"/>
                      </a:lnTo>
                      <a:lnTo>
                        <a:pt x="176" y="117"/>
                      </a:lnTo>
                      <a:lnTo>
                        <a:pt x="176" y="117"/>
                      </a:lnTo>
                      <a:lnTo>
                        <a:pt x="176" y="118"/>
                      </a:lnTo>
                      <a:lnTo>
                        <a:pt x="174" y="119"/>
                      </a:lnTo>
                      <a:lnTo>
                        <a:pt x="174" y="119"/>
                      </a:lnTo>
                      <a:lnTo>
                        <a:pt x="174" y="119"/>
                      </a:lnTo>
                      <a:lnTo>
                        <a:pt x="174" y="119"/>
                      </a:lnTo>
                      <a:lnTo>
                        <a:pt x="174" y="119"/>
                      </a:lnTo>
                      <a:lnTo>
                        <a:pt x="174" y="119"/>
                      </a:lnTo>
                      <a:lnTo>
                        <a:pt x="174" y="120"/>
                      </a:lnTo>
                      <a:lnTo>
                        <a:pt x="176" y="120"/>
                      </a:lnTo>
                      <a:lnTo>
                        <a:pt x="177" y="121"/>
                      </a:lnTo>
                      <a:lnTo>
                        <a:pt x="177" y="123"/>
                      </a:lnTo>
                      <a:lnTo>
                        <a:pt x="178" y="124"/>
                      </a:lnTo>
                      <a:lnTo>
                        <a:pt x="181" y="126"/>
                      </a:lnTo>
                      <a:lnTo>
                        <a:pt x="181" y="125"/>
                      </a:lnTo>
                      <a:lnTo>
                        <a:pt x="183" y="124"/>
                      </a:lnTo>
                      <a:lnTo>
                        <a:pt x="187" y="123"/>
                      </a:lnTo>
                      <a:lnTo>
                        <a:pt x="185" y="120"/>
                      </a:lnTo>
                      <a:lnTo>
                        <a:pt x="186" y="119"/>
                      </a:lnTo>
                      <a:lnTo>
                        <a:pt x="191" y="120"/>
                      </a:lnTo>
                      <a:lnTo>
                        <a:pt x="191" y="118"/>
                      </a:lnTo>
                      <a:lnTo>
                        <a:pt x="190" y="117"/>
                      </a:lnTo>
                      <a:lnTo>
                        <a:pt x="186" y="117"/>
                      </a:lnTo>
                      <a:lnTo>
                        <a:pt x="186" y="114"/>
                      </a:lnTo>
                      <a:lnTo>
                        <a:pt x="186" y="112"/>
                      </a:lnTo>
                      <a:lnTo>
                        <a:pt x="187" y="111"/>
                      </a:lnTo>
                      <a:lnTo>
                        <a:pt x="189" y="108"/>
                      </a:lnTo>
                      <a:lnTo>
                        <a:pt x="196" y="112"/>
                      </a:lnTo>
                      <a:lnTo>
                        <a:pt x="198" y="111"/>
                      </a:lnTo>
                      <a:lnTo>
                        <a:pt x="201" y="112"/>
                      </a:lnTo>
                      <a:lnTo>
                        <a:pt x="205" y="110"/>
                      </a:lnTo>
                      <a:lnTo>
                        <a:pt x="207" y="110"/>
                      </a:lnTo>
                      <a:lnTo>
                        <a:pt x="210" y="110"/>
                      </a:lnTo>
                      <a:lnTo>
                        <a:pt x="213" y="108"/>
                      </a:lnTo>
                      <a:lnTo>
                        <a:pt x="217" y="108"/>
                      </a:lnTo>
                      <a:lnTo>
                        <a:pt x="220" y="110"/>
                      </a:lnTo>
                      <a:lnTo>
                        <a:pt x="227" y="112"/>
                      </a:lnTo>
                      <a:lnTo>
                        <a:pt x="233" y="112"/>
                      </a:lnTo>
                      <a:lnTo>
                        <a:pt x="240" y="110"/>
                      </a:lnTo>
                      <a:lnTo>
                        <a:pt x="244" y="108"/>
                      </a:lnTo>
                      <a:lnTo>
                        <a:pt x="246" y="107"/>
                      </a:lnTo>
                      <a:lnTo>
                        <a:pt x="247" y="107"/>
                      </a:lnTo>
                      <a:lnTo>
                        <a:pt x="250" y="106"/>
                      </a:lnTo>
                      <a:lnTo>
                        <a:pt x="256" y="105"/>
                      </a:lnTo>
                      <a:lnTo>
                        <a:pt x="258" y="104"/>
                      </a:lnTo>
                      <a:lnTo>
                        <a:pt x="260" y="104"/>
                      </a:lnTo>
                      <a:lnTo>
                        <a:pt x="265" y="105"/>
                      </a:lnTo>
                      <a:lnTo>
                        <a:pt x="268" y="105"/>
                      </a:lnTo>
                      <a:lnTo>
                        <a:pt x="272" y="104"/>
                      </a:lnTo>
                      <a:lnTo>
                        <a:pt x="276" y="103"/>
                      </a:lnTo>
                      <a:lnTo>
                        <a:pt x="278" y="101"/>
                      </a:lnTo>
                      <a:lnTo>
                        <a:pt x="280" y="99"/>
                      </a:lnTo>
                      <a:lnTo>
                        <a:pt x="284" y="100"/>
                      </a:lnTo>
                      <a:lnTo>
                        <a:pt x="285" y="103"/>
                      </a:lnTo>
                      <a:lnTo>
                        <a:pt x="288" y="100"/>
                      </a:lnTo>
                      <a:lnTo>
                        <a:pt x="290" y="98"/>
                      </a:lnTo>
                      <a:lnTo>
                        <a:pt x="290" y="98"/>
                      </a:lnTo>
                      <a:lnTo>
                        <a:pt x="292" y="99"/>
                      </a:lnTo>
                      <a:lnTo>
                        <a:pt x="296" y="98"/>
                      </a:lnTo>
                      <a:lnTo>
                        <a:pt x="298" y="99"/>
                      </a:lnTo>
                      <a:lnTo>
                        <a:pt x="301" y="99"/>
                      </a:lnTo>
                      <a:lnTo>
                        <a:pt x="303" y="99"/>
                      </a:lnTo>
                      <a:lnTo>
                        <a:pt x="304" y="99"/>
                      </a:lnTo>
                      <a:lnTo>
                        <a:pt x="306" y="100"/>
                      </a:lnTo>
                      <a:lnTo>
                        <a:pt x="311" y="101"/>
                      </a:lnTo>
                      <a:lnTo>
                        <a:pt x="311" y="99"/>
                      </a:lnTo>
                      <a:lnTo>
                        <a:pt x="316" y="99"/>
                      </a:lnTo>
                      <a:lnTo>
                        <a:pt x="317" y="101"/>
                      </a:lnTo>
                      <a:lnTo>
                        <a:pt x="317" y="104"/>
                      </a:lnTo>
                      <a:lnTo>
                        <a:pt x="318" y="104"/>
                      </a:lnTo>
                      <a:lnTo>
                        <a:pt x="324" y="99"/>
                      </a:lnTo>
                      <a:lnTo>
                        <a:pt x="326" y="98"/>
                      </a:lnTo>
                      <a:lnTo>
                        <a:pt x="323" y="97"/>
                      </a:lnTo>
                      <a:lnTo>
                        <a:pt x="323" y="98"/>
                      </a:lnTo>
                      <a:lnTo>
                        <a:pt x="321" y="94"/>
                      </a:lnTo>
                      <a:lnTo>
                        <a:pt x="320" y="92"/>
                      </a:lnTo>
                      <a:lnTo>
                        <a:pt x="323" y="91"/>
                      </a:lnTo>
                      <a:lnTo>
                        <a:pt x="320" y="91"/>
                      </a:lnTo>
                      <a:lnTo>
                        <a:pt x="324" y="90"/>
                      </a:lnTo>
                      <a:lnTo>
                        <a:pt x="323" y="88"/>
                      </a:lnTo>
                      <a:lnTo>
                        <a:pt x="320" y="87"/>
                      </a:lnTo>
                      <a:lnTo>
                        <a:pt x="319" y="88"/>
                      </a:lnTo>
                      <a:lnTo>
                        <a:pt x="318" y="86"/>
                      </a:lnTo>
                      <a:lnTo>
                        <a:pt x="317" y="86"/>
                      </a:lnTo>
                      <a:lnTo>
                        <a:pt x="314" y="85"/>
                      </a:lnTo>
                      <a:lnTo>
                        <a:pt x="314" y="83"/>
                      </a:lnTo>
                      <a:lnTo>
                        <a:pt x="316" y="81"/>
                      </a:lnTo>
                      <a:lnTo>
                        <a:pt x="317" y="80"/>
                      </a:lnTo>
                      <a:lnTo>
                        <a:pt x="317" y="78"/>
                      </a:lnTo>
                      <a:lnTo>
                        <a:pt x="316" y="75"/>
                      </a:lnTo>
                      <a:lnTo>
                        <a:pt x="312" y="75"/>
                      </a:lnTo>
                      <a:lnTo>
                        <a:pt x="311" y="71"/>
                      </a:lnTo>
                      <a:lnTo>
                        <a:pt x="311" y="67"/>
                      </a:lnTo>
                      <a:lnTo>
                        <a:pt x="308" y="66"/>
                      </a:lnTo>
                      <a:lnTo>
                        <a:pt x="311" y="65"/>
                      </a:lnTo>
                      <a:lnTo>
                        <a:pt x="307" y="65"/>
                      </a:lnTo>
                      <a:lnTo>
                        <a:pt x="311" y="63"/>
                      </a:lnTo>
                      <a:lnTo>
                        <a:pt x="305" y="61"/>
                      </a:lnTo>
                      <a:lnTo>
                        <a:pt x="305" y="59"/>
                      </a:lnTo>
                      <a:lnTo>
                        <a:pt x="304" y="57"/>
                      </a:lnTo>
                      <a:lnTo>
                        <a:pt x="307" y="57"/>
                      </a:lnTo>
                      <a:lnTo>
                        <a:pt x="308" y="57"/>
                      </a:lnTo>
                      <a:lnTo>
                        <a:pt x="312" y="57"/>
                      </a:lnTo>
                      <a:lnTo>
                        <a:pt x="312" y="55"/>
                      </a:lnTo>
                      <a:lnTo>
                        <a:pt x="311" y="52"/>
                      </a:lnTo>
                      <a:lnTo>
                        <a:pt x="313" y="53"/>
                      </a:lnTo>
                      <a:lnTo>
                        <a:pt x="319" y="53"/>
                      </a:lnTo>
                      <a:lnTo>
                        <a:pt x="313" y="46"/>
                      </a:lnTo>
                      <a:lnTo>
                        <a:pt x="311" y="41"/>
                      </a:lnTo>
                      <a:lnTo>
                        <a:pt x="308" y="44"/>
                      </a:lnTo>
                      <a:lnTo>
                        <a:pt x="306" y="45"/>
                      </a:lnTo>
                      <a:lnTo>
                        <a:pt x="307" y="39"/>
                      </a:lnTo>
                      <a:lnTo>
                        <a:pt x="305" y="40"/>
                      </a:lnTo>
                      <a:lnTo>
                        <a:pt x="303" y="41"/>
                      </a:lnTo>
                      <a:lnTo>
                        <a:pt x="300" y="40"/>
                      </a:lnTo>
                      <a:lnTo>
                        <a:pt x="297" y="39"/>
                      </a:lnTo>
                      <a:lnTo>
                        <a:pt x="296" y="37"/>
                      </a:lnTo>
                      <a:lnTo>
                        <a:pt x="293" y="36"/>
                      </a:lnTo>
                      <a:lnTo>
                        <a:pt x="294" y="34"/>
                      </a:lnTo>
                      <a:lnTo>
                        <a:pt x="292" y="33"/>
                      </a:lnTo>
                      <a:lnTo>
                        <a:pt x="293" y="31"/>
                      </a:lnTo>
                      <a:lnTo>
                        <a:pt x="293" y="27"/>
                      </a:lnTo>
                      <a:lnTo>
                        <a:pt x="292" y="25"/>
                      </a:lnTo>
                      <a:lnTo>
                        <a:pt x="290" y="24"/>
                      </a:lnTo>
                      <a:lnTo>
                        <a:pt x="287" y="23"/>
                      </a:lnTo>
                      <a:lnTo>
                        <a:pt x="287" y="21"/>
                      </a:lnTo>
                      <a:lnTo>
                        <a:pt x="286" y="19"/>
                      </a:lnTo>
                      <a:lnTo>
                        <a:pt x="285" y="19"/>
                      </a:lnTo>
                      <a:lnTo>
                        <a:pt x="284" y="19"/>
                      </a:lnTo>
                      <a:lnTo>
                        <a:pt x="283" y="18"/>
                      </a:lnTo>
                      <a:lnTo>
                        <a:pt x="281" y="17"/>
                      </a:lnTo>
                      <a:lnTo>
                        <a:pt x="280" y="14"/>
                      </a:lnTo>
                      <a:lnTo>
                        <a:pt x="278" y="13"/>
                      </a:lnTo>
                      <a:lnTo>
                        <a:pt x="278" y="11"/>
                      </a:lnTo>
                      <a:lnTo>
                        <a:pt x="276" y="11"/>
                      </a:lnTo>
                      <a:lnTo>
                        <a:pt x="273" y="11"/>
                      </a:lnTo>
                      <a:lnTo>
                        <a:pt x="273" y="14"/>
                      </a:lnTo>
                      <a:lnTo>
                        <a:pt x="272" y="14"/>
                      </a:lnTo>
                      <a:lnTo>
                        <a:pt x="270" y="14"/>
                      </a:lnTo>
                      <a:lnTo>
                        <a:pt x="266" y="13"/>
                      </a:lnTo>
                      <a:lnTo>
                        <a:pt x="264" y="13"/>
                      </a:lnTo>
                      <a:lnTo>
                        <a:pt x="263" y="13"/>
                      </a:lnTo>
                      <a:lnTo>
                        <a:pt x="261" y="13"/>
                      </a:lnTo>
                      <a:lnTo>
                        <a:pt x="259" y="13"/>
                      </a:lnTo>
                      <a:lnTo>
                        <a:pt x="259" y="14"/>
                      </a:lnTo>
                      <a:lnTo>
                        <a:pt x="257" y="13"/>
                      </a:lnTo>
                      <a:lnTo>
                        <a:pt x="256" y="13"/>
                      </a:lnTo>
                      <a:lnTo>
                        <a:pt x="254" y="13"/>
                      </a:lnTo>
                      <a:lnTo>
                        <a:pt x="254" y="13"/>
                      </a:lnTo>
                      <a:close/>
                      <a:moveTo>
                        <a:pt x="13" y="33"/>
                      </a:moveTo>
                      <a:lnTo>
                        <a:pt x="16" y="33"/>
                      </a:lnTo>
                      <a:lnTo>
                        <a:pt x="16" y="32"/>
                      </a:lnTo>
                      <a:lnTo>
                        <a:pt x="19" y="31"/>
                      </a:lnTo>
                      <a:lnTo>
                        <a:pt x="20" y="30"/>
                      </a:lnTo>
                      <a:lnTo>
                        <a:pt x="20" y="27"/>
                      </a:lnTo>
                      <a:lnTo>
                        <a:pt x="23" y="25"/>
                      </a:lnTo>
                      <a:lnTo>
                        <a:pt x="23" y="25"/>
                      </a:lnTo>
                      <a:lnTo>
                        <a:pt x="23" y="23"/>
                      </a:lnTo>
                      <a:lnTo>
                        <a:pt x="26" y="23"/>
                      </a:lnTo>
                      <a:lnTo>
                        <a:pt x="29" y="23"/>
                      </a:lnTo>
                      <a:lnTo>
                        <a:pt x="29" y="24"/>
                      </a:lnTo>
                      <a:lnTo>
                        <a:pt x="30" y="24"/>
                      </a:lnTo>
                      <a:lnTo>
                        <a:pt x="31" y="23"/>
                      </a:lnTo>
                      <a:lnTo>
                        <a:pt x="33" y="21"/>
                      </a:lnTo>
                      <a:lnTo>
                        <a:pt x="36" y="21"/>
                      </a:lnTo>
                      <a:lnTo>
                        <a:pt x="38" y="21"/>
                      </a:lnTo>
                      <a:lnTo>
                        <a:pt x="39" y="23"/>
                      </a:lnTo>
                      <a:lnTo>
                        <a:pt x="40" y="23"/>
                      </a:lnTo>
                      <a:lnTo>
                        <a:pt x="40" y="23"/>
                      </a:lnTo>
                      <a:lnTo>
                        <a:pt x="40" y="21"/>
                      </a:lnTo>
                      <a:lnTo>
                        <a:pt x="40" y="21"/>
                      </a:lnTo>
                      <a:lnTo>
                        <a:pt x="40" y="21"/>
                      </a:lnTo>
                      <a:lnTo>
                        <a:pt x="40" y="23"/>
                      </a:lnTo>
                      <a:lnTo>
                        <a:pt x="40" y="23"/>
                      </a:lnTo>
                      <a:lnTo>
                        <a:pt x="40" y="24"/>
                      </a:lnTo>
                      <a:lnTo>
                        <a:pt x="43" y="23"/>
                      </a:lnTo>
                      <a:lnTo>
                        <a:pt x="45" y="24"/>
                      </a:lnTo>
                      <a:lnTo>
                        <a:pt x="46" y="23"/>
                      </a:lnTo>
                      <a:lnTo>
                        <a:pt x="49" y="23"/>
                      </a:lnTo>
                      <a:lnTo>
                        <a:pt x="49" y="23"/>
                      </a:lnTo>
                      <a:lnTo>
                        <a:pt x="49" y="21"/>
                      </a:lnTo>
                      <a:lnTo>
                        <a:pt x="49" y="21"/>
                      </a:lnTo>
                      <a:lnTo>
                        <a:pt x="49" y="20"/>
                      </a:lnTo>
                      <a:lnTo>
                        <a:pt x="49" y="19"/>
                      </a:lnTo>
                      <a:lnTo>
                        <a:pt x="49" y="19"/>
                      </a:lnTo>
                      <a:lnTo>
                        <a:pt x="49" y="18"/>
                      </a:lnTo>
                      <a:lnTo>
                        <a:pt x="47" y="18"/>
                      </a:lnTo>
                      <a:lnTo>
                        <a:pt x="47" y="18"/>
                      </a:lnTo>
                      <a:lnTo>
                        <a:pt x="44" y="17"/>
                      </a:lnTo>
                      <a:lnTo>
                        <a:pt x="41" y="16"/>
                      </a:lnTo>
                      <a:lnTo>
                        <a:pt x="40" y="16"/>
                      </a:lnTo>
                      <a:lnTo>
                        <a:pt x="38" y="14"/>
                      </a:lnTo>
                      <a:lnTo>
                        <a:pt x="33" y="12"/>
                      </a:lnTo>
                      <a:lnTo>
                        <a:pt x="32" y="11"/>
                      </a:lnTo>
                      <a:lnTo>
                        <a:pt x="31" y="11"/>
                      </a:lnTo>
                      <a:lnTo>
                        <a:pt x="31" y="10"/>
                      </a:lnTo>
                      <a:lnTo>
                        <a:pt x="30" y="7"/>
                      </a:lnTo>
                      <a:lnTo>
                        <a:pt x="30" y="7"/>
                      </a:lnTo>
                      <a:lnTo>
                        <a:pt x="30" y="5"/>
                      </a:lnTo>
                      <a:lnTo>
                        <a:pt x="30" y="5"/>
                      </a:lnTo>
                      <a:lnTo>
                        <a:pt x="30" y="5"/>
                      </a:lnTo>
                      <a:lnTo>
                        <a:pt x="30" y="3"/>
                      </a:lnTo>
                      <a:lnTo>
                        <a:pt x="29" y="3"/>
                      </a:lnTo>
                      <a:lnTo>
                        <a:pt x="27" y="3"/>
                      </a:lnTo>
                      <a:lnTo>
                        <a:pt x="26" y="3"/>
                      </a:lnTo>
                      <a:lnTo>
                        <a:pt x="26" y="4"/>
                      </a:lnTo>
                      <a:lnTo>
                        <a:pt x="24" y="3"/>
                      </a:lnTo>
                      <a:lnTo>
                        <a:pt x="23" y="4"/>
                      </a:lnTo>
                      <a:lnTo>
                        <a:pt x="21" y="5"/>
                      </a:lnTo>
                      <a:lnTo>
                        <a:pt x="21" y="5"/>
                      </a:lnTo>
                      <a:lnTo>
                        <a:pt x="21" y="4"/>
                      </a:lnTo>
                      <a:lnTo>
                        <a:pt x="20" y="4"/>
                      </a:lnTo>
                      <a:lnTo>
                        <a:pt x="20" y="3"/>
                      </a:lnTo>
                      <a:lnTo>
                        <a:pt x="19" y="1"/>
                      </a:lnTo>
                      <a:lnTo>
                        <a:pt x="18" y="0"/>
                      </a:lnTo>
                      <a:lnTo>
                        <a:pt x="17" y="0"/>
                      </a:lnTo>
                      <a:lnTo>
                        <a:pt x="16" y="0"/>
                      </a:lnTo>
                      <a:lnTo>
                        <a:pt x="16" y="1"/>
                      </a:lnTo>
                      <a:lnTo>
                        <a:pt x="16" y="1"/>
                      </a:lnTo>
                      <a:lnTo>
                        <a:pt x="14" y="0"/>
                      </a:lnTo>
                      <a:lnTo>
                        <a:pt x="13" y="0"/>
                      </a:lnTo>
                      <a:lnTo>
                        <a:pt x="13" y="1"/>
                      </a:lnTo>
                      <a:lnTo>
                        <a:pt x="13" y="1"/>
                      </a:lnTo>
                      <a:lnTo>
                        <a:pt x="12" y="3"/>
                      </a:lnTo>
                      <a:lnTo>
                        <a:pt x="12" y="3"/>
                      </a:lnTo>
                      <a:lnTo>
                        <a:pt x="11" y="3"/>
                      </a:lnTo>
                      <a:lnTo>
                        <a:pt x="10" y="3"/>
                      </a:lnTo>
                      <a:lnTo>
                        <a:pt x="10" y="4"/>
                      </a:lnTo>
                      <a:lnTo>
                        <a:pt x="9" y="3"/>
                      </a:lnTo>
                      <a:lnTo>
                        <a:pt x="9" y="4"/>
                      </a:lnTo>
                      <a:lnTo>
                        <a:pt x="6" y="3"/>
                      </a:lnTo>
                      <a:lnTo>
                        <a:pt x="5" y="4"/>
                      </a:lnTo>
                      <a:lnTo>
                        <a:pt x="6" y="5"/>
                      </a:lnTo>
                      <a:lnTo>
                        <a:pt x="5" y="6"/>
                      </a:lnTo>
                      <a:lnTo>
                        <a:pt x="3" y="6"/>
                      </a:lnTo>
                      <a:lnTo>
                        <a:pt x="3" y="7"/>
                      </a:lnTo>
                      <a:lnTo>
                        <a:pt x="3" y="7"/>
                      </a:lnTo>
                      <a:lnTo>
                        <a:pt x="1" y="8"/>
                      </a:lnTo>
                      <a:lnTo>
                        <a:pt x="3" y="8"/>
                      </a:lnTo>
                      <a:lnTo>
                        <a:pt x="5" y="10"/>
                      </a:lnTo>
                      <a:lnTo>
                        <a:pt x="7" y="11"/>
                      </a:lnTo>
                      <a:lnTo>
                        <a:pt x="7" y="12"/>
                      </a:lnTo>
                      <a:lnTo>
                        <a:pt x="7" y="14"/>
                      </a:lnTo>
                      <a:lnTo>
                        <a:pt x="7" y="17"/>
                      </a:lnTo>
                      <a:lnTo>
                        <a:pt x="7" y="17"/>
                      </a:lnTo>
                      <a:lnTo>
                        <a:pt x="6" y="17"/>
                      </a:lnTo>
                      <a:lnTo>
                        <a:pt x="4" y="17"/>
                      </a:lnTo>
                      <a:lnTo>
                        <a:pt x="3" y="18"/>
                      </a:lnTo>
                      <a:lnTo>
                        <a:pt x="3" y="19"/>
                      </a:lnTo>
                      <a:lnTo>
                        <a:pt x="3" y="19"/>
                      </a:lnTo>
                      <a:lnTo>
                        <a:pt x="3" y="19"/>
                      </a:lnTo>
                      <a:lnTo>
                        <a:pt x="3" y="20"/>
                      </a:lnTo>
                      <a:lnTo>
                        <a:pt x="3" y="20"/>
                      </a:lnTo>
                      <a:lnTo>
                        <a:pt x="3" y="21"/>
                      </a:lnTo>
                      <a:lnTo>
                        <a:pt x="4" y="21"/>
                      </a:lnTo>
                      <a:lnTo>
                        <a:pt x="4" y="21"/>
                      </a:lnTo>
                      <a:lnTo>
                        <a:pt x="5" y="23"/>
                      </a:lnTo>
                      <a:lnTo>
                        <a:pt x="5" y="23"/>
                      </a:lnTo>
                      <a:lnTo>
                        <a:pt x="4" y="24"/>
                      </a:lnTo>
                      <a:lnTo>
                        <a:pt x="5" y="24"/>
                      </a:lnTo>
                      <a:lnTo>
                        <a:pt x="4" y="25"/>
                      </a:lnTo>
                      <a:lnTo>
                        <a:pt x="4" y="25"/>
                      </a:lnTo>
                      <a:lnTo>
                        <a:pt x="3" y="25"/>
                      </a:lnTo>
                      <a:lnTo>
                        <a:pt x="3" y="25"/>
                      </a:lnTo>
                      <a:lnTo>
                        <a:pt x="3" y="26"/>
                      </a:lnTo>
                      <a:lnTo>
                        <a:pt x="3" y="27"/>
                      </a:lnTo>
                      <a:lnTo>
                        <a:pt x="1" y="26"/>
                      </a:lnTo>
                      <a:lnTo>
                        <a:pt x="1" y="26"/>
                      </a:lnTo>
                      <a:lnTo>
                        <a:pt x="1" y="26"/>
                      </a:lnTo>
                      <a:lnTo>
                        <a:pt x="1" y="27"/>
                      </a:lnTo>
                      <a:lnTo>
                        <a:pt x="0" y="27"/>
                      </a:lnTo>
                      <a:lnTo>
                        <a:pt x="0" y="30"/>
                      </a:lnTo>
                      <a:lnTo>
                        <a:pt x="0" y="31"/>
                      </a:lnTo>
                      <a:lnTo>
                        <a:pt x="1" y="32"/>
                      </a:lnTo>
                      <a:lnTo>
                        <a:pt x="4" y="32"/>
                      </a:lnTo>
                      <a:lnTo>
                        <a:pt x="5" y="32"/>
                      </a:lnTo>
                      <a:lnTo>
                        <a:pt x="6" y="31"/>
                      </a:lnTo>
                      <a:lnTo>
                        <a:pt x="7" y="32"/>
                      </a:lnTo>
                      <a:lnTo>
                        <a:pt x="9" y="31"/>
                      </a:lnTo>
                      <a:lnTo>
                        <a:pt x="10" y="31"/>
                      </a:lnTo>
                      <a:lnTo>
                        <a:pt x="11" y="30"/>
                      </a:lnTo>
                      <a:lnTo>
                        <a:pt x="12" y="30"/>
                      </a:lnTo>
                      <a:lnTo>
                        <a:pt x="12" y="31"/>
                      </a:lnTo>
                      <a:lnTo>
                        <a:pt x="12" y="32"/>
                      </a:lnTo>
                      <a:lnTo>
                        <a:pt x="12" y="33"/>
                      </a:lnTo>
                      <a:lnTo>
                        <a:pt x="11" y="33"/>
                      </a:lnTo>
                      <a:lnTo>
                        <a:pt x="10" y="33"/>
                      </a:lnTo>
                      <a:lnTo>
                        <a:pt x="9" y="33"/>
                      </a:lnTo>
                      <a:lnTo>
                        <a:pt x="7" y="33"/>
                      </a:lnTo>
                      <a:lnTo>
                        <a:pt x="5" y="34"/>
                      </a:lnTo>
                      <a:lnTo>
                        <a:pt x="4" y="36"/>
                      </a:lnTo>
                      <a:lnTo>
                        <a:pt x="3" y="37"/>
                      </a:lnTo>
                      <a:lnTo>
                        <a:pt x="3" y="37"/>
                      </a:lnTo>
                      <a:lnTo>
                        <a:pt x="3" y="37"/>
                      </a:lnTo>
                      <a:lnTo>
                        <a:pt x="4" y="37"/>
                      </a:lnTo>
                      <a:lnTo>
                        <a:pt x="3" y="38"/>
                      </a:lnTo>
                      <a:lnTo>
                        <a:pt x="3" y="38"/>
                      </a:lnTo>
                      <a:lnTo>
                        <a:pt x="4" y="38"/>
                      </a:lnTo>
                      <a:lnTo>
                        <a:pt x="4" y="39"/>
                      </a:lnTo>
                      <a:lnTo>
                        <a:pt x="4" y="40"/>
                      </a:lnTo>
                      <a:lnTo>
                        <a:pt x="4" y="41"/>
                      </a:lnTo>
                      <a:lnTo>
                        <a:pt x="4" y="41"/>
                      </a:lnTo>
                      <a:lnTo>
                        <a:pt x="5" y="39"/>
                      </a:lnTo>
                      <a:lnTo>
                        <a:pt x="5" y="39"/>
                      </a:lnTo>
                      <a:lnTo>
                        <a:pt x="5" y="39"/>
                      </a:lnTo>
                      <a:lnTo>
                        <a:pt x="5" y="39"/>
                      </a:lnTo>
                      <a:lnTo>
                        <a:pt x="6" y="39"/>
                      </a:lnTo>
                      <a:lnTo>
                        <a:pt x="7" y="38"/>
                      </a:lnTo>
                      <a:lnTo>
                        <a:pt x="7" y="38"/>
                      </a:lnTo>
                      <a:lnTo>
                        <a:pt x="9" y="37"/>
                      </a:lnTo>
                      <a:lnTo>
                        <a:pt x="9" y="36"/>
                      </a:lnTo>
                      <a:lnTo>
                        <a:pt x="9" y="36"/>
                      </a:lnTo>
                      <a:lnTo>
                        <a:pt x="10" y="34"/>
                      </a:lnTo>
                      <a:lnTo>
                        <a:pt x="10" y="34"/>
                      </a:lnTo>
                      <a:lnTo>
                        <a:pt x="10" y="34"/>
                      </a:lnTo>
                      <a:lnTo>
                        <a:pt x="11" y="34"/>
                      </a:lnTo>
                      <a:lnTo>
                        <a:pt x="11" y="34"/>
                      </a:lnTo>
                      <a:lnTo>
                        <a:pt x="14" y="33"/>
                      </a:lnTo>
                      <a:lnTo>
                        <a:pt x="16" y="33"/>
                      </a:lnTo>
                      <a:lnTo>
                        <a:pt x="13" y="33"/>
                      </a:lnTo>
                      <a:lnTo>
                        <a:pt x="13" y="33"/>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73" name="Thailand">
                  <a:extLst>
                    <a:ext uri="{FF2B5EF4-FFF2-40B4-BE49-F238E27FC236}">
                      <a16:creationId xmlns:a16="http://schemas.microsoft.com/office/drawing/2014/main" id="{F03B56E6-E930-8240-8213-F8D4BBFA0F17}"/>
                    </a:ext>
                  </a:extLst>
                </p:cNvPr>
                <p:cNvSpPr>
                  <a:spLocks noEditPoints="1"/>
                </p:cNvSpPr>
                <p:nvPr/>
              </p:nvSpPr>
              <p:spPr bwMode="auto">
                <a:xfrm>
                  <a:off x="8899161" y="3375651"/>
                  <a:ext cx="228897" cy="441759"/>
                </a:xfrm>
                <a:custGeom>
                  <a:avLst/>
                  <a:gdLst>
                    <a:gd name="T0" fmla="*/ 42 w 157"/>
                    <a:gd name="T1" fmla="*/ 1 h 303"/>
                    <a:gd name="T2" fmla="*/ 26 w 157"/>
                    <a:gd name="T3" fmla="*/ 7 h 303"/>
                    <a:gd name="T4" fmla="*/ 12 w 157"/>
                    <a:gd name="T5" fmla="*/ 14 h 303"/>
                    <a:gd name="T6" fmla="*/ 5 w 157"/>
                    <a:gd name="T7" fmla="*/ 31 h 303"/>
                    <a:gd name="T8" fmla="*/ 6 w 157"/>
                    <a:gd name="T9" fmla="*/ 43 h 303"/>
                    <a:gd name="T10" fmla="*/ 15 w 157"/>
                    <a:gd name="T11" fmla="*/ 61 h 303"/>
                    <a:gd name="T12" fmla="*/ 26 w 157"/>
                    <a:gd name="T13" fmla="*/ 75 h 303"/>
                    <a:gd name="T14" fmla="*/ 34 w 157"/>
                    <a:gd name="T15" fmla="*/ 86 h 303"/>
                    <a:gd name="T16" fmla="*/ 28 w 157"/>
                    <a:gd name="T17" fmla="*/ 103 h 303"/>
                    <a:gd name="T18" fmla="*/ 30 w 157"/>
                    <a:gd name="T19" fmla="*/ 120 h 303"/>
                    <a:gd name="T20" fmla="*/ 45 w 157"/>
                    <a:gd name="T21" fmla="*/ 141 h 303"/>
                    <a:gd name="T22" fmla="*/ 52 w 157"/>
                    <a:gd name="T23" fmla="*/ 162 h 303"/>
                    <a:gd name="T24" fmla="*/ 55 w 157"/>
                    <a:gd name="T25" fmla="*/ 181 h 303"/>
                    <a:gd name="T26" fmla="*/ 46 w 157"/>
                    <a:gd name="T27" fmla="*/ 197 h 303"/>
                    <a:gd name="T28" fmla="*/ 41 w 157"/>
                    <a:gd name="T29" fmla="*/ 216 h 303"/>
                    <a:gd name="T30" fmla="*/ 40 w 157"/>
                    <a:gd name="T31" fmla="*/ 220 h 303"/>
                    <a:gd name="T32" fmla="*/ 38 w 157"/>
                    <a:gd name="T33" fmla="*/ 229 h 303"/>
                    <a:gd name="T34" fmla="*/ 38 w 157"/>
                    <a:gd name="T35" fmla="*/ 236 h 303"/>
                    <a:gd name="T36" fmla="*/ 40 w 157"/>
                    <a:gd name="T37" fmla="*/ 253 h 303"/>
                    <a:gd name="T38" fmla="*/ 46 w 157"/>
                    <a:gd name="T39" fmla="*/ 249 h 303"/>
                    <a:gd name="T40" fmla="*/ 53 w 157"/>
                    <a:gd name="T41" fmla="*/ 259 h 303"/>
                    <a:gd name="T42" fmla="*/ 57 w 157"/>
                    <a:gd name="T43" fmla="*/ 268 h 303"/>
                    <a:gd name="T44" fmla="*/ 65 w 157"/>
                    <a:gd name="T45" fmla="*/ 272 h 303"/>
                    <a:gd name="T46" fmla="*/ 70 w 157"/>
                    <a:gd name="T47" fmla="*/ 285 h 303"/>
                    <a:gd name="T48" fmla="*/ 85 w 157"/>
                    <a:gd name="T49" fmla="*/ 286 h 303"/>
                    <a:gd name="T50" fmla="*/ 93 w 157"/>
                    <a:gd name="T51" fmla="*/ 303 h 303"/>
                    <a:gd name="T52" fmla="*/ 107 w 157"/>
                    <a:gd name="T53" fmla="*/ 300 h 303"/>
                    <a:gd name="T54" fmla="*/ 101 w 157"/>
                    <a:gd name="T55" fmla="*/ 281 h 303"/>
                    <a:gd name="T56" fmla="*/ 88 w 157"/>
                    <a:gd name="T57" fmla="*/ 277 h 303"/>
                    <a:gd name="T58" fmla="*/ 76 w 157"/>
                    <a:gd name="T59" fmla="*/ 268 h 303"/>
                    <a:gd name="T60" fmla="*/ 79 w 157"/>
                    <a:gd name="T61" fmla="*/ 270 h 303"/>
                    <a:gd name="T62" fmla="*/ 76 w 157"/>
                    <a:gd name="T63" fmla="*/ 255 h 303"/>
                    <a:gd name="T64" fmla="*/ 68 w 157"/>
                    <a:gd name="T65" fmla="*/ 243 h 303"/>
                    <a:gd name="T66" fmla="*/ 65 w 157"/>
                    <a:gd name="T67" fmla="*/ 228 h 303"/>
                    <a:gd name="T68" fmla="*/ 53 w 157"/>
                    <a:gd name="T69" fmla="*/ 222 h 303"/>
                    <a:gd name="T70" fmla="*/ 54 w 157"/>
                    <a:gd name="T71" fmla="*/ 207 h 303"/>
                    <a:gd name="T72" fmla="*/ 57 w 157"/>
                    <a:gd name="T73" fmla="*/ 187 h 303"/>
                    <a:gd name="T74" fmla="*/ 63 w 157"/>
                    <a:gd name="T75" fmla="*/ 173 h 303"/>
                    <a:gd name="T76" fmla="*/ 63 w 157"/>
                    <a:gd name="T77" fmla="*/ 150 h 303"/>
                    <a:gd name="T78" fmla="*/ 73 w 157"/>
                    <a:gd name="T79" fmla="*/ 141 h 303"/>
                    <a:gd name="T80" fmla="*/ 77 w 157"/>
                    <a:gd name="T81" fmla="*/ 155 h 303"/>
                    <a:gd name="T82" fmla="*/ 86 w 157"/>
                    <a:gd name="T83" fmla="*/ 160 h 303"/>
                    <a:gd name="T84" fmla="*/ 96 w 157"/>
                    <a:gd name="T85" fmla="*/ 160 h 303"/>
                    <a:gd name="T86" fmla="*/ 100 w 157"/>
                    <a:gd name="T87" fmla="*/ 162 h 303"/>
                    <a:gd name="T88" fmla="*/ 102 w 157"/>
                    <a:gd name="T89" fmla="*/ 167 h 303"/>
                    <a:gd name="T90" fmla="*/ 105 w 157"/>
                    <a:gd name="T91" fmla="*/ 166 h 303"/>
                    <a:gd name="T92" fmla="*/ 105 w 157"/>
                    <a:gd name="T93" fmla="*/ 169 h 303"/>
                    <a:gd name="T94" fmla="*/ 114 w 157"/>
                    <a:gd name="T95" fmla="*/ 175 h 303"/>
                    <a:gd name="T96" fmla="*/ 106 w 157"/>
                    <a:gd name="T97" fmla="*/ 152 h 303"/>
                    <a:gd name="T98" fmla="*/ 117 w 157"/>
                    <a:gd name="T99" fmla="*/ 125 h 303"/>
                    <a:gd name="T100" fmla="*/ 137 w 157"/>
                    <a:gd name="T101" fmla="*/ 125 h 303"/>
                    <a:gd name="T102" fmla="*/ 155 w 157"/>
                    <a:gd name="T103" fmla="*/ 122 h 303"/>
                    <a:gd name="T104" fmla="*/ 155 w 157"/>
                    <a:gd name="T105" fmla="*/ 105 h 303"/>
                    <a:gd name="T106" fmla="*/ 143 w 157"/>
                    <a:gd name="T107" fmla="*/ 86 h 303"/>
                    <a:gd name="T108" fmla="*/ 126 w 157"/>
                    <a:gd name="T109" fmla="*/ 53 h 303"/>
                    <a:gd name="T110" fmla="*/ 103 w 157"/>
                    <a:gd name="T111" fmla="*/ 50 h 303"/>
                    <a:gd name="T112" fmla="*/ 85 w 157"/>
                    <a:gd name="T113" fmla="*/ 46 h 303"/>
                    <a:gd name="T114" fmla="*/ 74 w 157"/>
                    <a:gd name="T115" fmla="*/ 56 h 303"/>
                    <a:gd name="T116" fmla="*/ 68 w 157"/>
                    <a:gd name="T117" fmla="*/ 50 h 303"/>
                    <a:gd name="T118" fmla="*/ 68 w 157"/>
                    <a:gd name="T119" fmla="*/ 33 h 303"/>
                    <a:gd name="T120" fmla="*/ 59 w 157"/>
                    <a:gd name="T121" fmla="*/ 19 h 303"/>
                    <a:gd name="T122" fmla="*/ 48 w 157"/>
                    <a:gd name="T123" fmla="*/ 1 h 303"/>
                    <a:gd name="T124" fmla="*/ 67 w 157"/>
                    <a:gd name="T125" fmla="*/ 223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57" h="303">
                      <a:moveTo>
                        <a:pt x="39" y="254"/>
                      </a:moveTo>
                      <a:lnTo>
                        <a:pt x="39" y="254"/>
                      </a:lnTo>
                      <a:lnTo>
                        <a:pt x="39" y="253"/>
                      </a:lnTo>
                      <a:lnTo>
                        <a:pt x="40" y="253"/>
                      </a:lnTo>
                      <a:lnTo>
                        <a:pt x="40" y="253"/>
                      </a:lnTo>
                      <a:lnTo>
                        <a:pt x="41" y="253"/>
                      </a:lnTo>
                      <a:lnTo>
                        <a:pt x="41" y="254"/>
                      </a:lnTo>
                      <a:lnTo>
                        <a:pt x="41" y="255"/>
                      </a:lnTo>
                      <a:lnTo>
                        <a:pt x="41" y="256"/>
                      </a:lnTo>
                      <a:lnTo>
                        <a:pt x="41" y="257"/>
                      </a:lnTo>
                      <a:lnTo>
                        <a:pt x="40" y="257"/>
                      </a:lnTo>
                      <a:lnTo>
                        <a:pt x="40" y="259"/>
                      </a:lnTo>
                      <a:lnTo>
                        <a:pt x="40" y="257"/>
                      </a:lnTo>
                      <a:lnTo>
                        <a:pt x="39" y="256"/>
                      </a:lnTo>
                      <a:lnTo>
                        <a:pt x="39" y="255"/>
                      </a:lnTo>
                      <a:lnTo>
                        <a:pt x="39" y="255"/>
                      </a:lnTo>
                      <a:lnTo>
                        <a:pt x="39" y="254"/>
                      </a:lnTo>
                      <a:lnTo>
                        <a:pt x="39" y="254"/>
                      </a:lnTo>
                      <a:close/>
                      <a:moveTo>
                        <a:pt x="43" y="1"/>
                      </a:moveTo>
                      <a:lnTo>
                        <a:pt x="42" y="1"/>
                      </a:lnTo>
                      <a:lnTo>
                        <a:pt x="42" y="0"/>
                      </a:lnTo>
                      <a:lnTo>
                        <a:pt x="41" y="0"/>
                      </a:lnTo>
                      <a:lnTo>
                        <a:pt x="41" y="0"/>
                      </a:lnTo>
                      <a:lnTo>
                        <a:pt x="39" y="0"/>
                      </a:lnTo>
                      <a:lnTo>
                        <a:pt x="38" y="1"/>
                      </a:lnTo>
                      <a:lnTo>
                        <a:pt x="36" y="1"/>
                      </a:lnTo>
                      <a:lnTo>
                        <a:pt x="36" y="1"/>
                      </a:lnTo>
                      <a:lnTo>
                        <a:pt x="33" y="1"/>
                      </a:lnTo>
                      <a:lnTo>
                        <a:pt x="32" y="0"/>
                      </a:lnTo>
                      <a:lnTo>
                        <a:pt x="33" y="1"/>
                      </a:lnTo>
                      <a:lnTo>
                        <a:pt x="33" y="3"/>
                      </a:lnTo>
                      <a:lnTo>
                        <a:pt x="34" y="5"/>
                      </a:lnTo>
                      <a:lnTo>
                        <a:pt x="34" y="6"/>
                      </a:lnTo>
                      <a:lnTo>
                        <a:pt x="34" y="6"/>
                      </a:lnTo>
                      <a:lnTo>
                        <a:pt x="33" y="7"/>
                      </a:lnTo>
                      <a:lnTo>
                        <a:pt x="30" y="7"/>
                      </a:lnTo>
                      <a:lnTo>
                        <a:pt x="29" y="7"/>
                      </a:lnTo>
                      <a:lnTo>
                        <a:pt x="27" y="6"/>
                      </a:lnTo>
                      <a:lnTo>
                        <a:pt x="26" y="7"/>
                      </a:lnTo>
                      <a:lnTo>
                        <a:pt x="26" y="7"/>
                      </a:lnTo>
                      <a:lnTo>
                        <a:pt x="26" y="9"/>
                      </a:lnTo>
                      <a:lnTo>
                        <a:pt x="26" y="11"/>
                      </a:lnTo>
                      <a:lnTo>
                        <a:pt x="25" y="11"/>
                      </a:lnTo>
                      <a:lnTo>
                        <a:pt x="26" y="12"/>
                      </a:lnTo>
                      <a:lnTo>
                        <a:pt x="25" y="13"/>
                      </a:lnTo>
                      <a:lnTo>
                        <a:pt x="25" y="13"/>
                      </a:lnTo>
                      <a:lnTo>
                        <a:pt x="25" y="13"/>
                      </a:lnTo>
                      <a:lnTo>
                        <a:pt x="22" y="12"/>
                      </a:lnTo>
                      <a:lnTo>
                        <a:pt x="22" y="13"/>
                      </a:lnTo>
                      <a:lnTo>
                        <a:pt x="20" y="14"/>
                      </a:lnTo>
                      <a:lnTo>
                        <a:pt x="19" y="14"/>
                      </a:lnTo>
                      <a:lnTo>
                        <a:pt x="19" y="14"/>
                      </a:lnTo>
                      <a:lnTo>
                        <a:pt x="19" y="15"/>
                      </a:lnTo>
                      <a:lnTo>
                        <a:pt x="18" y="14"/>
                      </a:lnTo>
                      <a:lnTo>
                        <a:pt x="16" y="14"/>
                      </a:lnTo>
                      <a:lnTo>
                        <a:pt x="13" y="14"/>
                      </a:lnTo>
                      <a:lnTo>
                        <a:pt x="13" y="15"/>
                      </a:lnTo>
                      <a:lnTo>
                        <a:pt x="12" y="15"/>
                      </a:lnTo>
                      <a:lnTo>
                        <a:pt x="12" y="14"/>
                      </a:lnTo>
                      <a:lnTo>
                        <a:pt x="12" y="14"/>
                      </a:lnTo>
                      <a:lnTo>
                        <a:pt x="9" y="13"/>
                      </a:lnTo>
                      <a:lnTo>
                        <a:pt x="9" y="13"/>
                      </a:lnTo>
                      <a:lnTo>
                        <a:pt x="9" y="13"/>
                      </a:lnTo>
                      <a:lnTo>
                        <a:pt x="8" y="13"/>
                      </a:lnTo>
                      <a:lnTo>
                        <a:pt x="8" y="14"/>
                      </a:lnTo>
                      <a:lnTo>
                        <a:pt x="8" y="15"/>
                      </a:lnTo>
                      <a:lnTo>
                        <a:pt x="8" y="16"/>
                      </a:lnTo>
                      <a:lnTo>
                        <a:pt x="8" y="16"/>
                      </a:lnTo>
                      <a:lnTo>
                        <a:pt x="7" y="18"/>
                      </a:lnTo>
                      <a:lnTo>
                        <a:pt x="6" y="18"/>
                      </a:lnTo>
                      <a:lnTo>
                        <a:pt x="6" y="19"/>
                      </a:lnTo>
                      <a:lnTo>
                        <a:pt x="6" y="19"/>
                      </a:lnTo>
                      <a:lnTo>
                        <a:pt x="5" y="20"/>
                      </a:lnTo>
                      <a:lnTo>
                        <a:pt x="6" y="23"/>
                      </a:lnTo>
                      <a:lnTo>
                        <a:pt x="6" y="23"/>
                      </a:lnTo>
                      <a:lnTo>
                        <a:pt x="6" y="25"/>
                      </a:lnTo>
                      <a:lnTo>
                        <a:pt x="7" y="27"/>
                      </a:lnTo>
                      <a:lnTo>
                        <a:pt x="5" y="28"/>
                      </a:lnTo>
                      <a:lnTo>
                        <a:pt x="6" y="29"/>
                      </a:lnTo>
                      <a:lnTo>
                        <a:pt x="5" y="31"/>
                      </a:lnTo>
                      <a:lnTo>
                        <a:pt x="6" y="32"/>
                      </a:lnTo>
                      <a:lnTo>
                        <a:pt x="7" y="34"/>
                      </a:lnTo>
                      <a:lnTo>
                        <a:pt x="8" y="35"/>
                      </a:lnTo>
                      <a:lnTo>
                        <a:pt x="7" y="38"/>
                      </a:lnTo>
                      <a:lnTo>
                        <a:pt x="6" y="38"/>
                      </a:lnTo>
                      <a:lnTo>
                        <a:pt x="5" y="38"/>
                      </a:lnTo>
                      <a:lnTo>
                        <a:pt x="5" y="39"/>
                      </a:lnTo>
                      <a:lnTo>
                        <a:pt x="3" y="40"/>
                      </a:lnTo>
                      <a:lnTo>
                        <a:pt x="1" y="40"/>
                      </a:lnTo>
                      <a:lnTo>
                        <a:pt x="1" y="38"/>
                      </a:lnTo>
                      <a:lnTo>
                        <a:pt x="0" y="38"/>
                      </a:lnTo>
                      <a:lnTo>
                        <a:pt x="1" y="38"/>
                      </a:lnTo>
                      <a:lnTo>
                        <a:pt x="0" y="38"/>
                      </a:lnTo>
                      <a:lnTo>
                        <a:pt x="1" y="41"/>
                      </a:lnTo>
                      <a:lnTo>
                        <a:pt x="2" y="43"/>
                      </a:lnTo>
                      <a:lnTo>
                        <a:pt x="2" y="43"/>
                      </a:lnTo>
                      <a:lnTo>
                        <a:pt x="5" y="43"/>
                      </a:lnTo>
                      <a:lnTo>
                        <a:pt x="5" y="43"/>
                      </a:lnTo>
                      <a:lnTo>
                        <a:pt x="5" y="43"/>
                      </a:lnTo>
                      <a:lnTo>
                        <a:pt x="6" y="43"/>
                      </a:lnTo>
                      <a:lnTo>
                        <a:pt x="6" y="43"/>
                      </a:lnTo>
                      <a:lnTo>
                        <a:pt x="6" y="43"/>
                      </a:lnTo>
                      <a:lnTo>
                        <a:pt x="6" y="45"/>
                      </a:lnTo>
                      <a:lnTo>
                        <a:pt x="6" y="45"/>
                      </a:lnTo>
                      <a:lnTo>
                        <a:pt x="7" y="46"/>
                      </a:lnTo>
                      <a:lnTo>
                        <a:pt x="7" y="47"/>
                      </a:lnTo>
                      <a:lnTo>
                        <a:pt x="8" y="48"/>
                      </a:lnTo>
                      <a:lnTo>
                        <a:pt x="7" y="48"/>
                      </a:lnTo>
                      <a:lnTo>
                        <a:pt x="8" y="48"/>
                      </a:lnTo>
                      <a:lnTo>
                        <a:pt x="8" y="50"/>
                      </a:lnTo>
                      <a:lnTo>
                        <a:pt x="8" y="50"/>
                      </a:lnTo>
                      <a:lnTo>
                        <a:pt x="8" y="50"/>
                      </a:lnTo>
                      <a:lnTo>
                        <a:pt x="8" y="52"/>
                      </a:lnTo>
                      <a:lnTo>
                        <a:pt x="8" y="53"/>
                      </a:lnTo>
                      <a:lnTo>
                        <a:pt x="9" y="54"/>
                      </a:lnTo>
                      <a:lnTo>
                        <a:pt x="10" y="56"/>
                      </a:lnTo>
                      <a:lnTo>
                        <a:pt x="13" y="59"/>
                      </a:lnTo>
                      <a:lnTo>
                        <a:pt x="15" y="60"/>
                      </a:lnTo>
                      <a:lnTo>
                        <a:pt x="15" y="61"/>
                      </a:lnTo>
                      <a:lnTo>
                        <a:pt x="15" y="61"/>
                      </a:lnTo>
                      <a:lnTo>
                        <a:pt x="15" y="62"/>
                      </a:lnTo>
                      <a:lnTo>
                        <a:pt x="16" y="62"/>
                      </a:lnTo>
                      <a:lnTo>
                        <a:pt x="18" y="63"/>
                      </a:lnTo>
                      <a:lnTo>
                        <a:pt x="20" y="66"/>
                      </a:lnTo>
                      <a:lnTo>
                        <a:pt x="21" y="67"/>
                      </a:lnTo>
                      <a:lnTo>
                        <a:pt x="21" y="68"/>
                      </a:lnTo>
                      <a:lnTo>
                        <a:pt x="21" y="68"/>
                      </a:lnTo>
                      <a:lnTo>
                        <a:pt x="21" y="68"/>
                      </a:lnTo>
                      <a:lnTo>
                        <a:pt x="23" y="68"/>
                      </a:lnTo>
                      <a:lnTo>
                        <a:pt x="23" y="69"/>
                      </a:lnTo>
                      <a:lnTo>
                        <a:pt x="23" y="70"/>
                      </a:lnTo>
                      <a:lnTo>
                        <a:pt x="26" y="72"/>
                      </a:lnTo>
                      <a:lnTo>
                        <a:pt x="26" y="72"/>
                      </a:lnTo>
                      <a:lnTo>
                        <a:pt x="26" y="72"/>
                      </a:lnTo>
                      <a:lnTo>
                        <a:pt x="26" y="73"/>
                      </a:lnTo>
                      <a:lnTo>
                        <a:pt x="26" y="73"/>
                      </a:lnTo>
                      <a:lnTo>
                        <a:pt x="26" y="73"/>
                      </a:lnTo>
                      <a:lnTo>
                        <a:pt x="27" y="75"/>
                      </a:lnTo>
                      <a:lnTo>
                        <a:pt x="26" y="75"/>
                      </a:lnTo>
                      <a:lnTo>
                        <a:pt x="26" y="75"/>
                      </a:lnTo>
                      <a:lnTo>
                        <a:pt x="25" y="76"/>
                      </a:lnTo>
                      <a:lnTo>
                        <a:pt x="26" y="76"/>
                      </a:lnTo>
                      <a:lnTo>
                        <a:pt x="27" y="78"/>
                      </a:lnTo>
                      <a:lnTo>
                        <a:pt x="27" y="78"/>
                      </a:lnTo>
                      <a:lnTo>
                        <a:pt x="28" y="79"/>
                      </a:lnTo>
                      <a:lnTo>
                        <a:pt x="28" y="79"/>
                      </a:lnTo>
                      <a:lnTo>
                        <a:pt x="29" y="81"/>
                      </a:lnTo>
                      <a:lnTo>
                        <a:pt x="29" y="82"/>
                      </a:lnTo>
                      <a:lnTo>
                        <a:pt x="30" y="82"/>
                      </a:lnTo>
                      <a:lnTo>
                        <a:pt x="30" y="85"/>
                      </a:lnTo>
                      <a:lnTo>
                        <a:pt x="32" y="85"/>
                      </a:lnTo>
                      <a:lnTo>
                        <a:pt x="30" y="83"/>
                      </a:lnTo>
                      <a:lnTo>
                        <a:pt x="32" y="82"/>
                      </a:lnTo>
                      <a:lnTo>
                        <a:pt x="33" y="81"/>
                      </a:lnTo>
                      <a:lnTo>
                        <a:pt x="33" y="81"/>
                      </a:lnTo>
                      <a:lnTo>
                        <a:pt x="33" y="82"/>
                      </a:lnTo>
                      <a:lnTo>
                        <a:pt x="34" y="82"/>
                      </a:lnTo>
                      <a:lnTo>
                        <a:pt x="34" y="83"/>
                      </a:lnTo>
                      <a:lnTo>
                        <a:pt x="34" y="85"/>
                      </a:lnTo>
                      <a:lnTo>
                        <a:pt x="34" y="86"/>
                      </a:lnTo>
                      <a:lnTo>
                        <a:pt x="33" y="87"/>
                      </a:lnTo>
                      <a:lnTo>
                        <a:pt x="33" y="88"/>
                      </a:lnTo>
                      <a:lnTo>
                        <a:pt x="30" y="87"/>
                      </a:lnTo>
                      <a:lnTo>
                        <a:pt x="30" y="88"/>
                      </a:lnTo>
                      <a:lnTo>
                        <a:pt x="30" y="88"/>
                      </a:lnTo>
                      <a:lnTo>
                        <a:pt x="30" y="89"/>
                      </a:lnTo>
                      <a:lnTo>
                        <a:pt x="28" y="89"/>
                      </a:lnTo>
                      <a:lnTo>
                        <a:pt x="29" y="90"/>
                      </a:lnTo>
                      <a:lnTo>
                        <a:pt x="29" y="92"/>
                      </a:lnTo>
                      <a:lnTo>
                        <a:pt x="29" y="92"/>
                      </a:lnTo>
                      <a:lnTo>
                        <a:pt x="30" y="94"/>
                      </a:lnTo>
                      <a:lnTo>
                        <a:pt x="29" y="96"/>
                      </a:lnTo>
                      <a:lnTo>
                        <a:pt x="30" y="98"/>
                      </a:lnTo>
                      <a:lnTo>
                        <a:pt x="29" y="99"/>
                      </a:lnTo>
                      <a:lnTo>
                        <a:pt x="32" y="101"/>
                      </a:lnTo>
                      <a:lnTo>
                        <a:pt x="30" y="103"/>
                      </a:lnTo>
                      <a:lnTo>
                        <a:pt x="30" y="105"/>
                      </a:lnTo>
                      <a:lnTo>
                        <a:pt x="30" y="103"/>
                      </a:lnTo>
                      <a:lnTo>
                        <a:pt x="29" y="103"/>
                      </a:lnTo>
                      <a:lnTo>
                        <a:pt x="28" y="103"/>
                      </a:lnTo>
                      <a:lnTo>
                        <a:pt x="27" y="103"/>
                      </a:lnTo>
                      <a:lnTo>
                        <a:pt x="27" y="105"/>
                      </a:lnTo>
                      <a:lnTo>
                        <a:pt x="27" y="106"/>
                      </a:lnTo>
                      <a:lnTo>
                        <a:pt x="27" y="105"/>
                      </a:lnTo>
                      <a:lnTo>
                        <a:pt x="26" y="105"/>
                      </a:lnTo>
                      <a:lnTo>
                        <a:pt x="25" y="106"/>
                      </a:lnTo>
                      <a:lnTo>
                        <a:pt x="23" y="107"/>
                      </a:lnTo>
                      <a:lnTo>
                        <a:pt x="25" y="108"/>
                      </a:lnTo>
                      <a:lnTo>
                        <a:pt x="23" y="109"/>
                      </a:lnTo>
                      <a:lnTo>
                        <a:pt x="25" y="110"/>
                      </a:lnTo>
                      <a:lnTo>
                        <a:pt x="25" y="110"/>
                      </a:lnTo>
                      <a:lnTo>
                        <a:pt x="25" y="113"/>
                      </a:lnTo>
                      <a:lnTo>
                        <a:pt x="26" y="114"/>
                      </a:lnTo>
                      <a:lnTo>
                        <a:pt x="26" y="114"/>
                      </a:lnTo>
                      <a:lnTo>
                        <a:pt x="26" y="115"/>
                      </a:lnTo>
                      <a:lnTo>
                        <a:pt x="27" y="116"/>
                      </a:lnTo>
                      <a:lnTo>
                        <a:pt x="27" y="116"/>
                      </a:lnTo>
                      <a:lnTo>
                        <a:pt x="29" y="119"/>
                      </a:lnTo>
                      <a:lnTo>
                        <a:pt x="30" y="120"/>
                      </a:lnTo>
                      <a:lnTo>
                        <a:pt x="30" y="120"/>
                      </a:lnTo>
                      <a:lnTo>
                        <a:pt x="32" y="120"/>
                      </a:lnTo>
                      <a:lnTo>
                        <a:pt x="33" y="123"/>
                      </a:lnTo>
                      <a:lnTo>
                        <a:pt x="34" y="125"/>
                      </a:lnTo>
                      <a:lnTo>
                        <a:pt x="34" y="125"/>
                      </a:lnTo>
                      <a:lnTo>
                        <a:pt x="35" y="126"/>
                      </a:lnTo>
                      <a:lnTo>
                        <a:pt x="36" y="126"/>
                      </a:lnTo>
                      <a:lnTo>
                        <a:pt x="36" y="127"/>
                      </a:lnTo>
                      <a:lnTo>
                        <a:pt x="39" y="129"/>
                      </a:lnTo>
                      <a:lnTo>
                        <a:pt x="39" y="129"/>
                      </a:lnTo>
                      <a:lnTo>
                        <a:pt x="41" y="130"/>
                      </a:lnTo>
                      <a:lnTo>
                        <a:pt x="41" y="130"/>
                      </a:lnTo>
                      <a:lnTo>
                        <a:pt x="41" y="130"/>
                      </a:lnTo>
                      <a:lnTo>
                        <a:pt x="42" y="133"/>
                      </a:lnTo>
                      <a:lnTo>
                        <a:pt x="43" y="134"/>
                      </a:lnTo>
                      <a:lnTo>
                        <a:pt x="43" y="135"/>
                      </a:lnTo>
                      <a:lnTo>
                        <a:pt x="43" y="136"/>
                      </a:lnTo>
                      <a:lnTo>
                        <a:pt x="45" y="136"/>
                      </a:lnTo>
                      <a:lnTo>
                        <a:pt x="45" y="138"/>
                      </a:lnTo>
                      <a:lnTo>
                        <a:pt x="45" y="139"/>
                      </a:lnTo>
                      <a:lnTo>
                        <a:pt x="45" y="141"/>
                      </a:lnTo>
                      <a:lnTo>
                        <a:pt x="45" y="141"/>
                      </a:lnTo>
                      <a:lnTo>
                        <a:pt x="46" y="142"/>
                      </a:lnTo>
                      <a:lnTo>
                        <a:pt x="46" y="143"/>
                      </a:lnTo>
                      <a:lnTo>
                        <a:pt x="46" y="146"/>
                      </a:lnTo>
                      <a:lnTo>
                        <a:pt x="46" y="146"/>
                      </a:lnTo>
                      <a:lnTo>
                        <a:pt x="47" y="148"/>
                      </a:lnTo>
                      <a:lnTo>
                        <a:pt x="45" y="148"/>
                      </a:lnTo>
                      <a:lnTo>
                        <a:pt x="45" y="149"/>
                      </a:lnTo>
                      <a:lnTo>
                        <a:pt x="45" y="150"/>
                      </a:lnTo>
                      <a:lnTo>
                        <a:pt x="46" y="153"/>
                      </a:lnTo>
                      <a:lnTo>
                        <a:pt x="47" y="153"/>
                      </a:lnTo>
                      <a:lnTo>
                        <a:pt x="47" y="155"/>
                      </a:lnTo>
                      <a:lnTo>
                        <a:pt x="48" y="155"/>
                      </a:lnTo>
                      <a:lnTo>
                        <a:pt x="48" y="158"/>
                      </a:lnTo>
                      <a:lnTo>
                        <a:pt x="49" y="158"/>
                      </a:lnTo>
                      <a:lnTo>
                        <a:pt x="49" y="160"/>
                      </a:lnTo>
                      <a:lnTo>
                        <a:pt x="50" y="160"/>
                      </a:lnTo>
                      <a:lnTo>
                        <a:pt x="50" y="160"/>
                      </a:lnTo>
                      <a:lnTo>
                        <a:pt x="52" y="160"/>
                      </a:lnTo>
                      <a:lnTo>
                        <a:pt x="52" y="162"/>
                      </a:lnTo>
                      <a:lnTo>
                        <a:pt x="52" y="163"/>
                      </a:lnTo>
                      <a:lnTo>
                        <a:pt x="52" y="165"/>
                      </a:lnTo>
                      <a:lnTo>
                        <a:pt x="53" y="167"/>
                      </a:lnTo>
                      <a:lnTo>
                        <a:pt x="54" y="167"/>
                      </a:lnTo>
                      <a:lnTo>
                        <a:pt x="54" y="168"/>
                      </a:lnTo>
                      <a:lnTo>
                        <a:pt x="54" y="169"/>
                      </a:lnTo>
                      <a:lnTo>
                        <a:pt x="54" y="169"/>
                      </a:lnTo>
                      <a:lnTo>
                        <a:pt x="55" y="169"/>
                      </a:lnTo>
                      <a:lnTo>
                        <a:pt x="55" y="172"/>
                      </a:lnTo>
                      <a:lnTo>
                        <a:pt x="55" y="172"/>
                      </a:lnTo>
                      <a:lnTo>
                        <a:pt x="56" y="173"/>
                      </a:lnTo>
                      <a:lnTo>
                        <a:pt x="56" y="173"/>
                      </a:lnTo>
                      <a:lnTo>
                        <a:pt x="56" y="175"/>
                      </a:lnTo>
                      <a:lnTo>
                        <a:pt x="56" y="176"/>
                      </a:lnTo>
                      <a:lnTo>
                        <a:pt x="57" y="176"/>
                      </a:lnTo>
                      <a:lnTo>
                        <a:pt x="57" y="179"/>
                      </a:lnTo>
                      <a:lnTo>
                        <a:pt x="57" y="179"/>
                      </a:lnTo>
                      <a:lnTo>
                        <a:pt x="56" y="180"/>
                      </a:lnTo>
                      <a:lnTo>
                        <a:pt x="55" y="180"/>
                      </a:lnTo>
                      <a:lnTo>
                        <a:pt x="55" y="181"/>
                      </a:lnTo>
                      <a:lnTo>
                        <a:pt x="55" y="183"/>
                      </a:lnTo>
                      <a:lnTo>
                        <a:pt x="54" y="183"/>
                      </a:lnTo>
                      <a:lnTo>
                        <a:pt x="53" y="185"/>
                      </a:lnTo>
                      <a:lnTo>
                        <a:pt x="53" y="186"/>
                      </a:lnTo>
                      <a:lnTo>
                        <a:pt x="52" y="187"/>
                      </a:lnTo>
                      <a:lnTo>
                        <a:pt x="52" y="187"/>
                      </a:lnTo>
                      <a:lnTo>
                        <a:pt x="52" y="188"/>
                      </a:lnTo>
                      <a:lnTo>
                        <a:pt x="52" y="192"/>
                      </a:lnTo>
                      <a:lnTo>
                        <a:pt x="49" y="192"/>
                      </a:lnTo>
                      <a:lnTo>
                        <a:pt x="49" y="193"/>
                      </a:lnTo>
                      <a:lnTo>
                        <a:pt x="48" y="194"/>
                      </a:lnTo>
                      <a:lnTo>
                        <a:pt x="48" y="194"/>
                      </a:lnTo>
                      <a:lnTo>
                        <a:pt x="48" y="195"/>
                      </a:lnTo>
                      <a:lnTo>
                        <a:pt x="47" y="194"/>
                      </a:lnTo>
                      <a:lnTo>
                        <a:pt x="47" y="195"/>
                      </a:lnTo>
                      <a:lnTo>
                        <a:pt x="47" y="196"/>
                      </a:lnTo>
                      <a:lnTo>
                        <a:pt x="47" y="197"/>
                      </a:lnTo>
                      <a:lnTo>
                        <a:pt x="46" y="197"/>
                      </a:lnTo>
                      <a:lnTo>
                        <a:pt x="46" y="197"/>
                      </a:lnTo>
                      <a:lnTo>
                        <a:pt x="46" y="197"/>
                      </a:lnTo>
                      <a:lnTo>
                        <a:pt x="46" y="197"/>
                      </a:lnTo>
                      <a:lnTo>
                        <a:pt x="43" y="200"/>
                      </a:lnTo>
                      <a:lnTo>
                        <a:pt x="43" y="201"/>
                      </a:lnTo>
                      <a:lnTo>
                        <a:pt x="45" y="202"/>
                      </a:lnTo>
                      <a:lnTo>
                        <a:pt x="45" y="203"/>
                      </a:lnTo>
                      <a:lnTo>
                        <a:pt x="45" y="205"/>
                      </a:lnTo>
                      <a:lnTo>
                        <a:pt x="43" y="206"/>
                      </a:lnTo>
                      <a:lnTo>
                        <a:pt x="43" y="206"/>
                      </a:lnTo>
                      <a:lnTo>
                        <a:pt x="43" y="206"/>
                      </a:lnTo>
                      <a:lnTo>
                        <a:pt x="45" y="207"/>
                      </a:lnTo>
                      <a:lnTo>
                        <a:pt x="43" y="207"/>
                      </a:lnTo>
                      <a:lnTo>
                        <a:pt x="43" y="209"/>
                      </a:lnTo>
                      <a:lnTo>
                        <a:pt x="43" y="210"/>
                      </a:lnTo>
                      <a:lnTo>
                        <a:pt x="43" y="210"/>
                      </a:lnTo>
                      <a:lnTo>
                        <a:pt x="42" y="215"/>
                      </a:lnTo>
                      <a:lnTo>
                        <a:pt x="42" y="215"/>
                      </a:lnTo>
                      <a:lnTo>
                        <a:pt x="41" y="215"/>
                      </a:lnTo>
                      <a:lnTo>
                        <a:pt x="41" y="215"/>
                      </a:lnTo>
                      <a:lnTo>
                        <a:pt x="41" y="215"/>
                      </a:lnTo>
                      <a:lnTo>
                        <a:pt x="41" y="216"/>
                      </a:lnTo>
                      <a:lnTo>
                        <a:pt x="41" y="216"/>
                      </a:lnTo>
                      <a:lnTo>
                        <a:pt x="41" y="216"/>
                      </a:lnTo>
                      <a:lnTo>
                        <a:pt x="41" y="216"/>
                      </a:lnTo>
                      <a:lnTo>
                        <a:pt x="41" y="216"/>
                      </a:lnTo>
                      <a:lnTo>
                        <a:pt x="41" y="216"/>
                      </a:lnTo>
                      <a:lnTo>
                        <a:pt x="40" y="216"/>
                      </a:lnTo>
                      <a:lnTo>
                        <a:pt x="40" y="216"/>
                      </a:lnTo>
                      <a:lnTo>
                        <a:pt x="40" y="216"/>
                      </a:lnTo>
                      <a:lnTo>
                        <a:pt x="41" y="217"/>
                      </a:lnTo>
                      <a:lnTo>
                        <a:pt x="41" y="217"/>
                      </a:lnTo>
                      <a:lnTo>
                        <a:pt x="41" y="217"/>
                      </a:lnTo>
                      <a:lnTo>
                        <a:pt x="41" y="217"/>
                      </a:lnTo>
                      <a:lnTo>
                        <a:pt x="41" y="219"/>
                      </a:lnTo>
                      <a:lnTo>
                        <a:pt x="40" y="219"/>
                      </a:lnTo>
                      <a:lnTo>
                        <a:pt x="40" y="219"/>
                      </a:lnTo>
                      <a:lnTo>
                        <a:pt x="40" y="220"/>
                      </a:lnTo>
                      <a:lnTo>
                        <a:pt x="40" y="219"/>
                      </a:lnTo>
                      <a:lnTo>
                        <a:pt x="41" y="220"/>
                      </a:lnTo>
                      <a:lnTo>
                        <a:pt x="41" y="220"/>
                      </a:lnTo>
                      <a:lnTo>
                        <a:pt x="40" y="220"/>
                      </a:lnTo>
                      <a:lnTo>
                        <a:pt x="40" y="220"/>
                      </a:lnTo>
                      <a:lnTo>
                        <a:pt x="40" y="220"/>
                      </a:lnTo>
                      <a:lnTo>
                        <a:pt x="40" y="221"/>
                      </a:lnTo>
                      <a:lnTo>
                        <a:pt x="40" y="221"/>
                      </a:lnTo>
                      <a:lnTo>
                        <a:pt x="40" y="221"/>
                      </a:lnTo>
                      <a:lnTo>
                        <a:pt x="40" y="221"/>
                      </a:lnTo>
                      <a:lnTo>
                        <a:pt x="39" y="221"/>
                      </a:lnTo>
                      <a:lnTo>
                        <a:pt x="39" y="222"/>
                      </a:lnTo>
                      <a:lnTo>
                        <a:pt x="39" y="222"/>
                      </a:lnTo>
                      <a:lnTo>
                        <a:pt x="41" y="222"/>
                      </a:lnTo>
                      <a:lnTo>
                        <a:pt x="41" y="222"/>
                      </a:lnTo>
                      <a:lnTo>
                        <a:pt x="41" y="222"/>
                      </a:lnTo>
                      <a:lnTo>
                        <a:pt x="40" y="223"/>
                      </a:lnTo>
                      <a:lnTo>
                        <a:pt x="39" y="223"/>
                      </a:lnTo>
                      <a:lnTo>
                        <a:pt x="39" y="223"/>
                      </a:lnTo>
                      <a:lnTo>
                        <a:pt x="39" y="223"/>
                      </a:lnTo>
                      <a:lnTo>
                        <a:pt x="39" y="226"/>
                      </a:lnTo>
                      <a:lnTo>
                        <a:pt x="39" y="227"/>
                      </a:lnTo>
                      <a:lnTo>
                        <a:pt x="39" y="228"/>
                      </a:lnTo>
                      <a:lnTo>
                        <a:pt x="38" y="229"/>
                      </a:lnTo>
                      <a:lnTo>
                        <a:pt x="38" y="230"/>
                      </a:lnTo>
                      <a:lnTo>
                        <a:pt x="38" y="230"/>
                      </a:lnTo>
                      <a:lnTo>
                        <a:pt x="38" y="230"/>
                      </a:lnTo>
                      <a:lnTo>
                        <a:pt x="36" y="230"/>
                      </a:lnTo>
                      <a:lnTo>
                        <a:pt x="38" y="230"/>
                      </a:lnTo>
                      <a:lnTo>
                        <a:pt x="38" y="233"/>
                      </a:lnTo>
                      <a:lnTo>
                        <a:pt x="39" y="233"/>
                      </a:lnTo>
                      <a:lnTo>
                        <a:pt x="39" y="233"/>
                      </a:lnTo>
                      <a:lnTo>
                        <a:pt x="38" y="233"/>
                      </a:lnTo>
                      <a:lnTo>
                        <a:pt x="38" y="233"/>
                      </a:lnTo>
                      <a:lnTo>
                        <a:pt x="38" y="234"/>
                      </a:lnTo>
                      <a:lnTo>
                        <a:pt x="38" y="234"/>
                      </a:lnTo>
                      <a:lnTo>
                        <a:pt x="38" y="234"/>
                      </a:lnTo>
                      <a:lnTo>
                        <a:pt x="39" y="234"/>
                      </a:lnTo>
                      <a:lnTo>
                        <a:pt x="39" y="234"/>
                      </a:lnTo>
                      <a:lnTo>
                        <a:pt x="38" y="235"/>
                      </a:lnTo>
                      <a:lnTo>
                        <a:pt x="38" y="235"/>
                      </a:lnTo>
                      <a:lnTo>
                        <a:pt x="38" y="235"/>
                      </a:lnTo>
                      <a:lnTo>
                        <a:pt x="38" y="236"/>
                      </a:lnTo>
                      <a:lnTo>
                        <a:pt x="38" y="236"/>
                      </a:lnTo>
                      <a:lnTo>
                        <a:pt x="38" y="236"/>
                      </a:lnTo>
                      <a:lnTo>
                        <a:pt x="36" y="237"/>
                      </a:lnTo>
                      <a:lnTo>
                        <a:pt x="36" y="239"/>
                      </a:lnTo>
                      <a:lnTo>
                        <a:pt x="36" y="240"/>
                      </a:lnTo>
                      <a:lnTo>
                        <a:pt x="36" y="241"/>
                      </a:lnTo>
                      <a:lnTo>
                        <a:pt x="36" y="242"/>
                      </a:lnTo>
                      <a:lnTo>
                        <a:pt x="36" y="243"/>
                      </a:lnTo>
                      <a:lnTo>
                        <a:pt x="36" y="245"/>
                      </a:lnTo>
                      <a:lnTo>
                        <a:pt x="36" y="245"/>
                      </a:lnTo>
                      <a:lnTo>
                        <a:pt x="36" y="243"/>
                      </a:lnTo>
                      <a:lnTo>
                        <a:pt x="36" y="243"/>
                      </a:lnTo>
                      <a:lnTo>
                        <a:pt x="36" y="243"/>
                      </a:lnTo>
                      <a:lnTo>
                        <a:pt x="36" y="243"/>
                      </a:lnTo>
                      <a:lnTo>
                        <a:pt x="38" y="249"/>
                      </a:lnTo>
                      <a:lnTo>
                        <a:pt x="38" y="250"/>
                      </a:lnTo>
                      <a:lnTo>
                        <a:pt x="39" y="250"/>
                      </a:lnTo>
                      <a:lnTo>
                        <a:pt x="39" y="252"/>
                      </a:lnTo>
                      <a:lnTo>
                        <a:pt x="39" y="252"/>
                      </a:lnTo>
                      <a:lnTo>
                        <a:pt x="39" y="252"/>
                      </a:lnTo>
                      <a:lnTo>
                        <a:pt x="40" y="253"/>
                      </a:lnTo>
                      <a:lnTo>
                        <a:pt x="40" y="252"/>
                      </a:lnTo>
                      <a:lnTo>
                        <a:pt x="41" y="250"/>
                      </a:lnTo>
                      <a:lnTo>
                        <a:pt x="41" y="250"/>
                      </a:lnTo>
                      <a:lnTo>
                        <a:pt x="41" y="249"/>
                      </a:lnTo>
                      <a:lnTo>
                        <a:pt x="40" y="249"/>
                      </a:lnTo>
                      <a:lnTo>
                        <a:pt x="41" y="249"/>
                      </a:lnTo>
                      <a:lnTo>
                        <a:pt x="41" y="248"/>
                      </a:lnTo>
                      <a:lnTo>
                        <a:pt x="41" y="248"/>
                      </a:lnTo>
                      <a:lnTo>
                        <a:pt x="42" y="248"/>
                      </a:lnTo>
                      <a:lnTo>
                        <a:pt x="42" y="248"/>
                      </a:lnTo>
                      <a:lnTo>
                        <a:pt x="43" y="248"/>
                      </a:lnTo>
                      <a:lnTo>
                        <a:pt x="43" y="248"/>
                      </a:lnTo>
                      <a:lnTo>
                        <a:pt x="45" y="247"/>
                      </a:lnTo>
                      <a:lnTo>
                        <a:pt x="45" y="247"/>
                      </a:lnTo>
                      <a:lnTo>
                        <a:pt x="45" y="247"/>
                      </a:lnTo>
                      <a:lnTo>
                        <a:pt x="45" y="248"/>
                      </a:lnTo>
                      <a:lnTo>
                        <a:pt x="45" y="249"/>
                      </a:lnTo>
                      <a:lnTo>
                        <a:pt x="45" y="249"/>
                      </a:lnTo>
                      <a:lnTo>
                        <a:pt x="46" y="249"/>
                      </a:lnTo>
                      <a:lnTo>
                        <a:pt x="46" y="249"/>
                      </a:lnTo>
                      <a:lnTo>
                        <a:pt x="46" y="250"/>
                      </a:lnTo>
                      <a:lnTo>
                        <a:pt x="46" y="249"/>
                      </a:lnTo>
                      <a:lnTo>
                        <a:pt x="47" y="250"/>
                      </a:lnTo>
                      <a:lnTo>
                        <a:pt x="47" y="253"/>
                      </a:lnTo>
                      <a:lnTo>
                        <a:pt x="47" y="253"/>
                      </a:lnTo>
                      <a:lnTo>
                        <a:pt x="47" y="253"/>
                      </a:lnTo>
                      <a:lnTo>
                        <a:pt x="47" y="254"/>
                      </a:lnTo>
                      <a:lnTo>
                        <a:pt x="48" y="254"/>
                      </a:lnTo>
                      <a:lnTo>
                        <a:pt x="48" y="255"/>
                      </a:lnTo>
                      <a:lnTo>
                        <a:pt x="49" y="254"/>
                      </a:lnTo>
                      <a:lnTo>
                        <a:pt x="49" y="254"/>
                      </a:lnTo>
                      <a:lnTo>
                        <a:pt x="50" y="254"/>
                      </a:lnTo>
                      <a:lnTo>
                        <a:pt x="52" y="256"/>
                      </a:lnTo>
                      <a:lnTo>
                        <a:pt x="52" y="256"/>
                      </a:lnTo>
                      <a:lnTo>
                        <a:pt x="52" y="257"/>
                      </a:lnTo>
                      <a:lnTo>
                        <a:pt x="53" y="256"/>
                      </a:lnTo>
                      <a:lnTo>
                        <a:pt x="53" y="256"/>
                      </a:lnTo>
                      <a:lnTo>
                        <a:pt x="53" y="259"/>
                      </a:lnTo>
                      <a:lnTo>
                        <a:pt x="53" y="259"/>
                      </a:lnTo>
                      <a:lnTo>
                        <a:pt x="53" y="259"/>
                      </a:lnTo>
                      <a:lnTo>
                        <a:pt x="52" y="259"/>
                      </a:lnTo>
                      <a:lnTo>
                        <a:pt x="52" y="259"/>
                      </a:lnTo>
                      <a:lnTo>
                        <a:pt x="52" y="260"/>
                      </a:lnTo>
                      <a:lnTo>
                        <a:pt x="52" y="261"/>
                      </a:lnTo>
                      <a:lnTo>
                        <a:pt x="53" y="261"/>
                      </a:lnTo>
                      <a:lnTo>
                        <a:pt x="54" y="261"/>
                      </a:lnTo>
                      <a:lnTo>
                        <a:pt x="54" y="261"/>
                      </a:lnTo>
                      <a:lnTo>
                        <a:pt x="54" y="260"/>
                      </a:lnTo>
                      <a:lnTo>
                        <a:pt x="54" y="261"/>
                      </a:lnTo>
                      <a:lnTo>
                        <a:pt x="54" y="261"/>
                      </a:lnTo>
                      <a:lnTo>
                        <a:pt x="55" y="261"/>
                      </a:lnTo>
                      <a:lnTo>
                        <a:pt x="56" y="262"/>
                      </a:lnTo>
                      <a:lnTo>
                        <a:pt x="56" y="262"/>
                      </a:lnTo>
                      <a:lnTo>
                        <a:pt x="56" y="263"/>
                      </a:lnTo>
                      <a:lnTo>
                        <a:pt x="56" y="265"/>
                      </a:lnTo>
                      <a:lnTo>
                        <a:pt x="56" y="265"/>
                      </a:lnTo>
                      <a:lnTo>
                        <a:pt x="57" y="266"/>
                      </a:lnTo>
                      <a:lnTo>
                        <a:pt x="57" y="266"/>
                      </a:lnTo>
                      <a:lnTo>
                        <a:pt x="59" y="267"/>
                      </a:lnTo>
                      <a:lnTo>
                        <a:pt x="57" y="268"/>
                      </a:lnTo>
                      <a:lnTo>
                        <a:pt x="60" y="269"/>
                      </a:lnTo>
                      <a:lnTo>
                        <a:pt x="61" y="270"/>
                      </a:lnTo>
                      <a:lnTo>
                        <a:pt x="61" y="269"/>
                      </a:lnTo>
                      <a:lnTo>
                        <a:pt x="61" y="269"/>
                      </a:lnTo>
                      <a:lnTo>
                        <a:pt x="61" y="268"/>
                      </a:lnTo>
                      <a:lnTo>
                        <a:pt x="61" y="268"/>
                      </a:lnTo>
                      <a:lnTo>
                        <a:pt x="62" y="269"/>
                      </a:lnTo>
                      <a:lnTo>
                        <a:pt x="62" y="269"/>
                      </a:lnTo>
                      <a:lnTo>
                        <a:pt x="63" y="268"/>
                      </a:lnTo>
                      <a:lnTo>
                        <a:pt x="63" y="268"/>
                      </a:lnTo>
                      <a:lnTo>
                        <a:pt x="63" y="269"/>
                      </a:lnTo>
                      <a:lnTo>
                        <a:pt x="63" y="270"/>
                      </a:lnTo>
                      <a:lnTo>
                        <a:pt x="62" y="270"/>
                      </a:lnTo>
                      <a:lnTo>
                        <a:pt x="62" y="270"/>
                      </a:lnTo>
                      <a:lnTo>
                        <a:pt x="63" y="272"/>
                      </a:lnTo>
                      <a:lnTo>
                        <a:pt x="63" y="273"/>
                      </a:lnTo>
                      <a:lnTo>
                        <a:pt x="63" y="273"/>
                      </a:lnTo>
                      <a:lnTo>
                        <a:pt x="63" y="273"/>
                      </a:lnTo>
                      <a:lnTo>
                        <a:pt x="63" y="272"/>
                      </a:lnTo>
                      <a:lnTo>
                        <a:pt x="65" y="272"/>
                      </a:lnTo>
                      <a:lnTo>
                        <a:pt x="65" y="273"/>
                      </a:lnTo>
                      <a:lnTo>
                        <a:pt x="65" y="274"/>
                      </a:lnTo>
                      <a:lnTo>
                        <a:pt x="65" y="275"/>
                      </a:lnTo>
                      <a:lnTo>
                        <a:pt x="65" y="275"/>
                      </a:lnTo>
                      <a:lnTo>
                        <a:pt x="65" y="276"/>
                      </a:lnTo>
                      <a:lnTo>
                        <a:pt x="66" y="277"/>
                      </a:lnTo>
                      <a:lnTo>
                        <a:pt x="65" y="277"/>
                      </a:lnTo>
                      <a:lnTo>
                        <a:pt x="65" y="279"/>
                      </a:lnTo>
                      <a:lnTo>
                        <a:pt x="66" y="279"/>
                      </a:lnTo>
                      <a:lnTo>
                        <a:pt x="66" y="280"/>
                      </a:lnTo>
                      <a:lnTo>
                        <a:pt x="67" y="279"/>
                      </a:lnTo>
                      <a:lnTo>
                        <a:pt x="67" y="280"/>
                      </a:lnTo>
                      <a:lnTo>
                        <a:pt x="68" y="281"/>
                      </a:lnTo>
                      <a:lnTo>
                        <a:pt x="68" y="281"/>
                      </a:lnTo>
                      <a:lnTo>
                        <a:pt x="69" y="281"/>
                      </a:lnTo>
                      <a:lnTo>
                        <a:pt x="69" y="281"/>
                      </a:lnTo>
                      <a:lnTo>
                        <a:pt x="69" y="282"/>
                      </a:lnTo>
                      <a:lnTo>
                        <a:pt x="70" y="282"/>
                      </a:lnTo>
                      <a:lnTo>
                        <a:pt x="70" y="282"/>
                      </a:lnTo>
                      <a:lnTo>
                        <a:pt x="70" y="285"/>
                      </a:lnTo>
                      <a:lnTo>
                        <a:pt x="72" y="285"/>
                      </a:lnTo>
                      <a:lnTo>
                        <a:pt x="73" y="286"/>
                      </a:lnTo>
                      <a:lnTo>
                        <a:pt x="73" y="286"/>
                      </a:lnTo>
                      <a:lnTo>
                        <a:pt x="73" y="286"/>
                      </a:lnTo>
                      <a:lnTo>
                        <a:pt x="73" y="288"/>
                      </a:lnTo>
                      <a:lnTo>
                        <a:pt x="74" y="286"/>
                      </a:lnTo>
                      <a:lnTo>
                        <a:pt x="74" y="286"/>
                      </a:lnTo>
                      <a:lnTo>
                        <a:pt x="74" y="285"/>
                      </a:lnTo>
                      <a:lnTo>
                        <a:pt x="74" y="282"/>
                      </a:lnTo>
                      <a:lnTo>
                        <a:pt x="74" y="282"/>
                      </a:lnTo>
                      <a:lnTo>
                        <a:pt x="75" y="281"/>
                      </a:lnTo>
                      <a:lnTo>
                        <a:pt x="75" y="282"/>
                      </a:lnTo>
                      <a:lnTo>
                        <a:pt x="76" y="282"/>
                      </a:lnTo>
                      <a:lnTo>
                        <a:pt x="77" y="285"/>
                      </a:lnTo>
                      <a:lnTo>
                        <a:pt x="77" y="285"/>
                      </a:lnTo>
                      <a:lnTo>
                        <a:pt x="79" y="285"/>
                      </a:lnTo>
                      <a:lnTo>
                        <a:pt x="80" y="286"/>
                      </a:lnTo>
                      <a:lnTo>
                        <a:pt x="81" y="286"/>
                      </a:lnTo>
                      <a:lnTo>
                        <a:pt x="83" y="287"/>
                      </a:lnTo>
                      <a:lnTo>
                        <a:pt x="85" y="286"/>
                      </a:lnTo>
                      <a:lnTo>
                        <a:pt x="85" y="286"/>
                      </a:lnTo>
                      <a:lnTo>
                        <a:pt x="87" y="289"/>
                      </a:lnTo>
                      <a:lnTo>
                        <a:pt x="87" y="289"/>
                      </a:lnTo>
                      <a:lnTo>
                        <a:pt x="87" y="290"/>
                      </a:lnTo>
                      <a:lnTo>
                        <a:pt x="87" y="290"/>
                      </a:lnTo>
                      <a:lnTo>
                        <a:pt x="88" y="290"/>
                      </a:lnTo>
                      <a:lnTo>
                        <a:pt x="89" y="290"/>
                      </a:lnTo>
                      <a:lnTo>
                        <a:pt x="90" y="290"/>
                      </a:lnTo>
                      <a:lnTo>
                        <a:pt x="92" y="290"/>
                      </a:lnTo>
                      <a:lnTo>
                        <a:pt x="92" y="293"/>
                      </a:lnTo>
                      <a:lnTo>
                        <a:pt x="90" y="293"/>
                      </a:lnTo>
                      <a:lnTo>
                        <a:pt x="92" y="294"/>
                      </a:lnTo>
                      <a:lnTo>
                        <a:pt x="92" y="295"/>
                      </a:lnTo>
                      <a:lnTo>
                        <a:pt x="90" y="296"/>
                      </a:lnTo>
                      <a:lnTo>
                        <a:pt x="90" y="297"/>
                      </a:lnTo>
                      <a:lnTo>
                        <a:pt x="90" y="297"/>
                      </a:lnTo>
                      <a:lnTo>
                        <a:pt x="89" y="301"/>
                      </a:lnTo>
                      <a:lnTo>
                        <a:pt x="90" y="301"/>
                      </a:lnTo>
                      <a:lnTo>
                        <a:pt x="90" y="301"/>
                      </a:lnTo>
                      <a:lnTo>
                        <a:pt x="93" y="303"/>
                      </a:lnTo>
                      <a:lnTo>
                        <a:pt x="94" y="302"/>
                      </a:lnTo>
                      <a:lnTo>
                        <a:pt x="94" y="302"/>
                      </a:lnTo>
                      <a:lnTo>
                        <a:pt x="95" y="301"/>
                      </a:lnTo>
                      <a:lnTo>
                        <a:pt x="95" y="300"/>
                      </a:lnTo>
                      <a:lnTo>
                        <a:pt x="96" y="300"/>
                      </a:lnTo>
                      <a:lnTo>
                        <a:pt x="97" y="300"/>
                      </a:lnTo>
                      <a:lnTo>
                        <a:pt x="99" y="300"/>
                      </a:lnTo>
                      <a:lnTo>
                        <a:pt x="100" y="297"/>
                      </a:lnTo>
                      <a:lnTo>
                        <a:pt x="101" y="299"/>
                      </a:lnTo>
                      <a:lnTo>
                        <a:pt x="101" y="300"/>
                      </a:lnTo>
                      <a:lnTo>
                        <a:pt x="102" y="300"/>
                      </a:lnTo>
                      <a:lnTo>
                        <a:pt x="102" y="300"/>
                      </a:lnTo>
                      <a:lnTo>
                        <a:pt x="102" y="300"/>
                      </a:lnTo>
                      <a:lnTo>
                        <a:pt x="103" y="301"/>
                      </a:lnTo>
                      <a:lnTo>
                        <a:pt x="105" y="301"/>
                      </a:lnTo>
                      <a:lnTo>
                        <a:pt x="106" y="301"/>
                      </a:lnTo>
                      <a:lnTo>
                        <a:pt x="106" y="301"/>
                      </a:lnTo>
                      <a:lnTo>
                        <a:pt x="106" y="300"/>
                      </a:lnTo>
                      <a:lnTo>
                        <a:pt x="107" y="300"/>
                      </a:lnTo>
                      <a:lnTo>
                        <a:pt x="107" y="300"/>
                      </a:lnTo>
                      <a:lnTo>
                        <a:pt x="107" y="300"/>
                      </a:lnTo>
                      <a:lnTo>
                        <a:pt x="107" y="296"/>
                      </a:lnTo>
                      <a:lnTo>
                        <a:pt x="109" y="294"/>
                      </a:lnTo>
                      <a:lnTo>
                        <a:pt x="113" y="292"/>
                      </a:lnTo>
                      <a:lnTo>
                        <a:pt x="113" y="290"/>
                      </a:lnTo>
                      <a:lnTo>
                        <a:pt x="110" y="290"/>
                      </a:lnTo>
                      <a:lnTo>
                        <a:pt x="110" y="290"/>
                      </a:lnTo>
                      <a:lnTo>
                        <a:pt x="109" y="292"/>
                      </a:lnTo>
                      <a:lnTo>
                        <a:pt x="108" y="290"/>
                      </a:lnTo>
                      <a:lnTo>
                        <a:pt x="108" y="289"/>
                      </a:lnTo>
                      <a:lnTo>
                        <a:pt x="107" y="288"/>
                      </a:lnTo>
                      <a:lnTo>
                        <a:pt x="107" y="287"/>
                      </a:lnTo>
                      <a:lnTo>
                        <a:pt x="107" y="286"/>
                      </a:lnTo>
                      <a:lnTo>
                        <a:pt x="106" y="286"/>
                      </a:lnTo>
                      <a:lnTo>
                        <a:pt x="103" y="286"/>
                      </a:lnTo>
                      <a:lnTo>
                        <a:pt x="105" y="285"/>
                      </a:lnTo>
                      <a:lnTo>
                        <a:pt x="103" y="285"/>
                      </a:lnTo>
                      <a:lnTo>
                        <a:pt x="102" y="282"/>
                      </a:lnTo>
                      <a:lnTo>
                        <a:pt x="102" y="281"/>
                      </a:lnTo>
                      <a:lnTo>
                        <a:pt x="101" y="281"/>
                      </a:lnTo>
                      <a:lnTo>
                        <a:pt x="101" y="280"/>
                      </a:lnTo>
                      <a:lnTo>
                        <a:pt x="99" y="280"/>
                      </a:lnTo>
                      <a:lnTo>
                        <a:pt x="99" y="279"/>
                      </a:lnTo>
                      <a:lnTo>
                        <a:pt x="99" y="279"/>
                      </a:lnTo>
                      <a:lnTo>
                        <a:pt x="97" y="279"/>
                      </a:lnTo>
                      <a:lnTo>
                        <a:pt x="96" y="277"/>
                      </a:lnTo>
                      <a:lnTo>
                        <a:pt x="95" y="276"/>
                      </a:lnTo>
                      <a:lnTo>
                        <a:pt x="94" y="276"/>
                      </a:lnTo>
                      <a:lnTo>
                        <a:pt x="93" y="277"/>
                      </a:lnTo>
                      <a:lnTo>
                        <a:pt x="94" y="277"/>
                      </a:lnTo>
                      <a:lnTo>
                        <a:pt x="95" y="279"/>
                      </a:lnTo>
                      <a:lnTo>
                        <a:pt x="94" y="279"/>
                      </a:lnTo>
                      <a:lnTo>
                        <a:pt x="94" y="279"/>
                      </a:lnTo>
                      <a:lnTo>
                        <a:pt x="93" y="277"/>
                      </a:lnTo>
                      <a:lnTo>
                        <a:pt x="93" y="279"/>
                      </a:lnTo>
                      <a:lnTo>
                        <a:pt x="90" y="279"/>
                      </a:lnTo>
                      <a:lnTo>
                        <a:pt x="89" y="279"/>
                      </a:lnTo>
                      <a:lnTo>
                        <a:pt x="89" y="279"/>
                      </a:lnTo>
                      <a:lnTo>
                        <a:pt x="89" y="279"/>
                      </a:lnTo>
                      <a:lnTo>
                        <a:pt x="88" y="277"/>
                      </a:lnTo>
                      <a:lnTo>
                        <a:pt x="87" y="277"/>
                      </a:lnTo>
                      <a:lnTo>
                        <a:pt x="86" y="276"/>
                      </a:lnTo>
                      <a:lnTo>
                        <a:pt x="85" y="276"/>
                      </a:lnTo>
                      <a:lnTo>
                        <a:pt x="85" y="275"/>
                      </a:lnTo>
                      <a:lnTo>
                        <a:pt x="82" y="275"/>
                      </a:lnTo>
                      <a:lnTo>
                        <a:pt x="82" y="273"/>
                      </a:lnTo>
                      <a:lnTo>
                        <a:pt x="82" y="272"/>
                      </a:lnTo>
                      <a:lnTo>
                        <a:pt x="81" y="272"/>
                      </a:lnTo>
                      <a:lnTo>
                        <a:pt x="81" y="273"/>
                      </a:lnTo>
                      <a:lnTo>
                        <a:pt x="80" y="273"/>
                      </a:lnTo>
                      <a:lnTo>
                        <a:pt x="79" y="273"/>
                      </a:lnTo>
                      <a:lnTo>
                        <a:pt x="79" y="272"/>
                      </a:lnTo>
                      <a:lnTo>
                        <a:pt x="79" y="272"/>
                      </a:lnTo>
                      <a:lnTo>
                        <a:pt x="76" y="272"/>
                      </a:lnTo>
                      <a:lnTo>
                        <a:pt x="77" y="270"/>
                      </a:lnTo>
                      <a:lnTo>
                        <a:pt x="76" y="270"/>
                      </a:lnTo>
                      <a:lnTo>
                        <a:pt x="76" y="269"/>
                      </a:lnTo>
                      <a:lnTo>
                        <a:pt x="75" y="268"/>
                      </a:lnTo>
                      <a:lnTo>
                        <a:pt x="75" y="268"/>
                      </a:lnTo>
                      <a:lnTo>
                        <a:pt x="76" y="268"/>
                      </a:lnTo>
                      <a:lnTo>
                        <a:pt x="75" y="267"/>
                      </a:lnTo>
                      <a:lnTo>
                        <a:pt x="74" y="266"/>
                      </a:lnTo>
                      <a:lnTo>
                        <a:pt x="73" y="266"/>
                      </a:lnTo>
                      <a:lnTo>
                        <a:pt x="73" y="263"/>
                      </a:lnTo>
                      <a:lnTo>
                        <a:pt x="72" y="261"/>
                      </a:lnTo>
                      <a:lnTo>
                        <a:pt x="73" y="261"/>
                      </a:lnTo>
                      <a:lnTo>
                        <a:pt x="74" y="260"/>
                      </a:lnTo>
                      <a:lnTo>
                        <a:pt x="74" y="260"/>
                      </a:lnTo>
                      <a:lnTo>
                        <a:pt x="75" y="260"/>
                      </a:lnTo>
                      <a:lnTo>
                        <a:pt x="75" y="261"/>
                      </a:lnTo>
                      <a:lnTo>
                        <a:pt x="75" y="263"/>
                      </a:lnTo>
                      <a:lnTo>
                        <a:pt x="75" y="263"/>
                      </a:lnTo>
                      <a:lnTo>
                        <a:pt x="75" y="266"/>
                      </a:lnTo>
                      <a:lnTo>
                        <a:pt x="75" y="265"/>
                      </a:lnTo>
                      <a:lnTo>
                        <a:pt x="76" y="263"/>
                      </a:lnTo>
                      <a:lnTo>
                        <a:pt x="76" y="265"/>
                      </a:lnTo>
                      <a:lnTo>
                        <a:pt x="77" y="269"/>
                      </a:lnTo>
                      <a:lnTo>
                        <a:pt x="77" y="270"/>
                      </a:lnTo>
                      <a:lnTo>
                        <a:pt x="79" y="270"/>
                      </a:lnTo>
                      <a:lnTo>
                        <a:pt x="79" y="270"/>
                      </a:lnTo>
                      <a:lnTo>
                        <a:pt x="81" y="272"/>
                      </a:lnTo>
                      <a:lnTo>
                        <a:pt x="81" y="272"/>
                      </a:lnTo>
                      <a:lnTo>
                        <a:pt x="80" y="269"/>
                      </a:lnTo>
                      <a:lnTo>
                        <a:pt x="80" y="269"/>
                      </a:lnTo>
                      <a:lnTo>
                        <a:pt x="80" y="268"/>
                      </a:lnTo>
                      <a:lnTo>
                        <a:pt x="80" y="267"/>
                      </a:lnTo>
                      <a:lnTo>
                        <a:pt x="79" y="266"/>
                      </a:lnTo>
                      <a:lnTo>
                        <a:pt x="77" y="266"/>
                      </a:lnTo>
                      <a:lnTo>
                        <a:pt x="79" y="265"/>
                      </a:lnTo>
                      <a:lnTo>
                        <a:pt x="79" y="263"/>
                      </a:lnTo>
                      <a:lnTo>
                        <a:pt x="77" y="262"/>
                      </a:lnTo>
                      <a:lnTo>
                        <a:pt x="75" y="261"/>
                      </a:lnTo>
                      <a:lnTo>
                        <a:pt x="77" y="260"/>
                      </a:lnTo>
                      <a:lnTo>
                        <a:pt x="77" y="260"/>
                      </a:lnTo>
                      <a:lnTo>
                        <a:pt x="77" y="259"/>
                      </a:lnTo>
                      <a:lnTo>
                        <a:pt x="77" y="257"/>
                      </a:lnTo>
                      <a:lnTo>
                        <a:pt x="77" y="256"/>
                      </a:lnTo>
                      <a:lnTo>
                        <a:pt x="76" y="256"/>
                      </a:lnTo>
                      <a:lnTo>
                        <a:pt x="76" y="256"/>
                      </a:lnTo>
                      <a:lnTo>
                        <a:pt x="76" y="255"/>
                      </a:lnTo>
                      <a:lnTo>
                        <a:pt x="76" y="254"/>
                      </a:lnTo>
                      <a:lnTo>
                        <a:pt x="76" y="253"/>
                      </a:lnTo>
                      <a:lnTo>
                        <a:pt x="75" y="253"/>
                      </a:lnTo>
                      <a:lnTo>
                        <a:pt x="74" y="253"/>
                      </a:lnTo>
                      <a:lnTo>
                        <a:pt x="75" y="252"/>
                      </a:lnTo>
                      <a:lnTo>
                        <a:pt x="75" y="250"/>
                      </a:lnTo>
                      <a:lnTo>
                        <a:pt x="75" y="249"/>
                      </a:lnTo>
                      <a:lnTo>
                        <a:pt x="74" y="249"/>
                      </a:lnTo>
                      <a:lnTo>
                        <a:pt x="74" y="247"/>
                      </a:lnTo>
                      <a:lnTo>
                        <a:pt x="73" y="246"/>
                      </a:lnTo>
                      <a:lnTo>
                        <a:pt x="72" y="245"/>
                      </a:lnTo>
                      <a:lnTo>
                        <a:pt x="70" y="245"/>
                      </a:lnTo>
                      <a:lnTo>
                        <a:pt x="70" y="246"/>
                      </a:lnTo>
                      <a:lnTo>
                        <a:pt x="72" y="246"/>
                      </a:lnTo>
                      <a:lnTo>
                        <a:pt x="72" y="247"/>
                      </a:lnTo>
                      <a:lnTo>
                        <a:pt x="72" y="247"/>
                      </a:lnTo>
                      <a:lnTo>
                        <a:pt x="70" y="247"/>
                      </a:lnTo>
                      <a:lnTo>
                        <a:pt x="70" y="247"/>
                      </a:lnTo>
                      <a:lnTo>
                        <a:pt x="69" y="245"/>
                      </a:lnTo>
                      <a:lnTo>
                        <a:pt x="68" y="243"/>
                      </a:lnTo>
                      <a:lnTo>
                        <a:pt x="68" y="242"/>
                      </a:lnTo>
                      <a:lnTo>
                        <a:pt x="69" y="242"/>
                      </a:lnTo>
                      <a:lnTo>
                        <a:pt x="69" y="241"/>
                      </a:lnTo>
                      <a:lnTo>
                        <a:pt x="69" y="240"/>
                      </a:lnTo>
                      <a:lnTo>
                        <a:pt x="68" y="239"/>
                      </a:lnTo>
                      <a:lnTo>
                        <a:pt x="68" y="237"/>
                      </a:lnTo>
                      <a:lnTo>
                        <a:pt x="67" y="237"/>
                      </a:lnTo>
                      <a:lnTo>
                        <a:pt x="67" y="235"/>
                      </a:lnTo>
                      <a:lnTo>
                        <a:pt x="67" y="235"/>
                      </a:lnTo>
                      <a:lnTo>
                        <a:pt x="67" y="235"/>
                      </a:lnTo>
                      <a:lnTo>
                        <a:pt x="67" y="235"/>
                      </a:lnTo>
                      <a:lnTo>
                        <a:pt x="67" y="234"/>
                      </a:lnTo>
                      <a:lnTo>
                        <a:pt x="67" y="233"/>
                      </a:lnTo>
                      <a:lnTo>
                        <a:pt x="66" y="232"/>
                      </a:lnTo>
                      <a:lnTo>
                        <a:pt x="66" y="230"/>
                      </a:lnTo>
                      <a:lnTo>
                        <a:pt x="66" y="230"/>
                      </a:lnTo>
                      <a:lnTo>
                        <a:pt x="66" y="229"/>
                      </a:lnTo>
                      <a:lnTo>
                        <a:pt x="66" y="229"/>
                      </a:lnTo>
                      <a:lnTo>
                        <a:pt x="65" y="228"/>
                      </a:lnTo>
                      <a:lnTo>
                        <a:pt x="65" y="228"/>
                      </a:lnTo>
                      <a:lnTo>
                        <a:pt x="63" y="228"/>
                      </a:lnTo>
                      <a:lnTo>
                        <a:pt x="62" y="228"/>
                      </a:lnTo>
                      <a:lnTo>
                        <a:pt x="62" y="228"/>
                      </a:lnTo>
                      <a:lnTo>
                        <a:pt x="62" y="228"/>
                      </a:lnTo>
                      <a:lnTo>
                        <a:pt x="61" y="228"/>
                      </a:lnTo>
                      <a:lnTo>
                        <a:pt x="61" y="229"/>
                      </a:lnTo>
                      <a:lnTo>
                        <a:pt x="60" y="228"/>
                      </a:lnTo>
                      <a:lnTo>
                        <a:pt x="59" y="230"/>
                      </a:lnTo>
                      <a:lnTo>
                        <a:pt x="57" y="230"/>
                      </a:lnTo>
                      <a:lnTo>
                        <a:pt x="56" y="230"/>
                      </a:lnTo>
                      <a:lnTo>
                        <a:pt x="55" y="229"/>
                      </a:lnTo>
                      <a:lnTo>
                        <a:pt x="54" y="230"/>
                      </a:lnTo>
                      <a:lnTo>
                        <a:pt x="54" y="229"/>
                      </a:lnTo>
                      <a:lnTo>
                        <a:pt x="54" y="228"/>
                      </a:lnTo>
                      <a:lnTo>
                        <a:pt x="55" y="227"/>
                      </a:lnTo>
                      <a:lnTo>
                        <a:pt x="54" y="225"/>
                      </a:lnTo>
                      <a:lnTo>
                        <a:pt x="53" y="223"/>
                      </a:lnTo>
                      <a:lnTo>
                        <a:pt x="53" y="220"/>
                      </a:lnTo>
                      <a:lnTo>
                        <a:pt x="54" y="221"/>
                      </a:lnTo>
                      <a:lnTo>
                        <a:pt x="53" y="222"/>
                      </a:lnTo>
                      <a:lnTo>
                        <a:pt x="53" y="221"/>
                      </a:lnTo>
                      <a:lnTo>
                        <a:pt x="52" y="219"/>
                      </a:lnTo>
                      <a:lnTo>
                        <a:pt x="52" y="217"/>
                      </a:lnTo>
                      <a:lnTo>
                        <a:pt x="52" y="216"/>
                      </a:lnTo>
                      <a:lnTo>
                        <a:pt x="53" y="215"/>
                      </a:lnTo>
                      <a:lnTo>
                        <a:pt x="52" y="214"/>
                      </a:lnTo>
                      <a:lnTo>
                        <a:pt x="52" y="214"/>
                      </a:lnTo>
                      <a:lnTo>
                        <a:pt x="52" y="214"/>
                      </a:lnTo>
                      <a:lnTo>
                        <a:pt x="52" y="213"/>
                      </a:lnTo>
                      <a:lnTo>
                        <a:pt x="50" y="212"/>
                      </a:lnTo>
                      <a:lnTo>
                        <a:pt x="52" y="209"/>
                      </a:lnTo>
                      <a:lnTo>
                        <a:pt x="52" y="209"/>
                      </a:lnTo>
                      <a:lnTo>
                        <a:pt x="53" y="209"/>
                      </a:lnTo>
                      <a:lnTo>
                        <a:pt x="54" y="208"/>
                      </a:lnTo>
                      <a:lnTo>
                        <a:pt x="53" y="209"/>
                      </a:lnTo>
                      <a:lnTo>
                        <a:pt x="52" y="209"/>
                      </a:lnTo>
                      <a:lnTo>
                        <a:pt x="52" y="209"/>
                      </a:lnTo>
                      <a:lnTo>
                        <a:pt x="52" y="209"/>
                      </a:lnTo>
                      <a:lnTo>
                        <a:pt x="52" y="208"/>
                      </a:lnTo>
                      <a:lnTo>
                        <a:pt x="54" y="207"/>
                      </a:lnTo>
                      <a:lnTo>
                        <a:pt x="55" y="206"/>
                      </a:lnTo>
                      <a:lnTo>
                        <a:pt x="54" y="205"/>
                      </a:lnTo>
                      <a:lnTo>
                        <a:pt x="54" y="205"/>
                      </a:lnTo>
                      <a:lnTo>
                        <a:pt x="54" y="203"/>
                      </a:lnTo>
                      <a:lnTo>
                        <a:pt x="55" y="202"/>
                      </a:lnTo>
                      <a:lnTo>
                        <a:pt x="55" y="201"/>
                      </a:lnTo>
                      <a:lnTo>
                        <a:pt x="55" y="200"/>
                      </a:lnTo>
                      <a:lnTo>
                        <a:pt x="55" y="197"/>
                      </a:lnTo>
                      <a:lnTo>
                        <a:pt x="55" y="197"/>
                      </a:lnTo>
                      <a:lnTo>
                        <a:pt x="55" y="196"/>
                      </a:lnTo>
                      <a:lnTo>
                        <a:pt x="56" y="195"/>
                      </a:lnTo>
                      <a:lnTo>
                        <a:pt x="56" y="195"/>
                      </a:lnTo>
                      <a:lnTo>
                        <a:pt x="56" y="194"/>
                      </a:lnTo>
                      <a:lnTo>
                        <a:pt x="57" y="194"/>
                      </a:lnTo>
                      <a:lnTo>
                        <a:pt x="57" y="193"/>
                      </a:lnTo>
                      <a:lnTo>
                        <a:pt x="57" y="192"/>
                      </a:lnTo>
                      <a:lnTo>
                        <a:pt x="57" y="190"/>
                      </a:lnTo>
                      <a:lnTo>
                        <a:pt x="57" y="190"/>
                      </a:lnTo>
                      <a:lnTo>
                        <a:pt x="57" y="188"/>
                      </a:lnTo>
                      <a:lnTo>
                        <a:pt x="57" y="187"/>
                      </a:lnTo>
                      <a:lnTo>
                        <a:pt x="57" y="186"/>
                      </a:lnTo>
                      <a:lnTo>
                        <a:pt x="59" y="186"/>
                      </a:lnTo>
                      <a:lnTo>
                        <a:pt x="59" y="186"/>
                      </a:lnTo>
                      <a:lnTo>
                        <a:pt x="59" y="185"/>
                      </a:lnTo>
                      <a:lnTo>
                        <a:pt x="60" y="183"/>
                      </a:lnTo>
                      <a:lnTo>
                        <a:pt x="60" y="183"/>
                      </a:lnTo>
                      <a:lnTo>
                        <a:pt x="61" y="181"/>
                      </a:lnTo>
                      <a:lnTo>
                        <a:pt x="61" y="181"/>
                      </a:lnTo>
                      <a:lnTo>
                        <a:pt x="60" y="182"/>
                      </a:lnTo>
                      <a:lnTo>
                        <a:pt x="60" y="181"/>
                      </a:lnTo>
                      <a:lnTo>
                        <a:pt x="61" y="180"/>
                      </a:lnTo>
                      <a:lnTo>
                        <a:pt x="62" y="178"/>
                      </a:lnTo>
                      <a:lnTo>
                        <a:pt x="62" y="179"/>
                      </a:lnTo>
                      <a:lnTo>
                        <a:pt x="62" y="179"/>
                      </a:lnTo>
                      <a:lnTo>
                        <a:pt x="63" y="176"/>
                      </a:lnTo>
                      <a:lnTo>
                        <a:pt x="63" y="176"/>
                      </a:lnTo>
                      <a:lnTo>
                        <a:pt x="62" y="176"/>
                      </a:lnTo>
                      <a:lnTo>
                        <a:pt x="62" y="175"/>
                      </a:lnTo>
                      <a:lnTo>
                        <a:pt x="63" y="174"/>
                      </a:lnTo>
                      <a:lnTo>
                        <a:pt x="63" y="173"/>
                      </a:lnTo>
                      <a:lnTo>
                        <a:pt x="63" y="172"/>
                      </a:lnTo>
                      <a:lnTo>
                        <a:pt x="63" y="172"/>
                      </a:lnTo>
                      <a:lnTo>
                        <a:pt x="63" y="169"/>
                      </a:lnTo>
                      <a:lnTo>
                        <a:pt x="63" y="168"/>
                      </a:lnTo>
                      <a:lnTo>
                        <a:pt x="63" y="168"/>
                      </a:lnTo>
                      <a:lnTo>
                        <a:pt x="63" y="166"/>
                      </a:lnTo>
                      <a:lnTo>
                        <a:pt x="63" y="166"/>
                      </a:lnTo>
                      <a:lnTo>
                        <a:pt x="63" y="163"/>
                      </a:lnTo>
                      <a:lnTo>
                        <a:pt x="63" y="163"/>
                      </a:lnTo>
                      <a:lnTo>
                        <a:pt x="63" y="162"/>
                      </a:lnTo>
                      <a:lnTo>
                        <a:pt x="63" y="162"/>
                      </a:lnTo>
                      <a:lnTo>
                        <a:pt x="62" y="161"/>
                      </a:lnTo>
                      <a:lnTo>
                        <a:pt x="62" y="162"/>
                      </a:lnTo>
                      <a:lnTo>
                        <a:pt x="61" y="160"/>
                      </a:lnTo>
                      <a:lnTo>
                        <a:pt x="62" y="159"/>
                      </a:lnTo>
                      <a:lnTo>
                        <a:pt x="63" y="158"/>
                      </a:lnTo>
                      <a:lnTo>
                        <a:pt x="62" y="156"/>
                      </a:lnTo>
                      <a:lnTo>
                        <a:pt x="62" y="155"/>
                      </a:lnTo>
                      <a:lnTo>
                        <a:pt x="62" y="153"/>
                      </a:lnTo>
                      <a:lnTo>
                        <a:pt x="63" y="150"/>
                      </a:lnTo>
                      <a:lnTo>
                        <a:pt x="62" y="150"/>
                      </a:lnTo>
                      <a:lnTo>
                        <a:pt x="62" y="149"/>
                      </a:lnTo>
                      <a:lnTo>
                        <a:pt x="61" y="148"/>
                      </a:lnTo>
                      <a:lnTo>
                        <a:pt x="60" y="146"/>
                      </a:lnTo>
                      <a:lnTo>
                        <a:pt x="60" y="146"/>
                      </a:lnTo>
                      <a:lnTo>
                        <a:pt x="60" y="146"/>
                      </a:lnTo>
                      <a:lnTo>
                        <a:pt x="61" y="145"/>
                      </a:lnTo>
                      <a:lnTo>
                        <a:pt x="61" y="145"/>
                      </a:lnTo>
                      <a:lnTo>
                        <a:pt x="62" y="143"/>
                      </a:lnTo>
                      <a:lnTo>
                        <a:pt x="65" y="142"/>
                      </a:lnTo>
                      <a:lnTo>
                        <a:pt x="65" y="140"/>
                      </a:lnTo>
                      <a:lnTo>
                        <a:pt x="66" y="142"/>
                      </a:lnTo>
                      <a:lnTo>
                        <a:pt x="68" y="141"/>
                      </a:lnTo>
                      <a:lnTo>
                        <a:pt x="68" y="141"/>
                      </a:lnTo>
                      <a:lnTo>
                        <a:pt x="69" y="142"/>
                      </a:lnTo>
                      <a:lnTo>
                        <a:pt x="70" y="141"/>
                      </a:lnTo>
                      <a:lnTo>
                        <a:pt x="70" y="141"/>
                      </a:lnTo>
                      <a:lnTo>
                        <a:pt x="70" y="139"/>
                      </a:lnTo>
                      <a:lnTo>
                        <a:pt x="72" y="140"/>
                      </a:lnTo>
                      <a:lnTo>
                        <a:pt x="73" y="141"/>
                      </a:lnTo>
                      <a:lnTo>
                        <a:pt x="76" y="142"/>
                      </a:lnTo>
                      <a:lnTo>
                        <a:pt x="77" y="142"/>
                      </a:lnTo>
                      <a:lnTo>
                        <a:pt x="77" y="142"/>
                      </a:lnTo>
                      <a:lnTo>
                        <a:pt x="77" y="142"/>
                      </a:lnTo>
                      <a:lnTo>
                        <a:pt x="77" y="143"/>
                      </a:lnTo>
                      <a:lnTo>
                        <a:pt x="77" y="145"/>
                      </a:lnTo>
                      <a:lnTo>
                        <a:pt x="77" y="146"/>
                      </a:lnTo>
                      <a:lnTo>
                        <a:pt x="77" y="146"/>
                      </a:lnTo>
                      <a:lnTo>
                        <a:pt x="77" y="147"/>
                      </a:lnTo>
                      <a:lnTo>
                        <a:pt x="77" y="148"/>
                      </a:lnTo>
                      <a:lnTo>
                        <a:pt x="76" y="149"/>
                      </a:lnTo>
                      <a:lnTo>
                        <a:pt x="76" y="150"/>
                      </a:lnTo>
                      <a:lnTo>
                        <a:pt x="77" y="150"/>
                      </a:lnTo>
                      <a:lnTo>
                        <a:pt x="77" y="152"/>
                      </a:lnTo>
                      <a:lnTo>
                        <a:pt x="79" y="152"/>
                      </a:lnTo>
                      <a:lnTo>
                        <a:pt x="77" y="153"/>
                      </a:lnTo>
                      <a:lnTo>
                        <a:pt x="77" y="153"/>
                      </a:lnTo>
                      <a:lnTo>
                        <a:pt x="76" y="153"/>
                      </a:lnTo>
                      <a:lnTo>
                        <a:pt x="77" y="154"/>
                      </a:lnTo>
                      <a:lnTo>
                        <a:pt x="77" y="155"/>
                      </a:lnTo>
                      <a:lnTo>
                        <a:pt x="77" y="155"/>
                      </a:lnTo>
                      <a:lnTo>
                        <a:pt x="77" y="158"/>
                      </a:lnTo>
                      <a:lnTo>
                        <a:pt x="77" y="158"/>
                      </a:lnTo>
                      <a:lnTo>
                        <a:pt x="76" y="158"/>
                      </a:lnTo>
                      <a:lnTo>
                        <a:pt x="76" y="159"/>
                      </a:lnTo>
                      <a:lnTo>
                        <a:pt x="77" y="159"/>
                      </a:lnTo>
                      <a:lnTo>
                        <a:pt x="77" y="159"/>
                      </a:lnTo>
                      <a:lnTo>
                        <a:pt x="77" y="159"/>
                      </a:lnTo>
                      <a:lnTo>
                        <a:pt x="77" y="160"/>
                      </a:lnTo>
                      <a:lnTo>
                        <a:pt x="79" y="160"/>
                      </a:lnTo>
                      <a:lnTo>
                        <a:pt x="79" y="160"/>
                      </a:lnTo>
                      <a:lnTo>
                        <a:pt x="79" y="160"/>
                      </a:lnTo>
                      <a:lnTo>
                        <a:pt x="79" y="160"/>
                      </a:lnTo>
                      <a:lnTo>
                        <a:pt x="79" y="161"/>
                      </a:lnTo>
                      <a:lnTo>
                        <a:pt x="80" y="160"/>
                      </a:lnTo>
                      <a:lnTo>
                        <a:pt x="80" y="160"/>
                      </a:lnTo>
                      <a:lnTo>
                        <a:pt x="81" y="159"/>
                      </a:lnTo>
                      <a:lnTo>
                        <a:pt x="85" y="159"/>
                      </a:lnTo>
                      <a:lnTo>
                        <a:pt x="85" y="160"/>
                      </a:lnTo>
                      <a:lnTo>
                        <a:pt x="86" y="160"/>
                      </a:lnTo>
                      <a:lnTo>
                        <a:pt x="86" y="159"/>
                      </a:lnTo>
                      <a:lnTo>
                        <a:pt x="88" y="161"/>
                      </a:lnTo>
                      <a:lnTo>
                        <a:pt x="88" y="161"/>
                      </a:lnTo>
                      <a:lnTo>
                        <a:pt x="88" y="160"/>
                      </a:lnTo>
                      <a:lnTo>
                        <a:pt x="89" y="160"/>
                      </a:lnTo>
                      <a:lnTo>
                        <a:pt x="90" y="160"/>
                      </a:lnTo>
                      <a:lnTo>
                        <a:pt x="90" y="160"/>
                      </a:lnTo>
                      <a:lnTo>
                        <a:pt x="92" y="160"/>
                      </a:lnTo>
                      <a:lnTo>
                        <a:pt x="92" y="160"/>
                      </a:lnTo>
                      <a:lnTo>
                        <a:pt x="92" y="160"/>
                      </a:lnTo>
                      <a:lnTo>
                        <a:pt x="92" y="159"/>
                      </a:lnTo>
                      <a:lnTo>
                        <a:pt x="93" y="159"/>
                      </a:lnTo>
                      <a:lnTo>
                        <a:pt x="93" y="159"/>
                      </a:lnTo>
                      <a:lnTo>
                        <a:pt x="93" y="159"/>
                      </a:lnTo>
                      <a:lnTo>
                        <a:pt x="93" y="159"/>
                      </a:lnTo>
                      <a:lnTo>
                        <a:pt x="94" y="159"/>
                      </a:lnTo>
                      <a:lnTo>
                        <a:pt x="94" y="159"/>
                      </a:lnTo>
                      <a:lnTo>
                        <a:pt x="95" y="160"/>
                      </a:lnTo>
                      <a:lnTo>
                        <a:pt x="96" y="160"/>
                      </a:lnTo>
                      <a:lnTo>
                        <a:pt x="96" y="160"/>
                      </a:lnTo>
                      <a:lnTo>
                        <a:pt x="96" y="161"/>
                      </a:lnTo>
                      <a:lnTo>
                        <a:pt x="96" y="161"/>
                      </a:lnTo>
                      <a:lnTo>
                        <a:pt x="96" y="161"/>
                      </a:lnTo>
                      <a:lnTo>
                        <a:pt x="96" y="161"/>
                      </a:lnTo>
                      <a:lnTo>
                        <a:pt x="96" y="162"/>
                      </a:lnTo>
                      <a:lnTo>
                        <a:pt x="96" y="162"/>
                      </a:lnTo>
                      <a:lnTo>
                        <a:pt x="97" y="162"/>
                      </a:lnTo>
                      <a:lnTo>
                        <a:pt x="97" y="161"/>
                      </a:lnTo>
                      <a:lnTo>
                        <a:pt x="97" y="161"/>
                      </a:lnTo>
                      <a:lnTo>
                        <a:pt x="97" y="161"/>
                      </a:lnTo>
                      <a:lnTo>
                        <a:pt x="97" y="162"/>
                      </a:lnTo>
                      <a:lnTo>
                        <a:pt x="99" y="162"/>
                      </a:lnTo>
                      <a:lnTo>
                        <a:pt x="99" y="162"/>
                      </a:lnTo>
                      <a:lnTo>
                        <a:pt x="99" y="163"/>
                      </a:lnTo>
                      <a:lnTo>
                        <a:pt x="99" y="162"/>
                      </a:lnTo>
                      <a:lnTo>
                        <a:pt x="99" y="162"/>
                      </a:lnTo>
                      <a:lnTo>
                        <a:pt x="99" y="161"/>
                      </a:lnTo>
                      <a:lnTo>
                        <a:pt x="99" y="161"/>
                      </a:lnTo>
                      <a:lnTo>
                        <a:pt x="99" y="162"/>
                      </a:lnTo>
                      <a:lnTo>
                        <a:pt x="100" y="162"/>
                      </a:lnTo>
                      <a:lnTo>
                        <a:pt x="100" y="162"/>
                      </a:lnTo>
                      <a:lnTo>
                        <a:pt x="100" y="162"/>
                      </a:lnTo>
                      <a:lnTo>
                        <a:pt x="100" y="162"/>
                      </a:lnTo>
                      <a:lnTo>
                        <a:pt x="100" y="162"/>
                      </a:lnTo>
                      <a:lnTo>
                        <a:pt x="100" y="162"/>
                      </a:lnTo>
                      <a:lnTo>
                        <a:pt x="100" y="163"/>
                      </a:lnTo>
                      <a:lnTo>
                        <a:pt x="100" y="163"/>
                      </a:lnTo>
                      <a:lnTo>
                        <a:pt x="100" y="162"/>
                      </a:lnTo>
                      <a:lnTo>
                        <a:pt x="99" y="163"/>
                      </a:lnTo>
                      <a:lnTo>
                        <a:pt x="100" y="163"/>
                      </a:lnTo>
                      <a:lnTo>
                        <a:pt x="100" y="163"/>
                      </a:lnTo>
                      <a:lnTo>
                        <a:pt x="101" y="163"/>
                      </a:lnTo>
                      <a:lnTo>
                        <a:pt x="101" y="165"/>
                      </a:lnTo>
                      <a:lnTo>
                        <a:pt x="101" y="165"/>
                      </a:lnTo>
                      <a:lnTo>
                        <a:pt x="101" y="165"/>
                      </a:lnTo>
                      <a:lnTo>
                        <a:pt x="101" y="165"/>
                      </a:lnTo>
                      <a:lnTo>
                        <a:pt x="101" y="165"/>
                      </a:lnTo>
                      <a:lnTo>
                        <a:pt x="102" y="166"/>
                      </a:lnTo>
                      <a:lnTo>
                        <a:pt x="102" y="167"/>
                      </a:lnTo>
                      <a:lnTo>
                        <a:pt x="102" y="167"/>
                      </a:lnTo>
                      <a:lnTo>
                        <a:pt x="102" y="166"/>
                      </a:lnTo>
                      <a:lnTo>
                        <a:pt x="102" y="165"/>
                      </a:lnTo>
                      <a:lnTo>
                        <a:pt x="102" y="165"/>
                      </a:lnTo>
                      <a:lnTo>
                        <a:pt x="102" y="165"/>
                      </a:lnTo>
                      <a:lnTo>
                        <a:pt x="102" y="165"/>
                      </a:lnTo>
                      <a:lnTo>
                        <a:pt x="101" y="163"/>
                      </a:lnTo>
                      <a:lnTo>
                        <a:pt x="102" y="163"/>
                      </a:lnTo>
                      <a:lnTo>
                        <a:pt x="102" y="163"/>
                      </a:lnTo>
                      <a:lnTo>
                        <a:pt x="102" y="165"/>
                      </a:lnTo>
                      <a:lnTo>
                        <a:pt x="102" y="165"/>
                      </a:lnTo>
                      <a:lnTo>
                        <a:pt x="102" y="165"/>
                      </a:lnTo>
                      <a:lnTo>
                        <a:pt x="102" y="165"/>
                      </a:lnTo>
                      <a:lnTo>
                        <a:pt x="103" y="165"/>
                      </a:lnTo>
                      <a:lnTo>
                        <a:pt x="103" y="165"/>
                      </a:lnTo>
                      <a:lnTo>
                        <a:pt x="103" y="165"/>
                      </a:lnTo>
                      <a:lnTo>
                        <a:pt x="102" y="166"/>
                      </a:lnTo>
                      <a:lnTo>
                        <a:pt x="103" y="166"/>
                      </a:lnTo>
                      <a:lnTo>
                        <a:pt x="105" y="166"/>
                      </a:lnTo>
                      <a:lnTo>
                        <a:pt x="103" y="166"/>
                      </a:lnTo>
                      <a:lnTo>
                        <a:pt x="105" y="166"/>
                      </a:lnTo>
                      <a:lnTo>
                        <a:pt x="105" y="166"/>
                      </a:lnTo>
                      <a:lnTo>
                        <a:pt x="105" y="166"/>
                      </a:lnTo>
                      <a:lnTo>
                        <a:pt x="106" y="166"/>
                      </a:lnTo>
                      <a:lnTo>
                        <a:pt x="106" y="166"/>
                      </a:lnTo>
                      <a:lnTo>
                        <a:pt x="105" y="166"/>
                      </a:lnTo>
                      <a:lnTo>
                        <a:pt x="105" y="166"/>
                      </a:lnTo>
                      <a:lnTo>
                        <a:pt x="105" y="167"/>
                      </a:lnTo>
                      <a:lnTo>
                        <a:pt x="103" y="167"/>
                      </a:lnTo>
                      <a:lnTo>
                        <a:pt x="103" y="167"/>
                      </a:lnTo>
                      <a:lnTo>
                        <a:pt x="103" y="167"/>
                      </a:lnTo>
                      <a:lnTo>
                        <a:pt x="103" y="167"/>
                      </a:lnTo>
                      <a:lnTo>
                        <a:pt x="103" y="167"/>
                      </a:lnTo>
                      <a:lnTo>
                        <a:pt x="103" y="168"/>
                      </a:lnTo>
                      <a:lnTo>
                        <a:pt x="103" y="168"/>
                      </a:lnTo>
                      <a:lnTo>
                        <a:pt x="103" y="168"/>
                      </a:lnTo>
                      <a:lnTo>
                        <a:pt x="103" y="169"/>
                      </a:lnTo>
                      <a:lnTo>
                        <a:pt x="103" y="169"/>
                      </a:lnTo>
                      <a:lnTo>
                        <a:pt x="105" y="169"/>
                      </a:lnTo>
                      <a:lnTo>
                        <a:pt x="105" y="169"/>
                      </a:lnTo>
                      <a:lnTo>
                        <a:pt x="105" y="169"/>
                      </a:lnTo>
                      <a:lnTo>
                        <a:pt x="106" y="168"/>
                      </a:lnTo>
                      <a:lnTo>
                        <a:pt x="106" y="169"/>
                      </a:lnTo>
                      <a:lnTo>
                        <a:pt x="106" y="169"/>
                      </a:lnTo>
                      <a:lnTo>
                        <a:pt x="107" y="169"/>
                      </a:lnTo>
                      <a:lnTo>
                        <a:pt x="107" y="169"/>
                      </a:lnTo>
                      <a:lnTo>
                        <a:pt x="108" y="170"/>
                      </a:lnTo>
                      <a:lnTo>
                        <a:pt x="108" y="170"/>
                      </a:lnTo>
                      <a:lnTo>
                        <a:pt x="109" y="170"/>
                      </a:lnTo>
                      <a:lnTo>
                        <a:pt x="109" y="170"/>
                      </a:lnTo>
                      <a:lnTo>
                        <a:pt x="109" y="170"/>
                      </a:lnTo>
                      <a:lnTo>
                        <a:pt x="109" y="172"/>
                      </a:lnTo>
                      <a:lnTo>
                        <a:pt x="109" y="172"/>
                      </a:lnTo>
                      <a:lnTo>
                        <a:pt x="110" y="172"/>
                      </a:lnTo>
                      <a:lnTo>
                        <a:pt x="112" y="172"/>
                      </a:lnTo>
                      <a:lnTo>
                        <a:pt x="112" y="173"/>
                      </a:lnTo>
                      <a:lnTo>
                        <a:pt x="112" y="173"/>
                      </a:lnTo>
                      <a:lnTo>
                        <a:pt x="112" y="173"/>
                      </a:lnTo>
                      <a:lnTo>
                        <a:pt x="114" y="174"/>
                      </a:lnTo>
                      <a:lnTo>
                        <a:pt x="114" y="175"/>
                      </a:lnTo>
                      <a:lnTo>
                        <a:pt x="114" y="175"/>
                      </a:lnTo>
                      <a:lnTo>
                        <a:pt x="112" y="176"/>
                      </a:lnTo>
                      <a:lnTo>
                        <a:pt x="113" y="178"/>
                      </a:lnTo>
                      <a:lnTo>
                        <a:pt x="113" y="179"/>
                      </a:lnTo>
                      <a:lnTo>
                        <a:pt x="113" y="179"/>
                      </a:lnTo>
                      <a:lnTo>
                        <a:pt x="115" y="180"/>
                      </a:lnTo>
                      <a:lnTo>
                        <a:pt x="115" y="180"/>
                      </a:lnTo>
                      <a:lnTo>
                        <a:pt x="117" y="181"/>
                      </a:lnTo>
                      <a:lnTo>
                        <a:pt x="115" y="172"/>
                      </a:lnTo>
                      <a:lnTo>
                        <a:pt x="114" y="166"/>
                      </a:lnTo>
                      <a:lnTo>
                        <a:pt x="114" y="165"/>
                      </a:lnTo>
                      <a:lnTo>
                        <a:pt x="108" y="159"/>
                      </a:lnTo>
                      <a:lnTo>
                        <a:pt x="107" y="160"/>
                      </a:lnTo>
                      <a:lnTo>
                        <a:pt x="107" y="158"/>
                      </a:lnTo>
                      <a:lnTo>
                        <a:pt x="108" y="158"/>
                      </a:lnTo>
                      <a:lnTo>
                        <a:pt x="107" y="155"/>
                      </a:lnTo>
                      <a:lnTo>
                        <a:pt x="107" y="155"/>
                      </a:lnTo>
                      <a:lnTo>
                        <a:pt x="107" y="154"/>
                      </a:lnTo>
                      <a:lnTo>
                        <a:pt x="107" y="153"/>
                      </a:lnTo>
                      <a:lnTo>
                        <a:pt x="108" y="152"/>
                      </a:lnTo>
                      <a:lnTo>
                        <a:pt x="106" y="152"/>
                      </a:lnTo>
                      <a:lnTo>
                        <a:pt x="106" y="150"/>
                      </a:lnTo>
                      <a:lnTo>
                        <a:pt x="103" y="149"/>
                      </a:lnTo>
                      <a:lnTo>
                        <a:pt x="103" y="146"/>
                      </a:lnTo>
                      <a:lnTo>
                        <a:pt x="103" y="142"/>
                      </a:lnTo>
                      <a:lnTo>
                        <a:pt x="102" y="141"/>
                      </a:lnTo>
                      <a:lnTo>
                        <a:pt x="103" y="141"/>
                      </a:lnTo>
                      <a:lnTo>
                        <a:pt x="106" y="141"/>
                      </a:lnTo>
                      <a:lnTo>
                        <a:pt x="108" y="140"/>
                      </a:lnTo>
                      <a:lnTo>
                        <a:pt x="109" y="140"/>
                      </a:lnTo>
                      <a:lnTo>
                        <a:pt x="106" y="139"/>
                      </a:lnTo>
                      <a:lnTo>
                        <a:pt x="105" y="138"/>
                      </a:lnTo>
                      <a:lnTo>
                        <a:pt x="108" y="136"/>
                      </a:lnTo>
                      <a:lnTo>
                        <a:pt x="109" y="133"/>
                      </a:lnTo>
                      <a:lnTo>
                        <a:pt x="112" y="130"/>
                      </a:lnTo>
                      <a:lnTo>
                        <a:pt x="112" y="129"/>
                      </a:lnTo>
                      <a:lnTo>
                        <a:pt x="112" y="128"/>
                      </a:lnTo>
                      <a:lnTo>
                        <a:pt x="113" y="127"/>
                      </a:lnTo>
                      <a:lnTo>
                        <a:pt x="114" y="126"/>
                      </a:lnTo>
                      <a:lnTo>
                        <a:pt x="115" y="126"/>
                      </a:lnTo>
                      <a:lnTo>
                        <a:pt x="117" y="125"/>
                      </a:lnTo>
                      <a:lnTo>
                        <a:pt x="120" y="125"/>
                      </a:lnTo>
                      <a:lnTo>
                        <a:pt x="120" y="123"/>
                      </a:lnTo>
                      <a:lnTo>
                        <a:pt x="121" y="125"/>
                      </a:lnTo>
                      <a:lnTo>
                        <a:pt x="122" y="122"/>
                      </a:lnTo>
                      <a:lnTo>
                        <a:pt x="122" y="123"/>
                      </a:lnTo>
                      <a:lnTo>
                        <a:pt x="123" y="123"/>
                      </a:lnTo>
                      <a:lnTo>
                        <a:pt x="123" y="122"/>
                      </a:lnTo>
                      <a:lnTo>
                        <a:pt x="125" y="122"/>
                      </a:lnTo>
                      <a:lnTo>
                        <a:pt x="126" y="125"/>
                      </a:lnTo>
                      <a:lnTo>
                        <a:pt x="127" y="125"/>
                      </a:lnTo>
                      <a:lnTo>
                        <a:pt x="127" y="123"/>
                      </a:lnTo>
                      <a:lnTo>
                        <a:pt x="129" y="126"/>
                      </a:lnTo>
                      <a:lnTo>
                        <a:pt x="129" y="125"/>
                      </a:lnTo>
                      <a:lnTo>
                        <a:pt x="132" y="125"/>
                      </a:lnTo>
                      <a:lnTo>
                        <a:pt x="133" y="123"/>
                      </a:lnTo>
                      <a:lnTo>
                        <a:pt x="133" y="125"/>
                      </a:lnTo>
                      <a:lnTo>
                        <a:pt x="133" y="125"/>
                      </a:lnTo>
                      <a:lnTo>
                        <a:pt x="134" y="123"/>
                      </a:lnTo>
                      <a:lnTo>
                        <a:pt x="136" y="123"/>
                      </a:lnTo>
                      <a:lnTo>
                        <a:pt x="137" y="125"/>
                      </a:lnTo>
                      <a:lnTo>
                        <a:pt x="139" y="125"/>
                      </a:lnTo>
                      <a:lnTo>
                        <a:pt x="139" y="123"/>
                      </a:lnTo>
                      <a:lnTo>
                        <a:pt x="140" y="125"/>
                      </a:lnTo>
                      <a:lnTo>
                        <a:pt x="141" y="125"/>
                      </a:lnTo>
                      <a:lnTo>
                        <a:pt x="141" y="122"/>
                      </a:lnTo>
                      <a:lnTo>
                        <a:pt x="142" y="123"/>
                      </a:lnTo>
                      <a:lnTo>
                        <a:pt x="145" y="122"/>
                      </a:lnTo>
                      <a:lnTo>
                        <a:pt x="146" y="123"/>
                      </a:lnTo>
                      <a:lnTo>
                        <a:pt x="147" y="123"/>
                      </a:lnTo>
                      <a:lnTo>
                        <a:pt x="148" y="126"/>
                      </a:lnTo>
                      <a:lnTo>
                        <a:pt x="149" y="128"/>
                      </a:lnTo>
                      <a:lnTo>
                        <a:pt x="150" y="127"/>
                      </a:lnTo>
                      <a:lnTo>
                        <a:pt x="153" y="126"/>
                      </a:lnTo>
                      <a:lnTo>
                        <a:pt x="153" y="125"/>
                      </a:lnTo>
                      <a:lnTo>
                        <a:pt x="155" y="125"/>
                      </a:lnTo>
                      <a:lnTo>
                        <a:pt x="154" y="123"/>
                      </a:lnTo>
                      <a:lnTo>
                        <a:pt x="154" y="123"/>
                      </a:lnTo>
                      <a:lnTo>
                        <a:pt x="155" y="123"/>
                      </a:lnTo>
                      <a:lnTo>
                        <a:pt x="155" y="122"/>
                      </a:lnTo>
                      <a:lnTo>
                        <a:pt x="155" y="122"/>
                      </a:lnTo>
                      <a:lnTo>
                        <a:pt x="157" y="120"/>
                      </a:lnTo>
                      <a:lnTo>
                        <a:pt x="157" y="119"/>
                      </a:lnTo>
                      <a:lnTo>
                        <a:pt x="156" y="118"/>
                      </a:lnTo>
                      <a:lnTo>
                        <a:pt x="156" y="116"/>
                      </a:lnTo>
                      <a:lnTo>
                        <a:pt x="156" y="116"/>
                      </a:lnTo>
                      <a:lnTo>
                        <a:pt x="156" y="115"/>
                      </a:lnTo>
                      <a:lnTo>
                        <a:pt x="157" y="114"/>
                      </a:lnTo>
                      <a:lnTo>
                        <a:pt x="156" y="114"/>
                      </a:lnTo>
                      <a:lnTo>
                        <a:pt x="157" y="114"/>
                      </a:lnTo>
                      <a:lnTo>
                        <a:pt x="156" y="112"/>
                      </a:lnTo>
                      <a:lnTo>
                        <a:pt x="157" y="112"/>
                      </a:lnTo>
                      <a:lnTo>
                        <a:pt x="157" y="110"/>
                      </a:lnTo>
                      <a:lnTo>
                        <a:pt x="156" y="110"/>
                      </a:lnTo>
                      <a:lnTo>
                        <a:pt x="155" y="110"/>
                      </a:lnTo>
                      <a:lnTo>
                        <a:pt x="155" y="109"/>
                      </a:lnTo>
                      <a:lnTo>
                        <a:pt x="155" y="107"/>
                      </a:lnTo>
                      <a:lnTo>
                        <a:pt x="156" y="106"/>
                      </a:lnTo>
                      <a:lnTo>
                        <a:pt x="156" y="106"/>
                      </a:lnTo>
                      <a:lnTo>
                        <a:pt x="156" y="105"/>
                      </a:lnTo>
                      <a:lnTo>
                        <a:pt x="155" y="105"/>
                      </a:lnTo>
                      <a:lnTo>
                        <a:pt x="154" y="103"/>
                      </a:lnTo>
                      <a:lnTo>
                        <a:pt x="154" y="103"/>
                      </a:lnTo>
                      <a:lnTo>
                        <a:pt x="155" y="102"/>
                      </a:lnTo>
                      <a:lnTo>
                        <a:pt x="156" y="102"/>
                      </a:lnTo>
                      <a:lnTo>
                        <a:pt x="156" y="100"/>
                      </a:lnTo>
                      <a:lnTo>
                        <a:pt x="156" y="99"/>
                      </a:lnTo>
                      <a:lnTo>
                        <a:pt x="156" y="98"/>
                      </a:lnTo>
                      <a:lnTo>
                        <a:pt x="155" y="96"/>
                      </a:lnTo>
                      <a:lnTo>
                        <a:pt x="154" y="95"/>
                      </a:lnTo>
                      <a:lnTo>
                        <a:pt x="154" y="95"/>
                      </a:lnTo>
                      <a:lnTo>
                        <a:pt x="153" y="95"/>
                      </a:lnTo>
                      <a:lnTo>
                        <a:pt x="152" y="95"/>
                      </a:lnTo>
                      <a:lnTo>
                        <a:pt x="150" y="92"/>
                      </a:lnTo>
                      <a:lnTo>
                        <a:pt x="150" y="92"/>
                      </a:lnTo>
                      <a:lnTo>
                        <a:pt x="152" y="90"/>
                      </a:lnTo>
                      <a:lnTo>
                        <a:pt x="152" y="90"/>
                      </a:lnTo>
                      <a:lnTo>
                        <a:pt x="148" y="89"/>
                      </a:lnTo>
                      <a:lnTo>
                        <a:pt x="145" y="88"/>
                      </a:lnTo>
                      <a:lnTo>
                        <a:pt x="145" y="87"/>
                      </a:lnTo>
                      <a:lnTo>
                        <a:pt x="143" y="86"/>
                      </a:lnTo>
                      <a:lnTo>
                        <a:pt x="141" y="83"/>
                      </a:lnTo>
                      <a:lnTo>
                        <a:pt x="140" y="81"/>
                      </a:lnTo>
                      <a:lnTo>
                        <a:pt x="137" y="79"/>
                      </a:lnTo>
                      <a:lnTo>
                        <a:pt x="137" y="79"/>
                      </a:lnTo>
                      <a:lnTo>
                        <a:pt x="139" y="76"/>
                      </a:lnTo>
                      <a:lnTo>
                        <a:pt x="136" y="75"/>
                      </a:lnTo>
                      <a:lnTo>
                        <a:pt x="137" y="73"/>
                      </a:lnTo>
                      <a:lnTo>
                        <a:pt x="136" y="72"/>
                      </a:lnTo>
                      <a:lnTo>
                        <a:pt x="136" y="69"/>
                      </a:lnTo>
                      <a:lnTo>
                        <a:pt x="137" y="67"/>
                      </a:lnTo>
                      <a:lnTo>
                        <a:pt x="136" y="65"/>
                      </a:lnTo>
                      <a:lnTo>
                        <a:pt x="136" y="62"/>
                      </a:lnTo>
                      <a:lnTo>
                        <a:pt x="136" y="62"/>
                      </a:lnTo>
                      <a:lnTo>
                        <a:pt x="135" y="61"/>
                      </a:lnTo>
                      <a:lnTo>
                        <a:pt x="135" y="60"/>
                      </a:lnTo>
                      <a:lnTo>
                        <a:pt x="134" y="59"/>
                      </a:lnTo>
                      <a:lnTo>
                        <a:pt x="130" y="58"/>
                      </a:lnTo>
                      <a:lnTo>
                        <a:pt x="128" y="54"/>
                      </a:lnTo>
                      <a:lnTo>
                        <a:pt x="127" y="53"/>
                      </a:lnTo>
                      <a:lnTo>
                        <a:pt x="126" y="53"/>
                      </a:lnTo>
                      <a:lnTo>
                        <a:pt x="125" y="50"/>
                      </a:lnTo>
                      <a:lnTo>
                        <a:pt x="122" y="48"/>
                      </a:lnTo>
                      <a:lnTo>
                        <a:pt x="121" y="46"/>
                      </a:lnTo>
                      <a:lnTo>
                        <a:pt x="119" y="43"/>
                      </a:lnTo>
                      <a:lnTo>
                        <a:pt x="117" y="43"/>
                      </a:lnTo>
                      <a:lnTo>
                        <a:pt x="117" y="43"/>
                      </a:lnTo>
                      <a:lnTo>
                        <a:pt x="116" y="43"/>
                      </a:lnTo>
                      <a:lnTo>
                        <a:pt x="116" y="43"/>
                      </a:lnTo>
                      <a:lnTo>
                        <a:pt x="114" y="43"/>
                      </a:lnTo>
                      <a:lnTo>
                        <a:pt x="112" y="41"/>
                      </a:lnTo>
                      <a:lnTo>
                        <a:pt x="109" y="41"/>
                      </a:lnTo>
                      <a:lnTo>
                        <a:pt x="107" y="41"/>
                      </a:lnTo>
                      <a:lnTo>
                        <a:pt x="106" y="42"/>
                      </a:lnTo>
                      <a:lnTo>
                        <a:pt x="107" y="43"/>
                      </a:lnTo>
                      <a:lnTo>
                        <a:pt x="107" y="43"/>
                      </a:lnTo>
                      <a:lnTo>
                        <a:pt x="105" y="45"/>
                      </a:lnTo>
                      <a:lnTo>
                        <a:pt x="103" y="46"/>
                      </a:lnTo>
                      <a:lnTo>
                        <a:pt x="103" y="47"/>
                      </a:lnTo>
                      <a:lnTo>
                        <a:pt x="103" y="49"/>
                      </a:lnTo>
                      <a:lnTo>
                        <a:pt x="103" y="50"/>
                      </a:lnTo>
                      <a:lnTo>
                        <a:pt x="102" y="50"/>
                      </a:lnTo>
                      <a:lnTo>
                        <a:pt x="101" y="49"/>
                      </a:lnTo>
                      <a:lnTo>
                        <a:pt x="100" y="50"/>
                      </a:lnTo>
                      <a:lnTo>
                        <a:pt x="99" y="50"/>
                      </a:lnTo>
                      <a:lnTo>
                        <a:pt x="99" y="52"/>
                      </a:lnTo>
                      <a:lnTo>
                        <a:pt x="97" y="52"/>
                      </a:lnTo>
                      <a:lnTo>
                        <a:pt x="97" y="53"/>
                      </a:lnTo>
                      <a:lnTo>
                        <a:pt x="95" y="53"/>
                      </a:lnTo>
                      <a:lnTo>
                        <a:pt x="96" y="52"/>
                      </a:lnTo>
                      <a:lnTo>
                        <a:pt x="95" y="50"/>
                      </a:lnTo>
                      <a:lnTo>
                        <a:pt x="94" y="50"/>
                      </a:lnTo>
                      <a:lnTo>
                        <a:pt x="93" y="50"/>
                      </a:lnTo>
                      <a:lnTo>
                        <a:pt x="93" y="50"/>
                      </a:lnTo>
                      <a:lnTo>
                        <a:pt x="92" y="49"/>
                      </a:lnTo>
                      <a:lnTo>
                        <a:pt x="89" y="48"/>
                      </a:lnTo>
                      <a:lnTo>
                        <a:pt x="89" y="48"/>
                      </a:lnTo>
                      <a:lnTo>
                        <a:pt x="87" y="46"/>
                      </a:lnTo>
                      <a:lnTo>
                        <a:pt x="87" y="46"/>
                      </a:lnTo>
                      <a:lnTo>
                        <a:pt x="85" y="45"/>
                      </a:lnTo>
                      <a:lnTo>
                        <a:pt x="85" y="46"/>
                      </a:lnTo>
                      <a:lnTo>
                        <a:pt x="85" y="46"/>
                      </a:lnTo>
                      <a:lnTo>
                        <a:pt x="83" y="48"/>
                      </a:lnTo>
                      <a:lnTo>
                        <a:pt x="83" y="49"/>
                      </a:lnTo>
                      <a:lnTo>
                        <a:pt x="82" y="49"/>
                      </a:lnTo>
                      <a:lnTo>
                        <a:pt x="80" y="48"/>
                      </a:lnTo>
                      <a:lnTo>
                        <a:pt x="80" y="49"/>
                      </a:lnTo>
                      <a:lnTo>
                        <a:pt x="80" y="50"/>
                      </a:lnTo>
                      <a:lnTo>
                        <a:pt x="79" y="52"/>
                      </a:lnTo>
                      <a:lnTo>
                        <a:pt x="79" y="52"/>
                      </a:lnTo>
                      <a:lnTo>
                        <a:pt x="77" y="53"/>
                      </a:lnTo>
                      <a:lnTo>
                        <a:pt x="77" y="52"/>
                      </a:lnTo>
                      <a:lnTo>
                        <a:pt x="77" y="53"/>
                      </a:lnTo>
                      <a:lnTo>
                        <a:pt x="77" y="54"/>
                      </a:lnTo>
                      <a:lnTo>
                        <a:pt x="77" y="54"/>
                      </a:lnTo>
                      <a:lnTo>
                        <a:pt x="76" y="54"/>
                      </a:lnTo>
                      <a:lnTo>
                        <a:pt x="75" y="54"/>
                      </a:lnTo>
                      <a:lnTo>
                        <a:pt x="75" y="54"/>
                      </a:lnTo>
                      <a:lnTo>
                        <a:pt x="75" y="55"/>
                      </a:lnTo>
                      <a:lnTo>
                        <a:pt x="75" y="56"/>
                      </a:lnTo>
                      <a:lnTo>
                        <a:pt x="74" y="56"/>
                      </a:lnTo>
                      <a:lnTo>
                        <a:pt x="74" y="58"/>
                      </a:lnTo>
                      <a:lnTo>
                        <a:pt x="73" y="58"/>
                      </a:lnTo>
                      <a:lnTo>
                        <a:pt x="72" y="59"/>
                      </a:lnTo>
                      <a:lnTo>
                        <a:pt x="72" y="59"/>
                      </a:lnTo>
                      <a:lnTo>
                        <a:pt x="70" y="60"/>
                      </a:lnTo>
                      <a:lnTo>
                        <a:pt x="72" y="61"/>
                      </a:lnTo>
                      <a:lnTo>
                        <a:pt x="70" y="61"/>
                      </a:lnTo>
                      <a:lnTo>
                        <a:pt x="69" y="60"/>
                      </a:lnTo>
                      <a:lnTo>
                        <a:pt x="69" y="60"/>
                      </a:lnTo>
                      <a:lnTo>
                        <a:pt x="69" y="59"/>
                      </a:lnTo>
                      <a:lnTo>
                        <a:pt x="67" y="59"/>
                      </a:lnTo>
                      <a:lnTo>
                        <a:pt x="66" y="58"/>
                      </a:lnTo>
                      <a:lnTo>
                        <a:pt x="67" y="58"/>
                      </a:lnTo>
                      <a:lnTo>
                        <a:pt x="67" y="55"/>
                      </a:lnTo>
                      <a:lnTo>
                        <a:pt x="67" y="54"/>
                      </a:lnTo>
                      <a:lnTo>
                        <a:pt x="67" y="54"/>
                      </a:lnTo>
                      <a:lnTo>
                        <a:pt x="67" y="53"/>
                      </a:lnTo>
                      <a:lnTo>
                        <a:pt x="68" y="53"/>
                      </a:lnTo>
                      <a:lnTo>
                        <a:pt x="67" y="52"/>
                      </a:lnTo>
                      <a:lnTo>
                        <a:pt x="68" y="50"/>
                      </a:lnTo>
                      <a:lnTo>
                        <a:pt x="69" y="50"/>
                      </a:lnTo>
                      <a:lnTo>
                        <a:pt x="69" y="49"/>
                      </a:lnTo>
                      <a:lnTo>
                        <a:pt x="69" y="48"/>
                      </a:lnTo>
                      <a:lnTo>
                        <a:pt x="69" y="47"/>
                      </a:lnTo>
                      <a:lnTo>
                        <a:pt x="69" y="46"/>
                      </a:lnTo>
                      <a:lnTo>
                        <a:pt x="69" y="45"/>
                      </a:lnTo>
                      <a:lnTo>
                        <a:pt x="68" y="45"/>
                      </a:lnTo>
                      <a:lnTo>
                        <a:pt x="68" y="43"/>
                      </a:lnTo>
                      <a:lnTo>
                        <a:pt x="69" y="43"/>
                      </a:lnTo>
                      <a:lnTo>
                        <a:pt x="67" y="42"/>
                      </a:lnTo>
                      <a:lnTo>
                        <a:pt x="66" y="41"/>
                      </a:lnTo>
                      <a:lnTo>
                        <a:pt x="67" y="40"/>
                      </a:lnTo>
                      <a:lnTo>
                        <a:pt x="67" y="39"/>
                      </a:lnTo>
                      <a:lnTo>
                        <a:pt x="67" y="39"/>
                      </a:lnTo>
                      <a:lnTo>
                        <a:pt x="68" y="38"/>
                      </a:lnTo>
                      <a:lnTo>
                        <a:pt x="68" y="38"/>
                      </a:lnTo>
                      <a:lnTo>
                        <a:pt x="69" y="36"/>
                      </a:lnTo>
                      <a:lnTo>
                        <a:pt x="69" y="35"/>
                      </a:lnTo>
                      <a:lnTo>
                        <a:pt x="68" y="34"/>
                      </a:lnTo>
                      <a:lnTo>
                        <a:pt x="68" y="33"/>
                      </a:lnTo>
                      <a:lnTo>
                        <a:pt x="68" y="32"/>
                      </a:lnTo>
                      <a:lnTo>
                        <a:pt x="69" y="31"/>
                      </a:lnTo>
                      <a:lnTo>
                        <a:pt x="69" y="29"/>
                      </a:lnTo>
                      <a:lnTo>
                        <a:pt x="69" y="28"/>
                      </a:lnTo>
                      <a:lnTo>
                        <a:pt x="68" y="26"/>
                      </a:lnTo>
                      <a:lnTo>
                        <a:pt x="67" y="25"/>
                      </a:lnTo>
                      <a:lnTo>
                        <a:pt x="67" y="23"/>
                      </a:lnTo>
                      <a:lnTo>
                        <a:pt x="67" y="22"/>
                      </a:lnTo>
                      <a:lnTo>
                        <a:pt x="66" y="21"/>
                      </a:lnTo>
                      <a:lnTo>
                        <a:pt x="66" y="19"/>
                      </a:lnTo>
                      <a:lnTo>
                        <a:pt x="67" y="19"/>
                      </a:lnTo>
                      <a:lnTo>
                        <a:pt x="67" y="19"/>
                      </a:lnTo>
                      <a:lnTo>
                        <a:pt x="67" y="18"/>
                      </a:lnTo>
                      <a:lnTo>
                        <a:pt x="66" y="18"/>
                      </a:lnTo>
                      <a:lnTo>
                        <a:pt x="66" y="16"/>
                      </a:lnTo>
                      <a:lnTo>
                        <a:pt x="65" y="18"/>
                      </a:lnTo>
                      <a:lnTo>
                        <a:pt x="65" y="18"/>
                      </a:lnTo>
                      <a:lnTo>
                        <a:pt x="62" y="16"/>
                      </a:lnTo>
                      <a:lnTo>
                        <a:pt x="60" y="16"/>
                      </a:lnTo>
                      <a:lnTo>
                        <a:pt x="59" y="19"/>
                      </a:lnTo>
                      <a:lnTo>
                        <a:pt x="59" y="19"/>
                      </a:lnTo>
                      <a:lnTo>
                        <a:pt x="57" y="19"/>
                      </a:lnTo>
                      <a:lnTo>
                        <a:pt x="56" y="18"/>
                      </a:lnTo>
                      <a:lnTo>
                        <a:pt x="55" y="18"/>
                      </a:lnTo>
                      <a:lnTo>
                        <a:pt x="55" y="19"/>
                      </a:lnTo>
                      <a:lnTo>
                        <a:pt x="54" y="19"/>
                      </a:lnTo>
                      <a:lnTo>
                        <a:pt x="54" y="19"/>
                      </a:lnTo>
                      <a:lnTo>
                        <a:pt x="53" y="19"/>
                      </a:lnTo>
                      <a:lnTo>
                        <a:pt x="53" y="18"/>
                      </a:lnTo>
                      <a:lnTo>
                        <a:pt x="53" y="18"/>
                      </a:lnTo>
                      <a:lnTo>
                        <a:pt x="52" y="16"/>
                      </a:lnTo>
                      <a:lnTo>
                        <a:pt x="52" y="14"/>
                      </a:lnTo>
                      <a:lnTo>
                        <a:pt x="49" y="13"/>
                      </a:lnTo>
                      <a:lnTo>
                        <a:pt x="52" y="12"/>
                      </a:lnTo>
                      <a:lnTo>
                        <a:pt x="52" y="11"/>
                      </a:lnTo>
                      <a:lnTo>
                        <a:pt x="53" y="6"/>
                      </a:lnTo>
                      <a:lnTo>
                        <a:pt x="52" y="6"/>
                      </a:lnTo>
                      <a:lnTo>
                        <a:pt x="50" y="5"/>
                      </a:lnTo>
                      <a:lnTo>
                        <a:pt x="49" y="3"/>
                      </a:lnTo>
                      <a:lnTo>
                        <a:pt x="48" y="1"/>
                      </a:lnTo>
                      <a:lnTo>
                        <a:pt x="47" y="0"/>
                      </a:lnTo>
                      <a:lnTo>
                        <a:pt x="46" y="0"/>
                      </a:lnTo>
                      <a:lnTo>
                        <a:pt x="46" y="1"/>
                      </a:lnTo>
                      <a:lnTo>
                        <a:pt x="46" y="2"/>
                      </a:lnTo>
                      <a:lnTo>
                        <a:pt x="45" y="2"/>
                      </a:lnTo>
                      <a:lnTo>
                        <a:pt x="45" y="3"/>
                      </a:lnTo>
                      <a:lnTo>
                        <a:pt x="43" y="3"/>
                      </a:lnTo>
                      <a:lnTo>
                        <a:pt x="43" y="2"/>
                      </a:lnTo>
                      <a:lnTo>
                        <a:pt x="43" y="1"/>
                      </a:lnTo>
                      <a:lnTo>
                        <a:pt x="43" y="1"/>
                      </a:lnTo>
                      <a:lnTo>
                        <a:pt x="43" y="1"/>
                      </a:lnTo>
                      <a:close/>
                      <a:moveTo>
                        <a:pt x="70" y="221"/>
                      </a:moveTo>
                      <a:lnTo>
                        <a:pt x="70" y="221"/>
                      </a:lnTo>
                      <a:lnTo>
                        <a:pt x="70" y="222"/>
                      </a:lnTo>
                      <a:lnTo>
                        <a:pt x="70" y="223"/>
                      </a:lnTo>
                      <a:lnTo>
                        <a:pt x="70" y="223"/>
                      </a:lnTo>
                      <a:lnTo>
                        <a:pt x="69" y="225"/>
                      </a:lnTo>
                      <a:lnTo>
                        <a:pt x="68" y="223"/>
                      </a:lnTo>
                      <a:lnTo>
                        <a:pt x="68" y="225"/>
                      </a:lnTo>
                      <a:lnTo>
                        <a:pt x="67" y="223"/>
                      </a:lnTo>
                      <a:lnTo>
                        <a:pt x="66" y="223"/>
                      </a:lnTo>
                      <a:lnTo>
                        <a:pt x="67" y="223"/>
                      </a:lnTo>
                      <a:lnTo>
                        <a:pt x="67" y="222"/>
                      </a:lnTo>
                      <a:lnTo>
                        <a:pt x="67" y="222"/>
                      </a:lnTo>
                      <a:lnTo>
                        <a:pt x="67" y="222"/>
                      </a:lnTo>
                      <a:lnTo>
                        <a:pt x="68" y="221"/>
                      </a:lnTo>
                      <a:lnTo>
                        <a:pt x="68" y="221"/>
                      </a:lnTo>
                      <a:lnTo>
                        <a:pt x="68" y="221"/>
                      </a:lnTo>
                      <a:lnTo>
                        <a:pt x="69" y="221"/>
                      </a:lnTo>
                      <a:lnTo>
                        <a:pt x="69" y="221"/>
                      </a:lnTo>
                      <a:lnTo>
                        <a:pt x="69" y="221"/>
                      </a:lnTo>
                      <a:lnTo>
                        <a:pt x="70" y="221"/>
                      </a:lnTo>
                      <a:lnTo>
                        <a:pt x="70" y="221"/>
                      </a:lnTo>
                      <a:lnTo>
                        <a:pt x="70" y="221"/>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74" name="Switzerland">
                  <a:extLst>
                    <a:ext uri="{FF2B5EF4-FFF2-40B4-BE49-F238E27FC236}">
                      <a16:creationId xmlns:a16="http://schemas.microsoft.com/office/drawing/2014/main" id="{542FA9A1-F764-B343-81D3-883AE82DE65C}"/>
                    </a:ext>
                  </a:extLst>
                </p:cNvPr>
                <p:cNvSpPr>
                  <a:spLocks/>
                </p:cNvSpPr>
                <p:nvPr/>
              </p:nvSpPr>
              <p:spPr bwMode="auto">
                <a:xfrm>
                  <a:off x="6503751" y="2559200"/>
                  <a:ext cx="104973" cy="56860"/>
                </a:xfrm>
                <a:custGeom>
                  <a:avLst/>
                  <a:gdLst>
                    <a:gd name="T0" fmla="*/ 70 w 72"/>
                    <a:gd name="T1" fmla="*/ 21 h 39"/>
                    <a:gd name="T2" fmla="*/ 72 w 72"/>
                    <a:gd name="T3" fmla="*/ 25 h 39"/>
                    <a:gd name="T4" fmla="*/ 70 w 72"/>
                    <a:gd name="T5" fmla="*/ 25 h 39"/>
                    <a:gd name="T6" fmla="*/ 67 w 72"/>
                    <a:gd name="T7" fmla="*/ 24 h 39"/>
                    <a:gd name="T8" fmla="*/ 66 w 72"/>
                    <a:gd name="T9" fmla="*/ 27 h 39"/>
                    <a:gd name="T10" fmla="*/ 64 w 72"/>
                    <a:gd name="T11" fmla="*/ 32 h 39"/>
                    <a:gd name="T12" fmla="*/ 61 w 72"/>
                    <a:gd name="T13" fmla="*/ 30 h 39"/>
                    <a:gd name="T14" fmla="*/ 55 w 72"/>
                    <a:gd name="T15" fmla="*/ 28 h 39"/>
                    <a:gd name="T16" fmla="*/ 53 w 72"/>
                    <a:gd name="T17" fmla="*/ 26 h 39"/>
                    <a:gd name="T18" fmla="*/ 50 w 72"/>
                    <a:gd name="T19" fmla="*/ 32 h 39"/>
                    <a:gd name="T20" fmla="*/ 49 w 72"/>
                    <a:gd name="T21" fmla="*/ 37 h 39"/>
                    <a:gd name="T22" fmla="*/ 48 w 72"/>
                    <a:gd name="T23" fmla="*/ 39 h 39"/>
                    <a:gd name="T24" fmla="*/ 46 w 72"/>
                    <a:gd name="T25" fmla="*/ 35 h 39"/>
                    <a:gd name="T26" fmla="*/ 44 w 72"/>
                    <a:gd name="T27" fmla="*/ 33 h 39"/>
                    <a:gd name="T28" fmla="*/ 39 w 72"/>
                    <a:gd name="T29" fmla="*/ 30 h 39"/>
                    <a:gd name="T30" fmla="*/ 36 w 72"/>
                    <a:gd name="T31" fmla="*/ 27 h 39"/>
                    <a:gd name="T32" fmla="*/ 35 w 72"/>
                    <a:gd name="T33" fmla="*/ 32 h 39"/>
                    <a:gd name="T34" fmla="*/ 34 w 72"/>
                    <a:gd name="T35" fmla="*/ 35 h 39"/>
                    <a:gd name="T36" fmla="*/ 30 w 72"/>
                    <a:gd name="T37" fmla="*/ 38 h 39"/>
                    <a:gd name="T38" fmla="*/ 26 w 72"/>
                    <a:gd name="T39" fmla="*/ 37 h 39"/>
                    <a:gd name="T40" fmla="*/ 17 w 72"/>
                    <a:gd name="T41" fmla="*/ 38 h 39"/>
                    <a:gd name="T42" fmla="*/ 14 w 72"/>
                    <a:gd name="T43" fmla="*/ 33 h 39"/>
                    <a:gd name="T44" fmla="*/ 13 w 72"/>
                    <a:gd name="T45" fmla="*/ 28 h 39"/>
                    <a:gd name="T46" fmla="*/ 4 w 72"/>
                    <a:gd name="T47" fmla="*/ 28 h 39"/>
                    <a:gd name="T48" fmla="*/ 3 w 72"/>
                    <a:gd name="T49" fmla="*/ 32 h 39"/>
                    <a:gd name="T50" fmla="*/ 0 w 72"/>
                    <a:gd name="T51" fmla="*/ 32 h 39"/>
                    <a:gd name="T52" fmla="*/ 2 w 72"/>
                    <a:gd name="T53" fmla="*/ 28 h 39"/>
                    <a:gd name="T54" fmla="*/ 2 w 72"/>
                    <a:gd name="T55" fmla="*/ 24 h 39"/>
                    <a:gd name="T56" fmla="*/ 7 w 72"/>
                    <a:gd name="T57" fmla="*/ 19 h 39"/>
                    <a:gd name="T58" fmla="*/ 13 w 72"/>
                    <a:gd name="T59" fmla="*/ 13 h 39"/>
                    <a:gd name="T60" fmla="*/ 15 w 72"/>
                    <a:gd name="T61" fmla="*/ 10 h 39"/>
                    <a:gd name="T62" fmla="*/ 15 w 72"/>
                    <a:gd name="T63" fmla="*/ 6 h 39"/>
                    <a:gd name="T64" fmla="*/ 20 w 72"/>
                    <a:gd name="T65" fmla="*/ 7 h 39"/>
                    <a:gd name="T66" fmla="*/ 23 w 72"/>
                    <a:gd name="T67" fmla="*/ 5 h 39"/>
                    <a:gd name="T68" fmla="*/ 24 w 72"/>
                    <a:gd name="T69" fmla="*/ 4 h 39"/>
                    <a:gd name="T70" fmla="*/ 26 w 72"/>
                    <a:gd name="T71" fmla="*/ 5 h 39"/>
                    <a:gd name="T72" fmla="*/ 29 w 72"/>
                    <a:gd name="T73" fmla="*/ 5 h 39"/>
                    <a:gd name="T74" fmla="*/ 36 w 72"/>
                    <a:gd name="T75" fmla="*/ 4 h 39"/>
                    <a:gd name="T76" fmla="*/ 40 w 72"/>
                    <a:gd name="T77" fmla="*/ 4 h 39"/>
                    <a:gd name="T78" fmla="*/ 40 w 72"/>
                    <a:gd name="T79" fmla="*/ 3 h 39"/>
                    <a:gd name="T80" fmla="*/ 39 w 72"/>
                    <a:gd name="T81" fmla="*/ 0 h 39"/>
                    <a:gd name="T82" fmla="*/ 42 w 72"/>
                    <a:gd name="T83" fmla="*/ 0 h 39"/>
                    <a:gd name="T84" fmla="*/ 43 w 72"/>
                    <a:gd name="T85" fmla="*/ 3 h 39"/>
                    <a:gd name="T86" fmla="*/ 46 w 72"/>
                    <a:gd name="T87" fmla="*/ 1 h 39"/>
                    <a:gd name="T88" fmla="*/ 49 w 72"/>
                    <a:gd name="T89" fmla="*/ 3 h 39"/>
                    <a:gd name="T90" fmla="*/ 57 w 72"/>
                    <a:gd name="T91" fmla="*/ 7 h 39"/>
                    <a:gd name="T92" fmla="*/ 56 w 72"/>
                    <a:gd name="T93" fmla="*/ 11 h 39"/>
                    <a:gd name="T94" fmla="*/ 56 w 72"/>
                    <a:gd name="T95" fmla="*/ 14 h 39"/>
                    <a:gd name="T96" fmla="*/ 62 w 72"/>
                    <a:gd name="T97" fmla="*/ 15 h 39"/>
                    <a:gd name="T98" fmla="*/ 64 w 72"/>
                    <a:gd name="T99" fmla="*/ 19 h 39"/>
                    <a:gd name="T100" fmla="*/ 68 w 72"/>
                    <a:gd name="T101" fmla="*/ 17 h 39"/>
                    <a:gd name="T102" fmla="*/ 70 w 72"/>
                    <a:gd name="T103" fmla="*/ 1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2" h="39">
                      <a:moveTo>
                        <a:pt x="70" y="18"/>
                      </a:moveTo>
                      <a:lnTo>
                        <a:pt x="70" y="19"/>
                      </a:lnTo>
                      <a:lnTo>
                        <a:pt x="70" y="20"/>
                      </a:lnTo>
                      <a:lnTo>
                        <a:pt x="70" y="20"/>
                      </a:lnTo>
                      <a:lnTo>
                        <a:pt x="70" y="21"/>
                      </a:lnTo>
                      <a:lnTo>
                        <a:pt x="70" y="23"/>
                      </a:lnTo>
                      <a:lnTo>
                        <a:pt x="70" y="23"/>
                      </a:lnTo>
                      <a:lnTo>
                        <a:pt x="70" y="23"/>
                      </a:lnTo>
                      <a:lnTo>
                        <a:pt x="72" y="24"/>
                      </a:lnTo>
                      <a:lnTo>
                        <a:pt x="72" y="25"/>
                      </a:lnTo>
                      <a:lnTo>
                        <a:pt x="72" y="25"/>
                      </a:lnTo>
                      <a:lnTo>
                        <a:pt x="70" y="25"/>
                      </a:lnTo>
                      <a:lnTo>
                        <a:pt x="70" y="25"/>
                      </a:lnTo>
                      <a:lnTo>
                        <a:pt x="70" y="25"/>
                      </a:lnTo>
                      <a:lnTo>
                        <a:pt x="70" y="25"/>
                      </a:lnTo>
                      <a:lnTo>
                        <a:pt x="69" y="25"/>
                      </a:lnTo>
                      <a:lnTo>
                        <a:pt x="68" y="24"/>
                      </a:lnTo>
                      <a:lnTo>
                        <a:pt x="68" y="24"/>
                      </a:lnTo>
                      <a:lnTo>
                        <a:pt x="68" y="24"/>
                      </a:lnTo>
                      <a:lnTo>
                        <a:pt x="67" y="24"/>
                      </a:lnTo>
                      <a:lnTo>
                        <a:pt x="66" y="25"/>
                      </a:lnTo>
                      <a:lnTo>
                        <a:pt x="66" y="25"/>
                      </a:lnTo>
                      <a:lnTo>
                        <a:pt x="64" y="26"/>
                      </a:lnTo>
                      <a:lnTo>
                        <a:pt x="66" y="27"/>
                      </a:lnTo>
                      <a:lnTo>
                        <a:pt x="66" y="27"/>
                      </a:lnTo>
                      <a:lnTo>
                        <a:pt x="67" y="28"/>
                      </a:lnTo>
                      <a:lnTo>
                        <a:pt x="67" y="31"/>
                      </a:lnTo>
                      <a:lnTo>
                        <a:pt x="67" y="32"/>
                      </a:lnTo>
                      <a:lnTo>
                        <a:pt x="66" y="32"/>
                      </a:lnTo>
                      <a:lnTo>
                        <a:pt x="64" y="32"/>
                      </a:lnTo>
                      <a:lnTo>
                        <a:pt x="64" y="30"/>
                      </a:lnTo>
                      <a:lnTo>
                        <a:pt x="64" y="30"/>
                      </a:lnTo>
                      <a:lnTo>
                        <a:pt x="63" y="28"/>
                      </a:lnTo>
                      <a:lnTo>
                        <a:pt x="61" y="28"/>
                      </a:lnTo>
                      <a:lnTo>
                        <a:pt x="61" y="30"/>
                      </a:lnTo>
                      <a:lnTo>
                        <a:pt x="60" y="28"/>
                      </a:lnTo>
                      <a:lnTo>
                        <a:pt x="60" y="30"/>
                      </a:lnTo>
                      <a:lnTo>
                        <a:pt x="59" y="31"/>
                      </a:lnTo>
                      <a:lnTo>
                        <a:pt x="56" y="30"/>
                      </a:lnTo>
                      <a:lnTo>
                        <a:pt x="55" y="28"/>
                      </a:lnTo>
                      <a:lnTo>
                        <a:pt x="55" y="27"/>
                      </a:lnTo>
                      <a:lnTo>
                        <a:pt x="56" y="26"/>
                      </a:lnTo>
                      <a:lnTo>
                        <a:pt x="54" y="26"/>
                      </a:lnTo>
                      <a:lnTo>
                        <a:pt x="54" y="26"/>
                      </a:lnTo>
                      <a:lnTo>
                        <a:pt x="53" y="26"/>
                      </a:lnTo>
                      <a:lnTo>
                        <a:pt x="53" y="27"/>
                      </a:lnTo>
                      <a:lnTo>
                        <a:pt x="53" y="28"/>
                      </a:lnTo>
                      <a:lnTo>
                        <a:pt x="53" y="30"/>
                      </a:lnTo>
                      <a:lnTo>
                        <a:pt x="53" y="31"/>
                      </a:lnTo>
                      <a:lnTo>
                        <a:pt x="50" y="32"/>
                      </a:lnTo>
                      <a:lnTo>
                        <a:pt x="49" y="33"/>
                      </a:lnTo>
                      <a:lnTo>
                        <a:pt x="49" y="34"/>
                      </a:lnTo>
                      <a:lnTo>
                        <a:pt x="49" y="34"/>
                      </a:lnTo>
                      <a:lnTo>
                        <a:pt x="49" y="35"/>
                      </a:lnTo>
                      <a:lnTo>
                        <a:pt x="49" y="37"/>
                      </a:lnTo>
                      <a:lnTo>
                        <a:pt x="49" y="37"/>
                      </a:lnTo>
                      <a:lnTo>
                        <a:pt x="49" y="38"/>
                      </a:lnTo>
                      <a:lnTo>
                        <a:pt x="49" y="39"/>
                      </a:lnTo>
                      <a:lnTo>
                        <a:pt x="49" y="39"/>
                      </a:lnTo>
                      <a:lnTo>
                        <a:pt x="48" y="39"/>
                      </a:lnTo>
                      <a:lnTo>
                        <a:pt x="48" y="39"/>
                      </a:lnTo>
                      <a:lnTo>
                        <a:pt x="48" y="38"/>
                      </a:lnTo>
                      <a:lnTo>
                        <a:pt x="47" y="37"/>
                      </a:lnTo>
                      <a:lnTo>
                        <a:pt x="46" y="37"/>
                      </a:lnTo>
                      <a:lnTo>
                        <a:pt x="46" y="35"/>
                      </a:lnTo>
                      <a:lnTo>
                        <a:pt x="46" y="34"/>
                      </a:lnTo>
                      <a:lnTo>
                        <a:pt x="46" y="34"/>
                      </a:lnTo>
                      <a:lnTo>
                        <a:pt x="44" y="34"/>
                      </a:lnTo>
                      <a:lnTo>
                        <a:pt x="44" y="34"/>
                      </a:lnTo>
                      <a:lnTo>
                        <a:pt x="44" y="33"/>
                      </a:lnTo>
                      <a:lnTo>
                        <a:pt x="43" y="34"/>
                      </a:lnTo>
                      <a:lnTo>
                        <a:pt x="41" y="33"/>
                      </a:lnTo>
                      <a:lnTo>
                        <a:pt x="41" y="32"/>
                      </a:lnTo>
                      <a:lnTo>
                        <a:pt x="40" y="32"/>
                      </a:lnTo>
                      <a:lnTo>
                        <a:pt x="39" y="30"/>
                      </a:lnTo>
                      <a:lnTo>
                        <a:pt x="40" y="28"/>
                      </a:lnTo>
                      <a:lnTo>
                        <a:pt x="40" y="27"/>
                      </a:lnTo>
                      <a:lnTo>
                        <a:pt x="40" y="26"/>
                      </a:lnTo>
                      <a:lnTo>
                        <a:pt x="37" y="27"/>
                      </a:lnTo>
                      <a:lnTo>
                        <a:pt x="36" y="27"/>
                      </a:lnTo>
                      <a:lnTo>
                        <a:pt x="36" y="28"/>
                      </a:lnTo>
                      <a:lnTo>
                        <a:pt x="36" y="30"/>
                      </a:lnTo>
                      <a:lnTo>
                        <a:pt x="35" y="30"/>
                      </a:lnTo>
                      <a:lnTo>
                        <a:pt x="35" y="31"/>
                      </a:lnTo>
                      <a:lnTo>
                        <a:pt x="35" y="32"/>
                      </a:lnTo>
                      <a:lnTo>
                        <a:pt x="35" y="33"/>
                      </a:lnTo>
                      <a:lnTo>
                        <a:pt x="34" y="33"/>
                      </a:lnTo>
                      <a:lnTo>
                        <a:pt x="34" y="34"/>
                      </a:lnTo>
                      <a:lnTo>
                        <a:pt x="34" y="34"/>
                      </a:lnTo>
                      <a:lnTo>
                        <a:pt x="34" y="35"/>
                      </a:lnTo>
                      <a:lnTo>
                        <a:pt x="33" y="35"/>
                      </a:lnTo>
                      <a:lnTo>
                        <a:pt x="32" y="35"/>
                      </a:lnTo>
                      <a:lnTo>
                        <a:pt x="30" y="35"/>
                      </a:lnTo>
                      <a:lnTo>
                        <a:pt x="30" y="37"/>
                      </a:lnTo>
                      <a:lnTo>
                        <a:pt x="30" y="38"/>
                      </a:lnTo>
                      <a:lnTo>
                        <a:pt x="29" y="38"/>
                      </a:lnTo>
                      <a:lnTo>
                        <a:pt x="28" y="38"/>
                      </a:lnTo>
                      <a:lnTo>
                        <a:pt x="27" y="37"/>
                      </a:lnTo>
                      <a:lnTo>
                        <a:pt x="27" y="37"/>
                      </a:lnTo>
                      <a:lnTo>
                        <a:pt x="26" y="37"/>
                      </a:lnTo>
                      <a:lnTo>
                        <a:pt x="24" y="37"/>
                      </a:lnTo>
                      <a:lnTo>
                        <a:pt x="23" y="38"/>
                      </a:lnTo>
                      <a:lnTo>
                        <a:pt x="21" y="38"/>
                      </a:lnTo>
                      <a:lnTo>
                        <a:pt x="19" y="38"/>
                      </a:lnTo>
                      <a:lnTo>
                        <a:pt x="17" y="38"/>
                      </a:lnTo>
                      <a:lnTo>
                        <a:pt x="17" y="37"/>
                      </a:lnTo>
                      <a:lnTo>
                        <a:pt x="16" y="35"/>
                      </a:lnTo>
                      <a:lnTo>
                        <a:pt x="14" y="34"/>
                      </a:lnTo>
                      <a:lnTo>
                        <a:pt x="14" y="34"/>
                      </a:lnTo>
                      <a:lnTo>
                        <a:pt x="14" y="33"/>
                      </a:lnTo>
                      <a:lnTo>
                        <a:pt x="13" y="33"/>
                      </a:lnTo>
                      <a:lnTo>
                        <a:pt x="13" y="32"/>
                      </a:lnTo>
                      <a:lnTo>
                        <a:pt x="13" y="31"/>
                      </a:lnTo>
                      <a:lnTo>
                        <a:pt x="13" y="30"/>
                      </a:lnTo>
                      <a:lnTo>
                        <a:pt x="13" y="28"/>
                      </a:lnTo>
                      <a:lnTo>
                        <a:pt x="13" y="27"/>
                      </a:lnTo>
                      <a:lnTo>
                        <a:pt x="10" y="27"/>
                      </a:lnTo>
                      <a:lnTo>
                        <a:pt x="8" y="27"/>
                      </a:lnTo>
                      <a:lnTo>
                        <a:pt x="6" y="27"/>
                      </a:lnTo>
                      <a:lnTo>
                        <a:pt x="4" y="28"/>
                      </a:lnTo>
                      <a:lnTo>
                        <a:pt x="3" y="30"/>
                      </a:lnTo>
                      <a:lnTo>
                        <a:pt x="3" y="30"/>
                      </a:lnTo>
                      <a:lnTo>
                        <a:pt x="3" y="31"/>
                      </a:lnTo>
                      <a:lnTo>
                        <a:pt x="4" y="31"/>
                      </a:lnTo>
                      <a:lnTo>
                        <a:pt x="3" y="32"/>
                      </a:lnTo>
                      <a:lnTo>
                        <a:pt x="3" y="33"/>
                      </a:lnTo>
                      <a:lnTo>
                        <a:pt x="2" y="33"/>
                      </a:lnTo>
                      <a:lnTo>
                        <a:pt x="0" y="33"/>
                      </a:lnTo>
                      <a:lnTo>
                        <a:pt x="0" y="32"/>
                      </a:lnTo>
                      <a:lnTo>
                        <a:pt x="0" y="32"/>
                      </a:lnTo>
                      <a:lnTo>
                        <a:pt x="1" y="31"/>
                      </a:lnTo>
                      <a:lnTo>
                        <a:pt x="2" y="31"/>
                      </a:lnTo>
                      <a:lnTo>
                        <a:pt x="2" y="31"/>
                      </a:lnTo>
                      <a:lnTo>
                        <a:pt x="2" y="30"/>
                      </a:lnTo>
                      <a:lnTo>
                        <a:pt x="2" y="28"/>
                      </a:lnTo>
                      <a:lnTo>
                        <a:pt x="1" y="27"/>
                      </a:lnTo>
                      <a:lnTo>
                        <a:pt x="1" y="27"/>
                      </a:lnTo>
                      <a:lnTo>
                        <a:pt x="1" y="27"/>
                      </a:lnTo>
                      <a:lnTo>
                        <a:pt x="2" y="25"/>
                      </a:lnTo>
                      <a:lnTo>
                        <a:pt x="2" y="24"/>
                      </a:lnTo>
                      <a:lnTo>
                        <a:pt x="2" y="24"/>
                      </a:lnTo>
                      <a:lnTo>
                        <a:pt x="4" y="23"/>
                      </a:lnTo>
                      <a:lnTo>
                        <a:pt x="7" y="21"/>
                      </a:lnTo>
                      <a:lnTo>
                        <a:pt x="7" y="19"/>
                      </a:lnTo>
                      <a:lnTo>
                        <a:pt x="7" y="19"/>
                      </a:lnTo>
                      <a:lnTo>
                        <a:pt x="7" y="18"/>
                      </a:lnTo>
                      <a:lnTo>
                        <a:pt x="8" y="17"/>
                      </a:lnTo>
                      <a:lnTo>
                        <a:pt x="10" y="15"/>
                      </a:lnTo>
                      <a:lnTo>
                        <a:pt x="10" y="14"/>
                      </a:lnTo>
                      <a:lnTo>
                        <a:pt x="13" y="13"/>
                      </a:lnTo>
                      <a:lnTo>
                        <a:pt x="14" y="12"/>
                      </a:lnTo>
                      <a:lnTo>
                        <a:pt x="14" y="11"/>
                      </a:lnTo>
                      <a:lnTo>
                        <a:pt x="14" y="11"/>
                      </a:lnTo>
                      <a:lnTo>
                        <a:pt x="15" y="10"/>
                      </a:lnTo>
                      <a:lnTo>
                        <a:pt x="15" y="10"/>
                      </a:lnTo>
                      <a:lnTo>
                        <a:pt x="15" y="8"/>
                      </a:lnTo>
                      <a:lnTo>
                        <a:pt x="14" y="8"/>
                      </a:lnTo>
                      <a:lnTo>
                        <a:pt x="14" y="8"/>
                      </a:lnTo>
                      <a:lnTo>
                        <a:pt x="14" y="7"/>
                      </a:lnTo>
                      <a:lnTo>
                        <a:pt x="15" y="6"/>
                      </a:lnTo>
                      <a:lnTo>
                        <a:pt x="15" y="6"/>
                      </a:lnTo>
                      <a:lnTo>
                        <a:pt x="16" y="6"/>
                      </a:lnTo>
                      <a:lnTo>
                        <a:pt x="17" y="6"/>
                      </a:lnTo>
                      <a:lnTo>
                        <a:pt x="19" y="7"/>
                      </a:lnTo>
                      <a:lnTo>
                        <a:pt x="20" y="7"/>
                      </a:lnTo>
                      <a:lnTo>
                        <a:pt x="21" y="7"/>
                      </a:lnTo>
                      <a:lnTo>
                        <a:pt x="22" y="7"/>
                      </a:lnTo>
                      <a:lnTo>
                        <a:pt x="23" y="6"/>
                      </a:lnTo>
                      <a:lnTo>
                        <a:pt x="23" y="6"/>
                      </a:lnTo>
                      <a:lnTo>
                        <a:pt x="23" y="5"/>
                      </a:lnTo>
                      <a:lnTo>
                        <a:pt x="23" y="5"/>
                      </a:lnTo>
                      <a:lnTo>
                        <a:pt x="24" y="4"/>
                      </a:lnTo>
                      <a:lnTo>
                        <a:pt x="24" y="4"/>
                      </a:lnTo>
                      <a:lnTo>
                        <a:pt x="24" y="4"/>
                      </a:lnTo>
                      <a:lnTo>
                        <a:pt x="24" y="4"/>
                      </a:lnTo>
                      <a:lnTo>
                        <a:pt x="26" y="4"/>
                      </a:lnTo>
                      <a:lnTo>
                        <a:pt x="26" y="4"/>
                      </a:lnTo>
                      <a:lnTo>
                        <a:pt x="26" y="4"/>
                      </a:lnTo>
                      <a:lnTo>
                        <a:pt x="26" y="4"/>
                      </a:lnTo>
                      <a:lnTo>
                        <a:pt x="26" y="5"/>
                      </a:lnTo>
                      <a:lnTo>
                        <a:pt x="26" y="5"/>
                      </a:lnTo>
                      <a:lnTo>
                        <a:pt x="26" y="5"/>
                      </a:lnTo>
                      <a:lnTo>
                        <a:pt x="27" y="5"/>
                      </a:lnTo>
                      <a:lnTo>
                        <a:pt x="28" y="5"/>
                      </a:lnTo>
                      <a:lnTo>
                        <a:pt x="29" y="5"/>
                      </a:lnTo>
                      <a:lnTo>
                        <a:pt x="29" y="5"/>
                      </a:lnTo>
                      <a:lnTo>
                        <a:pt x="32" y="5"/>
                      </a:lnTo>
                      <a:lnTo>
                        <a:pt x="33" y="4"/>
                      </a:lnTo>
                      <a:lnTo>
                        <a:pt x="35" y="4"/>
                      </a:lnTo>
                      <a:lnTo>
                        <a:pt x="36" y="4"/>
                      </a:lnTo>
                      <a:lnTo>
                        <a:pt x="37" y="4"/>
                      </a:lnTo>
                      <a:lnTo>
                        <a:pt x="39" y="5"/>
                      </a:lnTo>
                      <a:lnTo>
                        <a:pt x="39" y="4"/>
                      </a:lnTo>
                      <a:lnTo>
                        <a:pt x="40" y="4"/>
                      </a:lnTo>
                      <a:lnTo>
                        <a:pt x="40" y="4"/>
                      </a:lnTo>
                      <a:lnTo>
                        <a:pt x="40" y="4"/>
                      </a:lnTo>
                      <a:lnTo>
                        <a:pt x="41" y="4"/>
                      </a:lnTo>
                      <a:lnTo>
                        <a:pt x="41" y="3"/>
                      </a:lnTo>
                      <a:lnTo>
                        <a:pt x="41" y="3"/>
                      </a:lnTo>
                      <a:lnTo>
                        <a:pt x="40" y="3"/>
                      </a:lnTo>
                      <a:lnTo>
                        <a:pt x="40" y="3"/>
                      </a:lnTo>
                      <a:lnTo>
                        <a:pt x="39" y="3"/>
                      </a:lnTo>
                      <a:lnTo>
                        <a:pt x="37" y="3"/>
                      </a:lnTo>
                      <a:lnTo>
                        <a:pt x="37" y="1"/>
                      </a:lnTo>
                      <a:lnTo>
                        <a:pt x="39" y="0"/>
                      </a:lnTo>
                      <a:lnTo>
                        <a:pt x="40" y="0"/>
                      </a:lnTo>
                      <a:lnTo>
                        <a:pt x="41" y="0"/>
                      </a:lnTo>
                      <a:lnTo>
                        <a:pt x="41" y="0"/>
                      </a:lnTo>
                      <a:lnTo>
                        <a:pt x="42" y="0"/>
                      </a:lnTo>
                      <a:lnTo>
                        <a:pt x="42" y="0"/>
                      </a:lnTo>
                      <a:lnTo>
                        <a:pt x="43" y="1"/>
                      </a:lnTo>
                      <a:lnTo>
                        <a:pt x="42" y="1"/>
                      </a:lnTo>
                      <a:lnTo>
                        <a:pt x="42" y="3"/>
                      </a:lnTo>
                      <a:lnTo>
                        <a:pt x="43" y="3"/>
                      </a:lnTo>
                      <a:lnTo>
                        <a:pt x="43" y="3"/>
                      </a:lnTo>
                      <a:lnTo>
                        <a:pt x="43" y="1"/>
                      </a:lnTo>
                      <a:lnTo>
                        <a:pt x="43" y="1"/>
                      </a:lnTo>
                      <a:lnTo>
                        <a:pt x="44" y="1"/>
                      </a:lnTo>
                      <a:lnTo>
                        <a:pt x="44" y="1"/>
                      </a:lnTo>
                      <a:lnTo>
                        <a:pt x="46" y="1"/>
                      </a:lnTo>
                      <a:lnTo>
                        <a:pt x="47" y="3"/>
                      </a:lnTo>
                      <a:lnTo>
                        <a:pt x="47" y="3"/>
                      </a:lnTo>
                      <a:lnTo>
                        <a:pt x="48" y="1"/>
                      </a:lnTo>
                      <a:lnTo>
                        <a:pt x="48" y="3"/>
                      </a:lnTo>
                      <a:lnTo>
                        <a:pt x="49" y="3"/>
                      </a:lnTo>
                      <a:lnTo>
                        <a:pt x="52" y="3"/>
                      </a:lnTo>
                      <a:lnTo>
                        <a:pt x="56" y="5"/>
                      </a:lnTo>
                      <a:lnTo>
                        <a:pt x="56" y="5"/>
                      </a:lnTo>
                      <a:lnTo>
                        <a:pt x="56" y="6"/>
                      </a:lnTo>
                      <a:lnTo>
                        <a:pt x="57" y="7"/>
                      </a:lnTo>
                      <a:lnTo>
                        <a:pt x="57" y="7"/>
                      </a:lnTo>
                      <a:lnTo>
                        <a:pt x="57" y="8"/>
                      </a:lnTo>
                      <a:lnTo>
                        <a:pt x="57" y="8"/>
                      </a:lnTo>
                      <a:lnTo>
                        <a:pt x="56" y="11"/>
                      </a:lnTo>
                      <a:lnTo>
                        <a:pt x="56" y="11"/>
                      </a:lnTo>
                      <a:lnTo>
                        <a:pt x="54" y="12"/>
                      </a:lnTo>
                      <a:lnTo>
                        <a:pt x="55" y="14"/>
                      </a:lnTo>
                      <a:lnTo>
                        <a:pt x="54" y="14"/>
                      </a:lnTo>
                      <a:lnTo>
                        <a:pt x="55" y="14"/>
                      </a:lnTo>
                      <a:lnTo>
                        <a:pt x="56" y="14"/>
                      </a:lnTo>
                      <a:lnTo>
                        <a:pt x="56" y="14"/>
                      </a:lnTo>
                      <a:lnTo>
                        <a:pt x="57" y="14"/>
                      </a:lnTo>
                      <a:lnTo>
                        <a:pt x="57" y="14"/>
                      </a:lnTo>
                      <a:lnTo>
                        <a:pt x="62" y="15"/>
                      </a:lnTo>
                      <a:lnTo>
                        <a:pt x="62" y="15"/>
                      </a:lnTo>
                      <a:lnTo>
                        <a:pt x="62" y="15"/>
                      </a:lnTo>
                      <a:lnTo>
                        <a:pt x="62" y="17"/>
                      </a:lnTo>
                      <a:lnTo>
                        <a:pt x="63" y="18"/>
                      </a:lnTo>
                      <a:lnTo>
                        <a:pt x="63" y="18"/>
                      </a:lnTo>
                      <a:lnTo>
                        <a:pt x="64" y="19"/>
                      </a:lnTo>
                      <a:lnTo>
                        <a:pt x="66" y="19"/>
                      </a:lnTo>
                      <a:lnTo>
                        <a:pt x="68" y="18"/>
                      </a:lnTo>
                      <a:lnTo>
                        <a:pt x="68" y="17"/>
                      </a:lnTo>
                      <a:lnTo>
                        <a:pt x="68" y="17"/>
                      </a:lnTo>
                      <a:lnTo>
                        <a:pt x="68" y="17"/>
                      </a:lnTo>
                      <a:lnTo>
                        <a:pt x="69" y="15"/>
                      </a:lnTo>
                      <a:lnTo>
                        <a:pt x="70" y="15"/>
                      </a:lnTo>
                      <a:lnTo>
                        <a:pt x="72" y="17"/>
                      </a:lnTo>
                      <a:lnTo>
                        <a:pt x="70" y="18"/>
                      </a:lnTo>
                      <a:lnTo>
                        <a:pt x="70" y="18"/>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grpSp>
              <p:nvGrpSpPr>
                <p:cNvPr id="375" name="Sweden">
                  <a:extLst>
                    <a:ext uri="{FF2B5EF4-FFF2-40B4-BE49-F238E27FC236}">
                      <a16:creationId xmlns:a16="http://schemas.microsoft.com/office/drawing/2014/main" id="{B2C1A179-5920-7640-8DA1-B15120B30602}"/>
                    </a:ext>
                  </a:extLst>
                </p:cNvPr>
                <p:cNvGrpSpPr/>
                <p:nvPr/>
              </p:nvGrpSpPr>
              <p:grpSpPr>
                <a:xfrm>
                  <a:off x="6599976" y="1973105"/>
                  <a:ext cx="244935" cy="368861"/>
                  <a:chOff x="5293758" y="2113704"/>
                  <a:chExt cx="270108" cy="406770"/>
                </a:xfrm>
                <a:grpFill/>
              </p:grpSpPr>
              <p:sp>
                <p:nvSpPr>
                  <p:cNvPr id="533" name="Freeform 72">
                    <a:extLst>
                      <a:ext uri="{FF2B5EF4-FFF2-40B4-BE49-F238E27FC236}">
                        <a16:creationId xmlns:a16="http://schemas.microsoft.com/office/drawing/2014/main" id="{4511C9B6-3839-F244-BA57-0DD0787FCAD5}"/>
                      </a:ext>
                    </a:extLst>
                  </p:cNvPr>
                  <p:cNvSpPr>
                    <a:spLocks noEditPoints="1"/>
                  </p:cNvSpPr>
                  <p:nvPr/>
                </p:nvSpPr>
                <p:spPr bwMode="auto">
                  <a:xfrm>
                    <a:off x="5293758" y="2113704"/>
                    <a:ext cx="270108" cy="406770"/>
                  </a:xfrm>
                  <a:custGeom>
                    <a:avLst/>
                    <a:gdLst>
                      <a:gd name="T0" fmla="*/ 83 w 168"/>
                      <a:gd name="T1" fmla="*/ 236 h 253"/>
                      <a:gd name="T2" fmla="*/ 90 w 168"/>
                      <a:gd name="T3" fmla="*/ 218 h 253"/>
                      <a:gd name="T4" fmla="*/ 138 w 168"/>
                      <a:gd name="T5" fmla="*/ 11 h 253"/>
                      <a:gd name="T6" fmla="*/ 155 w 168"/>
                      <a:gd name="T7" fmla="*/ 32 h 253"/>
                      <a:gd name="T8" fmla="*/ 163 w 168"/>
                      <a:gd name="T9" fmla="*/ 58 h 253"/>
                      <a:gd name="T10" fmla="*/ 157 w 168"/>
                      <a:gd name="T11" fmla="*/ 56 h 253"/>
                      <a:gd name="T12" fmla="*/ 147 w 168"/>
                      <a:gd name="T13" fmla="*/ 56 h 253"/>
                      <a:gd name="T14" fmla="*/ 143 w 168"/>
                      <a:gd name="T15" fmla="*/ 59 h 253"/>
                      <a:gd name="T16" fmla="*/ 143 w 168"/>
                      <a:gd name="T17" fmla="*/ 61 h 253"/>
                      <a:gd name="T18" fmla="*/ 137 w 168"/>
                      <a:gd name="T19" fmla="*/ 61 h 253"/>
                      <a:gd name="T20" fmla="*/ 133 w 168"/>
                      <a:gd name="T21" fmla="*/ 65 h 253"/>
                      <a:gd name="T22" fmla="*/ 134 w 168"/>
                      <a:gd name="T23" fmla="*/ 68 h 253"/>
                      <a:gd name="T24" fmla="*/ 130 w 168"/>
                      <a:gd name="T25" fmla="*/ 75 h 253"/>
                      <a:gd name="T26" fmla="*/ 134 w 168"/>
                      <a:gd name="T27" fmla="*/ 81 h 253"/>
                      <a:gd name="T28" fmla="*/ 129 w 168"/>
                      <a:gd name="T29" fmla="*/ 86 h 253"/>
                      <a:gd name="T30" fmla="*/ 123 w 168"/>
                      <a:gd name="T31" fmla="*/ 95 h 253"/>
                      <a:gd name="T32" fmla="*/ 114 w 168"/>
                      <a:gd name="T33" fmla="*/ 100 h 253"/>
                      <a:gd name="T34" fmla="*/ 105 w 168"/>
                      <a:gd name="T35" fmla="*/ 103 h 253"/>
                      <a:gd name="T36" fmla="*/ 100 w 168"/>
                      <a:gd name="T37" fmla="*/ 106 h 253"/>
                      <a:gd name="T38" fmla="*/ 96 w 168"/>
                      <a:gd name="T39" fmla="*/ 109 h 253"/>
                      <a:gd name="T40" fmla="*/ 89 w 168"/>
                      <a:gd name="T41" fmla="*/ 112 h 253"/>
                      <a:gd name="T42" fmla="*/ 91 w 168"/>
                      <a:gd name="T43" fmla="*/ 116 h 253"/>
                      <a:gd name="T44" fmla="*/ 83 w 168"/>
                      <a:gd name="T45" fmla="*/ 119 h 253"/>
                      <a:gd name="T46" fmla="*/ 83 w 168"/>
                      <a:gd name="T47" fmla="*/ 128 h 253"/>
                      <a:gd name="T48" fmla="*/ 83 w 168"/>
                      <a:gd name="T49" fmla="*/ 132 h 253"/>
                      <a:gd name="T50" fmla="*/ 82 w 168"/>
                      <a:gd name="T51" fmla="*/ 136 h 253"/>
                      <a:gd name="T52" fmla="*/ 84 w 168"/>
                      <a:gd name="T53" fmla="*/ 146 h 253"/>
                      <a:gd name="T54" fmla="*/ 91 w 168"/>
                      <a:gd name="T55" fmla="*/ 152 h 253"/>
                      <a:gd name="T56" fmla="*/ 100 w 168"/>
                      <a:gd name="T57" fmla="*/ 158 h 253"/>
                      <a:gd name="T58" fmla="*/ 107 w 168"/>
                      <a:gd name="T59" fmla="*/ 161 h 253"/>
                      <a:gd name="T60" fmla="*/ 114 w 168"/>
                      <a:gd name="T61" fmla="*/ 168 h 253"/>
                      <a:gd name="T62" fmla="*/ 103 w 168"/>
                      <a:gd name="T63" fmla="*/ 174 h 253"/>
                      <a:gd name="T64" fmla="*/ 93 w 168"/>
                      <a:gd name="T65" fmla="*/ 172 h 253"/>
                      <a:gd name="T66" fmla="*/ 87 w 168"/>
                      <a:gd name="T67" fmla="*/ 172 h 253"/>
                      <a:gd name="T68" fmla="*/ 80 w 168"/>
                      <a:gd name="T69" fmla="*/ 174 h 253"/>
                      <a:gd name="T70" fmla="*/ 94 w 168"/>
                      <a:gd name="T71" fmla="*/ 178 h 253"/>
                      <a:gd name="T72" fmla="*/ 109 w 168"/>
                      <a:gd name="T73" fmla="*/ 178 h 253"/>
                      <a:gd name="T74" fmla="*/ 104 w 168"/>
                      <a:gd name="T75" fmla="*/ 181 h 253"/>
                      <a:gd name="T76" fmla="*/ 96 w 168"/>
                      <a:gd name="T77" fmla="*/ 183 h 253"/>
                      <a:gd name="T78" fmla="*/ 91 w 168"/>
                      <a:gd name="T79" fmla="*/ 188 h 253"/>
                      <a:gd name="T80" fmla="*/ 82 w 168"/>
                      <a:gd name="T81" fmla="*/ 187 h 253"/>
                      <a:gd name="T82" fmla="*/ 85 w 168"/>
                      <a:gd name="T83" fmla="*/ 193 h 253"/>
                      <a:gd name="T84" fmla="*/ 84 w 168"/>
                      <a:gd name="T85" fmla="*/ 199 h 253"/>
                      <a:gd name="T86" fmla="*/ 84 w 168"/>
                      <a:gd name="T87" fmla="*/ 203 h 253"/>
                      <a:gd name="T88" fmla="*/ 82 w 168"/>
                      <a:gd name="T89" fmla="*/ 206 h 253"/>
                      <a:gd name="T90" fmla="*/ 83 w 168"/>
                      <a:gd name="T91" fmla="*/ 214 h 253"/>
                      <a:gd name="T92" fmla="*/ 82 w 168"/>
                      <a:gd name="T93" fmla="*/ 221 h 253"/>
                      <a:gd name="T94" fmla="*/ 77 w 168"/>
                      <a:gd name="T95" fmla="*/ 235 h 253"/>
                      <a:gd name="T96" fmla="*/ 61 w 168"/>
                      <a:gd name="T97" fmla="*/ 239 h 253"/>
                      <a:gd name="T98" fmla="*/ 53 w 168"/>
                      <a:gd name="T99" fmla="*/ 246 h 253"/>
                      <a:gd name="T100" fmla="*/ 36 w 168"/>
                      <a:gd name="T101" fmla="*/ 253 h 253"/>
                      <a:gd name="T102" fmla="*/ 27 w 168"/>
                      <a:gd name="T103" fmla="*/ 239 h 253"/>
                      <a:gd name="T104" fmla="*/ 28 w 168"/>
                      <a:gd name="T105" fmla="*/ 228 h 253"/>
                      <a:gd name="T106" fmla="*/ 17 w 168"/>
                      <a:gd name="T107" fmla="*/ 216 h 253"/>
                      <a:gd name="T108" fmla="*/ 13 w 168"/>
                      <a:gd name="T109" fmla="*/ 208 h 253"/>
                      <a:gd name="T110" fmla="*/ 11 w 168"/>
                      <a:gd name="T111" fmla="*/ 196 h 253"/>
                      <a:gd name="T112" fmla="*/ 7 w 168"/>
                      <a:gd name="T113" fmla="*/ 195 h 253"/>
                      <a:gd name="T114" fmla="*/ 2 w 168"/>
                      <a:gd name="T115" fmla="*/ 189 h 253"/>
                      <a:gd name="T116" fmla="*/ 13 w 168"/>
                      <a:gd name="T117" fmla="*/ 166 h 253"/>
                      <a:gd name="T118" fmla="*/ 23 w 168"/>
                      <a:gd name="T119" fmla="*/ 88 h 253"/>
                      <a:gd name="T120" fmla="*/ 58 w 168"/>
                      <a:gd name="T121" fmla="*/ 25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68" h="253">
                        <a:moveTo>
                          <a:pt x="91" y="214"/>
                        </a:moveTo>
                        <a:lnTo>
                          <a:pt x="91" y="214"/>
                        </a:lnTo>
                        <a:lnTo>
                          <a:pt x="91" y="214"/>
                        </a:lnTo>
                        <a:lnTo>
                          <a:pt x="90" y="214"/>
                        </a:lnTo>
                        <a:lnTo>
                          <a:pt x="90" y="214"/>
                        </a:lnTo>
                        <a:lnTo>
                          <a:pt x="89" y="216"/>
                        </a:lnTo>
                        <a:lnTo>
                          <a:pt x="88" y="216"/>
                        </a:lnTo>
                        <a:lnTo>
                          <a:pt x="88" y="219"/>
                        </a:lnTo>
                        <a:lnTo>
                          <a:pt x="89" y="220"/>
                        </a:lnTo>
                        <a:lnTo>
                          <a:pt x="88" y="220"/>
                        </a:lnTo>
                        <a:lnTo>
                          <a:pt x="88" y="221"/>
                        </a:lnTo>
                        <a:lnTo>
                          <a:pt x="87" y="222"/>
                        </a:lnTo>
                        <a:lnTo>
                          <a:pt x="85" y="222"/>
                        </a:lnTo>
                        <a:lnTo>
                          <a:pt x="84" y="223"/>
                        </a:lnTo>
                        <a:lnTo>
                          <a:pt x="84" y="225"/>
                        </a:lnTo>
                        <a:lnTo>
                          <a:pt x="84" y="226"/>
                        </a:lnTo>
                        <a:lnTo>
                          <a:pt x="84" y="227"/>
                        </a:lnTo>
                        <a:lnTo>
                          <a:pt x="83" y="227"/>
                        </a:lnTo>
                        <a:lnTo>
                          <a:pt x="83" y="227"/>
                        </a:lnTo>
                        <a:lnTo>
                          <a:pt x="82" y="228"/>
                        </a:lnTo>
                        <a:lnTo>
                          <a:pt x="82" y="229"/>
                        </a:lnTo>
                        <a:lnTo>
                          <a:pt x="82" y="230"/>
                        </a:lnTo>
                        <a:lnTo>
                          <a:pt x="82" y="230"/>
                        </a:lnTo>
                        <a:lnTo>
                          <a:pt x="82" y="232"/>
                        </a:lnTo>
                        <a:lnTo>
                          <a:pt x="82" y="234"/>
                        </a:lnTo>
                        <a:lnTo>
                          <a:pt x="82" y="235"/>
                        </a:lnTo>
                        <a:lnTo>
                          <a:pt x="83" y="236"/>
                        </a:lnTo>
                        <a:lnTo>
                          <a:pt x="83" y="236"/>
                        </a:lnTo>
                        <a:lnTo>
                          <a:pt x="84" y="236"/>
                        </a:lnTo>
                        <a:lnTo>
                          <a:pt x="84" y="236"/>
                        </a:lnTo>
                        <a:lnTo>
                          <a:pt x="85" y="235"/>
                        </a:lnTo>
                        <a:lnTo>
                          <a:pt x="84" y="235"/>
                        </a:lnTo>
                        <a:lnTo>
                          <a:pt x="85" y="234"/>
                        </a:lnTo>
                        <a:lnTo>
                          <a:pt x="85" y="234"/>
                        </a:lnTo>
                        <a:lnTo>
                          <a:pt x="85" y="233"/>
                        </a:lnTo>
                        <a:lnTo>
                          <a:pt x="85" y="232"/>
                        </a:lnTo>
                        <a:lnTo>
                          <a:pt x="85" y="232"/>
                        </a:lnTo>
                        <a:lnTo>
                          <a:pt x="87" y="232"/>
                        </a:lnTo>
                        <a:lnTo>
                          <a:pt x="87" y="230"/>
                        </a:lnTo>
                        <a:lnTo>
                          <a:pt x="87" y="230"/>
                        </a:lnTo>
                        <a:lnTo>
                          <a:pt x="87" y="229"/>
                        </a:lnTo>
                        <a:lnTo>
                          <a:pt x="87" y="229"/>
                        </a:lnTo>
                        <a:lnTo>
                          <a:pt x="88" y="227"/>
                        </a:lnTo>
                        <a:lnTo>
                          <a:pt x="87" y="226"/>
                        </a:lnTo>
                        <a:lnTo>
                          <a:pt x="87" y="225"/>
                        </a:lnTo>
                        <a:lnTo>
                          <a:pt x="87" y="225"/>
                        </a:lnTo>
                        <a:lnTo>
                          <a:pt x="88" y="223"/>
                        </a:lnTo>
                        <a:lnTo>
                          <a:pt x="88" y="223"/>
                        </a:lnTo>
                        <a:lnTo>
                          <a:pt x="89" y="222"/>
                        </a:lnTo>
                        <a:lnTo>
                          <a:pt x="89" y="221"/>
                        </a:lnTo>
                        <a:lnTo>
                          <a:pt x="89" y="221"/>
                        </a:lnTo>
                        <a:lnTo>
                          <a:pt x="90" y="220"/>
                        </a:lnTo>
                        <a:lnTo>
                          <a:pt x="91" y="219"/>
                        </a:lnTo>
                        <a:lnTo>
                          <a:pt x="90" y="218"/>
                        </a:lnTo>
                        <a:lnTo>
                          <a:pt x="91" y="218"/>
                        </a:lnTo>
                        <a:lnTo>
                          <a:pt x="91" y="216"/>
                        </a:lnTo>
                        <a:lnTo>
                          <a:pt x="91" y="216"/>
                        </a:lnTo>
                        <a:lnTo>
                          <a:pt x="90" y="216"/>
                        </a:lnTo>
                        <a:lnTo>
                          <a:pt x="90" y="215"/>
                        </a:lnTo>
                        <a:lnTo>
                          <a:pt x="93" y="214"/>
                        </a:lnTo>
                        <a:lnTo>
                          <a:pt x="91" y="214"/>
                        </a:lnTo>
                        <a:lnTo>
                          <a:pt x="91" y="214"/>
                        </a:lnTo>
                        <a:close/>
                        <a:moveTo>
                          <a:pt x="109" y="0"/>
                        </a:moveTo>
                        <a:lnTo>
                          <a:pt x="113" y="1"/>
                        </a:lnTo>
                        <a:lnTo>
                          <a:pt x="114" y="1"/>
                        </a:lnTo>
                        <a:lnTo>
                          <a:pt x="113" y="1"/>
                        </a:lnTo>
                        <a:lnTo>
                          <a:pt x="113" y="2"/>
                        </a:lnTo>
                        <a:lnTo>
                          <a:pt x="115" y="2"/>
                        </a:lnTo>
                        <a:lnTo>
                          <a:pt x="120" y="5"/>
                        </a:lnTo>
                        <a:lnTo>
                          <a:pt x="122" y="6"/>
                        </a:lnTo>
                        <a:lnTo>
                          <a:pt x="123" y="7"/>
                        </a:lnTo>
                        <a:lnTo>
                          <a:pt x="125" y="7"/>
                        </a:lnTo>
                        <a:lnTo>
                          <a:pt x="128" y="8"/>
                        </a:lnTo>
                        <a:lnTo>
                          <a:pt x="129" y="9"/>
                        </a:lnTo>
                        <a:lnTo>
                          <a:pt x="131" y="11"/>
                        </a:lnTo>
                        <a:lnTo>
                          <a:pt x="134" y="11"/>
                        </a:lnTo>
                        <a:lnTo>
                          <a:pt x="135" y="11"/>
                        </a:lnTo>
                        <a:lnTo>
                          <a:pt x="135" y="11"/>
                        </a:lnTo>
                        <a:lnTo>
                          <a:pt x="135" y="11"/>
                        </a:lnTo>
                        <a:lnTo>
                          <a:pt x="137" y="11"/>
                        </a:lnTo>
                        <a:lnTo>
                          <a:pt x="138" y="11"/>
                        </a:lnTo>
                        <a:lnTo>
                          <a:pt x="140" y="12"/>
                        </a:lnTo>
                        <a:lnTo>
                          <a:pt x="140" y="12"/>
                        </a:lnTo>
                        <a:lnTo>
                          <a:pt x="141" y="12"/>
                        </a:lnTo>
                        <a:lnTo>
                          <a:pt x="143" y="13"/>
                        </a:lnTo>
                        <a:lnTo>
                          <a:pt x="144" y="14"/>
                        </a:lnTo>
                        <a:lnTo>
                          <a:pt x="145" y="15"/>
                        </a:lnTo>
                        <a:lnTo>
                          <a:pt x="147" y="15"/>
                        </a:lnTo>
                        <a:lnTo>
                          <a:pt x="148" y="15"/>
                        </a:lnTo>
                        <a:lnTo>
                          <a:pt x="149" y="18"/>
                        </a:lnTo>
                        <a:lnTo>
                          <a:pt x="151" y="18"/>
                        </a:lnTo>
                        <a:lnTo>
                          <a:pt x="151" y="19"/>
                        </a:lnTo>
                        <a:lnTo>
                          <a:pt x="154" y="19"/>
                        </a:lnTo>
                        <a:lnTo>
                          <a:pt x="154" y="20"/>
                        </a:lnTo>
                        <a:lnTo>
                          <a:pt x="151" y="20"/>
                        </a:lnTo>
                        <a:lnTo>
                          <a:pt x="150" y="21"/>
                        </a:lnTo>
                        <a:lnTo>
                          <a:pt x="151" y="22"/>
                        </a:lnTo>
                        <a:lnTo>
                          <a:pt x="153" y="26"/>
                        </a:lnTo>
                        <a:lnTo>
                          <a:pt x="151" y="26"/>
                        </a:lnTo>
                        <a:lnTo>
                          <a:pt x="151" y="27"/>
                        </a:lnTo>
                        <a:lnTo>
                          <a:pt x="153" y="28"/>
                        </a:lnTo>
                        <a:lnTo>
                          <a:pt x="153" y="27"/>
                        </a:lnTo>
                        <a:lnTo>
                          <a:pt x="154" y="28"/>
                        </a:lnTo>
                        <a:lnTo>
                          <a:pt x="156" y="28"/>
                        </a:lnTo>
                        <a:lnTo>
                          <a:pt x="156" y="29"/>
                        </a:lnTo>
                        <a:lnTo>
                          <a:pt x="156" y="31"/>
                        </a:lnTo>
                        <a:lnTo>
                          <a:pt x="155" y="31"/>
                        </a:lnTo>
                        <a:lnTo>
                          <a:pt x="155" y="32"/>
                        </a:lnTo>
                        <a:lnTo>
                          <a:pt x="154" y="34"/>
                        </a:lnTo>
                        <a:lnTo>
                          <a:pt x="156" y="34"/>
                        </a:lnTo>
                        <a:lnTo>
                          <a:pt x="157" y="36"/>
                        </a:lnTo>
                        <a:lnTo>
                          <a:pt x="158" y="36"/>
                        </a:lnTo>
                        <a:lnTo>
                          <a:pt x="160" y="38"/>
                        </a:lnTo>
                        <a:lnTo>
                          <a:pt x="162" y="39"/>
                        </a:lnTo>
                        <a:lnTo>
                          <a:pt x="160" y="40"/>
                        </a:lnTo>
                        <a:lnTo>
                          <a:pt x="161" y="45"/>
                        </a:lnTo>
                        <a:lnTo>
                          <a:pt x="160" y="45"/>
                        </a:lnTo>
                        <a:lnTo>
                          <a:pt x="160" y="45"/>
                        </a:lnTo>
                        <a:lnTo>
                          <a:pt x="157" y="45"/>
                        </a:lnTo>
                        <a:lnTo>
                          <a:pt x="158" y="48"/>
                        </a:lnTo>
                        <a:lnTo>
                          <a:pt x="160" y="51"/>
                        </a:lnTo>
                        <a:lnTo>
                          <a:pt x="162" y="52"/>
                        </a:lnTo>
                        <a:lnTo>
                          <a:pt x="168" y="56"/>
                        </a:lnTo>
                        <a:lnTo>
                          <a:pt x="167" y="56"/>
                        </a:lnTo>
                        <a:lnTo>
                          <a:pt x="167" y="56"/>
                        </a:lnTo>
                        <a:lnTo>
                          <a:pt x="167" y="58"/>
                        </a:lnTo>
                        <a:lnTo>
                          <a:pt x="165" y="58"/>
                        </a:lnTo>
                        <a:lnTo>
                          <a:pt x="165" y="58"/>
                        </a:lnTo>
                        <a:lnTo>
                          <a:pt x="165" y="58"/>
                        </a:lnTo>
                        <a:lnTo>
                          <a:pt x="164" y="58"/>
                        </a:lnTo>
                        <a:lnTo>
                          <a:pt x="164" y="58"/>
                        </a:lnTo>
                        <a:lnTo>
                          <a:pt x="164" y="58"/>
                        </a:lnTo>
                        <a:lnTo>
                          <a:pt x="163" y="58"/>
                        </a:lnTo>
                        <a:lnTo>
                          <a:pt x="163" y="58"/>
                        </a:lnTo>
                        <a:lnTo>
                          <a:pt x="163" y="58"/>
                        </a:lnTo>
                        <a:lnTo>
                          <a:pt x="163" y="58"/>
                        </a:lnTo>
                        <a:lnTo>
                          <a:pt x="162" y="58"/>
                        </a:lnTo>
                        <a:lnTo>
                          <a:pt x="162" y="56"/>
                        </a:lnTo>
                        <a:lnTo>
                          <a:pt x="162" y="58"/>
                        </a:lnTo>
                        <a:lnTo>
                          <a:pt x="162" y="58"/>
                        </a:lnTo>
                        <a:lnTo>
                          <a:pt x="161" y="59"/>
                        </a:lnTo>
                        <a:lnTo>
                          <a:pt x="161" y="58"/>
                        </a:lnTo>
                        <a:lnTo>
                          <a:pt x="161" y="58"/>
                        </a:lnTo>
                        <a:lnTo>
                          <a:pt x="161" y="56"/>
                        </a:lnTo>
                        <a:lnTo>
                          <a:pt x="161" y="58"/>
                        </a:lnTo>
                        <a:lnTo>
                          <a:pt x="160" y="58"/>
                        </a:lnTo>
                        <a:lnTo>
                          <a:pt x="160" y="58"/>
                        </a:lnTo>
                        <a:lnTo>
                          <a:pt x="158" y="58"/>
                        </a:lnTo>
                        <a:lnTo>
                          <a:pt x="158" y="58"/>
                        </a:lnTo>
                        <a:lnTo>
                          <a:pt x="158" y="56"/>
                        </a:lnTo>
                        <a:lnTo>
                          <a:pt x="157" y="56"/>
                        </a:lnTo>
                        <a:lnTo>
                          <a:pt x="157" y="58"/>
                        </a:lnTo>
                        <a:lnTo>
                          <a:pt x="158" y="58"/>
                        </a:lnTo>
                        <a:lnTo>
                          <a:pt x="157" y="58"/>
                        </a:lnTo>
                        <a:lnTo>
                          <a:pt x="157" y="59"/>
                        </a:lnTo>
                        <a:lnTo>
                          <a:pt x="157" y="59"/>
                        </a:lnTo>
                        <a:lnTo>
                          <a:pt x="156" y="59"/>
                        </a:lnTo>
                        <a:lnTo>
                          <a:pt x="156" y="59"/>
                        </a:lnTo>
                        <a:lnTo>
                          <a:pt x="156" y="59"/>
                        </a:lnTo>
                        <a:lnTo>
                          <a:pt x="157" y="58"/>
                        </a:lnTo>
                        <a:lnTo>
                          <a:pt x="157" y="58"/>
                        </a:lnTo>
                        <a:lnTo>
                          <a:pt x="157" y="56"/>
                        </a:lnTo>
                        <a:lnTo>
                          <a:pt x="156" y="56"/>
                        </a:lnTo>
                        <a:lnTo>
                          <a:pt x="156" y="56"/>
                        </a:lnTo>
                        <a:lnTo>
                          <a:pt x="156" y="58"/>
                        </a:lnTo>
                        <a:lnTo>
                          <a:pt x="156" y="58"/>
                        </a:lnTo>
                        <a:lnTo>
                          <a:pt x="155" y="56"/>
                        </a:lnTo>
                        <a:lnTo>
                          <a:pt x="154" y="58"/>
                        </a:lnTo>
                        <a:lnTo>
                          <a:pt x="154" y="58"/>
                        </a:lnTo>
                        <a:lnTo>
                          <a:pt x="156" y="58"/>
                        </a:lnTo>
                        <a:lnTo>
                          <a:pt x="155" y="59"/>
                        </a:lnTo>
                        <a:lnTo>
                          <a:pt x="155" y="58"/>
                        </a:lnTo>
                        <a:lnTo>
                          <a:pt x="154" y="59"/>
                        </a:lnTo>
                        <a:lnTo>
                          <a:pt x="154" y="59"/>
                        </a:lnTo>
                        <a:lnTo>
                          <a:pt x="151" y="59"/>
                        </a:lnTo>
                        <a:lnTo>
                          <a:pt x="151" y="58"/>
                        </a:lnTo>
                        <a:lnTo>
                          <a:pt x="151" y="58"/>
                        </a:lnTo>
                        <a:lnTo>
                          <a:pt x="149" y="58"/>
                        </a:lnTo>
                        <a:lnTo>
                          <a:pt x="150" y="58"/>
                        </a:lnTo>
                        <a:lnTo>
                          <a:pt x="149" y="58"/>
                        </a:lnTo>
                        <a:lnTo>
                          <a:pt x="148" y="56"/>
                        </a:lnTo>
                        <a:lnTo>
                          <a:pt x="147" y="55"/>
                        </a:lnTo>
                        <a:lnTo>
                          <a:pt x="145" y="55"/>
                        </a:lnTo>
                        <a:lnTo>
                          <a:pt x="145" y="55"/>
                        </a:lnTo>
                        <a:lnTo>
                          <a:pt x="144" y="55"/>
                        </a:lnTo>
                        <a:lnTo>
                          <a:pt x="144" y="55"/>
                        </a:lnTo>
                        <a:lnTo>
                          <a:pt x="145" y="55"/>
                        </a:lnTo>
                        <a:lnTo>
                          <a:pt x="145" y="55"/>
                        </a:lnTo>
                        <a:lnTo>
                          <a:pt x="147" y="56"/>
                        </a:lnTo>
                        <a:lnTo>
                          <a:pt x="147" y="56"/>
                        </a:lnTo>
                        <a:lnTo>
                          <a:pt x="148" y="58"/>
                        </a:lnTo>
                        <a:lnTo>
                          <a:pt x="148" y="58"/>
                        </a:lnTo>
                        <a:lnTo>
                          <a:pt x="147" y="58"/>
                        </a:lnTo>
                        <a:lnTo>
                          <a:pt x="147" y="59"/>
                        </a:lnTo>
                        <a:lnTo>
                          <a:pt x="147" y="58"/>
                        </a:lnTo>
                        <a:lnTo>
                          <a:pt x="147" y="58"/>
                        </a:lnTo>
                        <a:lnTo>
                          <a:pt x="145" y="58"/>
                        </a:lnTo>
                        <a:lnTo>
                          <a:pt x="145" y="58"/>
                        </a:lnTo>
                        <a:lnTo>
                          <a:pt x="145" y="58"/>
                        </a:lnTo>
                        <a:lnTo>
                          <a:pt x="145" y="56"/>
                        </a:lnTo>
                        <a:lnTo>
                          <a:pt x="144" y="56"/>
                        </a:lnTo>
                        <a:lnTo>
                          <a:pt x="144" y="56"/>
                        </a:lnTo>
                        <a:lnTo>
                          <a:pt x="144" y="56"/>
                        </a:lnTo>
                        <a:lnTo>
                          <a:pt x="144" y="56"/>
                        </a:lnTo>
                        <a:lnTo>
                          <a:pt x="143" y="56"/>
                        </a:lnTo>
                        <a:lnTo>
                          <a:pt x="143" y="56"/>
                        </a:lnTo>
                        <a:lnTo>
                          <a:pt x="143" y="56"/>
                        </a:lnTo>
                        <a:lnTo>
                          <a:pt x="142" y="56"/>
                        </a:lnTo>
                        <a:lnTo>
                          <a:pt x="143" y="58"/>
                        </a:lnTo>
                        <a:lnTo>
                          <a:pt x="143" y="58"/>
                        </a:lnTo>
                        <a:lnTo>
                          <a:pt x="142" y="58"/>
                        </a:lnTo>
                        <a:lnTo>
                          <a:pt x="143" y="58"/>
                        </a:lnTo>
                        <a:lnTo>
                          <a:pt x="143" y="59"/>
                        </a:lnTo>
                        <a:lnTo>
                          <a:pt x="142" y="58"/>
                        </a:lnTo>
                        <a:lnTo>
                          <a:pt x="142" y="59"/>
                        </a:lnTo>
                        <a:lnTo>
                          <a:pt x="143" y="59"/>
                        </a:lnTo>
                        <a:lnTo>
                          <a:pt x="144" y="59"/>
                        </a:lnTo>
                        <a:lnTo>
                          <a:pt x="143" y="60"/>
                        </a:lnTo>
                        <a:lnTo>
                          <a:pt x="142" y="59"/>
                        </a:lnTo>
                        <a:lnTo>
                          <a:pt x="142" y="60"/>
                        </a:lnTo>
                        <a:lnTo>
                          <a:pt x="142" y="60"/>
                        </a:lnTo>
                        <a:lnTo>
                          <a:pt x="142" y="60"/>
                        </a:lnTo>
                        <a:lnTo>
                          <a:pt x="141" y="60"/>
                        </a:lnTo>
                        <a:lnTo>
                          <a:pt x="142" y="61"/>
                        </a:lnTo>
                        <a:lnTo>
                          <a:pt x="142" y="61"/>
                        </a:lnTo>
                        <a:lnTo>
                          <a:pt x="143" y="61"/>
                        </a:lnTo>
                        <a:lnTo>
                          <a:pt x="143" y="60"/>
                        </a:lnTo>
                        <a:lnTo>
                          <a:pt x="142" y="60"/>
                        </a:lnTo>
                        <a:lnTo>
                          <a:pt x="142" y="60"/>
                        </a:lnTo>
                        <a:lnTo>
                          <a:pt x="143" y="60"/>
                        </a:lnTo>
                        <a:lnTo>
                          <a:pt x="143" y="60"/>
                        </a:lnTo>
                        <a:lnTo>
                          <a:pt x="143" y="60"/>
                        </a:lnTo>
                        <a:lnTo>
                          <a:pt x="143" y="60"/>
                        </a:lnTo>
                        <a:lnTo>
                          <a:pt x="144" y="60"/>
                        </a:lnTo>
                        <a:lnTo>
                          <a:pt x="144" y="60"/>
                        </a:lnTo>
                        <a:lnTo>
                          <a:pt x="143" y="61"/>
                        </a:lnTo>
                        <a:lnTo>
                          <a:pt x="143" y="61"/>
                        </a:lnTo>
                        <a:lnTo>
                          <a:pt x="144" y="61"/>
                        </a:lnTo>
                        <a:lnTo>
                          <a:pt x="144" y="61"/>
                        </a:lnTo>
                        <a:lnTo>
                          <a:pt x="144" y="61"/>
                        </a:lnTo>
                        <a:lnTo>
                          <a:pt x="144" y="61"/>
                        </a:lnTo>
                        <a:lnTo>
                          <a:pt x="144" y="62"/>
                        </a:lnTo>
                        <a:lnTo>
                          <a:pt x="143" y="61"/>
                        </a:lnTo>
                        <a:lnTo>
                          <a:pt x="143" y="61"/>
                        </a:lnTo>
                        <a:lnTo>
                          <a:pt x="143" y="61"/>
                        </a:lnTo>
                        <a:lnTo>
                          <a:pt x="142" y="61"/>
                        </a:lnTo>
                        <a:lnTo>
                          <a:pt x="142" y="61"/>
                        </a:lnTo>
                        <a:lnTo>
                          <a:pt x="142" y="62"/>
                        </a:lnTo>
                        <a:lnTo>
                          <a:pt x="141" y="61"/>
                        </a:lnTo>
                        <a:lnTo>
                          <a:pt x="140" y="60"/>
                        </a:lnTo>
                        <a:lnTo>
                          <a:pt x="138" y="60"/>
                        </a:lnTo>
                        <a:lnTo>
                          <a:pt x="137" y="60"/>
                        </a:lnTo>
                        <a:lnTo>
                          <a:pt x="136" y="60"/>
                        </a:lnTo>
                        <a:lnTo>
                          <a:pt x="136" y="59"/>
                        </a:lnTo>
                        <a:lnTo>
                          <a:pt x="135" y="59"/>
                        </a:lnTo>
                        <a:lnTo>
                          <a:pt x="135" y="59"/>
                        </a:lnTo>
                        <a:lnTo>
                          <a:pt x="135" y="59"/>
                        </a:lnTo>
                        <a:lnTo>
                          <a:pt x="136" y="60"/>
                        </a:lnTo>
                        <a:lnTo>
                          <a:pt x="137" y="61"/>
                        </a:lnTo>
                        <a:lnTo>
                          <a:pt x="138" y="61"/>
                        </a:lnTo>
                        <a:lnTo>
                          <a:pt x="140" y="61"/>
                        </a:lnTo>
                        <a:lnTo>
                          <a:pt x="141" y="62"/>
                        </a:lnTo>
                        <a:lnTo>
                          <a:pt x="142" y="62"/>
                        </a:lnTo>
                        <a:lnTo>
                          <a:pt x="140" y="62"/>
                        </a:lnTo>
                        <a:lnTo>
                          <a:pt x="140" y="62"/>
                        </a:lnTo>
                        <a:lnTo>
                          <a:pt x="138" y="62"/>
                        </a:lnTo>
                        <a:lnTo>
                          <a:pt x="138" y="61"/>
                        </a:lnTo>
                        <a:lnTo>
                          <a:pt x="138" y="62"/>
                        </a:lnTo>
                        <a:lnTo>
                          <a:pt x="138" y="62"/>
                        </a:lnTo>
                        <a:lnTo>
                          <a:pt x="137" y="61"/>
                        </a:lnTo>
                        <a:lnTo>
                          <a:pt x="137" y="62"/>
                        </a:lnTo>
                        <a:lnTo>
                          <a:pt x="137" y="62"/>
                        </a:lnTo>
                        <a:lnTo>
                          <a:pt x="137" y="62"/>
                        </a:lnTo>
                        <a:lnTo>
                          <a:pt x="137" y="63"/>
                        </a:lnTo>
                        <a:lnTo>
                          <a:pt x="138" y="62"/>
                        </a:lnTo>
                        <a:lnTo>
                          <a:pt x="138" y="62"/>
                        </a:lnTo>
                        <a:lnTo>
                          <a:pt x="138" y="63"/>
                        </a:lnTo>
                        <a:lnTo>
                          <a:pt x="140" y="63"/>
                        </a:lnTo>
                        <a:lnTo>
                          <a:pt x="140" y="63"/>
                        </a:lnTo>
                        <a:lnTo>
                          <a:pt x="138" y="63"/>
                        </a:lnTo>
                        <a:lnTo>
                          <a:pt x="138" y="63"/>
                        </a:lnTo>
                        <a:lnTo>
                          <a:pt x="138" y="65"/>
                        </a:lnTo>
                        <a:lnTo>
                          <a:pt x="138" y="65"/>
                        </a:lnTo>
                        <a:lnTo>
                          <a:pt x="138" y="63"/>
                        </a:lnTo>
                        <a:lnTo>
                          <a:pt x="137" y="63"/>
                        </a:lnTo>
                        <a:lnTo>
                          <a:pt x="137" y="65"/>
                        </a:lnTo>
                        <a:lnTo>
                          <a:pt x="137" y="65"/>
                        </a:lnTo>
                        <a:lnTo>
                          <a:pt x="137" y="65"/>
                        </a:lnTo>
                        <a:lnTo>
                          <a:pt x="136" y="65"/>
                        </a:lnTo>
                        <a:lnTo>
                          <a:pt x="135" y="65"/>
                        </a:lnTo>
                        <a:lnTo>
                          <a:pt x="135" y="63"/>
                        </a:lnTo>
                        <a:lnTo>
                          <a:pt x="135" y="65"/>
                        </a:lnTo>
                        <a:lnTo>
                          <a:pt x="135" y="66"/>
                        </a:lnTo>
                        <a:lnTo>
                          <a:pt x="135" y="66"/>
                        </a:lnTo>
                        <a:lnTo>
                          <a:pt x="134" y="65"/>
                        </a:lnTo>
                        <a:lnTo>
                          <a:pt x="133" y="63"/>
                        </a:lnTo>
                        <a:lnTo>
                          <a:pt x="133" y="65"/>
                        </a:lnTo>
                        <a:lnTo>
                          <a:pt x="133" y="65"/>
                        </a:lnTo>
                        <a:lnTo>
                          <a:pt x="133" y="65"/>
                        </a:lnTo>
                        <a:lnTo>
                          <a:pt x="134" y="66"/>
                        </a:lnTo>
                        <a:lnTo>
                          <a:pt x="133" y="66"/>
                        </a:lnTo>
                        <a:lnTo>
                          <a:pt x="133" y="66"/>
                        </a:lnTo>
                        <a:lnTo>
                          <a:pt x="133" y="66"/>
                        </a:lnTo>
                        <a:lnTo>
                          <a:pt x="133" y="66"/>
                        </a:lnTo>
                        <a:lnTo>
                          <a:pt x="133" y="66"/>
                        </a:lnTo>
                        <a:lnTo>
                          <a:pt x="135" y="66"/>
                        </a:lnTo>
                        <a:lnTo>
                          <a:pt x="136" y="67"/>
                        </a:lnTo>
                        <a:lnTo>
                          <a:pt x="135" y="67"/>
                        </a:lnTo>
                        <a:lnTo>
                          <a:pt x="135" y="67"/>
                        </a:lnTo>
                        <a:lnTo>
                          <a:pt x="134" y="67"/>
                        </a:lnTo>
                        <a:lnTo>
                          <a:pt x="133" y="67"/>
                        </a:lnTo>
                        <a:lnTo>
                          <a:pt x="133" y="66"/>
                        </a:lnTo>
                        <a:lnTo>
                          <a:pt x="131" y="66"/>
                        </a:lnTo>
                        <a:lnTo>
                          <a:pt x="131" y="66"/>
                        </a:lnTo>
                        <a:lnTo>
                          <a:pt x="130" y="66"/>
                        </a:lnTo>
                        <a:lnTo>
                          <a:pt x="130" y="66"/>
                        </a:lnTo>
                        <a:lnTo>
                          <a:pt x="129" y="66"/>
                        </a:lnTo>
                        <a:lnTo>
                          <a:pt x="129" y="66"/>
                        </a:lnTo>
                        <a:lnTo>
                          <a:pt x="129" y="66"/>
                        </a:lnTo>
                        <a:lnTo>
                          <a:pt x="130" y="67"/>
                        </a:lnTo>
                        <a:lnTo>
                          <a:pt x="133" y="67"/>
                        </a:lnTo>
                        <a:lnTo>
                          <a:pt x="133" y="67"/>
                        </a:lnTo>
                        <a:lnTo>
                          <a:pt x="134" y="68"/>
                        </a:lnTo>
                        <a:lnTo>
                          <a:pt x="134" y="68"/>
                        </a:lnTo>
                        <a:lnTo>
                          <a:pt x="134" y="68"/>
                        </a:lnTo>
                        <a:lnTo>
                          <a:pt x="135" y="68"/>
                        </a:lnTo>
                        <a:lnTo>
                          <a:pt x="136" y="68"/>
                        </a:lnTo>
                        <a:lnTo>
                          <a:pt x="136" y="68"/>
                        </a:lnTo>
                        <a:lnTo>
                          <a:pt x="137" y="69"/>
                        </a:lnTo>
                        <a:lnTo>
                          <a:pt x="136" y="71"/>
                        </a:lnTo>
                        <a:lnTo>
                          <a:pt x="136" y="71"/>
                        </a:lnTo>
                        <a:lnTo>
                          <a:pt x="135" y="72"/>
                        </a:lnTo>
                        <a:lnTo>
                          <a:pt x="135" y="72"/>
                        </a:lnTo>
                        <a:lnTo>
                          <a:pt x="135" y="72"/>
                        </a:lnTo>
                        <a:lnTo>
                          <a:pt x="133" y="72"/>
                        </a:lnTo>
                        <a:lnTo>
                          <a:pt x="133" y="72"/>
                        </a:lnTo>
                        <a:lnTo>
                          <a:pt x="133" y="72"/>
                        </a:lnTo>
                        <a:lnTo>
                          <a:pt x="133" y="72"/>
                        </a:lnTo>
                        <a:lnTo>
                          <a:pt x="131" y="72"/>
                        </a:lnTo>
                        <a:lnTo>
                          <a:pt x="130" y="72"/>
                        </a:lnTo>
                        <a:lnTo>
                          <a:pt x="129" y="73"/>
                        </a:lnTo>
                        <a:lnTo>
                          <a:pt x="130" y="73"/>
                        </a:lnTo>
                        <a:lnTo>
                          <a:pt x="130" y="74"/>
                        </a:lnTo>
                        <a:lnTo>
                          <a:pt x="130" y="74"/>
                        </a:lnTo>
                        <a:lnTo>
                          <a:pt x="129" y="74"/>
                        </a:lnTo>
                        <a:lnTo>
                          <a:pt x="129" y="75"/>
                        </a:lnTo>
                        <a:lnTo>
                          <a:pt x="128" y="74"/>
                        </a:lnTo>
                        <a:lnTo>
                          <a:pt x="127" y="74"/>
                        </a:lnTo>
                        <a:lnTo>
                          <a:pt x="128" y="75"/>
                        </a:lnTo>
                        <a:lnTo>
                          <a:pt x="129" y="75"/>
                        </a:lnTo>
                        <a:lnTo>
                          <a:pt x="130" y="75"/>
                        </a:lnTo>
                        <a:lnTo>
                          <a:pt x="131" y="75"/>
                        </a:lnTo>
                        <a:lnTo>
                          <a:pt x="131" y="75"/>
                        </a:lnTo>
                        <a:lnTo>
                          <a:pt x="133" y="75"/>
                        </a:lnTo>
                        <a:lnTo>
                          <a:pt x="133" y="76"/>
                        </a:lnTo>
                        <a:lnTo>
                          <a:pt x="131" y="76"/>
                        </a:lnTo>
                        <a:lnTo>
                          <a:pt x="130" y="76"/>
                        </a:lnTo>
                        <a:lnTo>
                          <a:pt x="131" y="76"/>
                        </a:lnTo>
                        <a:lnTo>
                          <a:pt x="133" y="78"/>
                        </a:lnTo>
                        <a:lnTo>
                          <a:pt x="133" y="78"/>
                        </a:lnTo>
                        <a:lnTo>
                          <a:pt x="129" y="76"/>
                        </a:lnTo>
                        <a:lnTo>
                          <a:pt x="129" y="78"/>
                        </a:lnTo>
                        <a:lnTo>
                          <a:pt x="131" y="78"/>
                        </a:lnTo>
                        <a:lnTo>
                          <a:pt x="131" y="78"/>
                        </a:lnTo>
                        <a:lnTo>
                          <a:pt x="131" y="79"/>
                        </a:lnTo>
                        <a:lnTo>
                          <a:pt x="133" y="79"/>
                        </a:lnTo>
                        <a:lnTo>
                          <a:pt x="133" y="80"/>
                        </a:lnTo>
                        <a:lnTo>
                          <a:pt x="133" y="80"/>
                        </a:lnTo>
                        <a:lnTo>
                          <a:pt x="134" y="80"/>
                        </a:lnTo>
                        <a:lnTo>
                          <a:pt x="134" y="79"/>
                        </a:lnTo>
                        <a:lnTo>
                          <a:pt x="135" y="79"/>
                        </a:lnTo>
                        <a:lnTo>
                          <a:pt x="135" y="80"/>
                        </a:lnTo>
                        <a:lnTo>
                          <a:pt x="135" y="80"/>
                        </a:lnTo>
                        <a:lnTo>
                          <a:pt x="136" y="80"/>
                        </a:lnTo>
                        <a:lnTo>
                          <a:pt x="136" y="81"/>
                        </a:lnTo>
                        <a:lnTo>
                          <a:pt x="135" y="81"/>
                        </a:lnTo>
                        <a:lnTo>
                          <a:pt x="135" y="80"/>
                        </a:lnTo>
                        <a:lnTo>
                          <a:pt x="134" y="81"/>
                        </a:lnTo>
                        <a:lnTo>
                          <a:pt x="134" y="81"/>
                        </a:lnTo>
                        <a:lnTo>
                          <a:pt x="135" y="81"/>
                        </a:lnTo>
                        <a:lnTo>
                          <a:pt x="135" y="81"/>
                        </a:lnTo>
                        <a:lnTo>
                          <a:pt x="135" y="81"/>
                        </a:lnTo>
                        <a:lnTo>
                          <a:pt x="135" y="81"/>
                        </a:lnTo>
                        <a:lnTo>
                          <a:pt x="136" y="81"/>
                        </a:lnTo>
                        <a:lnTo>
                          <a:pt x="136" y="81"/>
                        </a:lnTo>
                        <a:lnTo>
                          <a:pt x="136" y="82"/>
                        </a:lnTo>
                        <a:lnTo>
                          <a:pt x="136" y="83"/>
                        </a:lnTo>
                        <a:lnTo>
                          <a:pt x="136" y="83"/>
                        </a:lnTo>
                        <a:lnTo>
                          <a:pt x="135" y="82"/>
                        </a:lnTo>
                        <a:lnTo>
                          <a:pt x="135" y="83"/>
                        </a:lnTo>
                        <a:lnTo>
                          <a:pt x="134" y="83"/>
                        </a:lnTo>
                        <a:lnTo>
                          <a:pt x="134" y="82"/>
                        </a:lnTo>
                        <a:lnTo>
                          <a:pt x="133" y="82"/>
                        </a:lnTo>
                        <a:lnTo>
                          <a:pt x="134" y="83"/>
                        </a:lnTo>
                        <a:lnTo>
                          <a:pt x="133" y="85"/>
                        </a:lnTo>
                        <a:lnTo>
                          <a:pt x="133" y="85"/>
                        </a:lnTo>
                        <a:lnTo>
                          <a:pt x="133" y="86"/>
                        </a:lnTo>
                        <a:lnTo>
                          <a:pt x="133" y="86"/>
                        </a:lnTo>
                        <a:lnTo>
                          <a:pt x="133" y="86"/>
                        </a:lnTo>
                        <a:lnTo>
                          <a:pt x="130" y="85"/>
                        </a:lnTo>
                        <a:lnTo>
                          <a:pt x="130" y="86"/>
                        </a:lnTo>
                        <a:lnTo>
                          <a:pt x="133" y="87"/>
                        </a:lnTo>
                        <a:lnTo>
                          <a:pt x="131" y="87"/>
                        </a:lnTo>
                        <a:lnTo>
                          <a:pt x="129" y="86"/>
                        </a:lnTo>
                        <a:lnTo>
                          <a:pt x="129" y="86"/>
                        </a:lnTo>
                        <a:lnTo>
                          <a:pt x="128" y="87"/>
                        </a:lnTo>
                        <a:lnTo>
                          <a:pt x="129" y="88"/>
                        </a:lnTo>
                        <a:lnTo>
                          <a:pt x="129" y="88"/>
                        </a:lnTo>
                        <a:lnTo>
                          <a:pt x="130" y="89"/>
                        </a:lnTo>
                        <a:lnTo>
                          <a:pt x="130" y="89"/>
                        </a:lnTo>
                        <a:lnTo>
                          <a:pt x="130" y="91"/>
                        </a:lnTo>
                        <a:lnTo>
                          <a:pt x="129" y="91"/>
                        </a:lnTo>
                        <a:lnTo>
                          <a:pt x="128" y="91"/>
                        </a:lnTo>
                        <a:lnTo>
                          <a:pt x="128" y="91"/>
                        </a:lnTo>
                        <a:lnTo>
                          <a:pt x="128" y="89"/>
                        </a:lnTo>
                        <a:lnTo>
                          <a:pt x="127" y="91"/>
                        </a:lnTo>
                        <a:lnTo>
                          <a:pt x="127" y="92"/>
                        </a:lnTo>
                        <a:lnTo>
                          <a:pt x="127" y="92"/>
                        </a:lnTo>
                        <a:lnTo>
                          <a:pt x="127" y="93"/>
                        </a:lnTo>
                        <a:lnTo>
                          <a:pt x="125" y="93"/>
                        </a:lnTo>
                        <a:lnTo>
                          <a:pt x="125" y="93"/>
                        </a:lnTo>
                        <a:lnTo>
                          <a:pt x="125" y="93"/>
                        </a:lnTo>
                        <a:lnTo>
                          <a:pt x="125" y="94"/>
                        </a:lnTo>
                        <a:lnTo>
                          <a:pt x="124" y="93"/>
                        </a:lnTo>
                        <a:lnTo>
                          <a:pt x="124" y="94"/>
                        </a:lnTo>
                        <a:lnTo>
                          <a:pt x="124" y="94"/>
                        </a:lnTo>
                        <a:lnTo>
                          <a:pt x="124" y="93"/>
                        </a:lnTo>
                        <a:lnTo>
                          <a:pt x="123" y="94"/>
                        </a:lnTo>
                        <a:lnTo>
                          <a:pt x="123" y="94"/>
                        </a:lnTo>
                        <a:lnTo>
                          <a:pt x="123" y="94"/>
                        </a:lnTo>
                        <a:lnTo>
                          <a:pt x="122" y="94"/>
                        </a:lnTo>
                        <a:lnTo>
                          <a:pt x="123" y="95"/>
                        </a:lnTo>
                        <a:lnTo>
                          <a:pt x="123" y="95"/>
                        </a:lnTo>
                        <a:lnTo>
                          <a:pt x="123" y="96"/>
                        </a:lnTo>
                        <a:lnTo>
                          <a:pt x="123" y="96"/>
                        </a:lnTo>
                        <a:lnTo>
                          <a:pt x="122" y="96"/>
                        </a:lnTo>
                        <a:lnTo>
                          <a:pt x="122" y="95"/>
                        </a:lnTo>
                        <a:lnTo>
                          <a:pt x="121" y="95"/>
                        </a:lnTo>
                        <a:lnTo>
                          <a:pt x="121" y="96"/>
                        </a:lnTo>
                        <a:lnTo>
                          <a:pt x="122" y="96"/>
                        </a:lnTo>
                        <a:lnTo>
                          <a:pt x="121" y="98"/>
                        </a:lnTo>
                        <a:lnTo>
                          <a:pt x="121" y="96"/>
                        </a:lnTo>
                        <a:lnTo>
                          <a:pt x="121" y="96"/>
                        </a:lnTo>
                        <a:lnTo>
                          <a:pt x="118" y="98"/>
                        </a:lnTo>
                        <a:lnTo>
                          <a:pt x="118" y="96"/>
                        </a:lnTo>
                        <a:lnTo>
                          <a:pt x="117" y="96"/>
                        </a:lnTo>
                        <a:lnTo>
                          <a:pt x="117" y="96"/>
                        </a:lnTo>
                        <a:lnTo>
                          <a:pt x="117" y="96"/>
                        </a:lnTo>
                        <a:lnTo>
                          <a:pt x="117" y="96"/>
                        </a:lnTo>
                        <a:lnTo>
                          <a:pt x="117" y="96"/>
                        </a:lnTo>
                        <a:lnTo>
                          <a:pt x="117" y="98"/>
                        </a:lnTo>
                        <a:lnTo>
                          <a:pt x="116" y="96"/>
                        </a:lnTo>
                        <a:lnTo>
                          <a:pt x="115" y="98"/>
                        </a:lnTo>
                        <a:lnTo>
                          <a:pt x="115" y="96"/>
                        </a:lnTo>
                        <a:lnTo>
                          <a:pt x="114" y="98"/>
                        </a:lnTo>
                        <a:lnTo>
                          <a:pt x="114" y="98"/>
                        </a:lnTo>
                        <a:lnTo>
                          <a:pt x="114" y="99"/>
                        </a:lnTo>
                        <a:lnTo>
                          <a:pt x="114" y="100"/>
                        </a:lnTo>
                        <a:lnTo>
                          <a:pt x="114" y="100"/>
                        </a:lnTo>
                        <a:lnTo>
                          <a:pt x="114" y="100"/>
                        </a:lnTo>
                        <a:lnTo>
                          <a:pt x="113" y="100"/>
                        </a:lnTo>
                        <a:lnTo>
                          <a:pt x="111" y="100"/>
                        </a:lnTo>
                        <a:lnTo>
                          <a:pt x="111" y="99"/>
                        </a:lnTo>
                        <a:lnTo>
                          <a:pt x="110" y="98"/>
                        </a:lnTo>
                        <a:lnTo>
                          <a:pt x="109" y="98"/>
                        </a:lnTo>
                        <a:lnTo>
                          <a:pt x="109" y="98"/>
                        </a:lnTo>
                        <a:lnTo>
                          <a:pt x="110" y="99"/>
                        </a:lnTo>
                        <a:lnTo>
                          <a:pt x="110" y="99"/>
                        </a:lnTo>
                        <a:lnTo>
                          <a:pt x="110" y="99"/>
                        </a:lnTo>
                        <a:lnTo>
                          <a:pt x="110" y="100"/>
                        </a:lnTo>
                        <a:lnTo>
                          <a:pt x="110" y="100"/>
                        </a:lnTo>
                        <a:lnTo>
                          <a:pt x="111" y="101"/>
                        </a:lnTo>
                        <a:lnTo>
                          <a:pt x="110" y="100"/>
                        </a:lnTo>
                        <a:lnTo>
                          <a:pt x="109" y="100"/>
                        </a:lnTo>
                        <a:lnTo>
                          <a:pt x="109" y="100"/>
                        </a:lnTo>
                        <a:lnTo>
                          <a:pt x="109" y="99"/>
                        </a:lnTo>
                        <a:lnTo>
                          <a:pt x="109" y="99"/>
                        </a:lnTo>
                        <a:lnTo>
                          <a:pt x="109" y="100"/>
                        </a:lnTo>
                        <a:lnTo>
                          <a:pt x="109" y="100"/>
                        </a:lnTo>
                        <a:lnTo>
                          <a:pt x="108" y="100"/>
                        </a:lnTo>
                        <a:lnTo>
                          <a:pt x="108" y="100"/>
                        </a:lnTo>
                        <a:lnTo>
                          <a:pt x="107" y="100"/>
                        </a:lnTo>
                        <a:lnTo>
                          <a:pt x="107" y="102"/>
                        </a:lnTo>
                        <a:lnTo>
                          <a:pt x="105" y="102"/>
                        </a:lnTo>
                        <a:lnTo>
                          <a:pt x="105" y="103"/>
                        </a:lnTo>
                        <a:lnTo>
                          <a:pt x="105" y="103"/>
                        </a:lnTo>
                        <a:lnTo>
                          <a:pt x="105" y="103"/>
                        </a:lnTo>
                        <a:lnTo>
                          <a:pt x="105" y="103"/>
                        </a:lnTo>
                        <a:lnTo>
                          <a:pt x="104" y="103"/>
                        </a:lnTo>
                        <a:lnTo>
                          <a:pt x="104" y="103"/>
                        </a:lnTo>
                        <a:lnTo>
                          <a:pt x="104" y="105"/>
                        </a:lnTo>
                        <a:lnTo>
                          <a:pt x="104" y="105"/>
                        </a:lnTo>
                        <a:lnTo>
                          <a:pt x="104" y="105"/>
                        </a:lnTo>
                        <a:lnTo>
                          <a:pt x="103" y="105"/>
                        </a:lnTo>
                        <a:lnTo>
                          <a:pt x="103" y="105"/>
                        </a:lnTo>
                        <a:lnTo>
                          <a:pt x="103" y="103"/>
                        </a:lnTo>
                        <a:lnTo>
                          <a:pt x="103" y="103"/>
                        </a:lnTo>
                        <a:lnTo>
                          <a:pt x="102" y="103"/>
                        </a:lnTo>
                        <a:lnTo>
                          <a:pt x="102" y="103"/>
                        </a:lnTo>
                        <a:lnTo>
                          <a:pt x="102" y="103"/>
                        </a:lnTo>
                        <a:lnTo>
                          <a:pt x="101" y="103"/>
                        </a:lnTo>
                        <a:lnTo>
                          <a:pt x="102" y="105"/>
                        </a:lnTo>
                        <a:lnTo>
                          <a:pt x="102" y="105"/>
                        </a:lnTo>
                        <a:lnTo>
                          <a:pt x="101" y="105"/>
                        </a:lnTo>
                        <a:lnTo>
                          <a:pt x="101" y="105"/>
                        </a:lnTo>
                        <a:lnTo>
                          <a:pt x="101" y="105"/>
                        </a:lnTo>
                        <a:lnTo>
                          <a:pt x="100" y="103"/>
                        </a:lnTo>
                        <a:lnTo>
                          <a:pt x="100" y="105"/>
                        </a:lnTo>
                        <a:lnTo>
                          <a:pt x="101" y="105"/>
                        </a:lnTo>
                        <a:lnTo>
                          <a:pt x="100" y="105"/>
                        </a:lnTo>
                        <a:lnTo>
                          <a:pt x="98" y="105"/>
                        </a:lnTo>
                        <a:lnTo>
                          <a:pt x="100" y="105"/>
                        </a:lnTo>
                        <a:lnTo>
                          <a:pt x="100" y="106"/>
                        </a:lnTo>
                        <a:lnTo>
                          <a:pt x="100" y="106"/>
                        </a:lnTo>
                        <a:lnTo>
                          <a:pt x="98" y="106"/>
                        </a:lnTo>
                        <a:lnTo>
                          <a:pt x="98" y="106"/>
                        </a:lnTo>
                        <a:lnTo>
                          <a:pt x="98" y="107"/>
                        </a:lnTo>
                        <a:lnTo>
                          <a:pt x="98" y="107"/>
                        </a:lnTo>
                        <a:lnTo>
                          <a:pt x="97" y="107"/>
                        </a:lnTo>
                        <a:lnTo>
                          <a:pt x="97" y="107"/>
                        </a:lnTo>
                        <a:lnTo>
                          <a:pt x="96" y="107"/>
                        </a:lnTo>
                        <a:lnTo>
                          <a:pt x="96" y="107"/>
                        </a:lnTo>
                        <a:lnTo>
                          <a:pt x="96" y="107"/>
                        </a:lnTo>
                        <a:lnTo>
                          <a:pt x="96" y="108"/>
                        </a:lnTo>
                        <a:lnTo>
                          <a:pt x="96" y="107"/>
                        </a:lnTo>
                        <a:lnTo>
                          <a:pt x="95" y="107"/>
                        </a:lnTo>
                        <a:lnTo>
                          <a:pt x="95" y="107"/>
                        </a:lnTo>
                        <a:lnTo>
                          <a:pt x="94" y="108"/>
                        </a:lnTo>
                        <a:lnTo>
                          <a:pt x="95" y="108"/>
                        </a:lnTo>
                        <a:lnTo>
                          <a:pt x="97" y="108"/>
                        </a:lnTo>
                        <a:lnTo>
                          <a:pt x="98" y="108"/>
                        </a:lnTo>
                        <a:lnTo>
                          <a:pt x="98" y="108"/>
                        </a:lnTo>
                        <a:lnTo>
                          <a:pt x="98" y="108"/>
                        </a:lnTo>
                        <a:lnTo>
                          <a:pt x="98" y="109"/>
                        </a:lnTo>
                        <a:lnTo>
                          <a:pt x="98" y="109"/>
                        </a:lnTo>
                        <a:lnTo>
                          <a:pt x="97" y="109"/>
                        </a:lnTo>
                        <a:lnTo>
                          <a:pt x="97" y="109"/>
                        </a:lnTo>
                        <a:lnTo>
                          <a:pt x="97" y="108"/>
                        </a:lnTo>
                        <a:lnTo>
                          <a:pt x="96" y="109"/>
                        </a:lnTo>
                        <a:lnTo>
                          <a:pt x="96" y="109"/>
                        </a:lnTo>
                        <a:lnTo>
                          <a:pt x="97" y="111"/>
                        </a:lnTo>
                        <a:lnTo>
                          <a:pt x="97" y="111"/>
                        </a:lnTo>
                        <a:lnTo>
                          <a:pt x="96" y="111"/>
                        </a:lnTo>
                        <a:lnTo>
                          <a:pt x="96" y="111"/>
                        </a:lnTo>
                        <a:lnTo>
                          <a:pt x="97" y="111"/>
                        </a:lnTo>
                        <a:lnTo>
                          <a:pt x="97" y="112"/>
                        </a:lnTo>
                        <a:lnTo>
                          <a:pt x="97" y="112"/>
                        </a:lnTo>
                        <a:lnTo>
                          <a:pt x="96" y="112"/>
                        </a:lnTo>
                        <a:lnTo>
                          <a:pt x="95" y="111"/>
                        </a:lnTo>
                        <a:lnTo>
                          <a:pt x="95" y="111"/>
                        </a:lnTo>
                        <a:lnTo>
                          <a:pt x="94" y="111"/>
                        </a:lnTo>
                        <a:lnTo>
                          <a:pt x="94" y="111"/>
                        </a:lnTo>
                        <a:lnTo>
                          <a:pt x="93" y="111"/>
                        </a:lnTo>
                        <a:lnTo>
                          <a:pt x="93" y="112"/>
                        </a:lnTo>
                        <a:lnTo>
                          <a:pt x="93" y="112"/>
                        </a:lnTo>
                        <a:lnTo>
                          <a:pt x="95" y="112"/>
                        </a:lnTo>
                        <a:lnTo>
                          <a:pt x="95" y="112"/>
                        </a:lnTo>
                        <a:lnTo>
                          <a:pt x="94" y="112"/>
                        </a:lnTo>
                        <a:lnTo>
                          <a:pt x="93" y="113"/>
                        </a:lnTo>
                        <a:lnTo>
                          <a:pt x="93" y="112"/>
                        </a:lnTo>
                        <a:lnTo>
                          <a:pt x="93" y="112"/>
                        </a:lnTo>
                        <a:lnTo>
                          <a:pt x="93" y="112"/>
                        </a:lnTo>
                        <a:lnTo>
                          <a:pt x="91" y="112"/>
                        </a:lnTo>
                        <a:lnTo>
                          <a:pt x="91" y="112"/>
                        </a:lnTo>
                        <a:lnTo>
                          <a:pt x="90" y="112"/>
                        </a:lnTo>
                        <a:lnTo>
                          <a:pt x="90" y="112"/>
                        </a:lnTo>
                        <a:lnTo>
                          <a:pt x="89" y="112"/>
                        </a:lnTo>
                        <a:lnTo>
                          <a:pt x="90" y="111"/>
                        </a:lnTo>
                        <a:lnTo>
                          <a:pt x="89" y="109"/>
                        </a:lnTo>
                        <a:lnTo>
                          <a:pt x="89" y="111"/>
                        </a:lnTo>
                        <a:lnTo>
                          <a:pt x="89" y="111"/>
                        </a:lnTo>
                        <a:lnTo>
                          <a:pt x="88" y="108"/>
                        </a:lnTo>
                        <a:lnTo>
                          <a:pt x="88" y="108"/>
                        </a:lnTo>
                        <a:lnTo>
                          <a:pt x="88" y="108"/>
                        </a:lnTo>
                        <a:lnTo>
                          <a:pt x="88" y="108"/>
                        </a:lnTo>
                        <a:lnTo>
                          <a:pt x="87" y="108"/>
                        </a:lnTo>
                        <a:lnTo>
                          <a:pt x="87" y="108"/>
                        </a:lnTo>
                        <a:lnTo>
                          <a:pt x="85" y="108"/>
                        </a:lnTo>
                        <a:lnTo>
                          <a:pt x="85" y="108"/>
                        </a:lnTo>
                        <a:lnTo>
                          <a:pt x="87" y="109"/>
                        </a:lnTo>
                        <a:lnTo>
                          <a:pt x="88" y="109"/>
                        </a:lnTo>
                        <a:lnTo>
                          <a:pt x="88" y="111"/>
                        </a:lnTo>
                        <a:lnTo>
                          <a:pt x="89" y="112"/>
                        </a:lnTo>
                        <a:lnTo>
                          <a:pt x="89" y="112"/>
                        </a:lnTo>
                        <a:lnTo>
                          <a:pt x="90" y="112"/>
                        </a:lnTo>
                        <a:lnTo>
                          <a:pt x="91" y="113"/>
                        </a:lnTo>
                        <a:lnTo>
                          <a:pt x="91" y="114"/>
                        </a:lnTo>
                        <a:lnTo>
                          <a:pt x="91" y="114"/>
                        </a:lnTo>
                        <a:lnTo>
                          <a:pt x="90" y="114"/>
                        </a:lnTo>
                        <a:lnTo>
                          <a:pt x="90" y="114"/>
                        </a:lnTo>
                        <a:lnTo>
                          <a:pt x="91" y="115"/>
                        </a:lnTo>
                        <a:lnTo>
                          <a:pt x="91" y="115"/>
                        </a:lnTo>
                        <a:lnTo>
                          <a:pt x="91" y="116"/>
                        </a:lnTo>
                        <a:lnTo>
                          <a:pt x="91" y="116"/>
                        </a:lnTo>
                        <a:lnTo>
                          <a:pt x="91" y="116"/>
                        </a:lnTo>
                        <a:lnTo>
                          <a:pt x="90" y="116"/>
                        </a:lnTo>
                        <a:lnTo>
                          <a:pt x="90" y="115"/>
                        </a:lnTo>
                        <a:lnTo>
                          <a:pt x="90" y="115"/>
                        </a:lnTo>
                        <a:lnTo>
                          <a:pt x="90" y="115"/>
                        </a:lnTo>
                        <a:lnTo>
                          <a:pt x="90" y="116"/>
                        </a:lnTo>
                        <a:lnTo>
                          <a:pt x="90" y="116"/>
                        </a:lnTo>
                        <a:lnTo>
                          <a:pt x="89" y="118"/>
                        </a:lnTo>
                        <a:lnTo>
                          <a:pt x="89" y="118"/>
                        </a:lnTo>
                        <a:lnTo>
                          <a:pt x="89" y="119"/>
                        </a:lnTo>
                        <a:lnTo>
                          <a:pt x="89" y="119"/>
                        </a:lnTo>
                        <a:lnTo>
                          <a:pt x="89" y="120"/>
                        </a:lnTo>
                        <a:lnTo>
                          <a:pt x="88" y="119"/>
                        </a:lnTo>
                        <a:lnTo>
                          <a:pt x="88" y="118"/>
                        </a:lnTo>
                        <a:lnTo>
                          <a:pt x="87" y="118"/>
                        </a:lnTo>
                        <a:lnTo>
                          <a:pt x="87" y="118"/>
                        </a:lnTo>
                        <a:lnTo>
                          <a:pt x="87" y="118"/>
                        </a:lnTo>
                        <a:lnTo>
                          <a:pt x="87" y="119"/>
                        </a:lnTo>
                        <a:lnTo>
                          <a:pt x="87" y="119"/>
                        </a:lnTo>
                        <a:lnTo>
                          <a:pt x="85" y="119"/>
                        </a:lnTo>
                        <a:lnTo>
                          <a:pt x="84" y="118"/>
                        </a:lnTo>
                        <a:lnTo>
                          <a:pt x="83" y="115"/>
                        </a:lnTo>
                        <a:lnTo>
                          <a:pt x="82" y="116"/>
                        </a:lnTo>
                        <a:lnTo>
                          <a:pt x="82" y="118"/>
                        </a:lnTo>
                        <a:lnTo>
                          <a:pt x="82" y="118"/>
                        </a:lnTo>
                        <a:lnTo>
                          <a:pt x="82" y="118"/>
                        </a:lnTo>
                        <a:lnTo>
                          <a:pt x="83" y="119"/>
                        </a:lnTo>
                        <a:lnTo>
                          <a:pt x="83" y="119"/>
                        </a:lnTo>
                        <a:lnTo>
                          <a:pt x="83" y="120"/>
                        </a:lnTo>
                        <a:lnTo>
                          <a:pt x="82" y="119"/>
                        </a:lnTo>
                        <a:lnTo>
                          <a:pt x="82" y="120"/>
                        </a:lnTo>
                        <a:lnTo>
                          <a:pt x="82" y="120"/>
                        </a:lnTo>
                        <a:lnTo>
                          <a:pt x="83" y="121"/>
                        </a:lnTo>
                        <a:lnTo>
                          <a:pt x="83" y="120"/>
                        </a:lnTo>
                        <a:lnTo>
                          <a:pt x="84" y="121"/>
                        </a:lnTo>
                        <a:lnTo>
                          <a:pt x="85" y="121"/>
                        </a:lnTo>
                        <a:lnTo>
                          <a:pt x="85" y="121"/>
                        </a:lnTo>
                        <a:lnTo>
                          <a:pt x="87" y="121"/>
                        </a:lnTo>
                        <a:lnTo>
                          <a:pt x="87" y="122"/>
                        </a:lnTo>
                        <a:lnTo>
                          <a:pt x="87" y="122"/>
                        </a:lnTo>
                        <a:lnTo>
                          <a:pt x="88" y="122"/>
                        </a:lnTo>
                        <a:lnTo>
                          <a:pt x="88" y="123"/>
                        </a:lnTo>
                        <a:lnTo>
                          <a:pt x="88" y="123"/>
                        </a:lnTo>
                        <a:lnTo>
                          <a:pt x="87" y="123"/>
                        </a:lnTo>
                        <a:lnTo>
                          <a:pt x="87" y="125"/>
                        </a:lnTo>
                        <a:lnTo>
                          <a:pt x="85" y="126"/>
                        </a:lnTo>
                        <a:lnTo>
                          <a:pt x="85" y="126"/>
                        </a:lnTo>
                        <a:lnTo>
                          <a:pt x="85" y="126"/>
                        </a:lnTo>
                        <a:lnTo>
                          <a:pt x="84" y="127"/>
                        </a:lnTo>
                        <a:lnTo>
                          <a:pt x="85" y="127"/>
                        </a:lnTo>
                        <a:lnTo>
                          <a:pt x="84" y="127"/>
                        </a:lnTo>
                        <a:lnTo>
                          <a:pt x="84" y="128"/>
                        </a:lnTo>
                        <a:lnTo>
                          <a:pt x="83" y="127"/>
                        </a:lnTo>
                        <a:lnTo>
                          <a:pt x="83" y="128"/>
                        </a:lnTo>
                        <a:lnTo>
                          <a:pt x="83" y="128"/>
                        </a:lnTo>
                        <a:lnTo>
                          <a:pt x="83" y="128"/>
                        </a:lnTo>
                        <a:lnTo>
                          <a:pt x="84" y="129"/>
                        </a:lnTo>
                        <a:lnTo>
                          <a:pt x="83" y="129"/>
                        </a:lnTo>
                        <a:lnTo>
                          <a:pt x="83" y="129"/>
                        </a:lnTo>
                        <a:lnTo>
                          <a:pt x="83" y="129"/>
                        </a:lnTo>
                        <a:lnTo>
                          <a:pt x="83" y="129"/>
                        </a:lnTo>
                        <a:lnTo>
                          <a:pt x="83" y="129"/>
                        </a:lnTo>
                        <a:lnTo>
                          <a:pt x="83" y="129"/>
                        </a:lnTo>
                        <a:lnTo>
                          <a:pt x="84" y="129"/>
                        </a:lnTo>
                        <a:lnTo>
                          <a:pt x="84" y="131"/>
                        </a:lnTo>
                        <a:lnTo>
                          <a:pt x="85" y="131"/>
                        </a:lnTo>
                        <a:lnTo>
                          <a:pt x="84" y="132"/>
                        </a:lnTo>
                        <a:lnTo>
                          <a:pt x="84" y="132"/>
                        </a:lnTo>
                        <a:lnTo>
                          <a:pt x="85" y="132"/>
                        </a:lnTo>
                        <a:lnTo>
                          <a:pt x="87" y="132"/>
                        </a:lnTo>
                        <a:lnTo>
                          <a:pt x="87" y="132"/>
                        </a:lnTo>
                        <a:lnTo>
                          <a:pt x="88" y="132"/>
                        </a:lnTo>
                        <a:lnTo>
                          <a:pt x="88" y="133"/>
                        </a:lnTo>
                        <a:lnTo>
                          <a:pt x="88" y="133"/>
                        </a:lnTo>
                        <a:lnTo>
                          <a:pt x="87" y="133"/>
                        </a:lnTo>
                        <a:lnTo>
                          <a:pt x="85" y="133"/>
                        </a:lnTo>
                        <a:lnTo>
                          <a:pt x="84" y="134"/>
                        </a:lnTo>
                        <a:lnTo>
                          <a:pt x="84" y="133"/>
                        </a:lnTo>
                        <a:lnTo>
                          <a:pt x="83" y="133"/>
                        </a:lnTo>
                        <a:lnTo>
                          <a:pt x="83" y="133"/>
                        </a:lnTo>
                        <a:lnTo>
                          <a:pt x="83" y="132"/>
                        </a:lnTo>
                        <a:lnTo>
                          <a:pt x="83" y="132"/>
                        </a:lnTo>
                        <a:lnTo>
                          <a:pt x="83" y="132"/>
                        </a:lnTo>
                        <a:lnTo>
                          <a:pt x="82" y="132"/>
                        </a:lnTo>
                        <a:lnTo>
                          <a:pt x="82" y="132"/>
                        </a:lnTo>
                        <a:lnTo>
                          <a:pt x="82" y="132"/>
                        </a:lnTo>
                        <a:lnTo>
                          <a:pt x="83" y="133"/>
                        </a:lnTo>
                        <a:lnTo>
                          <a:pt x="82" y="133"/>
                        </a:lnTo>
                        <a:lnTo>
                          <a:pt x="82" y="133"/>
                        </a:lnTo>
                        <a:lnTo>
                          <a:pt x="81" y="133"/>
                        </a:lnTo>
                        <a:lnTo>
                          <a:pt x="82" y="133"/>
                        </a:lnTo>
                        <a:lnTo>
                          <a:pt x="81" y="133"/>
                        </a:lnTo>
                        <a:lnTo>
                          <a:pt x="81" y="133"/>
                        </a:lnTo>
                        <a:lnTo>
                          <a:pt x="82" y="134"/>
                        </a:lnTo>
                        <a:lnTo>
                          <a:pt x="81" y="134"/>
                        </a:lnTo>
                        <a:lnTo>
                          <a:pt x="81" y="134"/>
                        </a:lnTo>
                        <a:lnTo>
                          <a:pt x="82" y="135"/>
                        </a:lnTo>
                        <a:lnTo>
                          <a:pt x="82" y="135"/>
                        </a:lnTo>
                        <a:lnTo>
                          <a:pt x="81" y="135"/>
                        </a:lnTo>
                        <a:lnTo>
                          <a:pt x="82" y="135"/>
                        </a:lnTo>
                        <a:lnTo>
                          <a:pt x="82" y="135"/>
                        </a:lnTo>
                        <a:lnTo>
                          <a:pt x="83" y="135"/>
                        </a:lnTo>
                        <a:lnTo>
                          <a:pt x="82" y="135"/>
                        </a:lnTo>
                        <a:lnTo>
                          <a:pt x="83" y="136"/>
                        </a:lnTo>
                        <a:lnTo>
                          <a:pt x="82" y="136"/>
                        </a:lnTo>
                        <a:lnTo>
                          <a:pt x="82" y="136"/>
                        </a:lnTo>
                        <a:lnTo>
                          <a:pt x="82" y="136"/>
                        </a:lnTo>
                        <a:lnTo>
                          <a:pt x="82" y="136"/>
                        </a:lnTo>
                        <a:lnTo>
                          <a:pt x="82" y="138"/>
                        </a:lnTo>
                        <a:lnTo>
                          <a:pt x="82" y="139"/>
                        </a:lnTo>
                        <a:lnTo>
                          <a:pt x="83" y="139"/>
                        </a:lnTo>
                        <a:lnTo>
                          <a:pt x="83" y="140"/>
                        </a:lnTo>
                        <a:lnTo>
                          <a:pt x="83" y="140"/>
                        </a:lnTo>
                        <a:lnTo>
                          <a:pt x="83" y="140"/>
                        </a:lnTo>
                        <a:lnTo>
                          <a:pt x="82" y="139"/>
                        </a:lnTo>
                        <a:lnTo>
                          <a:pt x="82" y="139"/>
                        </a:lnTo>
                        <a:lnTo>
                          <a:pt x="82" y="140"/>
                        </a:lnTo>
                        <a:lnTo>
                          <a:pt x="83" y="141"/>
                        </a:lnTo>
                        <a:lnTo>
                          <a:pt x="83" y="142"/>
                        </a:lnTo>
                        <a:lnTo>
                          <a:pt x="83" y="142"/>
                        </a:lnTo>
                        <a:lnTo>
                          <a:pt x="83" y="142"/>
                        </a:lnTo>
                        <a:lnTo>
                          <a:pt x="83" y="143"/>
                        </a:lnTo>
                        <a:lnTo>
                          <a:pt x="83" y="143"/>
                        </a:lnTo>
                        <a:lnTo>
                          <a:pt x="83" y="143"/>
                        </a:lnTo>
                        <a:lnTo>
                          <a:pt x="83" y="143"/>
                        </a:lnTo>
                        <a:lnTo>
                          <a:pt x="83" y="145"/>
                        </a:lnTo>
                        <a:lnTo>
                          <a:pt x="83" y="145"/>
                        </a:lnTo>
                        <a:lnTo>
                          <a:pt x="84" y="145"/>
                        </a:lnTo>
                        <a:lnTo>
                          <a:pt x="84" y="145"/>
                        </a:lnTo>
                        <a:lnTo>
                          <a:pt x="83" y="145"/>
                        </a:lnTo>
                        <a:lnTo>
                          <a:pt x="83" y="146"/>
                        </a:lnTo>
                        <a:lnTo>
                          <a:pt x="83" y="146"/>
                        </a:lnTo>
                        <a:lnTo>
                          <a:pt x="84" y="146"/>
                        </a:lnTo>
                        <a:lnTo>
                          <a:pt x="84" y="146"/>
                        </a:lnTo>
                        <a:lnTo>
                          <a:pt x="84" y="146"/>
                        </a:lnTo>
                        <a:lnTo>
                          <a:pt x="84" y="147"/>
                        </a:lnTo>
                        <a:lnTo>
                          <a:pt x="85" y="147"/>
                        </a:lnTo>
                        <a:lnTo>
                          <a:pt x="85" y="148"/>
                        </a:lnTo>
                        <a:lnTo>
                          <a:pt x="84" y="148"/>
                        </a:lnTo>
                        <a:lnTo>
                          <a:pt x="84" y="148"/>
                        </a:lnTo>
                        <a:lnTo>
                          <a:pt x="85" y="149"/>
                        </a:lnTo>
                        <a:lnTo>
                          <a:pt x="85" y="149"/>
                        </a:lnTo>
                        <a:lnTo>
                          <a:pt x="85" y="149"/>
                        </a:lnTo>
                        <a:lnTo>
                          <a:pt x="87" y="149"/>
                        </a:lnTo>
                        <a:lnTo>
                          <a:pt x="85" y="150"/>
                        </a:lnTo>
                        <a:lnTo>
                          <a:pt x="85" y="150"/>
                        </a:lnTo>
                        <a:lnTo>
                          <a:pt x="84" y="150"/>
                        </a:lnTo>
                        <a:lnTo>
                          <a:pt x="84" y="150"/>
                        </a:lnTo>
                        <a:lnTo>
                          <a:pt x="85" y="150"/>
                        </a:lnTo>
                        <a:lnTo>
                          <a:pt x="85" y="150"/>
                        </a:lnTo>
                        <a:lnTo>
                          <a:pt x="85" y="150"/>
                        </a:lnTo>
                        <a:lnTo>
                          <a:pt x="88" y="152"/>
                        </a:lnTo>
                        <a:lnTo>
                          <a:pt x="87" y="152"/>
                        </a:lnTo>
                        <a:lnTo>
                          <a:pt x="85" y="152"/>
                        </a:lnTo>
                        <a:lnTo>
                          <a:pt x="85" y="152"/>
                        </a:lnTo>
                        <a:lnTo>
                          <a:pt x="85" y="153"/>
                        </a:lnTo>
                        <a:lnTo>
                          <a:pt x="88" y="153"/>
                        </a:lnTo>
                        <a:lnTo>
                          <a:pt x="88" y="152"/>
                        </a:lnTo>
                        <a:lnTo>
                          <a:pt x="88" y="152"/>
                        </a:lnTo>
                        <a:lnTo>
                          <a:pt x="90" y="152"/>
                        </a:lnTo>
                        <a:lnTo>
                          <a:pt x="91" y="152"/>
                        </a:lnTo>
                        <a:lnTo>
                          <a:pt x="91" y="152"/>
                        </a:lnTo>
                        <a:lnTo>
                          <a:pt x="93" y="152"/>
                        </a:lnTo>
                        <a:lnTo>
                          <a:pt x="91" y="153"/>
                        </a:lnTo>
                        <a:lnTo>
                          <a:pt x="91" y="153"/>
                        </a:lnTo>
                        <a:lnTo>
                          <a:pt x="93" y="153"/>
                        </a:lnTo>
                        <a:lnTo>
                          <a:pt x="91" y="154"/>
                        </a:lnTo>
                        <a:lnTo>
                          <a:pt x="93" y="154"/>
                        </a:lnTo>
                        <a:lnTo>
                          <a:pt x="93" y="155"/>
                        </a:lnTo>
                        <a:lnTo>
                          <a:pt x="93" y="154"/>
                        </a:lnTo>
                        <a:lnTo>
                          <a:pt x="93" y="154"/>
                        </a:lnTo>
                        <a:lnTo>
                          <a:pt x="93" y="153"/>
                        </a:lnTo>
                        <a:lnTo>
                          <a:pt x="94" y="153"/>
                        </a:lnTo>
                        <a:lnTo>
                          <a:pt x="94" y="152"/>
                        </a:lnTo>
                        <a:lnTo>
                          <a:pt x="95" y="153"/>
                        </a:lnTo>
                        <a:lnTo>
                          <a:pt x="95" y="152"/>
                        </a:lnTo>
                        <a:lnTo>
                          <a:pt x="95" y="153"/>
                        </a:lnTo>
                        <a:lnTo>
                          <a:pt x="96" y="153"/>
                        </a:lnTo>
                        <a:lnTo>
                          <a:pt x="96" y="153"/>
                        </a:lnTo>
                        <a:lnTo>
                          <a:pt x="97" y="153"/>
                        </a:lnTo>
                        <a:lnTo>
                          <a:pt x="98" y="154"/>
                        </a:lnTo>
                        <a:lnTo>
                          <a:pt x="98" y="155"/>
                        </a:lnTo>
                        <a:lnTo>
                          <a:pt x="98" y="156"/>
                        </a:lnTo>
                        <a:lnTo>
                          <a:pt x="98" y="156"/>
                        </a:lnTo>
                        <a:lnTo>
                          <a:pt x="100" y="158"/>
                        </a:lnTo>
                        <a:lnTo>
                          <a:pt x="100" y="156"/>
                        </a:lnTo>
                        <a:lnTo>
                          <a:pt x="101" y="156"/>
                        </a:lnTo>
                        <a:lnTo>
                          <a:pt x="101" y="158"/>
                        </a:lnTo>
                        <a:lnTo>
                          <a:pt x="100" y="158"/>
                        </a:lnTo>
                        <a:lnTo>
                          <a:pt x="100" y="158"/>
                        </a:lnTo>
                        <a:lnTo>
                          <a:pt x="101" y="158"/>
                        </a:lnTo>
                        <a:lnTo>
                          <a:pt x="101" y="158"/>
                        </a:lnTo>
                        <a:lnTo>
                          <a:pt x="101" y="158"/>
                        </a:lnTo>
                        <a:lnTo>
                          <a:pt x="102" y="158"/>
                        </a:lnTo>
                        <a:lnTo>
                          <a:pt x="102" y="158"/>
                        </a:lnTo>
                        <a:lnTo>
                          <a:pt x="102" y="156"/>
                        </a:lnTo>
                        <a:lnTo>
                          <a:pt x="104" y="158"/>
                        </a:lnTo>
                        <a:lnTo>
                          <a:pt x="104" y="159"/>
                        </a:lnTo>
                        <a:lnTo>
                          <a:pt x="104" y="158"/>
                        </a:lnTo>
                        <a:lnTo>
                          <a:pt x="105" y="159"/>
                        </a:lnTo>
                        <a:lnTo>
                          <a:pt x="105" y="159"/>
                        </a:lnTo>
                        <a:lnTo>
                          <a:pt x="104" y="159"/>
                        </a:lnTo>
                        <a:lnTo>
                          <a:pt x="102" y="158"/>
                        </a:lnTo>
                        <a:lnTo>
                          <a:pt x="102" y="159"/>
                        </a:lnTo>
                        <a:lnTo>
                          <a:pt x="104" y="159"/>
                        </a:lnTo>
                        <a:lnTo>
                          <a:pt x="104" y="160"/>
                        </a:lnTo>
                        <a:lnTo>
                          <a:pt x="104" y="161"/>
                        </a:lnTo>
                        <a:lnTo>
                          <a:pt x="105" y="161"/>
                        </a:lnTo>
                        <a:lnTo>
                          <a:pt x="105" y="160"/>
                        </a:lnTo>
                        <a:lnTo>
                          <a:pt x="107" y="162"/>
                        </a:lnTo>
                        <a:lnTo>
                          <a:pt x="107" y="162"/>
                        </a:lnTo>
                        <a:lnTo>
                          <a:pt x="107" y="161"/>
                        </a:lnTo>
                        <a:lnTo>
                          <a:pt x="107" y="161"/>
                        </a:lnTo>
                        <a:lnTo>
                          <a:pt x="107" y="161"/>
                        </a:lnTo>
                        <a:lnTo>
                          <a:pt x="107" y="161"/>
                        </a:lnTo>
                        <a:lnTo>
                          <a:pt x="107" y="161"/>
                        </a:lnTo>
                        <a:lnTo>
                          <a:pt x="108" y="161"/>
                        </a:lnTo>
                        <a:lnTo>
                          <a:pt x="109" y="161"/>
                        </a:lnTo>
                        <a:lnTo>
                          <a:pt x="108" y="162"/>
                        </a:lnTo>
                        <a:lnTo>
                          <a:pt x="109" y="163"/>
                        </a:lnTo>
                        <a:lnTo>
                          <a:pt x="110" y="163"/>
                        </a:lnTo>
                        <a:lnTo>
                          <a:pt x="109" y="162"/>
                        </a:lnTo>
                        <a:lnTo>
                          <a:pt x="109" y="161"/>
                        </a:lnTo>
                        <a:lnTo>
                          <a:pt x="109" y="162"/>
                        </a:lnTo>
                        <a:lnTo>
                          <a:pt x="110" y="163"/>
                        </a:lnTo>
                        <a:lnTo>
                          <a:pt x="111" y="165"/>
                        </a:lnTo>
                        <a:lnTo>
                          <a:pt x="111" y="165"/>
                        </a:lnTo>
                        <a:lnTo>
                          <a:pt x="113" y="165"/>
                        </a:lnTo>
                        <a:lnTo>
                          <a:pt x="113" y="165"/>
                        </a:lnTo>
                        <a:lnTo>
                          <a:pt x="113" y="166"/>
                        </a:lnTo>
                        <a:lnTo>
                          <a:pt x="114" y="166"/>
                        </a:lnTo>
                        <a:lnTo>
                          <a:pt x="114" y="167"/>
                        </a:lnTo>
                        <a:lnTo>
                          <a:pt x="113" y="166"/>
                        </a:lnTo>
                        <a:lnTo>
                          <a:pt x="111" y="166"/>
                        </a:lnTo>
                        <a:lnTo>
                          <a:pt x="110" y="166"/>
                        </a:lnTo>
                        <a:lnTo>
                          <a:pt x="111" y="167"/>
                        </a:lnTo>
                        <a:lnTo>
                          <a:pt x="113" y="167"/>
                        </a:lnTo>
                        <a:lnTo>
                          <a:pt x="111" y="167"/>
                        </a:lnTo>
                        <a:lnTo>
                          <a:pt x="110" y="167"/>
                        </a:lnTo>
                        <a:lnTo>
                          <a:pt x="109" y="167"/>
                        </a:lnTo>
                        <a:lnTo>
                          <a:pt x="109" y="168"/>
                        </a:lnTo>
                        <a:lnTo>
                          <a:pt x="113" y="167"/>
                        </a:lnTo>
                        <a:lnTo>
                          <a:pt x="114" y="168"/>
                        </a:lnTo>
                        <a:lnTo>
                          <a:pt x="114" y="168"/>
                        </a:lnTo>
                        <a:lnTo>
                          <a:pt x="114" y="169"/>
                        </a:lnTo>
                        <a:lnTo>
                          <a:pt x="114" y="169"/>
                        </a:lnTo>
                        <a:lnTo>
                          <a:pt x="113" y="169"/>
                        </a:lnTo>
                        <a:lnTo>
                          <a:pt x="113" y="168"/>
                        </a:lnTo>
                        <a:lnTo>
                          <a:pt x="111" y="168"/>
                        </a:lnTo>
                        <a:lnTo>
                          <a:pt x="111" y="168"/>
                        </a:lnTo>
                        <a:lnTo>
                          <a:pt x="111" y="169"/>
                        </a:lnTo>
                        <a:lnTo>
                          <a:pt x="110" y="169"/>
                        </a:lnTo>
                        <a:lnTo>
                          <a:pt x="110" y="169"/>
                        </a:lnTo>
                        <a:lnTo>
                          <a:pt x="110" y="170"/>
                        </a:lnTo>
                        <a:lnTo>
                          <a:pt x="109" y="169"/>
                        </a:lnTo>
                        <a:lnTo>
                          <a:pt x="108" y="170"/>
                        </a:lnTo>
                        <a:lnTo>
                          <a:pt x="108" y="170"/>
                        </a:lnTo>
                        <a:lnTo>
                          <a:pt x="109" y="170"/>
                        </a:lnTo>
                        <a:lnTo>
                          <a:pt x="109" y="170"/>
                        </a:lnTo>
                        <a:lnTo>
                          <a:pt x="110" y="170"/>
                        </a:lnTo>
                        <a:lnTo>
                          <a:pt x="110" y="172"/>
                        </a:lnTo>
                        <a:lnTo>
                          <a:pt x="109" y="172"/>
                        </a:lnTo>
                        <a:lnTo>
                          <a:pt x="109" y="172"/>
                        </a:lnTo>
                        <a:lnTo>
                          <a:pt x="109" y="172"/>
                        </a:lnTo>
                        <a:lnTo>
                          <a:pt x="108" y="172"/>
                        </a:lnTo>
                        <a:lnTo>
                          <a:pt x="105" y="173"/>
                        </a:lnTo>
                        <a:lnTo>
                          <a:pt x="104" y="174"/>
                        </a:lnTo>
                        <a:lnTo>
                          <a:pt x="103" y="174"/>
                        </a:lnTo>
                        <a:lnTo>
                          <a:pt x="103" y="174"/>
                        </a:lnTo>
                        <a:lnTo>
                          <a:pt x="103" y="174"/>
                        </a:lnTo>
                        <a:lnTo>
                          <a:pt x="104" y="175"/>
                        </a:lnTo>
                        <a:lnTo>
                          <a:pt x="104" y="175"/>
                        </a:lnTo>
                        <a:lnTo>
                          <a:pt x="102" y="175"/>
                        </a:lnTo>
                        <a:lnTo>
                          <a:pt x="102" y="175"/>
                        </a:lnTo>
                        <a:lnTo>
                          <a:pt x="101" y="174"/>
                        </a:lnTo>
                        <a:lnTo>
                          <a:pt x="101" y="175"/>
                        </a:lnTo>
                        <a:lnTo>
                          <a:pt x="100" y="175"/>
                        </a:lnTo>
                        <a:lnTo>
                          <a:pt x="100" y="175"/>
                        </a:lnTo>
                        <a:lnTo>
                          <a:pt x="101" y="175"/>
                        </a:lnTo>
                        <a:lnTo>
                          <a:pt x="102" y="176"/>
                        </a:lnTo>
                        <a:lnTo>
                          <a:pt x="100" y="176"/>
                        </a:lnTo>
                        <a:lnTo>
                          <a:pt x="98" y="176"/>
                        </a:lnTo>
                        <a:lnTo>
                          <a:pt x="96" y="175"/>
                        </a:lnTo>
                        <a:lnTo>
                          <a:pt x="95" y="175"/>
                        </a:lnTo>
                        <a:lnTo>
                          <a:pt x="96" y="173"/>
                        </a:lnTo>
                        <a:lnTo>
                          <a:pt x="96" y="173"/>
                        </a:lnTo>
                        <a:lnTo>
                          <a:pt x="94" y="168"/>
                        </a:lnTo>
                        <a:lnTo>
                          <a:pt x="94" y="168"/>
                        </a:lnTo>
                        <a:lnTo>
                          <a:pt x="94" y="167"/>
                        </a:lnTo>
                        <a:lnTo>
                          <a:pt x="93" y="167"/>
                        </a:lnTo>
                        <a:lnTo>
                          <a:pt x="93" y="168"/>
                        </a:lnTo>
                        <a:lnTo>
                          <a:pt x="91" y="167"/>
                        </a:lnTo>
                        <a:lnTo>
                          <a:pt x="89" y="168"/>
                        </a:lnTo>
                        <a:lnTo>
                          <a:pt x="91" y="168"/>
                        </a:lnTo>
                        <a:lnTo>
                          <a:pt x="91" y="169"/>
                        </a:lnTo>
                        <a:lnTo>
                          <a:pt x="91" y="170"/>
                        </a:lnTo>
                        <a:lnTo>
                          <a:pt x="93" y="172"/>
                        </a:lnTo>
                        <a:lnTo>
                          <a:pt x="93" y="169"/>
                        </a:lnTo>
                        <a:lnTo>
                          <a:pt x="93" y="169"/>
                        </a:lnTo>
                        <a:lnTo>
                          <a:pt x="93" y="168"/>
                        </a:lnTo>
                        <a:lnTo>
                          <a:pt x="94" y="169"/>
                        </a:lnTo>
                        <a:lnTo>
                          <a:pt x="93" y="170"/>
                        </a:lnTo>
                        <a:lnTo>
                          <a:pt x="93" y="172"/>
                        </a:lnTo>
                        <a:lnTo>
                          <a:pt x="95" y="172"/>
                        </a:lnTo>
                        <a:lnTo>
                          <a:pt x="95" y="173"/>
                        </a:lnTo>
                        <a:lnTo>
                          <a:pt x="95" y="173"/>
                        </a:lnTo>
                        <a:lnTo>
                          <a:pt x="95" y="174"/>
                        </a:lnTo>
                        <a:lnTo>
                          <a:pt x="95" y="173"/>
                        </a:lnTo>
                        <a:lnTo>
                          <a:pt x="94" y="173"/>
                        </a:lnTo>
                        <a:lnTo>
                          <a:pt x="93" y="173"/>
                        </a:lnTo>
                        <a:lnTo>
                          <a:pt x="93" y="173"/>
                        </a:lnTo>
                        <a:lnTo>
                          <a:pt x="93" y="173"/>
                        </a:lnTo>
                        <a:lnTo>
                          <a:pt x="91" y="173"/>
                        </a:lnTo>
                        <a:lnTo>
                          <a:pt x="91" y="172"/>
                        </a:lnTo>
                        <a:lnTo>
                          <a:pt x="90" y="172"/>
                        </a:lnTo>
                        <a:lnTo>
                          <a:pt x="90" y="170"/>
                        </a:lnTo>
                        <a:lnTo>
                          <a:pt x="89" y="172"/>
                        </a:lnTo>
                        <a:lnTo>
                          <a:pt x="90" y="173"/>
                        </a:lnTo>
                        <a:lnTo>
                          <a:pt x="90" y="173"/>
                        </a:lnTo>
                        <a:lnTo>
                          <a:pt x="90" y="174"/>
                        </a:lnTo>
                        <a:lnTo>
                          <a:pt x="90" y="174"/>
                        </a:lnTo>
                        <a:lnTo>
                          <a:pt x="89" y="174"/>
                        </a:lnTo>
                        <a:lnTo>
                          <a:pt x="87" y="173"/>
                        </a:lnTo>
                        <a:lnTo>
                          <a:pt x="87" y="172"/>
                        </a:lnTo>
                        <a:lnTo>
                          <a:pt x="84" y="172"/>
                        </a:lnTo>
                        <a:lnTo>
                          <a:pt x="85" y="172"/>
                        </a:lnTo>
                        <a:lnTo>
                          <a:pt x="85" y="173"/>
                        </a:lnTo>
                        <a:lnTo>
                          <a:pt x="83" y="173"/>
                        </a:lnTo>
                        <a:lnTo>
                          <a:pt x="83" y="172"/>
                        </a:lnTo>
                        <a:lnTo>
                          <a:pt x="82" y="172"/>
                        </a:lnTo>
                        <a:lnTo>
                          <a:pt x="81" y="173"/>
                        </a:lnTo>
                        <a:lnTo>
                          <a:pt x="80" y="173"/>
                        </a:lnTo>
                        <a:lnTo>
                          <a:pt x="80" y="172"/>
                        </a:lnTo>
                        <a:lnTo>
                          <a:pt x="78" y="172"/>
                        </a:lnTo>
                        <a:lnTo>
                          <a:pt x="78" y="172"/>
                        </a:lnTo>
                        <a:lnTo>
                          <a:pt x="77" y="172"/>
                        </a:lnTo>
                        <a:lnTo>
                          <a:pt x="78" y="173"/>
                        </a:lnTo>
                        <a:lnTo>
                          <a:pt x="76" y="173"/>
                        </a:lnTo>
                        <a:lnTo>
                          <a:pt x="77" y="173"/>
                        </a:lnTo>
                        <a:lnTo>
                          <a:pt x="76" y="173"/>
                        </a:lnTo>
                        <a:lnTo>
                          <a:pt x="74" y="173"/>
                        </a:lnTo>
                        <a:lnTo>
                          <a:pt x="74" y="174"/>
                        </a:lnTo>
                        <a:lnTo>
                          <a:pt x="74" y="173"/>
                        </a:lnTo>
                        <a:lnTo>
                          <a:pt x="73" y="174"/>
                        </a:lnTo>
                        <a:lnTo>
                          <a:pt x="70" y="173"/>
                        </a:lnTo>
                        <a:lnTo>
                          <a:pt x="71" y="174"/>
                        </a:lnTo>
                        <a:lnTo>
                          <a:pt x="73" y="175"/>
                        </a:lnTo>
                        <a:lnTo>
                          <a:pt x="76" y="174"/>
                        </a:lnTo>
                        <a:lnTo>
                          <a:pt x="78" y="174"/>
                        </a:lnTo>
                        <a:lnTo>
                          <a:pt x="80" y="174"/>
                        </a:lnTo>
                        <a:lnTo>
                          <a:pt x="80" y="174"/>
                        </a:lnTo>
                        <a:lnTo>
                          <a:pt x="82" y="175"/>
                        </a:lnTo>
                        <a:lnTo>
                          <a:pt x="83" y="175"/>
                        </a:lnTo>
                        <a:lnTo>
                          <a:pt x="83" y="175"/>
                        </a:lnTo>
                        <a:lnTo>
                          <a:pt x="83" y="175"/>
                        </a:lnTo>
                        <a:lnTo>
                          <a:pt x="81" y="174"/>
                        </a:lnTo>
                        <a:lnTo>
                          <a:pt x="82" y="174"/>
                        </a:lnTo>
                        <a:lnTo>
                          <a:pt x="82" y="173"/>
                        </a:lnTo>
                        <a:lnTo>
                          <a:pt x="83" y="174"/>
                        </a:lnTo>
                        <a:lnTo>
                          <a:pt x="85" y="175"/>
                        </a:lnTo>
                        <a:lnTo>
                          <a:pt x="87" y="175"/>
                        </a:lnTo>
                        <a:lnTo>
                          <a:pt x="89" y="176"/>
                        </a:lnTo>
                        <a:lnTo>
                          <a:pt x="90" y="176"/>
                        </a:lnTo>
                        <a:lnTo>
                          <a:pt x="89" y="176"/>
                        </a:lnTo>
                        <a:lnTo>
                          <a:pt x="89" y="176"/>
                        </a:lnTo>
                        <a:lnTo>
                          <a:pt x="89" y="176"/>
                        </a:lnTo>
                        <a:lnTo>
                          <a:pt x="89" y="178"/>
                        </a:lnTo>
                        <a:lnTo>
                          <a:pt x="89" y="178"/>
                        </a:lnTo>
                        <a:lnTo>
                          <a:pt x="88" y="178"/>
                        </a:lnTo>
                        <a:lnTo>
                          <a:pt x="89" y="179"/>
                        </a:lnTo>
                        <a:lnTo>
                          <a:pt x="90" y="179"/>
                        </a:lnTo>
                        <a:lnTo>
                          <a:pt x="90" y="178"/>
                        </a:lnTo>
                        <a:lnTo>
                          <a:pt x="90" y="178"/>
                        </a:lnTo>
                        <a:lnTo>
                          <a:pt x="90" y="178"/>
                        </a:lnTo>
                        <a:lnTo>
                          <a:pt x="90" y="176"/>
                        </a:lnTo>
                        <a:lnTo>
                          <a:pt x="93" y="178"/>
                        </a:lnTo>
                        <a:lnTo>
                          <a:pt x="94" y="178"/>
                        </a:lnTo>
                        <a:lnTo>
                          <a:pt x="94" y="178"/>
                        </a:lnTo>
                        <a:lnTo>
                          <a:pt x="94" y="178"/>
                        </a:lnTo>
                        <a:lnTo>
                          <a:pt x="95" y="176"/>
                        </a:lnTo>
                        <a:lnTo>
                          <a:pt x="95" y="178"/>
                        </a:lnTo>
                        <a:lnTo>
                          <a:pt x="95" y="178"/>
                        </a:lnTo>
                        <a:lnTo>
                          <a:pt x="96" y="178"/>
                        </a:lnTo>
                        <a:lnTo>
                          <a:pt x="95" y="179"/>
                        </a:lnTo>
                        <a:lnTo>
                          <a:pt x="97" y="178"/>
                        </a:lnTo>
                        <a:lnTo>
                          <a:pt x="96" y="178"/>
                        </a:lnTo>
                        <a:lnTo>
                          <a:pt x="98" y="178"/>
                        </a:lnTo>
                        <a:lnTo>
                          <a:pt x="98" y="178"/>
                        </a:lnTo>
                        <a:lnTo>
                          <a:pt x="100" y="176"/>
                        </a:lnTo>
                        <a:lnTo>
                          <a:pt x="102" y="176"/>
                        </a:lnTo>
                        <a:lnTo>
                          <a:pt x="102" y="176"/>
                        </a:lnTo>
                        <a:lnTo>
                          <a:pt x="102" y="176"/>
                        </a:lnTo>
                        <a:lnTo>
                          <a:pt x="103" y="175"/>
                        </a:lnTo>
                        <a:lnTo>
                          <a:pt x="104" y="175"/>
                        </a:lnTo>
                        <a:lnTo>
                          <a:pt x="107" y="176"/>
                        </a:lnTo>
                        <a:lnTo>
                          <a:pt x="107" y="176"/>
                        </a:lnTo>
                        <a:lnTo>
                          <a:pt x="107" y="175"/>
                        </a:lnTo>
                        <a:lnTo>
                          <a:pt x="107" y="175"/>
                        </a:lnTo>
                        <a:lnTo>
                          <a:pt x="107" y="175"/>
                        </a:lnTo>
                        <a:lnTo>
                          <a:pt x="108" y="174"/>
                        </a:lnTo>
                        <a:lnTo>
                          <a:pt x="109" y="175"/>
                        </a:lnTo>
                        <a:lnTo>
                          <a:pt x="108" y="175"/>
                        </a:lnTo>
                        <a:lnTo>
                          <a:pt x="109" y="176"/>
                        </a:lnTo>
                        <a:lnTo>
                          <a:pt x="109" y="176"/>
                        </a:lnTo>
                        <a:lnTo>
                          <a:pt x="109" y="178"/>
                        </a:lnTo>
                        <a:lnTo>
                          <a:pt x="108" y="176"/>
                        </a:lnTo>
                        <a:lnTo>
                          <a:pt x="105" y="178"/>
                        </a:lnTo>
                        <a:lnTo>
                          <a:pt x="104" y="176"/>
                        </a:lnTo>
                        <a:lnTo>
                          <a:pt x="104" y="176"/>
                        </a:lnTo>
                        <a:lnTo>
                          <a:pt x="104" y="176"/>
                        </a:lnTo>
                        <a:lnTo>
                          <a:pt x="104" y="176"/>
                        </a:lnTo>
                        <a:lnTo>
                          <a:pt x="104" y="176"/>
                        </a:lnTo>
                        <a:lnTo>
                          <a:pt x="104" y="176"/>
                        </a:lnTo>
                        <a:lnTo>
                          <a:pt x="104" y="178"/>
                        </a:lnTo>
                        <a:lnTo>
                          <a:pt x="104" y="178"/>
                        </a:lnTo>
                        <a:lnTo>
                          <a:pt x="103" y="178"/>
                        </a:lnTo>
                        <a:lnTo>
                          <a:pt x="104" y="178"/>
                        </a:lnTo>
                        <a:lnTo>
                          <a:pt x="105" y="178"/>
                        </a:lnTo>
                        <a:lnTo>
                          <a:pt x="107" y="179"/>
                        </a:lnTo>
                        <a:lnTo>
                          <a:pt x="104" y="178"/>
                        </a:lnTo>
                        <a:lnTo>
                          <a:pt x="105" y="179"/>
                        </a:lnTo>
                        <a:lnTo>
                          <a:pt x="105" y="179"/>
                        </a:lnTo>
                        <a:lnTo>
                          <a:pt x="105" y="179"/>
                        </a:lnTo>
                        <a:lnTo>
                          <a:pt x="105" y="180"/>
                        </a:lnTo>
                        <a:lnTo>
                          <a:pt x="107" y="180"/>
                        </a:lnTo>
                        <a:lnTo>
                          <a:pt x="107" y="180"/>
                        </a:lnTo>
                        <a:lnTo>
                          <a:pt x="107" y="180"/>
                        </a:lnTo>
                        <a:lnTo>
                          <a:pt x="105" y="180"/>
                        </a:lnTo>
                        <a:lnTo>
                          <a:pt x="104" y="181"/>
                        </a:lnTo>
                        <a:lnTo>
                          <a:pt x="104" y="180"/>
                        </a:lnTo>
                        <a:lnTo>
                          <a:pt x="104" y="180"/>
                        </a:lnTo>
                        <a:lnTo>
                          <a:pt x="104" y="181"/>
                        </a:lnTo>
                        <a:lnTo>
                          <a:pt x="104" y="181"/>
                        </a:lnTo>
                        <a:lnTo>
                          <a:pt x="104" y="181"/>
                        </a:lnTo>
                        <a:lnTo>
                          <a:pt x="103" y="181"/>
                        </a:lnTo>
                        <a:lnTo>
                          <a:pt x="102" y="181"/>
                        </a:lnTo>
                        <a:lnTo>
                          <a:pt x="103" y="181"/>
                        </a:lnTo>
                        <a:lnTo>
                          <a:pt x="103" y="180"/>
                        </a:lnTo>
                        <a:lnTo>
                          <a:pt x="102" y="181"/>
                        </a:lnTo>
                        <a:lnTo>
                          <a:pt x="102" y="181"/>
                        </a:lnTo>
                        <a:lnTo>
                          <a:pt x="102" y="181"/>
                        </a:lnTo>
                        <a:lnTo>
                          <a:pt x="102" y="181"/>
                        </a:lnTo>
                        <a:lnTo>
                          <a:pt x="101" y="182"/>
                        </a:lnTo>
                        <a:lnTo>
                          <a:pt x="101" y="182"/>
                        </a:lnTo>
                        <a:lnTo>
                          <a:pt x="101" y="182"/>
                        </a:lnTo>
                        <a:lnTo>
                          <a:pt x="101" y="183"/>
                        </a:lnTo>
                        <a:lnTo>
                          <a:pt x="100" y="183"/>
                        </a:lnTo>
                        <a:lnTo>
                          <a:pt x="100" y="183"/>
                        </a:lnTo>
                        <a:lnTo>
                          <a:pt x="101" y="183"/>
                        </a:lnTo>
                        <a:lnTo>
                          <a:pt x="101" y="183"/>
                        </a:lnTo>
                        <a:lnTo>
                          <a:pt x="100" y="185"/>
                        </a:lnTo>
                        <a:lnTo>
                          <a:pt x="100" y="183"/>
                        </a:lnTo>
                        <a:lnTo>
                          <a:pt x="100" y="185"/>
                        </a:lnTo>
                        <a:lnTo>
                          <a:pt x="98" y="183"/>
                        </a:lnTo>
                        <a:lnTo>
                          <a:pt x="98" y="183"/>
                        </a:lnTo>
                        <a:lnTo>
                          <a:pt x="98" y="185"/>
                        </a:lnTo>
                        <a:lnTo>
                          <a:pt x="97" y="183"/>
                        </a:lnTo>
                        <a:lnTo>
                          <a:pt x="97" y="185"/>
                        </a:lnTo>
                        <a:lnTo>
                          <a:pt x="96" y="183"/>
                        </a:lnTo>
                        <a:lnTo>
                          <a:pt x="97" y="182"/>
                        </a:lnTo>
                        <a:lnTo>
                          <a:pt x="96" y="181"/>
                        </a:lnTo>
                        <a:lnTo>
                          <a:pt x="95" y="182"/>
                        </a:lnTo>
                        <a:lnTo>
                          <a:pt x="96" y="183"/>
                        </a:lnTo>
                        <a:lnTo>
                          <a:pt x="95" y="183"/>
                        </a:lnTo>
                        <a:lnTo>
                          <a:pt x="96" y="183"/>
                        </a:lnTo>
                        <a:lnTo>
                          <a:pt x="96" y="183"/>
                        </a:lnTo>
                        <a:lnTo>
                          <a:pt x="96" y="183"/>
                        </a:lnTo>
                        <a:lnTo>
                          <a:pt x="96" y="185"/>
                        </a:lnTo>
                        <a:lnTo>
                          <a:pt x="95" y="185"/>
                        </a:lnTo>
                        <a:lnTo>
                          <a:pt x="94" y="185"/>
                        </a:lnTo>
                        <a:lnTo>
                          <a:pt x="95" y="185"/>
                        </a:lnTo>
                        <a:lnTo>
                          <a:pt x="95" y="186"/>
                        </a:lnTo>
                        <a:lnTo>
                          <a:pt x="94" y="186"/>
                        </a:lnTo>
                        <a:lnTo>
                          <a:pt x="93" y="185"/>
                        </a:lnTo>
                        <a:lnTo>
                          <a:pt x="93" y="185"/>
                        </a:lnTo>
                        <a:lnTo>
                          <a:pt x="93" y="186"/>
                        </a:lnTo>
                        <a:lnTo>
                          <a:pt x="93" y="186"/>
                        </a:lnTo>
                        <a:lnTo>
                          <a:pt x="93" y="187"/>
                        </a:lnTo>
                        <a:lnTo>
                          <a:pt x="94" y="187"/>
                        </a:lnTo>
                        <a:lnTo>
                          <a:pt x="94" y="187"/>
                        </a:lnTo>
                        <a:lnTo>
                          <a:pt x="91" y="187"/>
                        </a:lnTo>
                        <a:lnTo>
                          <a:pt x="91" y="187"/>
                        </a:lnTo>
                        <a:lnTo>
                          <a:pt x="90" y="187"/>
                        </a:lnTo>
                        <a:lnTo>
                          <a:pt x="91" y="187"/>
                        </a:lnTo>
                        <a:lnTo>
                          <a:pt x="93" y="187"/>
                        </a:lnTo>
                        <a:lnTo>
                          <a:pt x="91" y="188"/>
                        </a:lnTo>
                        <a:lnTo>
                          <a:pt x="91" y="188"/>
                        </a:lnTo>
                        <a:lnTo>
                          <a:pt x="90" y="188"/>
                        </a:lnTo>
                        <a:lnTo>
                          <a:pt x="90" y="188"/>
                        </a:lnTo>
                        <a:lnTo>
                          <a:pt x="89" y="188"/>
                        </a:lnTo>
                        <a:lnTo>
                          <a:pt x="89" y="188"/>
                        </a:lnTo>
                        <a:lnTo>
                          <a:pt x="89" y="188"/>
                        </a:lnTo>
                        <a:lnTo>
                          <a:pt x="89" y="187"/>
                        </a:lnTo>
                        <a:lnTo>
                          <a:pt x="88" y="187"/>
                        </a:lnTo>
                        <a:lnTo>
                          <a:pt x="87" y="188"/>
                        </a:lnTo>
                        <a:lnTo>
                          <a:pt x="88" y="188"/>
                        </a:lnTo>
                        <a:lnTo>
                          <a:pt x="87" y="189"/>
                        </a:lnTo>
                        <a:lnTo>
                          <a:pt x="88" y="189"/>
                        </a:lnTo>
                        <a:lnTo>
                          <a:pt x="89" y="189"/>
                        </a:lnTo>
                        <a:lnTo>
                          <a:pt x="89" y="189"/>
                        </a:lnTo>
                        <a:lnTo>
                          <a:pt x="89" y="189"/>
                        </a:lnTo>
                        <a:lnTo>
                          <a:pt x="88" y="189"/>
                        </a:lnTo>
                        <a:lnTo>
                          <a:pt x="88" y="189"/>
                        </a:lnTo>
                        <a:lnTo>
                          <a:pt x="87" y="189"/>
                        </a:lnTo>
                        <a:lnTo>
                          <a:pt x="88" y="189"/>
                        </a:lnTo>
                        <a:lnTo>
                          <a:pt x="87" y="189"/>
                        </a:lnTo>
                        <a:lnTo>
                          <a:pt x="85" y="189"/>
                        </a:lnTo>
                        <a:lnTo>
                          <a:pt x="84" y="189"/>
                        </a:lnTo>
                        <a:lnTo>
                          <a:pt x="83" y="189"/>
                        </a:lnTo>
                        <a:lnTo>
                          <a:pt x="83" y="188"/>
                        </a:lnTo>
                        <a:lnTo>
                          <a:pt x="83" y="187"/>
                        </a:lnTo>
                        <a:lnTo>
                          <a:pt x="83" y="187"/>
                        </a:lnTo>
                        <a:lnTo>
                          <a:pt x="82" y="187"/>
                        </a:lnTo>
                        <a:lnTo>
                          <a:pt x="81" y="187"/>
                        </a:lnTo>
                        <a:lnTo>
                          <a:pt x="81" y="187"/>
                        </a:lnTo>
                        <a:lnTo>
                          <a:pt x="78" y="187"/>
                        </a:lnTo>
                        <a:lnTo>
                          <a:pt x="76" y="187"/>
                        </a:lnTo>
                        <a:lnTo>
                          <a:pt x="75" y="187"/>
                        </a:lnTo>
                        <a:lnTo>
                          <a:pt x="75" y="188"/>
                        </a:lnTo>
                        <a:lnTo>
                          <a:pt x="76" y="189"/>
                        </a:lnTo>
                        <a:lnTo>
                          <a:pt x="77" y="189"/>
                        </a:lnTo>
                        <a:lnTo>
                          <a:pt x="77" y="190"/>
                        </a:lnTo>
                        <a:lnTo>
                          <a:pt x="78" y="190"/>
                        </a:lnTo>
                        <a:lnTo>
                          <a:pt x="78" y="189"/>
                        </a:lnTo>
                        <a:lnTo>
                          <a:pt x="80" y="189"/>
                        </a:lnTo>
                        <a:lnTo>
                          <a:pt x="80" y="189"/>
                        </a:lnTo>
                        <a:lnTo>
                          <a:pt x="81" y="189"/>
                        </a:lnTo>
                        <a:lnTo>
                          <a:pt x="82" y="189"/>
                        </a:lnTo>
                        <a:lnTo>
                          <a:pt x="82" y="190"/>
                        </a:lnTo>
                        <a:lnTo>
                          <a:pt x="82" y="192"/>
                        </a:lnTo>
                        <a:lnTo>
                          <a:pt x="83" y="190"/>
                        </a:lnTo>
                        <a:lnTo>
                          <a:pt x="83" y="190"/>
                        </a:lnTo>
                        <a:lnTo>
                          <a:pt x="83" y="190"/>
                        </a:lnTo>
                        <a:lnTo>
                          <a:pt x="83" y="190"/>
                        </a:lnTo>
                        <a:lnTo>
                          <a:pt x="83" y="190"/>
                        </a:lnTo>
                        <a:lnTo>
                          <a:pt x="83" y="190"/>
                        </a:lnTo>
                        <a:lnTo>
                          <a:pt x="84" y="192"/>
                        </a:lnTo>
                        <a:lnTo>
                          <a:pt x="85" y="192"/>
                        </a:lnTo>
                        <a:lnTo>
                          <a:pt x="85" y="193"/>
                        </a:lnTo>
                        <a:lnTo>
                          <a:pt x="85" y="193"/>
                        </a:lnTo>
                        <a:lnTo>
                          <a:pt x="84" y="193"/>
                        </a:lnTo>
                        <a:lnTo>
                          <a:pt x="84" y="193"/>
                        </a:lnTo>
                        <a:lnTo>
                          <a:pt x="83" y="194"/>
                        </a:lnTo>
                        <a:lnTo>
                          <a:pt x="81" y="193"/>
                        </a:lnTo>
                        <a:lnTo>
                          <a:pt x="80" y="193"/>
                        </a:lnTo>
                        <a:lnTo>
                          <a:pt x="78" y="192"/>
                        </a:lnTo>
                        <a:lnTo>
                          <a:pt x="78" y="193"/>
                        </a:lnTo>
                        <a:lnTo>
                          <a:pt x="78" y="193"/>
                        </a:lnTo>
                        <a:lnTo>
                          <a:pt x="78" y="194"/>
                        </a:lnTo>
                        <a:lnTo>
                          <a:pt x="81" y="194"/>
                        </a:lnTo>
                        <a:lnTo>
                          <a:pt x="81" y="194"/>
                        </a:lnTo>
                        <a:lnTo>
                          <a:pt x="83" y="194"/>
                        </a:lnTo>
                        <a:lnTo>
                          <a:pt x="82" y="195"/>
                        </a:lnTo>
                        <a:lnTo>
                          <a:pt x="83" y="195"/>
                        </a:lnTo>
                        <a:lnTo>
                          <a:pt x="83" y="195"/>
                        </a:lnTo>
                        <a:lnTo>
                          <a:pt x="83" y="195"/>
                        </a:lnTo>
                        <a:lnTo>
                          <a:pt x="82" y="195"/>
                        </a:lnTo>
                        <a:lnTo>
                          <a:pt x="82" y="195"/>
                        </a:lnTo>
                        <a:lnTo>
                          <a:pt x="83" y="196"/>
                        </a:lnTo>
                        <a:lnTo>
                          <a:pt x="83" y="195"/>
                        </a:lnTo>
                        <a:lnTo>
                          <a:pt x="84" y="195"/>
                        </a:lnTo>
                        <a:lnTo>
                          <a:pt x="83" y="196"/>
                        </a:lnTo>
                        <a:lnTo>
                          <a:pt x="83" y="196"/>
                        </a:lnTo>
                        <a:lnTo>
                          <a:pt x="83" y="198"/>
                        </a:lnTo>
                        <a:lnTo>
                          <a:pt x="84" y="196"/>
                        </a:lnTo>
                        <a:lnTo>
                          <a:pt x="84" y="198"/>
                        </a:lnTo>
                        <a:lnTo>
                          <a:pt x="84" y="199"/>
                        </a:lnTo>
                        <a:lnTo>
                          <a:pt x="85" y="199"/>
                        </a:lnTo>
                        <a:lnTo>
                          <a:pt x="85" y="199"/>
                        </a:lnTo>
                        <a:lnTo>
                          <a:pt x="85" y="200"/>
                        </a:lnTo>
                        <a:lnTo>
                          <a:pt x="84" y="200"/>
                        </a:lnTo>
                        <a:lnTo>
                          <a:pt x="83" y="198"/>
                        </a:lnTo>
                        <a:lnTo>
                          <a:pt x="82" y="198"/>
                        </a:lnTo>
                        <a:lnTo>
                          <a:pt x="83" y="199"/>
                        </a:lnTo>
                        <a:lnTo>
                          <a:pt x="83" y="199"/>
                        </a:lnTo>
                        <a:lnTo>
                          <a:pt x="83" y="200"/>
                        </a:lnTo>
                        <a:lnTo>
                          <a:pt x="84" y="200"/>
                        </a:lnTo>
                        <a:lnTo>
                          <a:pt x="84" y="200"/>
                        </a:lnTo>
                        <a:lnTo>
                          <a:pt x="83" y="200"/>
                        </a:lnTo>
                        <a:lnTo>
                          <a:pt x="84" y="200"/>
                        </a:lnTo>
                        <a:lnTo>
                          <a:pt x="84" y="201"/>
                        </a:lnTo>
                        <a:lnTo>
                          <a:pt x="83" y="202"/>
                        </a:lnTo>
                        <a:lnTo>
                          <a:pt x="83" y="201"/>
                        </a:lnTo>
                        <a:lnTo>
                          <a:pt x="83" y="201"/>
                        </a:lnTo>
                        <a:lnTo>
                          <a:pt x="83" y="200"/>
                        </a:lnTo>
                        <a:lnTo>
                          <a:pt x="83" y="201"/>
                        </a:lnTo>
                        <a:lnTo>
                          <a:pt x="83" y="202"/>
                        </a:lnTo>
                        <a:lnTo>
                          <a:pt x="82" y="202"/>
                        </a:lnTo>
                        <a:lnTo>
                          <a:pt x="83" y="202"/>
                        </a:lnTo>
                        <a:lnTo>
                          <a:pt x="84" y="202"/>
                        </a:lnTo>
                        <a:lnTo>
                          <a:pt x="84" y="202"/>
                        </a:lnTo>
                        <a:lnTo>
                          <a:pt x="85" y="202"/>
                        </a:lnTo>
                        <a:lnTo>
                          <a:pt x="84" y="203"/>
                        </a:lnTo>
                        <a:lnTo>
                          <a:pt x="84" y="203"/>
                        </a:lnTo>
                        <a:lnTo>
                          <a:pt x="84" y="205"/>
                        </a:lnTo>
                        <a:lnTo>
                          <a:pt x="84" y="205"/>
                        </a:lnTo>
                        <a:lnTo>
                          <a:pt x="84" y="205"/>
                        </a:lnTo>
                        <a:lnTo>
                          <a:pt x="83" y="205"/>
                        </a:lnTo>
                        <a:lnTo>
                          <a:pt x="83" y="205"/>
                        </a:lnTo>
                        <a:lnTo>
                          <a:pt x="83" y="203"/>
                        </a:lnTo>
                        <a:lnTo>
                          <a:pt x="83" y="203"/>
                        </a:lnTo>
                        <a:lnTo>
                          <a:pt x="83" y="203"/>
                        </a:lnTo>
                        <a:lnTo>
                          <a:pt x="82" y="202"/>
                        </a:lnTo>
                        <a:lnTo>
                          <a:pt x="82" y="201"/>
                        </a:lnTo>
                        <a:lnTo>
                          <a:pt x="81" y="202"/>
                        </a:lnTo>
                        <a:lnTo>
                          <a:pt x="82" y="203"/>
                        </a:lnTo>
                        <a:lnTo>
                          <a:pt x="83" y="203"/>
                        </a:lnTo>
                        <a:lnTo>
                          <a:pt x="83" y="205"/>
                        </a:lnTo>
                        <a:lnTo>
                          <a:pt x="82" y="205"/>
                        </a:lnTo>
                        <a:lnTo>
                          <a:pt x="82" y="205"/>
                        </a:lnTo>
                        <a:lnTo>
                          <a:pt x="81" y="203"/>
                        </a:lnTo>
                        <a:lnTo>
                          <a:pt x="81" y="205"/>
                        </a:lnTo>
                        <a:lnTo>
                          <a:pt x="78" y="205"/>
                        </a:lnTo>
                        <a:lnTo>
                          <a:pt x="82" y="207"/>
                        </a:lnTo>
                        <a:lnTo>
                          <a:pt x="83" y="207"/>
                        </a:lnTo>
                        <a:lnTo>
                          <a:pt x="83" y="207"/>
                        </a:lnTo>
                        <a:lnTo>
                          <a:pt x="81" y="206"/>
                        </a:lnTo>
                        <a:lnTo>
                          <a:pt x="80" y="205"/>
                        </a:lnTo>
                        <a:lnTo>
                          <a:pt x="80" y="205"/>
                        </a:lnTo>
                        <a:lnTo>
                          <a:pt x="82" y="206"/>
                        </a:lnTo>
                        <a:lnTo>
                          <a:pt x="82" y="206"/>
                        </a:lnTo>
                        <a:lnTo>
                          <a:pt x="84" y="207"/>
                        </a:lnTo>
                        <a:lnTo>
                          <a:pt x="84" y="207"/>
                        </a:lnTo>
                        <a:lnTo>
                          <a:pt x="84" y="207"/>
                        </a:lnTo>
                        <a:lnTo>
                          <a:pt x="84" y="207"/>
                        </a:lnTo>
                        <a:lnTo>
                          <a:pt x="84" y="207"/>
                        </a:lnTo>
                        <a:lnTo>
                          <a:pt x="84" y="208"/>
                        </a:lnTo>
                        <a:lnTo>
                          <a:pt x="84" y="208"/>
                        </a:lnTo>
                        <a:lnTo>
                          <a:pt x="84" y="208"/>
                        </a:lnTo>
                        <a:lnTo>
                          <a:pt x="84" y="208"/>
                        </a:lnTo>
                        <a:lnTo>
                          <a:pt x="83" y="208"/>
                        </a:lnTo>
                        <a:lnTo>
                          <a:pt x="84" y="208"/>
                        </a:lnTo>
                        <a:lnTo>
                          <a:pt x="83" y="209"/>
                        </a:lnTo>
                        <a:lnTo>
                          <a:pt x="82" y="208"/>
                        </a:lnTo>
                        <a:lnTo>
                          <a:pt x="82" y="209"/>
                        </a:lnTo>
                        <a:lnTo>
                          <a:pt x="82" y="209"/>
                        </a:lnTo>
                        <a:lnTo>
                          <a:pt x="82" y="210"/>
                        </a:lnTo>
                        <a:lnTo>
                          <a:pt x="83" y="210"/>
                        </a:lnTo>
                        <a:lnTo>
                          <a:pt x="84" y="210"/>
                        </a:lnTo>
                        <a:lnTo>
                          <a:pt x="84" y="210"/>
                        </a:lnTo>
                        <a:lnTo>
                          <a:pt x="84" y="212"/>
                        </a:lnTo>
                        <a:lnTo>
                          <a:pt x="84" y="212"/>
                        </a:lnTo>
                        <a:lnTo>
                          <a:pt x="84" y="213"/>
                        </a:lnTo>
                        <a:lnTo>
                          <a:pt x="84" y="213"/>
                        </a:lnTo>
                        <a:lnTo>
                          <a:pt x="84" y="214"/>
                        </a:lnTo>
                        <a:lnTo>
                          <a:pt x="84" y="214"/>
                        </a:lnTo>
                        <a:lnTo>
                          <a:pt x="83" y="213"/>
                        </a:lnTo>
                        <a:lnTo>
                          <a:pt x="83" y="214"/>
                        </a:lnTo>
                        <a:lnTo>
                          <a:pt x="83" y="214"/>
                        </a:lnTo>
                        <a:lnTo>
                          <a:pt x="83" y="214"/>
                        </a:lnTo>
                        <a:lnTo>
                          <a:pt x="82" y="215"/>
                        </a:lnTo>
                        <a:lnTo>
                          <a:pt x="82" y="214"/>
                        </a:lnTo>
                        <a:lnTo>
                          <a:pt x="82" y="214"/>
                        </a:lnTo>
                        <a:lnTo>
                          <a:pt x="81" y="215"/>
                        </a:lnTo>
                        <a:lnTo>
                          <a:pt x="83" y="216"/>
                        </a:lnTo>
                        <a:lnTo>
                          <a:pt x="82" y="216"/>
                        </a:lnTo>
                        <a:lnTo>
                          <a:pt x="82" y="216"/>
                        </a:lnTo>
                        <a:lnTo>
                          <a:pt x="82" y="216"/>
                        </a:lnTo>
                        <a:lnTo>
                          <a:pt x="82" y="218"/>
                        </a:lnTo>
                        <a:lnTo>
                          <a:pt x="82" y="219"/>
                        </a:lnTo>
                        <a:lnTo>
                          <a:pt x="82" y="219"/>
                        </a:lnTo>
                        <a:lnTo>
                          <a:pt x="83" y="219"/>
                        </a:lnTo>
                        <a:lnTo>
                          <a:pt x="83" y="220"/>
                        </a:lnTo>
                        <a:lnTo>
                          <a:pt x="84" y="220"/>
                        </a:lnTo>
                        <a:lnTo>
                          <a:pt x="84" y="220"/>
                        </a:lnTo>
                        <a:lnTo>
                          <a:pt x="84" y="221"/>
                        </a:lnTo>
                        <a:lnTo>
                          <a:pt x="84" y="220"/>
                        </a:lnTo>
                        <a:lnTo>
                          <a:pt x="83" y="220"/>
                        </a:lnTo>
                        <a:lnTo>
                          <a:pt x="83" y="220"/>
                        </a:lnTo>
                        <a:lnTo>
                          <a:pt x="83" y="221"/>
                        </a:lnTo>
                        <a:lnTo>
                          <a:pt x="82" y="220"/>
                        </a:lnTo>
                        <a:lnTo>
                          <a:pt x="82" y="221"/>
                        </a:lnTo>
                        <a:lnTo>
                          <a:pt x="82" y="221"/>
                        </a:lnTo>
                        <a:lnTo>
                          <a:pt x="82" y="221"/>
                        </a:lnTo>
                        <a:lnTo>
                          <a:pt x="82" y="221"/>
                        </a:lnTo>
                        <a:lnTo>
                          <a:pt x="82" y="222"/>
                        </a:lnTo>
                        <a:lnTo>
                          <a:pt x="82" y="222"/>
                        </a:lnTo>
                        <a:lnTo>
                          <a:pt x="82" y="223"/>
                        </a:lnTo>
                        <a:lnTo>
                          <a:pt x="82" y="225"/>
                        </a:lnTo>
                        <a:lnTo>
                          <a:pt x="82" y="225"/>
                        </a:lnTo>
                        <a:lnTo>
                          <a:pt x="82" y="225"/>
                        </a:lnTo>
                        <a:lnTo>
                          <a:pt x="83" y="225"/>
                        </a:lnTo>
                        <a:lnTo>
                          <a:pt x="84" y="225"/>
                        </a:lnTo>
                        <a:lnTo>
                          <a:pt x="83" y="225"/>
                        </a:lnTo>
                        <a:lnTo>
                          <a:pt x="82" y="225"/>
                        </a:lnTo>
                        <a:lnTo>
                          <a:pt x="82" y="225"/>
                        </a:lnTo>
                        <a:lnTo>
                          <a:pt x="81" y="226"/>
                        </a:lnTo>
                        <a:lnTo>
                          <a:pt x="81" y="226"/>
                        </a:lnTo>
                        <a:lnTo>
                          <a:pt x="82" y="227"/>
                        </a:lnTo>
                        <a:lnTo>
                          <a:pt x="81" y="227"/>
                        </a:lnTo>
                        <a:lnTo>
                          <a:pt x="80" y="228"/>
                        </a:lnTo>
                        <a:lnTo>
                          <a:pt x="80" y="229"/>
                        </a:lnTo>
                        <a:lnTo>
                          <a:pt x="80" y="229"/>
                        </a:lnTo>
                        <a:lnTo>
                          <a:pt x="80" y="230"/>
                        </a:lnTo>
                        <a:lnTo>
                          <a:pt x="78" y="229"/>
                        </a:lnTo>
                        <a:lnTo>
                          <a:pt x="78" y="230"/>
                        </a:lnTo>
                        <a:lnTo>
                          <a:pt x="78" y="230"/>
                        </a:lnTo>
                        <a:lnTo>
                          <a:pt x="78" y="232"/>
                        </a:lnTo>
                        <a:lnTo>
                          <a:pt x="78" y="232"/>
                        </a:lnTo>
                        <a:lnTo>
                          <a:pt x="78" y="232"/>
                        </a:lnTo>
                        <a:lnTo>
                          <a:pt x="77" y="233"/>
                        </a:lnTo>
                        <a:lnTo>
                          <a:pt x="77" y="235"/>
                        </a:lnTo>
                        <a:lnTo>
                          <a:pt x="77" y="236"/>
                        </a:lnTo>
                        <a:lnTo>
                          <a:pt x="76" y="236"/>
                        </a:lnTo>
                        <a:lnTo>
                          <a:pt x="76" y="238"/>
                        </a:lnTo>
                        <a:lnTo>
                          <a:pt x="75" y="239"/>
                        </a:lnTo>
                        <a:lnTo>
                          <a:pt x="74" y="238"/>
                        </a:lnTo>
                        <a:lnTo>
                          <a:pt x="74" y="239"/>
                        </a:lnTo>
                        <a:lnTo>
                          <a:pt x="74" y="238"/>
                        </a:lnTo>
                        <a:lnTo>
                          <a:pt x="74" y="238"/>
                        </a:lnTo>
                        <a:lnTo>
                          <a:pt x="74" y="238"/>
                        </a:lnTo>
                        <a:lnTo>
                          <a:pt x="74" y="236"/>
                        </a:lnTo>
                        <a:lnTo>
                          <a:pt x="74" y="238"/>
                        </a:lnTo>
                        <a:lnTo>
                          <a:pt x="74" y="238"/>
                        </a:lnTo>
                        <a:lnTo>
                          <a:pt x="73" y="238"/>
                        </a:lnTo>
                        <a:lnTo>
                          <a:pt x="73" y="238"/>
                        </a:lnTo>
                        <a:lnTo>
                          <a:pt x="71" y="238"/>
                        </a:lnTo>
                        <a:lnTo>
                          <a:pt x="71" y="236"/>
                        </a:lnTo>
                        <a:lnTo>
                          <a:pt x="70" y="238"/>
                        </a:lnTo>
                        <a:lnTo>
                          <a:pt x="69" y="238"/>
                        </a:lnTo>
                        <a:lnTo>
                          <a:pt x="69" y="236"/>
                        </a:lnTo>
                        <a:lnTo>
                          <a:pt x="68" y="236"/>
                        </a:lnTo>
                        <a:lnTo>
                          <a:pt x="67" y="236"/>
                        </a:lnTo>
                        <a:lnTo>
                          <a:pt x="65" y="236"/>
                        </a:lnTo>
                        <a:lnTo>
                          <a:pt x="64" y="236"/>
                        </a:lnTo>
                        <a:lnTo>
                          <a:pt x="63" y="238"/>
                        </a:lnTo>
                        <a:lnTo>
                          <a:pt x="62" y="238"/>
                        </a:lnTo>
                        <a:lnTo>
                          <a:pt x="62" y="238"/>
                        </a:lnTo>
                        <a:lnTo>
                          <a:pt x="61" y="239"/>
                        </a:lnTo>
                        <a:lnTo>
                          <a:pt x="60" y="238"/>
                        </a:lnTo>
                        <a:lnTo>
                          <a:pt x="58" y="238"/>
                        </a:lnTo>
                        <a:lnTo>
                          <a:pt x="57" y="238"/>
                        </a:lnTo>
                        <a:lnTo>
                          <a:pt x="57" y="238"/>
                        </a:lnTo>
                        <a:lnTo>
                          <a:pt x="60" y="240"/>
                        </a:lnTo>
                        <a:lnTo>
                          <a:pt x="58" y="240"/>
                        </a:lnTo>
                        <a:lnTo>
                          <a:pt x="57" y="240"/>
                        </a:lnTo>
                        <a:lnTo>
                          <a:pt x="57" y="240"/>
                        </a:lnTo>
                        <a:lnTo>
                          <a:pt x="57" y="240"/>
                        </a:lnTo>
                        <a:lnTo>
                          <a:pt x="57" y="239"/>
                        </a:lnTo>
                        <a:lnTo>
                          <a:pt x="56" y="239"/>
                        </a:lnTo>
                        <a:lnTo>
                          <a:pt x="55" y="239"/>
                        </a:lnTo>
                        <a:lnTo>
                          <a:pt x="55" y="240"/>
                        </a:lnTo>
                        <a:lnTo>
                          <a:pt x="55" y="240"/>
                        </a:lnTo>
                        <a:lnTo>
                          <a:pt x="54" y="240"/>
                        </a:lnTo>
                        <a:lnTo>
                          <a:pt x="54" y="241"/>
                        </a:lnTo>
                        <a:lnTo>
                          <a:pt x="53" y="241"/>
                        </a:lnTo>
                        <a:lnTo>
                          <a:pt x="53" y="242"/>
                        </a:lnTo>
                        <a:lnTo>
                          <a:pt x="51" y="242"/>
                        </a:lnTo>
                        <a:lnTo>
                          <a:pt x="51" y="243"/>
                        </a:lnTo>
                        <a:lnTo>
                          <a:pt x="50" y="243"/>
                        </a:lnTo>
                        <a:lnTo>
                          <a:pt x="51" y="243"/>
                        </a:lnTo>
                        <a:lnTo>
                          <a:pt x="53" y="243"/>
                        </a:lnTo>
                        <a:lnTo>
                          <a:pt x="53" y="243"/>
                        </a:lnTo>
                        <a:lnTo>
                          <a:pt x="51" y="245"/>
                        </a:lnTo>
                        <a:lnTo>
                          <a:pt x="51" y="246"/>
                        </a:lnTo>
                        <a:lnTo>
                          <a:pt x="53" y="246"/>
                        </a:lnTo>
                        <a:lnTo>
                          <a:pt x="54" y="247"/>
                        </a:lnTo>
                        <a:lnTo>
                          <a:pt x="54" y="248"/>
                        </a:lnTo>
                        <a:lnTo>
                          <a:pt x="53" y="249"/>
                        </a:lnTo>
                        <a:lnTo>
                          <a:pt x="53" y="249"/>
                        </a:lnTo>
                        <a:lnTo>
                          <a:pt x="53" y="250"/>
                        </a:lnTo>
                        <a:lnTo>
                          <a:pt x="51" y="252"/>
                        </a:lnTo>
                        <a:lnTo>
                          <a:pt x="50" y="252"/>
                        </a:lnTo>
                        <a:lnTo>
                          <a:pt x="50" y="252"/>
                        </a:lnTo>
                        <a:lnTo>
                          <a:pt x="49" y="250"/>
                        </a:lnTo>
                        <a:lnTo>
                          <a:pt x="48" y="250"/>
                        </a:lnTo>
                        <a:lnTo>
                          <a:pt x="47" y="250"/>
                        </a:lnTo>
                        <a:lnTo>
                          <a:pt x="46" y="252"/>
                        </a:lnTo>
                        <a:lnTo>
                          <a:pt x="46" y="252"/>
                        </a:lnTo>
                        <a:lnTo>
                          <a:pt x="43" y="252"/>
                        </a:lnTo>
                        <a:lnTo>
                          <a:pt x="42" y="253"/>
                        </a:lnTo>
                        <a:lnTo>
                          <a:pt x="42" y="253"/>
                        </a:lnTo>
                        <a:lnTo>
                          <a:pt x="42" y="253"/>
                        </a:lnTo>
                        <a:lnTo>
                          <a:pt x="42" y="252"/>
                        </a:lnTo>
                        <a:lnTo>
                          <a:pt x="41" y="252"/>
                        </a:lnTo>
                        <a:lnTo>
                          <a:pt x="41" y="252"/>
                        </a:lnTo>
                        <a:lnTo>
                          <a:pt x="40" y="253"/>
                        </a:lnTo>
                        <a:lnTo>
                          <a:pt x="38" y="253"/>
                        </a:lnTo>
                        <a:lnTo>
                          <a:pt x="38" y="253"/>
                        </a:lnTo>
                        <a:lnTo>
                          <a:pt x="37" y="253"/>
                        </a:lnTo>
                        <a:lnTo>
                          <a:pt x="37" y="253"/>
                        </a:lnTo>
                        <a:lnTo>
                          <a:pt x="36" y="252"/>
                        </a:lnTo>
                        <a:lnTo>
                          <a:pt x="36" y="253"/>
                        </a:lnTo>
                        <a:lnTo>
                          <a:pt x="35" y="252"/>
                        </a:lnTo>
                        <a:lnTo>
                          <a:pt x="35" y="252"/>
                        </a:lnTo>
                        <a:lnTo>
                          <a:pt x="35" y="252"/>
                        </a:lnTo>
                        <a:lnTo>
                          <a:pt x="34" y="252"/>
                        </a:lnTo>
                        <a:lnTo>
                          <a:pt x="34" y="252"/>
                        </a:lnTo>
                        <a:lnTo>
                          <a:pt x="33" y="252"/>
                        </a:lnTo>
                        <a:lnTo>
                          <a:pt x="33" y="252"/>
                        </a:lnTo>
                        <a:lnTo>
                          <a:pt x="33" y="250"/>
                        </a:lnTo>
                        <a:lnTo>
                          <a:pt x="31" y="249"/>
                        </a:lnTo>
                        <a:lnTo>
                          <a:pt x="31" y="248"/>
                        </a:lnTo>
                        <a:lnTo>
                          <a:pt x="31" y="248"/>
                        </a:lnTo>
                        <a:lnTo>
                          <a:pt x="33" y="247"/>
                        </a:lnTo>
                        <a:lnTo>
                          <a:pt x="34" y="247"/>
                        </a:lnTo>
                        <a:lnTo>
                          <a:pt x="34" y="246"/>
                        </a:lnTo>
                        <a:lnTo>
                          <a:pt x="35" y="246"/>
                        </a:lnTo>
                        <a:lnTo>
                          <a:pt x="34" y="245"/>
                        </a:lnTo>
                        <a:lnTo>
                          <a:pt x="33" y="245"/>
                        </a:lnTo>
                        <a:lnTo>
                          <a:pt x="33" y="245"/>
                        </a:lnTo>
                        <a:lnTo>
                          <a:pt x="31" y="245"/>
                        </a:lnTo>
                        <a:lnTo>
                          <a:pt x="31" y="243"/>
                        </a:lnTo>
                        <a:lnTo>
                          <a:pt x="31" y="242"/>
                        </a:lnTo>
                        <a:lnTo>
                          <a:pt x="30" y="242"/>
                        </a:lnTo>
                        <a:lnTo>
                          <a:pt x="29" y="241"/>
                        </a:lnTo>
                        <a:lnTo>
                          <a:pt x="29" y="240"/>
                        </a:lnTo>
                        <a:lnTo>
                          <a:pt x="27" y="240"/>
                        </a:lnTo>
                        <a:lnTo>
                          <a:pt x="27" y="240"/>
                        </a:lnTo>
                        <a:lnTo>
                          <a:pt x="27" y="239"/>
                        </a:lnTo>
                        <a:lnTo>
                          <a:pt x="26" y="238"/>
                        </a:lnTo>
                        <a:lnTo>
                          <a:pt x="24" y="236"/>
                        </a:lnTo>
                        <a:lnTo>
                          <a:pt x="23" y="235"/>
                        </a:lnTo>
                        <a:lnTo>
                          <a:pt x="24" y="234"/>
                        </a:lnTo>
                        <a:lnTo>
                          <a:pt x="26" y="235"/>
                        </a:lnTo>
                        <a:lnTo>
                          <a:pt x="27" y="235"/>
                        </a:lnTo>
                        <a:lnTo>
                          <a:pt x="27" y="235"/>
                        </a:lnTo>
                        <a:lnTo>
                          <a:pt x="28" y="236"/>
                        </a:lnTo>
                        <a:lnTo>
                          <a:pt x="29" y="236"/>
                        </a:lnTo>
                        <a:lnTo>
                          <a:pt x="29" y="235"/>
                        </a:lnTo>
                        <a:lnTo>
                          <a:pt x="29" y="234"/>
                        </a:lnTo>
                        <a:lnTo>
                          <a:pt x="29" y="233"/>
                        </a:lnTo>
                        <a:lnTo>
                          <a:pt x="27" y="233"/>
                        </a:lnTo>
                        <a:lnTo>
                          <a:pt x="27" y="233"/>
                        </a:lnTo>
                        <a:lnTo>
                          <a:pt x="27" y="233"/>
                        </a:lnTo>
                        <a:lnTo>
                          <a:pt x="27" y="232"/>
                        </a:lnTo>
                        <a:lnTo>
                          <a:pt x="26" y="232"/>
                        </a:lnTo>
                        <a:lnTo>
                          <a:pt x="28" y="230"/>
                        </a:lnTo>
                        <a:lnTo>
                          <a:pt x="28" y="230"/>
                        </a:lnTo>
                        <a:lnTo>
                          <a:pt x="29" y="232"/>
                        </a:lnTo>
                        <a:lnTo>
                          <a:pt x="30" y="232"/>
                        </a:lnTo>
                        <a:lnTo>
                          <a:pt x="30" y="229"/>
                        </a:lnTo>
                        <a:lnTo>
                          <a:pt x="30" y="229"/>
                        </a:lnTo>
                        <a:lnTo>
                          <a:pt x="30" y="228"/>
                        </a:lnTo>
                        <a:lnTo>
                          <a:pt x="29" y="228"/>
                        </a:lnTo>
                        <a:lnTo>
                          <a:pt x="29" y="228"/>
                        </a:lnTo>
                        <a:lnTo>
                          <a:pt x="28" y="228"/>
                        </a:lnTo>
                        <a:lnTo>
                          <a:pt x="26" y="227"/>
                        </a:lnTo>
                        <a:lnTo>
                          <a:pt x="26" y="227"/>
                        </a:lnTo>
                        <a:lnTo>
                          <a:pt x="26" y="226"/>
                        </a:lnTo>
                        <a:lnTo>
                          <a:pt x="26" y="226"/>
                        </a:lnTo>
                        <a:lnTo>
                          <a:pt x="26" y="225"/>
                        </a:lnTo>
                        <a:lnTo>
                          <a:pt x="24" y="223"/>
                        </a:lnTo>
                        <a:lnTo>
                          <a:pt x="24" y="223"/>
                        </a:lnTo>
                        <a:lnTo>
                          <a:pt x="23" y="223"/>
                        </a:lnTo>
                        <a:lnTo>
                          <a:pt x="23" y="222"/>
                        </a:lnTo>
                        <a:lnTo>
                          <a:pt x="21" y="222"/>
                        </a:lnTo>
                        <a:lnTo>
                          <a:pt x="20" y="221"/>
                        </a:lnTo>
                        <a:lnTo>
                          <a:pt x="20" y="220"/>
                        </a:lnTo>
                        <a:lnTo>
                          <a:pt x="20" y="220"/>
                        </a:lnTo>
                        <a:lnTo>
                          <a:pt x="20" y="220"/>
                        </a:lnTo>
                        <a:lnTo>
                          <a:pt x="18" y="220"/>
                        </a:lnTo>
                        <a:lnTo>
                          <a:pt x="20" y="219"/>
                        </a:lnTo>
                        <a:lnTo>
                          <a:pt x="18" y="219"/>
                        </a:lnTo>
                        <a:lnTo>
                          <a:pt x="20" y="219"/>
                        </a:lnTo>
                        <a:lnTo>
                          <a:pt x="18" y="218"/>
                        </a:lnTo>
                        <a:lnTo>
                          <a:pt x="18" y="218"/>
                        </a:lnTo>
                        <a:lnTo>
                          <a:pt x="18" y="218"/>
                        </a:lnTo>
                        <a:lnTo>
                          <a:pt x="17" y="218"/>
                        </a:lnTo>
                        <a:lnTo>
                          <a:pt x="17" y="218"/>
                        </a:lnTo>
                        <a:lnTo>
                          <a:pt x="18" y="218"/>
                        </a:lnTo>
                        <a:lnTo>
                          <a:pt x="18" y="216"/>
                        </a:lnTo>
                        <a:lnTo>
                          <a:pt x="17" y="216"/>
                        </a:lnTo>
                        <a:lnTo>
                          <a:pt x="17" y="216"/>
                        </a:lnTo>
                        <a:lnTo>
                          <a:pt x="16" y="216"/>
                        </a:lnTo>
                        <a:lnTo>
                          <a:pt x="16" y="215"/>
                        </a:lnTo>
                        <a:lnTo>
                          <a:pt x="17" y="215"/>
                        </a:lnTo>
                        <a:lnTo>
                          <a:pt x="17" y="214"/>
                        </a:lnTo>
                        <a:lnTo>
                          <a:pt x="16" y="214"/>
                        </a:lnTo>
                        <a:lnTo>
                          <a:pt x="17" y="214"/>
                        </a:lnTo>
                        <a:lnTo>
                          <a:pt x="16" y="213"/>
                        </a:lnTo>
                        <a:lnTo>
                          <a:pt x="17" y="213"/>
                        </a:lnTo>
                        <a:lnTo>
                          <a:pt x="16" y="213"/>
                        </a:lnTo>
                        <a:lnTo>
                          <a:pt x="16" y="212"/>
                        </a:lnTo>
                        <a:lnTo>
                          <a:pt x="15" y="212"/>
                        </a:lnTo>
                        <a:lnTo>
                          <a:pt x="15" y="212"/>
                        </a:lnTo>
                        <a:lnTo>
                          <a:pt x="15" y="213"/>
                        </a:lnTo>
                        <a:lnTo>
                          <a:pt x="14" y="213"/>
                        </a:lnTo>
                        <a:lnTo>
                          <a:pt x="14" y="212"/>
                        </a:lnTo>
                        <a:lnTo>
                          <a:pt x="15" y="212"/>
                        </a:lnTo>
                        <a:lnTo>
                          <a:pt x="14" y="210"/>
                        </a:lnTo>
                        <a:lnTo>
                          <a:pt x="14" y="210"/>
                        </a:lnTo>
                        <a:lnTo>
                          <a:pt x="14" y="208"/>
                        </a:lnTo>
                        <a:lnTo>
                          <a:pt x="14" y="209"/>
                        </a:lnTo>
                        <a:lnTo>
                          <a:pt x="13" y="209"/>
                        </a:lnTo>
                        <a:lnTo>
                          <a:pt x="13" y="209"/>
                        </a:lnTo>
                        <a:lnTo>
                          <a:pt x="13" y="208"/>
                        </a:lnTo>
                        <a:lnTo>
                          <a:pt x="13" y="208"/>
                        </a:lnTo>
                        <a:lnTo>
                          <a:pt x="13" y="208"/>
                        </a:lnTo>
                        <a:lnTo>
                          <a:pt x="13" y="208"/>
                        </a:lnTo>
                        <a:lnTo>
                          <a:pt x="13" y="208"/>
                        </a:lnTo>
                        <a:lnTo>
                          <a:pt x="13" y="207"/>
                        </a:lnTo>
                        <a:lnTo>
                          <a:pt x="11" y="207"/>
                        </a:lnTo>
                        <a:lnTo>
                          <a:pt x="11" y="207"/>
                        </a:lnTo>
                        <a:lnTo>
                          <a:pt x="11" y="207"/>
                        </a:lnTo>
                        <a:lnTo>
                          <a:pt x="11" y="207"/>
                        </a:lnTo>
                        <a:lnTo>
                          <a:pt x="11" y="206"/>
                        </a:lnTo>
                        <a:lnTo>
                          <a:pt x="11" y="206"/>
                        </a:lnTo>
                        <a:lnTo>
                          <a:pt x="10" y="205"/>
                        </a:lnTo>
                        <a:lnTo>
                          <a:pt x="10" y="206"/>
                        </a:lnTo>
                        <a:lnTo>
                          <a:pt x="9" y="205"/>
                        </a:lnTo>
                        <a:lnTo>
                          <a:pt x="9" y="205"/>
                        </a:lnTo>
                        <a:lnTo>
                          <a:pt x="10" y="205"/>
                        </a:lnTo>
                        <a:lnTo>
                          <a:pt x="11" y="205"/>
                        </a:lnTo>
                        <a:lnTo>
                          <a:pt x="11" y="203"/>
                        </a:lnTo>
                        <a:lnTo>
                          <a:pt x="11" y="203"/>
                        </a:lnTo>
                        <a:lnTo>
                          <a:pt x="11" y="201"/>
                        </a:lnTo>
                        <a:lnTo>
                          <a:pt x="11" y="200"/>
                        </a:lnTo>
                        <a:lnTo>
                          <a:pt x="11" y="200"/>
                        </a:lnTo>
                        <a:lnTo>
                          <a:pt x="11" y="200"/>
                        </a:lnTo>
                        <a:lnTo>
                          <a:pt x="11" y="200"/>
                        </a:lnTo>
                        <a:lnTo>
                          <a:pt x="11" y="199"/>
                        </a:lnTo>
                        <a:lnTo>
                          <a:pt x="11" y="198"/>
                        </a:lnTo>
                        <a:lnTo>
                          <a:pt x="11" y="198"/>
                        </a:lnTo>
                        <a:lnTo>
                          <a:pt x="13" y="198"/>
                        </a:lnTo>
                        <a:lnTo>
                          <a:pt x="11" y="198"/>
                        </a:lnTo>
                        <a:lnTo>
                          <a:pt x="11" y="198"/>
                        </a:lnTo>
                        <a:lnTo>
                          <a:pt x="11" y="196"/>
                        </a:lnTo>
                        <a:lnTo>
                          <a:pt x="11" y="196"/>
                        </a:lnTo>
                        <a:lnTo>
                          <a:pt x="11" y="196"/>
                        </a:lnTo>
                        <a:lnTo>
                          <a:pt x="11" y="195"/>
                        </a:lnTo>
                        <a:lnTo>
                          <a:pt x="10" y="194"/>
                        </a:lnTo>
                        <a:lnTo>
                          <a:pt x="10" y="195"/>
                        </a:lnTo>
                        <a:lnTo>
                          <a:pt x="10" y="196"/>
                        </a:lnTo>
                        <a:lnTo>
                          <a:pt x="10" y="196"/>
                        </a:lnTo>
                        <a:lnTo>
                          <a:pt x="10" y="198"/>
                        </a:lnTo>
                        <a:lnTo>
                          <a:pt x="10" y="199"/>
                        </a:lnTo>
                        <a:lnTo>
                          <a:pt x="10" y="200"/>
                        </a:lnTo>
                        <a:lnTo>
                          <a:pt x="10" y="200"/>
                        </a:lnTo>
                        <a:lnTo>
                          <a:pt x="10" y="201"/>
                        </a:lnTo>
                        <a:lnTo>
                          <a:pt x="9" y="201"/>
                        </a:lnTo>
                        <a:lnTo>
                          <a:pt x="9" y="201"/>
                        </a:lnTo>
                        <a:lnTo>
                          <a:pt x="8" y="200"/>
                        </a:lnTo>
                        <a:lnTo>
                          <a:pt x="7" y="199"/>
                        </a:lnTo>
                        <a:lnTo>
                          <a:pt x="6" y="198"/>
                        </a:lnTo>
                        <a:lnTo>
                          <a:pt x="7" y="196"/>
                        </a:lnTo>
                        <a:lnTo>
                          <a:pt x="8" y="195"/>
                        </a:lnTo>
                        <a:lnTo>
                          <a:pt x="8" y="194"/>
                        </a:lnTo>
                        <a:lnTo>
                          <a:pt x="9" y="194"/>
                        </a:lnTo>
                        <a:lnTo>
                          <a:pt x="8" y="193"/>
                        </a:lnTo>
                        <a:lnTo>
                          <a:pt x="8" y="194"/>
                        </a:lnTo>
                        <a:lnTo>
                          <a:pt x="8" y="194"/>
                        </a:lnTo>
                        <a:lnTo>
                          <a:pt x="7" y="193"/>
                        </a:lnTo>
                        <a:lnTo>
                          <a:pt x="7" y="193"/>
                        </a:lnTo>
                        <a:lnTo>
                          <a:pt x="7" y="195"/>
                        </a:lnTo>
                        <a:lnTo>
                          <a:pt x="6" y="196"/>
                        </a:lnTo>
                        <a:lnTo>
                          <a:pt x="6" y="196"/>
                        </a:lnTo>
                        <a:lnTo>
                          <a:pt x="6" y="195"/>
                        </a:lnTo>
                        <a:lnTo>
                          <a:pt x="6" y="196"/>
                        </a:lnTo>
                        <a:lnTo>
                          <a:pt x="4" y="196"/>
                        </a:lnTo>
                        <a:lnTo>
                          <a:pt x="3" y="195"/>
                        </a:lnTo>
                        <a:lnTo>
                          <a:pt x="6" y="195"/>
                        </a:lnTo>
                        <a:lnTo>
                          <a:pt x="6" y="195"/>
                        </a:lnTo>
                        <a:lnTo>
                          <a:pt x="6" y="195"/>
                        </a:lnTo>
                        <a:lnTo>
                          <a:pt x="6" y="194"/>
                        </a:lnTo>
                        <a:lnTo>
                          <a:pt x="3" y="195"/>
                        </a:lnTo>
                        <a:lnTo>
                          <a:pt x="4" y="194"/>
                        </a:lnTo>
                        <a:lnTo>
                          <a:pt x="4" y="193"/>
                        </a:lnTo>
                        <a:lnTo>
                          <a:pt x="3" y="194"/>
                        </a:lnTo>
                        <a:lnTo>
                          <a:pt x="3" y="195"/>
                        </a:lnTo>
                        <a:lnTo>
                          <a:pt x="2" y="195"/>
                        </a:lnTo>
                        <a:lnTo>
                          <a:pt x="2" y="194"/>
                        </a:lnTo>
                        <a:lnTo>
                          <a:pt x="3" y="194"/>
                        </a:lnTo>
                        <a:lnTo>
                          <a:pt x="2" y="193"/>
                        </a:lnTo>
                        <a:lnTo>
                          <a:pt x="3" y="193"/>
                        </a:lnTo>
                        <a:lnTo>
                          <a:pt x="2" y="192"/>
                        </a:lnTo>
                        <a:lnTo>
                          <a:pt x="2" y="190"/>
                        </a:lnTo>
                        <a:lnTo>
                          <a:pt x="3" y="190"/>
                        </a:lnTo>
                        <a:lnTo>
                          <a:pt x="2" y="190"/>
                        </a:lnTo>
                        <a:lnTo>
                          <a:pt x="2" y="189"/>
                        </a:lnTo>
                        <a:lnTo>
                          <a:pt x="2" y="189"/>
                        </a:lnTo>
                        <a:lnTo>
                          <a:pt x="2" y="189"/>
                        </a:lnTo>
                        <a:lnTo>
                          <a:pt x="1" y="188"/>
                        </a:lnTo>
                        <a:lnTo>
                          <a:pt x="1" y="188"/>
                        </a:lnTo>
                        <a:lnTo>
                          <a:pt x="2" y="188"/>
                        </a:lnTo>
                        <a:lnTo>
                          <a:pt x="2" y="187"/>
                        </a:lnTo>
                        <a:lnTo>
                          <a:pt x="2" y="187"/>
                        </a:lnTo>
                        <a:lnTo>
                          <a:pt x="2" y="186"/>
                        </a:lnTo>
                        <a:lnTo>
                          <a:pt x="2" y="185"/>
                        </a:lnTo>
                        <a:lnTo>
                          <a:pt x="2" y="183"/>
                        </a:lnTo>
                        <a:lnTo>
                          <a:pt x="0" y="183"/>
                        </a:lnTo>
                        <a:lnTo>
                          <a:pt x="0" y="183"/>
                        </a:lnTo>
                        <a:lnTo>
                          <a:pt x="0" y="182"/>
                        </a:lnTo>
                        <a:lnTo>
                          <a:pt x="0" y="181"/>
                        </a:lnTo>
                        <a:lnTo>
                          <a:pt x="2" y="181"/>
                        </a:lnTo>
                        <a:lnTo>
                          <a:pt x="3" y="183"/>
                        </a:lnTo>
                        <a:lnTo>
                          <a:pt x="4" y="185"/>
                        </a:lnTo>
                        <a:lnTo>
                          <a:pt x="4" y="186"/>
                        </a:lnTo>
                        <a:lnTo>
                          <a:pt x="7" y="185"/>
                        </a:lnTo>
                        <a:lnTo>
                          <a:pt x="8" y="181"/>
                        </a:lnTo>
                        <a:lnTo>
                          <a:pt x="8" y="181"/>
                        </a:lnTo>
                        <a:lnTo>
                          <a:pt x="8" y="179"/>
                        </a:lnTo>
                        <a:lnTo>
                          <a:pt x="9" y="179"/>
                        </a:lnTo>
                        <a:lnTo>
                          <a:pt x="7" y="172"/>
                        </a:lnTo>
                        <a:lnTo>
                          <a:pt x="9" y="169"/>
                        </a:lnTo>
                        <a:lnTo>
                          <a:pt x="9" y="168"/>
                        </a:lnTo>
                        <a:lnTo>
                          <a:pt x="8" y="167"/>
                        </a:lnTo>
                        <a:lnTo>
                          <a:pt x="10" y="166"/>
                        </a:lnTo>
                        <a:lnTo>
                          <a:pt x="13" y="166"/>
                        </a:lnTo>
                        <a:lnTo>
                          <a:pt x="16" y="163"/>
                        </a:lnTo>
                        <a:lnTo>
                          <a:pt x="17" y="161"/>
                        </a:lnTo>
                        <a:lnTo>
                          <a:pt x="17" y="159"/>
                        </a:lnTo>
                        <a:lnTo>
                          <a:pt x="18" y="155"/>
                        </a:lnTo>
                        <a:lnTo>
                          <a:pt x="18" y="154"/>
                        </a:lnTo>
                        <a:lnTo>
                          <a:pt x="13" y="145"/>
                        </a:lnTo>
                        <a:lnTo>
                          <a:pt x="15" y="145"/>
                        </a:lnTo>
                        <a:lnTo>
                          <a:pt x="18" y="145"/>
                        </a:lnTo>
                        <a:lnTo>
                          <a:pt x="21" y="139"/>
                        </a:lnTo>
                        <a:lnTo>
                          <a:pt x="15" y="134"/>
                        </a:lnTo>
                        <a:lnTo>
                          <a:pt x="14" y="134"/>
                        </a:lnTo>
                        <a:lnTo>
                          <a:pt x="9" y="132"/>
                        </a:lnTo>
                        <a:lnTo>
                          <a:pt x="10" y="122"/>
                        </a:lnTo>
                        <a:lnTo>
                          <a:pt x="9" y="119"/>
                        </a:lnTo>
                        <a:lnTo>
                          <a:pt x="7" y="116"/>
                        </a:lnTo>
                        <a:lnTo>
                          <a:pt x="7" y="114"/>
                        </a:lnTo>
                        <a:lnTo>
                          <a:pt x="8" y="113"/>
                        </a:lnTo>
                        <a:lnTo>
                          <a:pt x="6" y="111"/>
                        </a:lnTo>
                        <a:lnTo>
                          <a:pt x="8" y="108"/>
                        </a:lnTo>
                        <a:lnTo>
                          <a:pt x="4" y="103"/>
                        </a:lnTo>
                        <a:lnTo>
                          <a:pt x="8" y="99"/>
                        </a:lnTo>
                        <a:lnTo>
                          <a:pt x="7" y="98"/>
                        </a:lnTo>
                        <a:lnTo>
                          <a:pt x="9" y="94"/>
                        </a:lnTo>
                        <a:lnTo>
                          <a:pt x="13" y="91"/>
                        </a:lnTo>
                        <a:lnTo>
                          <a:pt x="18" y="88"/>
                        </a:lnTo>
                        <a:lnTo>
                          <a:pt x="21" y="88"/>
                        </a:lnTo>
                        <a:lnTo>
                          <a:pt x="23" y="88"/>
                        </a:lnTo>
                        <a:lnTo>
                          <a:pt x="29" y="89"/>
                        </a:lnTo>
                        <a:lnTo>
                          <a:pt x="31" y="89"/>
                        </a:lnTo>
                        <a:lnTo>
                          <a:pt x="34" y="87"/>
                        </a:lnTo>
                        <a:lnTo>
                          <a:pt x="34" y="83"/>
                        </a:lnTo>
                        <a:lnTo>
                          <a:pt x="33" y="81"/>
                        </a:lnTo>
                        <a:lnTo>
                          <a:pt x="29" y="81"/>
                        </a:lnTo>
                        <a:lnTo>
                          <a:pt x="26" y="80"/>
                        </a:lnTo>
                        <a:lnTo>
                          <a:pt x="27" y="78"/>
                        </a:lnTo>
                        <a:lnTo>
                          <a:pt x="34" y="71"/>
                        </a:lnTo>
                        <a:lnTo>
                          <a:pt x="34" y="67"/>
                        </a:lnTo>
                        <a:lnTo>
                          <a:pt x="36" y="66"/>
                        </a:lnTo>
                        <a:lnTo>
                          <a:pt x="35" y="61"/>
                        </a:lnTo>
                        <a:lnTo>
                          <a:pt x="36" y="59"/>
                        </a:lnTo>
                        <a:lnTo>
                          <a:pt x="37" y="58"/>
                        </a:lnTo>
                        <a:lnTo>
                          <a:pt x="35" y="52"/>
                        </a:lnTo>
                        <a:lnTo>
                          <a:pt x="42" y="51"/>
                        </a:lnTo>
                        <a:lnTo>
                          <a:pt x="47" y="48"/>
                        </a:lnTo>
                        <a:lnTo>
                          <a:pt x="46" y="46"/>
                        </a:lnTo>
                        <a:lnTo>
                          <a:pt x="49" y="42"/>
                        </a:lnTo>
                        <a:lnTo>
                          <a:pt x="53" y="38"/>
                        </a:lnTo>
                        <a:lnTo>
                          <a:pt x="57" y="35"/>
                        </a:lnTo>
                        <a:lnTo>
                          <a:pt x="57" y="33"/>
                        </a:lnTo>
                        <a:lnTo>
                          <a:pt x="55" y="29"/>
                        </a:lnTo>
                        <a:lnTo>
                          <a:pt x="53" y="28"/>
                        </a:lnTo>
                        <a:lnTo>
                          <a:pt x="54" y="27"/>
                        </a:lnTo>
                        <a:lnTo>
                          <a:pt x="56" y="27"/>
                        </a:lnTo>
                        <a:lnTo>
                          <a:pt x="58" y="25"/>
                        </a:lnTo>
                        <a:lnTo>
                          <a:pt x="60" y="20"/>
                        </a:lnTo>
                        <a:lnTo>
                          <a:pt x="65" y="18"/>
                        </a:lnTo>
                        <a:lnTo>
                          <a:pt x="67" y="16"/>
                        </a:lnTo>
                        <a:lnTo>
                          <a:pt x="76" y="19"/>
                        </a:lnTo>
                        <a:lnTo>
                          <a:pt x="78" y="15"/>
                        </a:lnTo>
                        <a:lnTo>
                          <a:pt x="76" y="12"/>
                        </a:lnTo>
                        <a:lnTo>
                          <a:pt x="76" y="9"/>
                        </a:lnTo>
                        <a:lnTo>
                          <a:pt x="80" y="9"/>
                        </a:lnTo>
                        <a:lnTo>
                          <a:pt x="84" y="11"/>
                        </a:lnTo>
                        <a:lnTo>
                          <a:pt x="88" y="9"/>
                        </a:lnTo>
                        <a:lnTo>
                          <a:pt x="102" y="13"/>
                        </a:lnTo>
                        <a:lnTo>
                          <a:pt x="103" y="11"/>
                        </a:lnTo>
                        <a:lnTo>
                          <a:pt x="104" y="11"/>
                        </a:lnTo>
                        <a:lnTo>
                          <a:pt x="104" y="11"/>
                        </a:lnTo>
                        <a:lnTo>
                          <a:pt x="103" y="9"/>
                        </a:lnTo>
                        <a:lnTo>
                          <a:pt x="102" y="9"/>
                        </a:lnTo>
                        <a:lnTo>
                          <a:pt x="103" y="7"/>
                        </a:lnTo>
                        <a:lnTo>
                          <a:pt x="105" y="5"/>
                        </a:lnTo>
                        <a:lnTo>
                          <a:pt x="105" y="2"/>
                        </a:lnTo>
                        <a:lnTo>
                          <a:pt x="102" y="0"/>
                        </a:lnTo>
                        <a:lnTo>
                          <a:pt x="109" y="0"/>
                        </a:lnTo>
                        <a:lnTo>
                          <a:pt x="109" y="0"/>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534" name="Freeform 295">
                    <a:extLst>
                      <a:ext uri="{FF2B5EF4-FFF2-40B4-BE49-F238E27FC236}">
                        <a16:creationId xmlns:a16="http://schemas.microsoft.com/office/drawing/2014/main" id="{6996548A-E3CF-9049-831E-1C5C81711158}"/>
                      </a:ext>
                    </a:extLst>
                  </p:cNvPr>
                  <p:cNvSpPr>
                    <a:spLocks/>
                  </p:cNvSpPr>
                  <p:nvPr/>
                </p:nvSpPr>
                <p:spPr bwMode="auto">
                  <a:xfrm>
                    <a:off x="5462576" y="2436869"/>
                    <a:ext cx="24118" cy="33765"/>
                  </a:xfrm>
                  <a:custGeom>
                    <a:avLst/>
                    <a:gdLst>
                      <a:gd name="T0" fmla="*/ 13 w 15"/>
                      <a:gd name="T1" fmla="*/ 2 h 21"/>
                      <a:gd name="T2" fmla="*/ 15 w 15"/>
                      <a:gd name="T3" fmla="*/ 1 h 21"/>
                      <a:gd name="T4" fmla="*/ 15 w 15"/>
                      <a:gd name="T5" fmla="*/ 0 h 21"/>
                      <a:gd name="T6" fmla="*/ 13 w 15"/>
                      <a:gd name="T7" fmla="*/ 0 h 21"/>
                      <a:gd name="T8" fmla="*/ 10 w 15"/>
                      <a:gd name="T9" fmla="*/ 0 h 21"/>
                      <a:gd name="T10" fmla="*/ 8 w 15"/>
                      <a:gd name="T11" fmla="*/ 0 h 21"/>
                      <a:gd name="T12" fmla="*/ 8 w 15"/>
                      <a:gd name="T13" fmla="*/ 1 h 21"/>
                      <a:gd name="T14" fmla="*/ 6 w 15"/>
                      <a:gd name="T15" fmla="*/ 1 h 21"/>
                      <a:gd name="T16" fmla="*/ 4 w 15"/>
                      <a:gd name="T17" fmla="*/ 2 h 21"/>
                      <a:gd name="T18" fmla="*/ 4 w 15"/>
                      <a:gd name="T19" fmla="*/ 4 h 21"/>
                      <a:gd name="T20" fmla="*/ 4 w 15"/>
                      <a:gd name="T21" fmla="*/ 5 h 21"/>
                      <a:gd name="T22" fmla="*/ 2 w 15"/>
                      <a:gd name="T23" fmla="*/ 6 h 21"/>
                      <a:gd name="T24" fmla="*/ 0 w 15"/>
                      <a:gd name="T25" fmla="*/ 7 h 21"/>
                      <a:gd name="T26" fmla="*/ 0 w 15"/>
                      <a:gd name="T27" fmla="*/ 8 h 21"/>
                      <a:gd name="T28" fmla="*/ 0 w 15"/>
                      <a:gd name="T29" fmla="*/ 9 h 21"/>
                      <a:gd name="T30" fmla="*/ 0 w 15"/>
                      <a:gd name="T31" fmla="*/ 11 h 21"/>
                      <a:gd name="T32" fmla="*/ 0 w 15"/>
                      <a:gd name="T33" fmla="*/ 13 h 21"/>
                      <a:gd name="T34" fmla="*/ 0 w 15"/>
                      <a:gd name="T35" fmla="*/ 15 h 21"/>
                      <a:gd name="T36" fmla="*/ 2 w 15"/>
                      <a:gd name="T37" fmla="*/ 15 h 21"/>
                      <a:gd name="T38" fmla="*/ 2 w 15"/>
                      <a:gd name="T39" fmla="*/ 18 h 21"/>
                      <a:gd name="T40" fmla="*/ 4 w 15"/>
                      <a:gd name="T41" fmla="*/ 18 h 21"/>
                      <a:gd name="T42" fmla="*/ 2 w 15"/>
                      <a:gd name="T43" fmla="*/ 19 h 21"/>
                      <a:gd name="T44" fmla="*/ 2 w 15"/>
                      <a:gd name="T45" fmla="*/ 19 h 21"/>
                      <a:gd name="T46" fmla="*/ 4 w 15"/>
                      <a:gd name="T47" fmla="*/ 19 h 21"/>
                      <a:gd name="T48" fmla="*/ 4 w 15"/>
                      <a:gd name="T49" fmla="*/ 20 h 21"/>
                      <a:gd name="T50" fmla="*/ 3 w 15"/>
                      <a:gd name="T51" fmla="*/ 20 h 21"/>
                      <a:gd name="T52" fmla="*/ 3 w 15"/>
                      <a:gd name="T53" fmla="*/ 21 h 21"/>
                      <a:gd name="T54" fmla="*/ 4 w 15"/>
                      <a:gd name="T55" fmla="*/ 21 h 21"/>
                      <a:gd name="T56" fmla="*/ 5 w 15"/>
                      <a:gd name="T57" fmla="*/ 20 h 21"/>
                      <a:gd name="T58" fmla="*/ 6 w 15"/>
                      <a:gd name="T59" fmla="*/ 20 h 21"/>
                      <a:gd name="T60" fmla="*/ 5 w 15"/>
                      <a:gd name="T61" fmla="*/ 20 h 21"/>
                      <a:gd name="T62" fmla="*/ 8 w 15"/>
                      <a:gd name="T63" fmla="*/ 18 h 21"/>
                      <a:gd name="T64" fmla="*/ 6 w 15"/>
                      <a:gd name="T65" fmla="*/ 18 h 21"/>
                      <a:gd name="T66" fmla="*/ 9 w 15"/>
                      <a:gd name="T67" fmla="*/ 17 h 21"/>
                      <a:gd name="T68" fmla="*/ 9 w 15"/>
                      <a:gd name="T69" fmla="*/ 17 h 21"/>
                      <a:gd name="T70" fmla="*/ 9 w 15"/>
                      <a:gd name="T71" fmla="*/ 15 h 21"/>
                      <a:gd name="T72" fmla="*/ 8 w 15"/>
                      <a:gd name="T73" fmla="*/ 15 h 21"/>
                      <a:gd name="T74" fmla="*/ 9 w 15"/>
                      <a:gd name="T75" fmla="*/ 14 h 21"/>
                      <a:gd name="T76" fmla="*/ 9 w 15"/>
                      <a:gd name="T77" fmla="*/ 14 h 21"/>
                      <a:gd name="T78" fmla="*/ 10 w 15"/>
                      <a:gd name="T79" fmla="*/ 13 h 21"/>
                      <a:gd name="T80" fmla="*/ 12 w 15"/>
                      <a:gd name="T81" fmla="*/ 13 h 21"/>
                      <a:gd name="T82" fmla="*/ 12 w 15"/>
                      <a:gd name="T83" fmla="*/ 12 h 21"/>
                      <a:gd name="T84" fmla="*/ 12 w 15"/>
                      <a:gd name="T85" fmla="*/ 12 h 21"/>
                      <a:gd name="T86" fmla="*/ 11 w 15"/>
                      <a:gd name="T87" fmla="*/ 12 h 21"/>
                      <a:gd name="T88" fmla="*/ 11 w 15"/>
                      <a:gd name="T89" fmla="*/ 11 h 21"/>
                      <a:gd name="T90" fmla="*/ 11 w 15"/>
                      <a:gd name="T91" fmla="*/ 11 h 21"/>
                      <a:gd name="T92" fmla="*/ 11 w 15"/>
                      <a:gd name="T93" fmla="*/ 11 h 21"/>
                      <a:gd name="T94" fmla="*/ 10 w 15"/>
                      <a:gd name="T95" fmla="*/ 11 h 21"/>
                      <a:gd name="T96" fmla="*/ 10 w 15"/>
                      <a:gd name="T97" fmla="*/ 9 h 21"/>
                      <a:gd name="T98" fmla="*/ 11 w 15"/>
                      <a:gd name="T99" fmla="*/ 8 h 21"/>
                      <a:gd name="T100" fmla="*/ 10 w 15"/>
                      <a:gd name="T101" fmla="*/ 7 h 21"/>
                      <a:gd name="T102" fmla="*/ 12 w 15"/>
                      <a:gd name="T103" fmla="*/ 6 h 21"/>
                      <a:gd name="T104" fmla="*/ 12 w 15"/>
                      <a:gd name="T105" fmla="*/ 5 h 21"/>
                      <a:gd name="T106" fmla="*/ 13 w 15"/>
                      <a:gd name="T107" fmla="*/ 4 h 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 h="21">
                        <a:moveTo>
                          <a:pt x="13" y="4"/>
                        </a:moveTo>
                        <a:lnTo>
                          <a:pt x="13" y="2"/>
                        </a:lnTo>
                        <a:lnTo>
                          <a:pt x="13" y="1"/>
                        </a:lnTo>
                        <a:lnTo>
                          <a:pt x="15" y="1"/>
                        </a:lnTo>
                        <a:lnTo>
                          <a:pt x="15" y="1"/>
                        </a:lnTo>
                        <a:lnTo>
                          <a:pt x="15" y="0"/>
                        </a:lnTo>
                        <a:lnTo>
                          <a:pt x="15" y="0"/>
                        </a:lnTo>
                        <a:lnTo>
                          <a:pt x="13" y="0"/>
                        </a:lnTo>
                        <a:lnTo>
                          <a:pt x="11" y="0"/>
                        </a:lnTo>
                        <a:lnTo>
                          <a:pt x="10" y="0"/>
                        </a:lnTo>
                        <a:lnTo>
                          <a:pt x="9" y="0"/>
                        </a:lnTo>
                        <a:lnTo>
                          <a:pt x="8" y="0"/>
                        </a:lnTo>
                        <a:lnTo>
                          <a:pt x="8" y="1"/>
                        </a:lnTo>
                        <a:lnTo>
                          <a:pt x="8" y="1"/>
                        </a:lnTo>
                        <a:lnTo>
                          <a:pt x="6" y="1"/>
                        </a:lnTo>
                        <a:lnTo>
                          <a:pt x="6" y="1"/>
                        </a:lnTo>
                        <a:lnTo>
                          <a:pt x="5" y="2"/>
                        </a:lnTo>
                        <a:lnTo>
                          <a:pt x="4" y="2"/>
                        </a:lnTo>
                        <a:lnTo>
                          <a:pt x="4" y="2"/>
                        </a:lnTo>
                        <a:lnTo>
                          <a:pt x="4" y="4"/>
                        </a:lnTo>
                        <a:lnTo>
                          <a:pt x="4" y="5"/>
                        </a:lnTo>
                        <a:lnTo>
                          <a:pt x="4" y="5"/>
                        </a:lnTo>
                        <a:lnTo>
                          <a:pt x="3" y="6"/>
                        </a:lnTo>
                        <a:lnTo>
                          <a:pt x="2" y="6"/>
                        </a:lnTo>
                        <a:lnTo>
                          <a:pt x="2" y="6"/>
                        </a:lnTo>
                        <a:lnTo>
                          <a:pt x="0" y="7"/>
                        </a:lnTo>
                        <a:lnTo>
                          <a:pt x="0" y="7"/>
                        </a:lnTo>
                        <a:lnTo>
                          <a:pt x="0" y="8"/>
                        </a:lnTo>
                        <a:lnTo>
                          <a:pt x="0" y="8"/>
                        </a:lnTo>
                        <a:lnTo>
                          <a:pt x="0" y="9"/>
                        </a:lnTo>
                        <a:lnTo>
                          <a:pt x="0" y="11"/>
                        </a:lnTo>
                        <a:lnTo>
                          <a:pt x="0" y="11"/>
                        </a:lnTo>
                        <a:lnTo>
                          <a:pt x="0" y="12"/>
                        </a:lnTo>
                        <a:lnTo>
                          <a:pt x="0" y="13"/>
                        </a:lnTo>
                        <a:lnTo>
                          <a:pt x="0" y="14"/>
                        </a:lnTo>
                        <a:lnTo>
                          <a:pt x="0" y="15"/>
                        </a:lnTo>
                        <a:lnTo>
                          <a:pt x="2" y="15"/>
                        </a:lnTo>
                        <a:lnTo>
                          <a:pt x="2" y="15"/>
                        </a:lnTo>
                        <a:lnTo>
                          <a:pt x="2" y="17"/>
                        </a:lnTo>
                        <a:lnTo>
                          <a:pt x="2" y="18"/>
                        </a:lnTo>
                        <a:lnTo>
                          <a:pt x="2" y="18"/>
                        </a:lnTo>
                        <a:lnTo>
                          <a:pt x="4" y="18"/>
                        </a:lnTo>
                        <a:lnTo>
                          <a:pt x="4" y="19"/>
                        </a:lnTo>
                        <a:lnTo>
                          <a:pt x="2" y="19"/>
                        </a:lnTo>
                        <a:lnTo>
                          <a:pt x="2" y="19"/>
                        </a:lnTo>
                        <a:lnTo>
                          <a:pt x="2" y="19"/>
                        </a:lnTo>
                        <a:lnTo>
                          <a:pt x="3" y="19"/>
                        </a:lnTo>
                        <a:lnTo>
                          <a:pt x="4" y="19"/>
                        </a:lnTo>
                        <a:lnTo>
                          <a:pt x="4" y="19"/>
                        </a:lnTo>
                        <a:lnTo>
                          <a:pt x="4" y="20"/>
                        </a:lnTo>
                        <a:lnTo>
                          <a:pt x="3" y="20"/>
                        </a:lnTo>
                        <a:lnTo>
                          <a:pt x="3" y="20"/>
                        </a:lnTo>
                        <a:lnTo>
                          <a:pt x="3" y="20"/>
                        </a:lnTo>
                        <a:lnTo>
                          <a:pt x="3" y="21"/>
                        </a:lnTo>
                        <a:lnTo>
                          <a:pt x="3" y="21"/>
                        </a:lnTo>
                        <a:lnTo>
                          <a:pt x="4" y="21"/>
                        </a:lnTo>
                        <a:lnTo>
                          <a:pt x="5" y="21"/>
                        </a:lnTo>
                        <a:lnTo>
                          <a:pt x="5" y="20"/>
                        </a:lnTo>
                        <a:lnTo>
                          <a:pt x="5" y="20"/>
                        </a:lnTo>
                        <a:lnTo>
                          <a:pt x="6" y="20"/>
                        </a:lnTo>
                        <a:lnTo>
                          <a:pt x="5" y="20"/>
                        </a:lnTo>
                        <a:lnTo>
                          <a:pt x="5" y="20"/>
                        </a:lnTo>
                        <a:lnTo>
                          <a:pt x="5" y="19"/>
                        </a:lnTo>
                        <a:lnTo>
                          <a:pt x="8" y="18"/>
                        </a:lnTo>
                        <a:lnTo>
                          <a:pt x="5" y="18"/>
                        </a:lnTo>
                        <a:lnTo>
                          <a:pt x="6" y="18"/>
                        </a:lnTo>
                        <a:lnTo>
                          <a:pt x="8" y="17"/>
                        </a:lnTo>
                        <a:lnTo>
                          <a:pt x="9" y="17"/>
                        </a:lnTo>
                        <a:lnTo>
                          <a:pt x="9" y="17"/>
                        </a:lnTo>
                        <a:lnTo>
                          <a:pt x="9" y="17"/>
                        </a:lnTo>
                        <a:lnTo>
                          <a:pt x="9" y="15"/>
                        </a:lnTo>
                        <a:lnTo>
                          <a:pt x="9" y="15"/>
                        </a:lnTo>
                        <a:lnTo>
                          <a:pt x="9" y="17"/>
                        </a:lnTo>
                        <a:lnTo>
                          <a:pt x="8" y="15"/>
                        </a:lnTo>
                        <a:lnTo>
                          <a:pt x="9" y="15"/>
                        </a:lnTo>
                        <a:lnTo>
                          <a:pt x="9" y="14"/>
                        </a:lnTo>
                        <a:lnTo>
                          <a:pt x="9" y="14"/>
                        </a:lnTo>
                        <a:lnTo>
                          <a:pt x="9" y="14"/>
                        </a:lnTo>
                        <a:lnTo>
                          <a:pt x="10" y="14"/>
                        </a:lnTo>
                        <a:lnTo>
                          <a:pt x="10" y="13"/>
                        </a:lnTo>
                        <a:lnTo>
                          <a:pt x="11" y="13"/>
                        </a:lnTo>
                        <a:lnTo>
                          <a:pt x="12" y="13"/>
                        </a:lnTo>
                        <a:lnTo>
                          <a:pt x="12" y="13"/>
                        </a:lnTo>
                        <a:lnTo>
                          <a:pt x="12" y="12"/>
                        </a:lnTo>
                        <a:lnTo>
                          <a:pt x="12" y="12"/>
                        </a:lnTo>
                        <a:lnTo>
                          <a:pt x="12" y="12"/>
                        </a:lnTo>
                        <a:lnTo>
                          <a:pt x="12" y="12"/>
                        </a:lnTo>
                        <a:lnTo>
                          <a:pt x="11" y="12"/>
                        </a:lnTo>
                        <a:lnTo>
                          <a:pt x="11" y="12"/>
                        </a:lnTo>
                        <a:lnTo>
                          <a:pt x="11" y="11"/>
                        </a:lnTo>
                        <a:lnTo>
                          <a:pt x="11" y="11"/>
                        </a:lnTo>
                        <a:lnTo>
                          <a:pt x="11" y="11"/>
                        </a:lnTo>
                        <a:lnTo>
                          <a:pt x="11" y="11"/>
                        </a:lnTo>
                        <a:lnTo>
                          <a:pt x="11" y="11"/>
                        </a:lnTo>
                        <a:lnTo>
                          <a:pt x="10" y="11"/>
                        </a:lnTo>
                        <a:lnTo>
                          <a:pt x="10" y="11"/>
                        </a:lnTo>
                        <a:lnTo>
                          <a:pt x="10" y="11"/>
                        </a:lnTo>
                        <a:lnTo>
                          <a:pt x="10" y="9"/>
                        </a:lnTo>
                        <a:lnTo>
                          <a:pt x="10" y="9"/>
                        </a:lnTo>
                        <a:lnTo>
                          <a:pt x="11" y="8"/>
                        </a:lnTo>
                        <a:lnTo>
                          <a:pt x="10" y="7"/>
                        </a:lnTo>
                        <a:lnTo>
                          <a:pt x="10" y="7"/>
                        </a:lnTo>
                        <a:lnTo>
                          <a:pt x="12" y="7"/>
                        </a:lnTo>
                        <a:lnTo>
                          <a:pt x="12" y="6"/>
                        </a:lnTo>
                        <a:lnTo>
                          <a:pt x="12" y="6"/>
                        </a:lnTo>
                        <a:lnTo>
                          <a:pt x="12" y="5"/>
                        </a:lnTo>
                        <a:lnTo>
                          <a:pt x="13" y="4"/>
                        </a:lnTo>
                        <a:lnTo>
                          <a:pt x="13" y="4"/>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grpSp>
            <p:grpSp>
              <p:nvGrpSpPr>
                <p:cNvPr id="376" name="Spain">
                  <a:extLst>
                    <a:ext uri="{FF2B5EF4-FFF2-40B4-BE49-F238E27FC236}">
                      <a16:creationId xmlns:a16="http://schemas.microsoft.com/office/drawing/2014/main" id="{30E6784F-8029-0346-8D1C-3BC52FEADD56}"/>
                    </a:ext>
                  </a:extLst>
                </p:cNvPr>
                <p:cNvGrpSpPr/>
                <p:nvPr/>
              </p:nvGrpSpPr>
              <p:grpSpPr>
                <a:xfrm>
                  <a:off x="5903076" y="2675835"/>
                  <a:ext cx="565684" cy="476751"/>
                  <a:chOff x="4525235" y="2888657"/>
                  <a:chExt cx="623821" cy="525748"/>
                </a:xfrm>
                <a:grpFill/>
              </p:grpSpPr>
              <p:sp>
                <p:nvSpPr>
                  <p:cNvPr id="531" name="Freeform 159">
                    <a:extLst>
                      <a:ext uri="{FF2B5EF4-FFF2-40B4-BE49-F238E27FC236}">
                        <a16:creationId xmlns:a16="http://schemas.microsoft.com/office/drawing/2014/main" id="{70F393B7-9C36-4249-989A-893A3CEE844A}"/>
                      </a:ext>
                    </a:extLst>
                  </p:cNvPr>
                  <p:cNvSpPr>
                    <a:spLocks noEditPoints="1"/>
                  </p:cNvSpPr>
                  <p:nvPr/>
                </p:nvSpPr>
                <p:spPr bwMode="auto">
                  <a:xfrm>
                    <a:off x="4525235" y="3006026"/>
                    <a:ext cx="623821" cy="408379"/>
                  </a:xfrm>
                  <a:custGeom>
                    <a:avLst/>
                    <a:gdLst>
                      <a:gd name="T0" fmla="*/ 368 w 388"/>
                      <a:gd name="T1" fmla="*/ 4 h 254"/>
                      <a:gd name="T2" fmla="*/ 367 w 388"/>
                      <a:gd name="T3" fmla="*/ 6 h 254"/>
                      <a:gd name="T4" fmla="*/ 367 w 388"/>
                      <a:gd name="T5" fmla="*/ 7 h 254"/>
                      <a:gd name="T6" fmla="*/ 368 w 388"/>
                      <a:gd name="T7" fmla="*/ 8 h 254"/>
                      <a:gd name="T8" fmla="*/ 372 w 388"/>
                      <a:gd name="T9" fmla="*/ 8 h 254"/>
                      <a:gd name="T10" fmla="*/ 373 w 388"/>
                      <a:gd name="T11" fmla="*/ 11 h 254"/>
                      <a:gd name="T12" fmla="*/ 372 w 388"/>
                      <a:gd name="T13" fmla="*/ 13 h 254"/>
                      <a:gd name="T14" fmla="*/ 368 w 388"/>
                      <a:gd name="T15" fmla="*/ 16 h 254"/>
                      <a:gd name="T16" fmla="*/ 364 w 388"/>
                      <a:gd name="T17" fmla="*/ 15 h 254"/>
                      <a:gd name="T18" fmla="*/ 361 w 388"/>
                      <a:gd name="T19" fmla="*/ 14 h 254"/>
                      <a:gd name="T20" fmla="*/ 359 w 388"/>
                      <a:gd name="T21" fmla="*/ 12 h 254"/>
                      <a:gd name="T22" fmla="*/ 356 w 388"/>
                      <a:gd name="T23" fmla="*/ 14 h 254"/>
                      <a:gd name="T24" fmla="*/ 354 w 388"/>
                      <a:gd name="T25" fmla="*/ 13 h 254"/>
                      <a:gd name="T26" fmla="*/ 354 w 388"/>
                      <a:gd name="T27" fmla="*/ 12 h 254"/>
                      <a:gd name="T28" fmla="*/ 356 w 388"/>
                      <a:gd name="T29" fmla="*/ 8 h 254"/>
                      <a:gd name="T30" fmla="*/ 359 w 388"/>
                      <a:gd name="T31" fmla="*/ 7 h 254"/>
                      <a:gd name="T32" fmla="*/ 362 w 388"/>
                      <a:gd name="T33" fmla="*/ 6 h 254"/>
                      <a:gd name="T34" fmla="*/ 364 w 388"/>
                      <a:gd name="T35" fmla="*/ 4 h 254"/>
                      <a:gd name="T36" fmla="*/ 366 w 388"/>
                      <a:gd name="T37" fmla="*/ 2 h 254"/>
                      <a:gd name="T38" fmla="*/ 387 w 388"/>
                      <a:gd name="T39" fmla="*/ 5 h 254"/>
                      <a:gd name="T40" fmla="*/ 387 w 388"/>
                      <a:gd name="T41" fmla="*/ 6 h 254"/>
                      <a:gd name="T42" fmla="*/ 386 w 388"/>
                      <a:gd name="T43" fmla="*/ 7 h 254"/>
                      <a:gd name="T44" fmla="*/ 384 w 388"/>
                      <a:gd name="T45" fmla="*/ 6 h 254"/>
                      <a:gd name="T46" fmla="*/ 382 w 388"/>
                      <a:gd name="T47" fmla="*/ 5 h 254"/>
                      <a:gd name="T48" fmla="*/ 379 w 388"/>
                      <a:gd name="T49" fmla="*/ 5 h 254"/>
                      <a:gd name="T50" fmla="*/ 378 w 388"/>
                      <a:gd name="T51" fmla="*/ 2 h 254"/>
                      <a:gd name="T52" fmla="*/ 382 w 388"/>
                      <a:gd name="T53" fmla="*/ 1 h 254"/>
                      <a:gd name="T54" fmla="*/ 386 w 388"/>
                      <a:gd name="T55" fmla="*/ 1 h 254"/>
                      <a:gd name="T56" fmla="*/ 386 w 388"/>
                      <a:gd name="T57" fmla="*/ 2 h 254"/>
                      <a:gd name="T58" fmla="*/ 342 w 388"/>
                      <a:gd name="T59" fmla="*/ 22 h 254"/>
                      <a:gd name="T60" fmla="*/ 341 w 388"/>
                      <a:gd name="T61" fmla="*/ 25 h 254"/>
                      <a:gd name="T62" fmla="*/ 340 w 388"/>
                      <a:gd name="T63" fmla="*/ 26 h 254"/>
                      <a:gd name="T64" fmla="*/ 335 w 388"/>
                      <a:gd name="T65" fmla="*/ 27 h 254"/>
                      <a:gd name="T66" fmla="*/ 336 w 388"/>
                      <a:gd name="T67" fmla="*/ 24 h 254"/>
                      <a:gd name="T68" fmla="*/ 340 w 388"/>
                      <a:gd name="T69" fmla="*/ 20 h 254"/>
                      <a:gd name="T70" fmla="*/ 39 w 388"/>
                      <a:gd name="T71" fmla="*/ 253 h 254"/>
                      <a:gd name="T72" fmla="*/ 39 w 388"/>
                      <a:gd name="T73" fmla="*/ 248 h 254"/>
                      <a:gd name="T74" fmla="*/ 46 w 388"/>
                      <a:gd name="T75" fmla="*/ 247 h 254"/>
                      <a:gd name="T76" fmla="*/ 45 w 388"/>
                      <a:gd name="T77" fmla="*/ 253 h 254"/>
                      <a:gd name="T78" fmla="*/ 41 w 388"/>
                      <a:gd name="T79" fmla="*/ 254 h 254"/>
                      <a:gd name="T80" fmla="*/ 39 w 388"/>
                      <a:gd name="T81" fmla="*/ 253 h 254"/>
                      <a:gd name="T82" fmla="*/ 21 w 388"/>
                      <a:gd name="T83" fmla="*/ 242 h 254"/>
                      <a:gd name="T84" fmla="*/ 25 w 388"/>
                      <a:gd name="T85" fmla="*/ 239 h 254"/>
                      <a:gd name="T86" fmla="*/ 30 w 388"/>
                      <a:gd name="T87" fmla="*/ 238 h 254"/>
                      <a:gd name="T88" fmla="*/ 31 w 388"/>
                      <a:gd name="T89" fmla="*/ 240 h 254"/>
                      <a:gd name="T90" fmla="*/ 26 w 388"/>
                      <a:gd name="T91" fmla="*/ 247 h 254"/>
                      <a:gd name="T92" fmla="*/ 61 w 388"/>
                      <a:gd name="T93" fmla="*/ 248 h 254"/>
                      <a:gd name="T94" fmla="*/ 65 w 388"/>
                      <a:gd name="T95" fmla="*/ 243 h 254"/>
                      <a:gd name="T96" fmla="*/ 68 w 388"/>
                      <a:gd name="T97" fmla="*/ 239 h 254"/>
                      <a:gd name="T98" fmla="*/ 71 w 388"/>
                      <a:gd name="T99" fmla="*/ 241 h 254"/>
                      <a:gd name="T100" fmla="*/ 68 w 388"/>
                      <a:gd name="T101" fmla="*/ 246 h 254"/>
                      <a:gd name="T102" fmla="*/ 61 w 388"/>
                      <a:gd name="T103" fmla="*/ 248 h 254"/>
                      <a:gd name="T104" fmla="*/ 73 w 388"/>
                      <a:gd name="T105" fmla="*/ 229 h 254"/>
                      <a:gd name="T106" fmla="*/ 80 w 388"/>
                      <a:gd name="T107" fmla="*/ 226 h 254"/>
                      <a:gd name="T108" fmla="*/ 75 w 388"/>
                      <a:gd name="T109" fmla="*/ 232 h 254"/>
                      <a:gd name="T110" fmla="*/ 0 w 388"/>
                      <a:gd name="T111" fmla="*/ 239 h 254"/>
                      <a:gd name="T112" fmla="*/ 2 w 388"/>
                      <a:gd name="T113" fmla="*/ 234 h 254"/>
                      <a:gd name="T114" fmla="*/ 4 w 388"/>
                      <a:gd name="T115" fmla="*/ 235 h 254"/>
                      <a:gd name="T116" fmla="*/ 0 w 388"/>
                      <a:gd name="T117" fmla="*/ 239 h 2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88" h="254">
                        <a:moveTo>
                          <a:pt x="366" y="2"/>
                        </a:moveTo>
                        <a:lnTo>
                          <a:pt x="367" y="2"/>
                        </a:lnTo>
                        <a:lnTo>
                          <a:pt x="368" y="4"/>
                        </a:lnTo>
                        <a:lnTo>
                          <a:pt x="368" y="5"/>
                        </a:lnTo>
                        <a:lnTo>
                          <a:pt x="367" y="4"/>
                        </a:lnTo>
                        <a:lnTo>
                          <a:pt x="367" y="6"/>
                        </a:lnTo>
                        <a:lnTo>
                          <a:pt x="368" y="6"/>
                        </a:lnTo>
                        <a:lnTo>
                          <a:pt x="367" y="6"/>
                        </a:lnTo>
                        <a:lnTo>
                          <a:pt x="367" y="7"/>
                        </a:lnTo>
                        <a:lnTo>
                          <a:pt x="367" y="7"/>
                        </a:lnTo>
                        <a:lnTo>
                          <a:pt x="367" y="8"/>
                        </a:lnTo>
                        <a:lnTo>
                          <a:pt x="368" y="8"/>
                        </a:lnTo>
                        <a:lnTo>
                          <a:pt x="369" y="9"/>
                        </a:lnTo>
                        <a:lnTo>
                          <a:pt x="372" y="8"/>
                        </a:lnTo>
                        <a:lnTo>
                          <a:pt x="372" y="8"/>
                        </a:lnTo>
                        <a:lnTo>
                          <a:pt x="372" y="9"/>
                        </a:lnTo>
                        <a:lnTo>
                          <a:pt x="373" y="9"/>
                        </a:lnTo>
                        <a:lnTo>
                          <a:pt x="373" y="11"/>
                        </a:lnTo>
                        <a:lnTo>
                          <a:pt x="372" y="11"/>
                        </a:lnTo>
                        <a:lnTo>
                          <a:pt x="372" y="12"/>
                        </a:lnTo>
                        <a:lnTo>
                          <a:pt x="372" y="13"/>
                        </a:lnTo>
                        <a:lnTo>
                          <a:pt x="371" y="14"/>
                        </a:lnTo>
                        <a:lnTo>
                          <a:pt x="369" y="15"/>
                        </a:lnTo>
                        <a:lnTo>
                          <a:pt x="368" y="16"/>
                        </a:lnTo>
                        <a:lnTo>
                          <a:pt x="366" y="18"/>
                        </a:lnTo>
                        <a:lnTo>
                          <a:pt x="366" y="15"/>
                        </a:lnTo>
                        <a:lnTo>
                          <a:pt x="364" y="15"/>
                        </a:lnTo>
                        <a:lnTo>
                          <a:pt x="361" y="15"/>
                        </a:lnTo>
                        <a:lnTo>
                          <a:pt x="361" y="14"/>
                        </a:lnTo>
                        <a:lnTo>
                          <a:pt x="361" y="14"/>
                        </a:lnTo>
                        <a:lnTo>
                          <a:pt x="360" y="13"/>
                        </a:lnTo>
                        <a:lnTo>
                          <a:pt x="360" y="12"/>
                        </a:lnTo>
                        <a:lnTo>
                          <a:pt x="359" y="12"/>
                        </a:lnTo>
                        <a:lnTo>
                          <a:pt x="358" y="13"/>
                        </a:lnTo>
                        <a:lnTo>
                          <a:pt x="358" y="14"/>
                        </a:lnTo>
                        <a:lnTo>
                          <a:pt x="356" y="14"/>
                        </a:lnTo>
                        <a:lnTo>
                          <a:pt x="356" y="13"/>
                        </a:lnTo>
                        <a:lnTo>
                          <a:pt x="355" y="12"/>
                        </a:lnTo>
                        <a:lnTo>
                          <a:pt x="354" y="13"/>
                        </a:lnTo>
                        <a:lnTo>
                          <a:pt x="354" y="13"/>
                        </a:lnTo>
                        <a:lnTo>
                          <a:pt x="354" y="12"/>
                        </a:lnTo>
                        <a:lnTo>
                          <a:pt x="354" y="12"/>
                        </a:lnTo>
                        <a:lnTo>
                          <a:pt x="356" y="11"/>
                        </a:lnTo>
                        <a:lnTo>
                          <a:pt x="356" y="9"/>
                        </a:lnTo>
                        <a:lnTo>
                          <a:pt x="356" y="8"/>
                        </a:lnTo>
                        <a:lnTo>
                          <a:pt x="358" y="8"/>
                        </a:lnTo>
                        <a:lnTo>
                          <a:pt x="358" y="7"/>
                        </a:lnTo>
                        <a:lnTo>
                          <a:pt x="359" y="7"/>
                        </a:lnTo>
                        <a:lnTo>
                          <a:pt x="360" y="6"/>
                        </a:lnTo>
                        <a:lnTo>
                          <a:pt x="361" y="6"/>
                        </a:lnTo>
                        <a:lnTo>
                          <a:pt x="362" y="6"/>
                        </a:lnTo>
                        <a:lnTo>
                          <a:pt x="362" y="5"/>
                        </a:lnTo>
                        <a:lnTo>
                          <a:pt x="364" y="5"/>
                        </a:lnTo>
                        <a:lnTo>
                          <a:pt x="364" y="4"/>
                        </a:lnTo>
                        <a:lnTo>
                          <a:pt x="365" y="2"/>
                        </a:lnTo>
                        <a:lnTo>
                          <a:pt x="366" y="2"/>
                        </a:lnTo>
                        <a:lnTo>
                          <a:pt x="366" y="2"/>
                        </a:lnTo>
                        <a:close/>
                        <a:moveTo>
                          <a:pt x="386" y="2"/>
                        </a:moveTo>
                        <a:lnTo>
                          <a:pt x="387" y="4"/>
                        </a:lnTo>
                        <a:lnTo>
                          <a:pt x="387" y="5"/>
                        </a:lnTo>
                        <a:lnTo>
                          <a:pt x="387" y="5"/>
                        </a:lnTo>
                        <a:lnTo>
                          <a:pt x="388" y="6"/>
                        </a:lnTo>
                        <a:lnTo>
                          <a:pt x="387" y="6"/>
                        </a:lnTo>
                        <a:lnTo>
                          <a:pt x="388" y="7"/>
                        </a:lnTo>
                        <a:lnTo>
                          <a:pt x="388" y="7"/>
                        </a:lnTo>
                        <a:lnTo>
                          <a:pt x="386" y="7"/>
                        </a:lnTo>
                        <a:lnTo>
                          <a:pt x="386" y="6"/>
                        </a:lnTo>
                        <a:lnTo>
                          <a:pt x="385" y="6"/>
                        </a:lnTo>
                        <a:lnTo>
                          <a:pt x="384" y="6"/>
                        </a:lnTo>
                        <a:lnTo>
                          <a:pt x="382" y="6"/>
                        </a:lnTo>
                        <a:lnTo>
                          <a:pt x="382" y="5"/>
                        </a:lnTo>
                        <a:lnTo>
                          <a:pt x="382" y="5"/>
                        </a:lnTo>
                        <a:lnTo>
                          <a:pt x="380" y="5"/>
                        </a:lnTo>
                        <a:lnTo>
                          <a:pt x="379" y="5"/>
                        </a:lnTo>
                        <a:lnTo>
                          <a:pt x="379" y="5"/>
                        </a:lnTo>
                        <a:lnTo>
                          <a:pt x="379" y="4"/>
                        </a:lnTo>
                        <a:lnTo>
                          <a:pt x="380" y="4"/>
                        </a:lnTo>
                        <a:lnTo>
                          <a:pt x="378" y="2"/>
                        </a:lnTo>
                        <a:lnTo>
                          <a:pt x="380" y="2"/>
                        </a:lnTo>
                        <a:lnTo>
                          <a:pt x="381" y="2"/>
                        </a:lnTo>
                        <a:lnTo>
                          <a:pt x="382" y="1"/>
                        </a:lnTo>
                        <a:lnTo>
                          <a:pt x="384" y="0"/>
                        </a:lnTo>
                        <a:lnTo>
                          <a:pt x="385" y="1"/>
                        </a:lnTo>
                        <a:lnTo>
                          <a:pt x="386" y="1"/>
                        </a:lnTo>
                        <a:lnTo>
                          <a:pt x="387" y="2"/>
                        </a:lnTo>
                        <a:lnTo>
                          <a:pt x="386" y="2"/>
                        </a:lnTo>
                        <a:lnTo>
                          <a:pt x="386" y="2"/>
                        </a:lnTo>
                        <a:close/>
                        <a:moveTo>
                          <a:pt x="341" y="20"/>
                        </a:moveTo>
                        <a:lnTo>
                          <a:pt x="342" y="20"/>
                        </a:lnTo>
                        <a:lnTo>
                          <a:pt x="342" y="22"/>
                        </a:lnTo>
                        <a:lnTo>
                          <a:pt x="342" y="24"/>
                        </a:lnTo>
                        <a:lnTo>
                          <a:pt x="341" y="24"/>
                        </a:lnTo>
                        <a:lnTo>
                          <a:pt x="341" y="25"/>
                        </a:lnTo>
                        <a:lnTo>
                          <a:pt x="340" y="24"/>
                        </a:lnTo>
                        <a:lnTo>
                          <a:pt x="341" y="25"/>
                        </a:lnTo>
                        <a:lnTo>
                          <a:pt x="340" y="26"/>
                        </a:lnTo>
                        <a:lnTo>
                          <a:pt x="339" y="28"/>
                        </a:lnTo>
                        <a:lnTo>
                          <a:pt x="338" y="27"/>
                        </a:lnTo>
                        <a:lnTo>
                          <a:pt x="335" y="27"/>
                        </a:lnTo>
                        <a:lnTo>
                          <a:pt x="335" y="26"/>
                        </a:lnTo>
                        <a:lnTo>
                          <a:pt x="335" y="25"/>
                        </a:lnTo>
                        <a:lnTo>
                          <a:pt x="336" y="24"/>
                        </a:lnTo>
                        <a:lnTo>
                          <a:pt x="338" y="22"/>
                        </a:lnTo>
                        <a:lnTo>
                          <a:pt x="339" y="21"/>
                        </a:lnTo>
                        <a:lnTo>
                          <a:pt x="340" y="20"/>
                        </a:lnTo>
                        <a:lnTo>
                          <a:pt x="341" y="20"/>
                        </a:lnTo>
                        <a:lnTo>
                          <a:pt x="341" y="20"/>
                        </a:lnTo>
                        <a:close/>
                        <a:moveTo>
                          <a:pt x="39" y="253"/>
                        </a:moveTo>
                        <a:lnTo>
                          <a:pt x="39" y="252"/>
                        </a:lnTo>
                        <a:lnTo>
                          <a:pt x="39" y="249"/>
                        </a:lnTo>
                        <a:lnTo>
                          <a:pt x="39" y="248"/>
                        </a:lnTo>
                        <a:lnTo>
                          <a:pt x="41" y="246"/>
                        </a:lnTo>
                        <a:lnTo>
                          <a:pt x="42" y="247"/>
                        </a:lnTo>
                        <a:lnTo>
                          <a:pt x="46" y="247"/>
                        </a:lnTo>
                        <a:lnTo>
                          <a:pt x="46" y="248"/>
                        </a:lnTo>
                        <a:lnTo>
                          <a:pt x="46" y="251"/>
                        </a:lnTo>
                        <a:lnTo>
                          <a:pt x="45" y="253"/>
                        </a:lnTo>
                        <a:lnTo>
                          <a:pt x="42" y="253"/>
                        </a:lnTo>
                        <a:lnTo>
                          <a:pt x="42" y="254"/>
                        </a:lnTo>
                        <a:lnTo>
                          <a:pt x="41" y="254"/>
                        </a:lnTo>
                        <a:lnTo>
                          <a:pt x="40" y="254"/>
                        </a:lnTo>
                        <a:lnTo>
                          <a:pt x="39" y="253"/>
                        </a:lnTo>
                        <a:lnTo>
                          <a:pt x="39" y="253"/>
                        </a:lnTo>
                        <a:close/>
                        <a:moveTo>
                          <a:pt x="24" y="248"/>
                        </a:moveTo>
                        <a:lnTo>
                          <a:pt x="20" y="246"/>
                        </a:lnTo>
                        <a:lnTo>
                          <a:pt x="21" y="242"/>
                        </a:lnTo>
                        <a:lnTo>
                          <a:pt x="20" y="242"/>
                        </a:lnTo>
                        <a:lnTo>
                          <a:pt x="24" y="241"/>
                        </a:lnTo>
                        <a:lnTo>
                          <a:pt x="25" y="239"/>
                        </a:lnTo>
                        <a:lnTo>
                          <a:pt x="26" y="240"/>
                        </a:lnTo>
                        <a:lnTo>
                          <a:pt x="27" y="238"/>
                        </a:lnTo>
                        <a:lnTo>
                          <a:pt x="30" y="238"/>
                        </a:lnTo>
                        <a:lnTo>
                          <a:pt x="32" y="238"/>
                        </a:lnTo>
                        <a:lnTo>
                          <a:pt x="32" y="239"/>
                        </a:lnTo>
                        <a:lnTo>
                          <a:pt x="31" y="240"/>
                        </a:lnTo>
                        <a:lnTo>
                          <a:pt x="30" y="242"/>
                        </a:lnTo>
                        <a:lnTo>
                          <a:pt x="27" y="242"/>
                        </a:lnTo>
                        <a:lnTo>
                          <a:pt x="26" y="247"/>
                        </a:lnTo>
                        <a:lnTo>
                          <a:pt x="24" y="248"/>
                        </a:lnTo>
                        <a:lnTo>
                          <a:pt x="24" y="248"/>
                        </a:lnTo>
                        <a:close/>
                        <a:moveTo>
                          <a:pt x="61" y="248"/>
                        </a:moveTo>
                        <a:lnTo>
                          <a:pt x="64" y="247"/>
                        </a:lnTo>
                        <a:lnTo>
                          <a:pt x="64" y="245"/>
                        </a:lnTo>
                        <a:lnTo>
                          <a:pt x="65" y="243"/>
                        </a:lnTo>
                        <a:lnTo>
                          <a:pt x="66" y="241"/>
                        </a:lnTo>
                        <a:lnTo>
                          <a:pt x="66" y="239"/>
                        </a:lnTo>
                        <a:lnTo>
                          <a:pt x="68" y="239"/>
                        </a:lnTo>
                        <a:lnTo>
                          <a:pt x="68" y="236"/>
                        </a:lnTo>
                        <a:lnTo>
                          <a:pt x="71" y="235"/>
                        </a:lnTo>
                        <a:lnTo>
                          <a:pt x="71" y="241"/>
                        </a:lnTo>
                        <a:lnTo>
                          <a:pt x="70" y="245"/>
                        </a:lnTo>
                        <a:lnTo>
                          <a:pt x="70" y="245"/>
                        </a:lnTo>
                        <a:lnTo>
                          <a:pt x="68" y="246"/>
                        </a:lnTo>
                        <a:lnTo>
                          <a:pt x="66" y="247"/>
                        </a:lnTo>
                        <a:lnTo>
                          <a:pt x="61" y="248"/>
                        </a:lnTo>
                        <a:lnTo>
                          <a:pt x="61" y="248"/>
                        </a:lnTo>
                        <a:close/>
                        <a:moveTo>
                          <a:pt x="73" y="232"/>
                        </a:moveTo>
                        <a:lnTo>
                          <a:pt x="73" y="231"/>
                        </a:lnTo>
                        <a:lnTo>
                          <a:pt x="73" y="229"/>
                        </a:lnTo>
                        <a:lnTo>
                          <a:pt x="78" y="227"/>
                        </a:lnTo>
                        <a:lnTo>
                          <a:pt x="79" y="226"/>
                        </a:lnTo>
                        <a:lnTo>
                          <a:pt x="80" y="226"/>
                        </a:lnTo>
                        <a:lnTo>
                          <a:pt x="79" y="229"/>
                        </a:lnTo>
                        <a:lnTo>
                          <a:pt x="78" y="231"/>
                        </a:lnTo>
                        <a:lnTo>
                          <a:pt x="75" y="232"/>
                        </a:lnTo>
                        <a:lnTo>
                          <a:pt x="73" y="232"/>
                        </a:lnTo>
                        <a:lnTo>
                          <a:pt x="73" y="232"/>
                        </a:lnTo>
                        <a:close/>
                        <a:moveTo>
                          <a:pt x="0" y="239"/>
                        </a:moveTo>
                        <a:lnTo>
                          <a:pt x="0" y="238"/>
                        </a:lnTo>
                        <a:lnTo>
                          <a:pt x="0" y="236"/>
                        </a:lnTo>
                        <a:lnTo>
                          <a:pt x="2" y="234"/>
                        </a:lnTo>
                        <a:lnTo>
                          <a:pt x="4" y="233"/>
                        </a:lnTo>
                        <a:lnTo>
                          <a:pt x="5" y="233"/>
                        </a:lnTo>
                        <a:lnTo>
                          <a:pt x="4" y="235"/>
                        </a:lnTo>
                        <a:lnTo>
                          <a:pt x="2" y="238"/>
                        </a:lnTo>
                        <a:lnTo>
                          <a:pt x="1" y="239"/>
                        </a:lnTo>
                        <a:lnTo>
                          <a:pt x="0" y="239"/>
                        </a:lnTo>
                        <a:lnTo>
                          <a:pt x="0" y="239"/>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532" name="Freeform 288">
                    <a:extLst>
                      <a:ext uri="{FF2B5EF4-FFF2-40B4-BE49-F238E27FC236}">
                        <a16:creationId xmlns:a16="http://schemas.microsoft.com/office/drawing/2014/main" id="{2541B4FB-E850-1640-BC5B-1EFAD1174914}"/>
                      </a:ext>
                    </a:extLst>
                  </p:cNvPr>
                  <p:cNvSpPr>
                    <a:spLocks/>
                  </p:cNvSpPr>
                  <p:nvPr/>
                </p:nvSpPr>
                <p:spPr bwMode="auto">
                  <a:xfrm>
                    <a:off x="4785698" y="2888657"/>
                    <a:ext cx="336028" cy="255639"/>
                  </a:xfrm>
                  <a:custGeom>
                    <a:avLst/>
                    <a:gdLst>
                      <a:gd name="T0" fmla="*/ 6 w 209"/>
                      <a:gd name="T1" fmla="*/ 34 h 159"/>
                      <a:gd name="T2" fmla="*/ 10 w 209"/>
                      <a:gd name="T3" fmla="*/ 31 h 159"/>
                      <a:gd name="T4" fmla="*/ 10 w 209"/>
                      <a:gd name="T5" fmla="*/ 27 h 159"/>
                      <a:gd name="T6" fmla="*/ 9 w 209"/>
                      <a:gd name="T7" fmla="*/ 24 h 159"/>
                      <a:gd name="T8" fmla="*/ 4 w 209"/>
                      <a:gd name="T9" fmla="*/ 26 h 159"/>
                      <a:gd name="T10" fmla="*/ 3 w 209"/>
                      <a:gd name="T11" fmla="*/ 21 h 159"/>
                      <a:gd name="T12" fmla="*/ 0 w 209"/>
                      <a:gd name="T13" fmla="*/ 18 h 159"/>
                      <a:gd name="T14" fmla="*/ 2 w 209"/>
                      <a:gd name="T15" fmla="*/ 13 h 159"/>
                      <a:gd name="T16" fmla="*/ 10 w 209"/>
                      <a:gd name="T17" fmla="*/ 10 h 159"/>
                      <a:gd name="T18" fmla="*/ 25 w 209"/>
                      <a:gd name="T19" fmla="*/ 2 h 159"/>
                      <a:gd name="T20" fmla="*/ 30 w 209"/>
                      <a:gd name="T21" fmla="*/ 1 h 159"/>
                      <a:gd name="T22" fmla="*/ 38 w 209"/>
                      <a:gd name="T23" fmla="*/ 6 h 159"/>
                      <a:gd name="T24" fmla="*/ 51 w 209"/>
                      <a:gd name="T25" fmla="*/ 4 h 159"/>
                      <a:gd name="T26" fmla="*/ 72 w 209"/>
                      <a:gd name="T27" fmla="*/ 6 h 159"/>
                      <a:gd name="T28" fmla="*/ 91 w 209"/>
                      <a:gd name="T29" fmla="*/ 5 h 159"/>
                      <a:gd name="T30" fmla="*/ 112 w 209"/>
                      <a:gd name="T31" fmla="*/ 8 h 159"/>
                      <a:gd name="T32" fmla="*/ 122 w 209"/>
                      <a:gd name="T33" fmla="*/ 10 h 159"/>
                      <a:gd name="T34" fmla="*/ 130 w 209"/>
                      <a:gd name="T35" fmla="*/ 15 h 159"/>
                      <a:gd name="T36" fmla="*/ 145 w 209"/>
                      <a:gd name="T37" fmla="*/ 20 h 159"/>
                      <a:gd name="T38" fmla="*/ 160 w 209"/>
                      <a:gd name="T39" fmla="*/ 21 h 159"/>
                      <a:gd name="T40" fmla="*/ 176 w 209"/>
                      <a:gd name="T41" fmla="*/ 22 h 159"/>
                      <a:gd name="T42" fmla="*/ 185 w 209"/>
                      <a:gd name="T43" fmla="*/ 27 h 159"/>
                      <a:gd name="T44" fmla="*/ 198 w 209"/>
                      <a:gd name="T45" fmla="*/ 28 h 159"/>
                      <a:gd name="T46" fmla="*/ 206 w 209"/>
                      <a:gd name="T47" fmla="*/ 31 h 159"/>
                      <a:gd name="T48" fmla="*/ 205 w 209"/>
                      <a:gd name="T49" fmla="*/ 34 h 159"/>
                      <a:gd name="T50" fmla="*/ 202 w 209"/>
                      <a:gd name="T51" fmla="*/ 42 h 159"/>
                      <a:gd name="T52" fmla="*/ 185 w 209"/>
                      <a:gd name="T53" fmla="*/ 53 h 159"/>
                      <a:gd name="T54" fmla="*/ 167 w 209"/>
                      <a:gd name="T55" fmla="*/ 59 h 159"/>
                      <a:gd name="T56" fmla="*/ 167 w 209"/>
                      <a:gd name="T57" fmla="*/ 65 h 159"/>
                      <a:gd name="T58" fmla="*/ 160 w 209"/>
                      <a:gd name="T59" fmla="*/ 68 h 159"/>
                      <a:gd name="T60" fmla="*/ 152 w 209"/>
                      <a:gd name="T61" fmla="*/ 80 h 159"/>
                      <a:gd name="T62" fmla="*/ 152 w 209"/>
                      <a:gd name="T63" fmla="*/ 100 h 159"/>
                      <a:gd name="T64" fmla="*/ 152 w 209"/>
                      <a:gd name="T65" fmla="*/ 107 h 159"/>
                      <a:gd name="T66" fmla="*/ 145 w 209"/>
                      <a:gd name="T67" fmla="*/ 112 h 159"/>
                      <a:gd name="T68" fmla="*/ 139 w 209"/>
                      <a:gd name="T69" fmla="*/ 122 h 159"/>
                      <a:gd name="T70" fmla="*/ 137 w 209"/>
                      <a:gd name="T71" fmla="*/ 128 h 159"/>
                      <a:gd name="T72" fmla="*/ 125 w 209"/>
                      <a:gd name="T73" fmla="*/ 132 h 159"/>
                      <a:gd name="T74" fmla="*/ 118 w 209"/>
                      <a:gd name="T75" fmla="*/ 144 h 159"/>
                      <a:gd name="T76" fmla="*/ 104 w 209"/>
                      <a:gd name="T77" fmla="*/ 145 h 159"/>
                      <a:gd name="T78" fmla="*/ 85 w 209"/>
                      <a:gd name="T79" fmla="*/ 145 h 159"/>
                      <a:gd name="T80" fmla="*/ 70 w 209"/>
                      <a:gd name="T81" fmla="*/ 149 h 159"/>
                      <a:gd name="T82" fmla="*/ 63 w 209"/>
                      <a:gd name="T83" fmla="*/ 154 h 159"/>
                      <a:gd name="T84" fmla="*/ 60 w 209"/>
                      <a:gd name="T85" fmla="*/ 157 h 159"/>
                      <a:gd name="T86" fmla="*/ 59 w 209"/>
                      <a:gd name="T87" fmla="*/ 158 h 159"/>
                      <a:gd name="T88" fmla="*/ 52 w 209"/>
                      <a:gd name="T89" fmla="*/ 157 h 159"/>
                      <a:gd name="T90" fmla="*/ 46 w 209"/>
                      <a:gd name="T91" fmla="*/ 149 h 159"/>
                      <a:gd name="T92" fmla="*/ 44 w 209"/>
                      <a:gd name="T93" fmla="*/ 144 h 159"/>
                      <a:gd name="T94" fmla="*/ 42 w 209"/>
                      <a:gd name="T95" fmla="*/ 138 h 159"/>
                      <a:gd name="T96" fmla="*/ 29 w 209"/>
                      <a:gd name="T97" fmla="*/ 135 h 159"/>
                      <a:gd name="T98" fmla="*/ 30 w 209"/>
                      <a:gd name="T99" fmla="*/ 119 h 159"/>
                      <a:gd name="T100" fmla="*/ 30 w 209"/>
                      <a:gd name="T101" fmla="*/ 108 h 159"/>
                      <a:gd name="T102" fmla="*/ 36 w 209"/>
                      <a:gd name="T103" fmla="*/ 97 h 159"/>
                      <a:gd name="T104" fmla="*/ 26 w 209"/>
                      <a:gd name="T105" fmla="*/ 84 h 159"/>
                      <a:gd name="T106" fmla="*/ 39 w 209"/>
                      <a:gd name="T107" fmla="*/ 71 h 159"/>
                      <a:gd name="T108" fmla="*/ 42 w 209"/>
                      <a:gd name="T109" fmla="*/ 53 h 159"/>
                      <a:gd name="T110" fmla="*/ 46 w 209"/>
                      <a:gd name="T111" fmla="*/ 42 h 159"/>
                      <a:gd name="T112" fmla="*/ 38 w 209"/>
                      <a:gd name="T113" fmla="*/ 38 h 159"/>
                      <a:gd name="T114" fmla="*/ 26 w 209"/>
                      <a:gd name="T115" fmla="*/ 39 h 159"/>
                      <a:gd name="T116" fmla="*/ 17 w 209"/>
                      <a:gd name="T117" fmla="*/ 34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09" h="159">
                        <a:moveTo>
                          <a:pt x="9" y="38"/>
                        </a:moveTo>
                        <a:lnTo>
                          <a:pt x="7" y="38"/>
                        </a:lnTo>
                        <a:lnTo>
                          <a:pt x="6" y="38"/>
                        </a:lnTo>
                        <a:lnTo>
                          <a:pt x="5" y="38"/>
                        </a:lnTo>
                        <a:lnTo>
                          <a:pt x="5" y="39"/>
                        </a:lnTo>
                        <a:lnTo>
                          <a:pt x="5" y="39"/>
                        </a:lnTo>
                        <a:lnTo>
                          <a:pt x="5" y="38"/>
                        </a:lnTo>
                        <a:lnTo>
                          <a:pt x="5" y="38"/>
                        </a:lnTo>
                        <a:lnTo>
                          <a:pt x="5" y="37"/>
                        </a:lnTo>
                        <a:lnTo>
                          <a:pt x="5" y="35"/>
                        </a:lnTo>
                        <a:lnTo>
                          <a:pt x="5" y="34"/>
                        </a:lnTo>
                        <a:lnTo>
                          <a:pt x="6" y="34"/>
                        </a:lnTo>
                        <a:lnTo>
                          <a:pt x="6" y="34"/>
                        </a:lnTo>
                        <a:lnTo>
                          <a:pt x="7" y="34"/>
                        </a:lnTo>
                        <a:lnTo>
                          <a:pt x="7" y="34"/>
                        </a:lnTo>
                        <a:lnTo>
                          <a:pt x="6" y="34"/>
                        </a:lnTo>
                        <a:lnTo>
                          <a:pt x="6" y="33"/>
                        </a:lnTo>
                        <a:lnTo>
                          <a:pt x="7" y="33"/>
                        </a:lnTo>
                        <a:lnTo>
                          <a:pt x="7" y="34"/>
                        </a:lnTo>
                        <a:lnTo>
                          <a:pt x="7" y="32"/>
                        </a:lnTo>
                        <a:lnTo>
                          <a:pt x="9" y="32"/>
                        </a:lnTo>
                        <a:lnTo>
                          <a:pt x="11" y="31"/>
                        </a:lnTo>
                        <a:lnTo>
                          <a:pt x="11" y="31"/>
                        </a:lnTo>
                        <a:lnTo>
                          <a:pt x="11" y="30"/>
                        </a:lnTo>
                        <a:lnTo>
                          <a:pt x="10" y="31"/>
                        </a:lnTo>
                        <a:lnTo>
                          <a:pt x="10" y="31"/>
                        </a:lnTo>
                        <a:lnTo>
                          <a:pt x="9" y="31"/>
                        </a:lnTo>
                        <a:lnTo>
                          <a:pt x="9" y="32"/>
                        </a:lnTo>
                        <a:lnTo>
                          <a:pt x="7" y="32"/>
                        </a:lnTo>
                        <a:lnTo>
                          <a:pt x="6" y="32"/>
                        </a:lnTo>
                        <a:lnTo>
                          <a:pt x="6" y="32"/>
                        </a:lnTo>
                        <a:lnTo>
                          <a:pt x="5" y="32"/>
                        </a:lnTo>
                        <a:lnTo>
                          <a:pt x="6" y="31"/>
                        </a:lnTo>
                        <a:lnTo>
                          <a:pt x="7" y="31"/>
                        </a:lnTo>
                        <a:lnTo>
                          <a:pt x="6" y="31"/>
                        </a:lnTo>
                        <a:lnTo>
                          <a:pt x="7" y="31"/>
                        </a:lnTo>
                        <a:lnTo>
                          <a:pt x="10" y="30"/>
                        </a:lnTo>
                        <a:lnTo>
                          <a:pt x="10" y="28"/>
                        </a:lnTo>
                        <a:lnTo>
                          <a:pt x="10" y="27"/>
                        </a:lnTo>
                        <a:lnTo>
                          <a:pt x="9" y="28"/>
                        </a:lnTo>
                        <a:lnTo>
                          <a:pt x="7" y="28"/>
                        </a:lnTo>
                        <a:lnTo>
                          <a:pt x="6" y="28"/>
                        </a:lnTo>
                        <a:lnTo>
                          <a:pt x="5" y="28"/>
                        </a:lnTo>
                        <a:lnTo>
                          <a:pt x="5" y="27"/>
                        </a:lnTo>
                        <a:lnTo>
                          <a:pt x="5" y="26"/>
                        </a:lnTo>
                        <a:lnTo>
                          <a:pt x="6" y="27"/>
                        </a:lnTo>
                        <a:lnTo>
                          <a:pt x="6" y="27"/>
                        </a:lnTo>
                        <a:lnTo>
                          <a:pt x="7" y="26"/>
                        </a:lnTo>
                        <a:lnTo>
                          <a:pt x="6" y="25"/>
                        </a:lnTo>
                        <a:lnTo>
                          <a:pt x="6" y="25"/>
                        </a:lnTo>
                        <a:lnTo>
                          <a:pt x="9" y="25"/>
                        </a:lnTo>
                        <a:lnTo>
                          <a:pt x="9" y="24"/>
                        </a:lnTo>
                        <a:lnTo>
                          <a:pt x="10" y="24"/>
                        </a:lnTo>
                        <a:lnTo>
                          <a:pt x="10" y="22"/>
                        </a:lnTo>
                        <a:lnTo>
                          <a:pt x="9" y="24"/>
                        </a:lnTo>
                        <a:lnTo>
                          <a:pt x="7" y="24"/>
                        </a:lnTo>
                        <a:lnTo>
                          <a:pt x="7" y="22"/>
                        </a:lnTo>
                        <a:lnTo>
                          <a:pt x="7" y="22"/>
                        </a:lnTo>
                        <a:lnTo>
                          <a:pt x="6" y="22"/>
                        </a:lnTo>
                        <a:lnTo>
                          <a:pt x="6" y="24"/>
                        </a:lnTo>
                        <a:lnTo>
                          <a:pt x="6" y="24"/>
                        </a:lnTo>
                        <a:lnTo>
                          <a:pt x="6" y="25"/>
                        </a:lnTo>
                        <a:lnTo>
                          <a:pt x="5" y="25"/>
                        </a:lnTo>
                        <a:lnTo>
                          <a:pt x="5" y="25"/>
                        </a:lnTo>
                        <a:lnTo>
                          <a:pt x="4" y="26"/>
                        </a:lnTo>
                        <a:lnTo>
                          <a:pt x="4" y="25"/>
                        </a:lnTo>
                        <a:lnTo>
                          <a:pt x="3" y="25"/>
                        </a:lnTo>
                        <a:lnTo>
                          <a:pt x="3" y="25"/>
                        </a:lnTo>
                        <a:lnTo>
                          <a:pt x="3" y="25"/>
                        </a:lnTo>
                        <a:lnTo>
                          <a:pt x="3" y="22"/>
                        </a:lnTo>
                        <a:lnTo>
                          <a:pt x="4" y="22"/>
                        </a:lnTo>
                        <a:lnTo>
                          <a:pt x="5" y="21"/>
                        </a:lnTo>
                        <a:lnTo>
                          <a:pt x="6" y="21"/>
                        </a:lnTo>
                        <a:lnTo>
                          <a:pt x="6" y="20"/>
                        </a:lnTo>
                        <a:lnTo>
                          <a:pt x="5" y="20"/>
                        </a:lnTo>
                        <a:lnTo>
                          <a:pt x="3" y="20"/>
                        </a:lnTo>
                        <a:lnTo>
                          <a:pt x="3" y="21"/>
                        </a:lnTo>
                        <a:lnTo>
                          <a:pt x="3" y="21"/>
                        </a:lnTo>
                        <a:lnTo>
                          <a:pt x="3" y="21"/>
                        </a:lnTo>
                        <a:lnTo>
                          <a:pt x="3" y="20"/>
                        </a:lnTo>
                        <a:lnTo>
                          <a:pt x="3" y="20"/>
                        </a:lnTo>
                        <a:lnTo>
                          <a:pt x="3" y="19"/>
                        </a:lnTo>
                        <a:lnTo>
                          <a:pt x="3" y="19"/>
                        </a:lnTo>
                        <a:lnTo>
                          <a:pt x="2" y="18"/>
                        </a:lnTo>
                        <a:lnTo>
                          <a:pt x="2" y="18"/>
                        </a:lnTo>
                        <a:lnTo>
                          <a:pt x="2" y="18"/>
                        </a:lnTo>
                        <a:lnTo>
                          <a:pt x="2" y="19"/>
                        </a:lnTo>
                        <a:lnTo>
                          <a:pt x="2" y="19"/>
                        </a:lnTo>
                        <a:lnTo>
                          <a:pt x="0" y="19"/>
                        </a:lnTo>
                        <a:lnTo>
                          <a:pt x="0" y="18"/>
                        </a:lnTo>
                        <a:lnTo>
                          <a:pt x="0" y="18"/>
                        </a:lnTo>
                        <a:lnTo>
                          <a:pt x="2" y="17"/>
                        </a:lnTo>
                        <a:lnTo>
                          <a:pt x="2" y="17"/>
                        </a:lnTo>
                        <a:lnTo>
                          <a:pt x="2" y="17"/>
                        </a:lnTo>
                        <a:lnTo>
                          <a:pt x="2" y="17"/>
                        </a:lnTo>
                        <a:lnTo>
                          <a:pt x="0" y="15"/>
                        </a:lnTo>
                        <a:lnTo>
                          <a:pt x="2" y="15"/>
                        </a:lnTo>
                        <a:lnTo>
                          <a:pt x="2" y="15"/>
                        </a:lnTo>
                        <a:lnTo>
                          <a:pt x="2" y="15"/>
                        </a:lnTo>
                        <a:lnTo>
                          <a:pt x="2" y="14"/>
                        </a:lnTo>
                        <a:lnTo>
                          <a:pt x="2" y="14"/>
                        </a:lnTo>
                        <a:lnTo>
                          <a:pt x="2" y="14"/>
                        </a:lnTo>
                        <a:lnTo>
                          <a:pt x="2" y="13"/>
                        </a:lnTo>
                        <a:lnTo>
                          <a:pt x="2" y="13"/>
                        </a:lnTo>
                        <a:lnTo>
                          <a:pt x="3" y="13"/>
                        </a:lnTo>
                        <a:lnTo>
                          <a:pt x="4" y="13"/>
                        </a:lnTo>
                        <a:lnTo>
                          <a:pt x="4" y="12"/>
                        </a:lnTo>
                        <a:lnTo>
                          <a:pt x="4" y="12"/>
                        </a:lnTo>
                        <a:lnTo>
                          <a:pt x="5" y="12"/>
                        </a:lnTo>
                        <a:lnTo>
                          <a:pt x="5" y="12"/>
                        </a:lnTo>
                        <a:lnTo>
                          <a:pt x="6" y="12"/>
                        </a:lnTo>
                        <a:lnTo>
                          <a:pt x="7" y="12"/>
                        </a:lnTo>
                        <a:lnTo>
                          <a:pt x="7" y="11"/>
                        </a:lnTo>
                        <a:lnTo>
                          <a:pt x="6" y="11"/>
                        </a:lnTo>
                        <a:lnTo>
                          <a:pt x="7" y="11"/>
                        </a:lnTo>
                        <a:lnTo>
                          <a:pt x="9" y="11"/>
                        </a:lnTo>
                        <a:lnTo>
                          <a:pt x="10" y="10"/>
                        </a:lnTo>
                        <a:lnTo>
                          <a:pt x="11" y="10"/>
                        </a:lnTo>
                        <a:lnTo>
                          <a:pt x="12" y="8"/>
                        </a:lnTo>
                        <a:lnTo>
                          <a:pt x="13" y="8"/>
                        </a:lnTo>
                        <a:lnTo>
                          <a:pt x="15" y="7"/>
                        </a:lnTo>
                        <a:lnTo>
                          <a:pt x="16" y="6"/>
                        </a:lnTo>
                        <a:lnTo>
                          <a:pt x="17" y="5"/>
                        </a:lnTo>
                        <a:lnTo>
                          <a:pt x="17" y="6"/>
                        </a:lnTo>
                        <a:lnTo>
                          <a:pt x="18" y="5"/>
                        </a:lnTo>
                        <a:lnTo>
                          <a:pt x="19" y="4"/>
                        </a:lnTo>
                        <a:lnTo>
                          <a:pt x="22" y="2"/>
                        </a:lnTo>
                        <a:lnTo>
                          <a:pt x="22" y="2"/>
                        </a:lnTo>
                        <a:lnTo>
                          <a:pt x="24" y="1"/>
                        </a:lnTo>
                        <a:lnTo>
                          <a:pt x="25" y="2"/>
                        </a:lnTo>
                        <a:lnTo>
                          <a:pt x="25" y="2"/>
                        </a:lnTo>
                        <a:lnTo>
                          <a:pt x="25" y="1"/>
                        </a:lnTo>
                        <a:lnTo>
                          <a:pt x="26" y="1"/>
                        </a:lnTo>
                        <a:lnTo>
                          <a:pt x="27" y="1"/>
                        </a:lnTo>
                        <a:lnTo>
                          <a:pt x="27" y="1"/>
                        </a:lnTo>
                        <a:lnTo>
                          <a:pt x="27" y="0"/>
                        </a:lnTo>
                        <a:lnTo>
                          <a:pt x="27" y="1"/>
                        </a:lnTo>
                        <a:lnTo>
                          <a:pt x="29" y="1"/>
                        </a:lnTo>
                        <a:lnTo>
                          <a:pt x="29" y="1"/>
                        </a:lnTo>
                        <a:lnTo>
                          <a:pt x="29" y="2"/>
                        </a:lnTo>
                        <a:lnTo>
                          <a:pt x="29" y="1"/>
                        </a:lnTo>
                        <a:lnTo>
                          <a:pt x="30" y="1"/>
                        </a:lnTo>
                        <a:lnTo>
                          <a:pt x="30" y="1"/>
                        </a:lnTo>
                        <a:lnTo>
                          <a:pt x="30" y="1"/>
                        </a:lnTo>
                        <a:lnTo>
                          <a:pt x="30" y="2"/>
                        </a:lnTo>
                        <a:lnTo>
                          <a:pt x="31" y="2"/>
                        </a:lnTo>
                        <a:lnTo>
                          <a:pt x="33" y="4"/>
                        </a:lnTo>
                        <a:lnTo>
                          <a:pt x="32" y="4"/>
                        </a:lnTo>
                        <a:lnTo>
                          <a:pt x="33" y="5"/>
                        </a:lnTo>
                        <a:lnTo>
                          <a:pt x="33" y="5"/>
                        </a:lnTo>
                        <a:lnTo>
                          <a:pt x="33" y="4"/>
                        </a:lnTo>
                        <a:lnTo>
                          <a:pt x="36" y="4"/>
                        </a:lnTo>
                        <a:lnTo>
                          <a:pt x="37" y="5"/>
                        </a:lnTo>
                        <a:lnTo>
                          <a:pt x="37" y="6"/>
                        </a:lnTo>
                        <a:lnTo>
                          <a:pt x="37" y="6"/>
                        </a:lnTo>
                        <a:lnTo>
                          <a:pt x="38" y="6"/>
                        </a:lnTo>
                        <a:lnTo>
                          <a:pt x="38" y="6"/>
                        </a:lnTo>
                        <a:lnTo>
                          <a:pt x="38" y="6"/>
                        </a:lnTo>
                        <a:lnTo>
                          <a:pt x="38" y="5"/>
                        </a:lnTo>
                        <a:lnTo>
                          <a:pt x="38" y="5"/>
                        </a:lnTo>
                        <a:lnTo>
                          <a:pt x="43" y="5"/>
                        </a:lnTo>
                        <a:lnTo>
                          <a:pt x="44" y="5"/>
                        </a:lnTo>
                        <a:lnTo>
                          <a:pt x="45" y="5"/>
                        </a:lnTo>
                        <a:lnTo>
                          <a:pt x="46" y="5"/>
                        </a:lnTo>
                        <a:lnTo>
                          <a:pt x="47" y="5"/>
                        </a:lnTo>
                        <a:lnTo>
                          <a:pt x="47" y="5"/>
                        </a:lnTo>
                        <a:lnTo>
                          <a:pt x="47" y="5"/>
                        </a:lnTo>
                        <a:lnTo>
                          <a:pt x="50" y="5"/>
                        </a:lnTo>
                        <a:lnTo>
                          <a:pt x="51" y="4"/>
                        </a:lnTo>
                        <a:lnTo>
                          <a:pt x="51" y="4"/>
                        </a:lnTo>
                        <a:lnTo>
                          <a:pt x="53" y="2"/>
                        </a:lnTo>
                        <a:lnTo>
                          <a:pt x="53" y="2"/>
                        </a:lnTo>
                        <a:lnTo>
                          <a:pt x="56" y="4"/>
                        </a:lnTo>
                        <a:lnTo>
                          <a:pt x="58" y="2"/>
                        </a:lnTo>
                        <a:lnTo>
                          <a:pt x="62" y="2"/>
                        </a:lnTo>
                        <a:lnTo>
                          <a:pt x="63" y="2"/>
                        </a:lnTo>
                        <a:lnTo>
                          <a:pt x="64" y="4"/>
                        </a:lnTo>
                        <a:lnTo>
                          <a:pt x="66" y="5"/>
                        </a:lnTo>
                        <a:lnTo>
                          <a:pt x="67" y="5"/>
                        </a:lnTo>
                        <a:lnTo>
                          <a:pt x="69" y="6"/>
                        </a:lnTo>
                        <a:lnTo>
                          <a:pt x="71" y="6"/>
                        </a:lnTo>
                        <a:lnTo>
                          <a:pt x="72" y="6"/>
                        </a:lnTo>
                        <a:lnTo>
                          <a:pt x="72" y="6"/>
                        </a:lnTo>
                        <a:lnTo>
                          <a:pt x="75" y="5"/>
                        </a:lnTo>
                        <a:lnTo>
                          <a:pt x="75" y="5"/>
                        </a:lnTo>
                        <a:lnTo>
                          <a:pt x="77" y="5"/>
                        </a:lnTo>
                        <a:lnTo>
                          <a:pt x="79" y="5"/>
                        </a:lnTo>
                        <a:lnTo>
                          <a:pt x="80" y="5"/>
                        </a:lnTo>
                        <a:lnTo>
                          <a:pt x="82" y="5"/>
                        </a:lnTo>
                        <a:lnTo>
                          <a:pt x="83" y="6"/>
                        </a:lnTo>
                        <a:lnTo>
                          <a:pt x="84" y="6"/>
                        </a:lnTo>
                        <a:lnTo>
                          <a:pt x="85" y="6"/>
                        </a:lnTo>
                        <a:lnTo>
                          <a:pt x="87" y="6"/>
                        </a:lnTo>
                        <a:lnTo>
                          <a:pt x="90" y="6"/>
                        </a:lnTo>
                        <a:lnTo>
                          <a:pt x="91" y="5"/>
                        </a:lnTo>
                        <a:lnTo>
                          <a:pt x="95" y="6"/>
                        </a:lnTo>
                        <a:lnTo>
                          <a:pt x="95" y="6"/>
                        </a:lnTo>
                        <a:lnTo>
                          <a:pt x="98" y="7"/>
                        </a:lnTo>
                        <a:lnTo>
                          <a:pt x="99" y="6"/>
                        </a:lnTo>
                        <a:lnTo>
                          <a:pt x="100" y="7"/>
                        </a:lnTo>
                        <a:lnTo>
                          <a:pt x="103" y="7"/>
                        </a:lnTo>
                        <a:lnTo>
                          <a:pt x="106" y="7"/>
                        </a:lnTo>
                        <a:lnTo>
                          <a:pt x="109" y="7"/>
                        </a:lnTo>
                        <a:lnTo>
                          <a:pt x="109" y="7"/>
                        </a:lnTo>
                        <a:lnTo>
                          <a:pt x="109" y="8"/>
                        </a:lnTo>
                        <a:lnTo>
                          <a:pt x="110" y="8"/>
                        </a:lnTo>
                        <a:lnTo>
                          <a:pt x="111" y="8"/>
                        </a:lnTo>
                        <a:lnTo>
                          <a:pt x="112" y="8"/>
                        </a:lnTo>
                        <a:lnTo>
                          <a:pt x="113" y="8"/>
                        </a:lnTo>
                        <a:lnTo>
                          <a:pt x="115" y="10"/>
                        </a:lnTo>
                        <a:lnTo>
                          <a:pt x="115" y="10"/>
                        </a:lnTo>
                        <a:lnTo>
                          <a:pt x="115" y="11"/>
                        </a:lnTo>
                        <a:lnTo>
                          <a:pt x="116" y="11"/>
                        </a:lnTo>
                        <a:lnTo>
                          <a:pt x="116" y="10"/>
                        </a:lnTo>
                        <a:lnTo>
                          <a:pt x="117" y="11"/>
                        </a:lnTo>
                        <a:lnTo>
                          <a:pt x="117" y="10"/>
                        </a:lnTo>
                        <a:lnTo>
                          <a:pt x="117" y="10"/>
                        </a:lnTo>
                        <a:lnTo>
                          <a:pt x="118" y="10"/>
                        </a:lnTo>
                        <a:lnTo>
                          <a:pt x="119" y="10"/>
                        </a:lnTo>
                        <a:lnTo>
                          <a:pt x="119" y="8"/>
                        </a:lnTo>
                        <a:lnTo>
                          <a:pt x="122" y="10"/>
                        </a:lnTo>
                        <a:lnTo>
                          <a:pt x="122" y="10"/>
                        </a:lnTo>
                        <a:lnTo>
                          <a:pt x="122" y="8"/>
                        </a:lnTo>
                        <a:lnTo>
                          <a:pt x="123" y="10"/>
                        </a:lnTo>
                        <a:lnTo>
                          <a:pt x="124" y="8"/>
                        </a:lnTo>
                        <a:lnTo>
                          <a:pt x="125" y="8"/>
                        </a:lnTo>
                        <a:lnTo>
                          <a:pt x="125" y="10"/>
                        </a:lnTo>
                        <a:lnTo>
                          <a:pt x="126" y="10"/>
                        </a:lnTo>
                        <a:lnTo>
                          <a:pt x="127" y="11"/>
                        </a:lnTo>
                        <a:lnTo>
                          <a:pt x="127" y="10"/>
                        </a:lnTo>
                        <a:lnTo>
                          <a:pt x="130" y="11"/>
                        </a:lnTo>
                        <a:lnTo>
                          <a:pt x="131" y="13"/>
                        </a:lnTo>
                        <a:lnTo>
                          <a:pt x="129" y="14"/>
                        </a:lnTo>
                        <a:lnTo>
                          <a:pt x="130" y="15"/>
                        </a:lnTo>
                        <a:lnTo>
                          <a:pt x="131" y="15"/>
                        </a:lnTo>
                        <a:lnTo>
                          <a:pt x="131" y="14"/>
                        </a:lnTo>
                        <a:lnTo>
                          <a:pt x="132" y="14"/>
                        </a:lnTo>
                        <a:lnTo>
                          <a:pt x="132" y="15"/>
                        </a:lnTo>
                        <a:lnTo>
                          <a:pt x="135" y="17"/>
                        </a:lnTo>
                        <a:lnTo>
                          <a:pt x="137" y="18"/>
                        </a:lnTo>
                        <a:lnTo>
                          <a:pt x="140" y="18"/>
                        </a:lnTo>
                        <a:lnTo>
                          <a:pt x="142" y="18"/>
                        </a:lnTo>
                        <a:lnTo>
                          <a:pt x="142" y="19"/>
                        </a:lnTo>
                        <a:lnTo>
                          <a:pt x="144" y="19"/>
                        </a:lnTo>
                        <a:lnTo>
                          <a:pt x="144" y="20"/>
                        </a:lnTo>
                        <a:lnTo>
                          <a:pt x="145" y="20"/>
                        </a:lnTo>
                        <a:lnTo>
                          <a:pt x="145" y="20"/>
                        </a:lnTo>
                        <a:lnTo>
                          <a:pt x="145" y="20"/>
                        </a:lnTo>
                        <a:lnTo>
                          <a:pt x="146" y="20"/>
                        </a:lnTo>
                        <a:lnTo>
                          <a:pt x="147" y="19"/>
                        </a:lnTo>
                        <a:lnTo>
                          <a:pt x="149" y="20"/>
                        </a:lnTo>
                        <a:lnTo>
                          <a:pt x="151" y="20"/>
                        </a:lnTo>
                        <a:lnTo>
                          <a:pt x="151" y="22"/>
                        </a:lnTo>
                        <a:lnTo>
                          <a:pt x="152" y="22"/>
                        </a:lnTo>
                        <a:lnTo>
                          <a:pt x="154" y="22"/>
                        </a:lnTo>
                        <a:lnTo>
                          <a:pt x="157" y="21"/>
                        </a:lnTo>
                        <a:lnTo>
                          <a:pt x="158" y="21"/>
                        </a:lnTo>
                        <a:lnTo>
                          <a:pt x="158" y="22"/>
                        </a:lnTo>
                        <a:lnTo>
                          <a:pt x="159" y="22"/>
                        </a:lnTo>
                        <a:lnTo>
                          <a:pt x="160" y="21"/>
                        </a:lnTo>
                        <a:lnTo>
                          <a:pt x="160" y="21"/>
                        </a:lnTo>
                        <a:lnTo>
                          <a:pt x="164" y="21"/>
                        </a:lnTo>
                        <a:lnTo>
                          <a:pt x="165" y="21"/>
                        </a:lnTo>
                        <a:lnTo>
                          <a:pt x="165" y="19"/>
                        </a:lnTo>
                        <a:lnTo>
                          <a:pt x="165" y="19"/>
                        </a:lnTo>
                        <a:lnTo>
                          <a:pt x="167" y="19"/>
                        </a:lnTo>
                        <a:lnTo>
                          <a:pt x="167" y="20"/>
                        </a:lnTo>
                        <a:lnTo>
                          <a:pt x="170" y="20"/>
                        </a:lnTo>
                        <a:lnTo>
                          <a:pt x="171" y="20"/>
                        </a:lnTo>
                        <a:lnTo>
                          <a:pt x="172" y="21"/>
                        </a:lnTo>
                        <a:lnTo>
                          <a:pt x="172" y="22"/>
                        </a:lnTo>
                        <a:lnTo>
                          <a:pt x="173" y="22"/>
                        </a:lnTo>
                        <a:lnTo>
                          <a:pt x="176" y="22"/>
                        </a:lnTo>
                        <a:lnTo>
                          <a:pt x="177" y="24"/>
                        </a:lnTo>
                        <a:lnTo>
                          <a:pt x="177" y="25"/>
                        </a:lnTo>
                        <a:lnTo>
                          <a:pt x="177" y="25"/>
                        </a:lnTo>
                        <a:lnTo>
                          <a:pt x="178" y="26"/>
                        </a:lnTo>
                        <a:lnTo>
                          <a:pt x="177" y="26"/>
                        </a:lnTo>
                        <a:lnTo>
                          <a:pt x="177" y="27"/>
                        </a:lnTo>
                        <a:lnTo>
                          <a:pt x="177" y="27"/>
                        </a:lnTo>
                        <a:lnTo>
                          <a:pt x="179" y="28"/>
                        </a:lnTo>
                        <a:lnTo>
                          <a:pt x="179" y="27"/>
                        </a:lnTo>
                        <a:lnTo>
                          <a:pt x="180" y="27"/>
                        </a:lnTo>
                        <a:lnTo>
                          <a:pt x="180" y="26"/>
                        </a:lnTo>
                        <a:lnTo>
                          <a:pt x="182" y="26"/>
                        </a:lnTo>
                        <a:lnTo>
                          <a:pt x="185" y="27"/>
                        </a:lnTo>
                        <a:lnTo>
                          <a:pt x="185" y="28"/>
                        </a:lnTo>
                        <a:lnTo>
                          <a:pt x="186" y="28"/>
                        </a:lnTo>
                        <a:lnTo>
                          <a:pt x="186" y="30"/>
                        </a:lnTo>
                        <a:lnTo>
                          <a:pt x="187" y="28"/>
                        </a:lnTo>
                        <a:lnTo>
                          <a:pt x="190" y="28"/>
                        </a:lnTo>
                        <a:lnTo>
                          <a:pt x="190" y="28"/>
                        </a:lnTo>
                        <a:lnTo>
                          <a:pt x="192" y="28"/>
                        </a:lnTo>
                        <a:lnTo>
                          <a:pt x="194" y="30"/>
                        </a:lnTo>
                        <a:lnTo>
                          <a:pt x="196" y="30"/>
                        </a:lnTo>
                        <a:lnTo>
                          <a:pt x="196" y="30"/>
                        </a:lnTo>
                        <a:lnTo>
                          <a:pt x="197" y="31"/>
                        </a:lnTo>
                        <a:lnTo>
                          <a:pt x="198" y="30"/>
                        </a:lnTo>
                        <a:lnTo>
                          <a:pt x="198" y="28"/>
                        </a:lnTo>
                        <a:lnTo>
                          <a:pt x="198" y="28"/>
                        </a:lnTo>
                        <a:lnTo>
                          <a:pt x="199" y="28"/>
                        </a:lnTo>
                        <a:lnTo>
                          <a:pt x="202" y="27"/>
                        </a:lnTo>
                        <a:lnTo>
                          <a:pt x="203" y="27"/>
                        </a:lnTo>
                        <a:lnTo>
                          <a:pt x="203" y="27"/>
                        </a:lnTo>
                        <a:lnTo>
                          <a:pt x="204" y="28"/>
                        </a:lnTo>
                        <a:lnTo>
                          <a:pt x="204" y="27"/>
                        </a:lnTo>
                        <a:lnTo>
                          <a:pt x="206" y="28"/>
                        </a:lnTo>
                        <a:lnTo>
                          <a:pt x="206" y="28"/>
                        </a:lnTo>
                        <a:lnTo>
                          <a:pt x="205" y="28"/>
                        </a:lnTo>
                        <a:lnTo>
                          <a:pt x="205" y="30"/>
                        </a:lnTo>
                        <a:lnTo>
                          <a:pt x="205" y="30"/>
                        </a:lnTo>
                        <a:lnTo>
                          <a:pt x="206" y="31"/>
                        </a:lnTo>
                        <a:lnTo>
                          <a:pt x="206" y="30"/>
                        </a:lnTo>
                        <a:lnTo>
                          <a:pt x="207" y="31"/>
                        </a:lnTo>
                        <a:lnTo>
                          <a:pt x="209" y="31"/>
                        </a:lnTo>
                        <a:lnTo>
                          <a:pt x="209" y="32"/>
                        </a:lnTo>
                        <a:lnTo>
                          <a:pt x="207" y="32"/>
                        </a:lnTo>
                        <a:lnTo>
                          <a:pt x="206" y="33"/>
                        </a:lnTo>
                        <a:lnTo>
                          <a:pt x="206" y="32"/>
                        </a:lnTo>
                        <a:lnTo>
                          <a:pt x="205" y="32"/>
                        </a:lnTo>
                        <a:lnTo>
                          <a:pt x="205" y="32"/>
                        </a:lnTo>
                        <a:lnTo>
                          <a:pt x="205" y="32"/>
                        </a:lnTo>
                        <a:lnTo>
                          <a:pt x="204" y="33"/>
                        </a:lnTo>
                        <a:lnTo>
                          <a:pt x="205" y="34"/>
                        </a:lnTo>
                        <a:lnTo>
                          <a:pt x="205" y="34"/>
                        </a:lnTo>
                        <a:lnTo>
                          <a:pt x="205" y="35"/>
                        </a:lnTo>
                        <a:lnTo>
                          <a:pt x="205" y="35"/>
                        </a:lnTo>
                        <a:lnTo>
                          <a:pt x="206" y="35"/>
                        </a:lnTo>
                        <a:lnTo>
                          <a:pt x="206" y="37"/>
                        </a:lnTo>
                        <a:lnTo>
                          <a:pt x="206" y="38"/>
                        </a:lnTo>
                        <a:lnTo>
                          <a:pt x="206" y="38"/>
                        </a:lnTo>
                        <a:lnTo>
                          <a:pt x="206" y="39"/>
                        </a:lnTo>
                        <a:lnTo>
                          <a:pt x="206" y="39"/>
                        </a:lnTo>
                        <a:lnTo>
                          <a:pt x="206" y="40"/>
                        </a:lnTo>
                        <a:lnTo>
                          <a:pt x="205" y="40"/>
                        </a:lnTo>
                        <a:lnTo>
                          <a:pt x="205" y="40"/>
                        </a:lnTo>
                        <a:lnTo>
                          <a:pt x="203" y="42"/>
                        </a:lnTo>
                        <a:lnTo>
                          <a:pt x="202" y="42"/>
                        </a:lnTo>
                        <a:lnTo>
                          <a:pt x="200" y="44"/>
                        </a:lnTo>
                        <a:lnTo>
                          <a:pt x="199" y="44"/>
                        </a:lnTo>
                        <a:lnTo>
                          <a:pt x="198" y="44"/>
                        </a:lnTo>
                        <a:lnTo>
                          <a:pt x="197" y="45"/>
                        </a:lnTo>
                        <a:lnTo>
                          <a:pt x="196" y="46"/>
                        </a:lnTo>
                        <a:lnTo>
                          <a:pt x="193" y="47"/>
                        </a:lnTo>
                        <a:lnTo>
                          <a:pt x="191" y="48"/>
                        </a:lnTo>
                        <a:lnTo>
                          <a:pt x="190" y="50"/>
                        </a:lnTo>
                        <a:lnTo>
                          <a:pt x="190" y="51"/>
                        </a:lnTo>
                        <a:lnTo>
                          <a:pt x="189" y="52"/>
                        </a:lnTo>
                        <a:lnTo>
                          <a:pt x="189" y="52"/>
                        </a:lnTo>
                        <a:lnTo>
                          <a:pt x="186" y="53"/>
                        </a:lnTo>
                        <a:lnTo>
                          <a:pt x="185" y="53"/>
                        </a:lnTo>
                        <a:lnTo>
                          <a:pt x="183" y="53"/>
                        </a:lnTo>
                        <a:lnTo>
                          <a:pt x="180" y="53"/>
                        </a:lnTo>
                        <a:lnTo>
                          <a:pt x="179" y="54"/>
                        </a:lnTo>
                        <a:lnTo>
                          <a:pt x="178" y="53"/>
                        </a:lnTo>
                        <a:lnTo>
                          <a:pt x="177" y="54"/>
                        </a:lnTo>
                        <a:lnTo>
                          <a:pt x="173" y="55"/>
                        </a:lnTo>
                        <a:lnTo>
                          <a:pt x="172" y="55"/>
                        </a:lnTo>
                        <a:lnTo>
                          <a:pt x="171" y="55"/>
                        </a:lnTo>
                        <a:lnTo>
                          <a:pt x="169" y="57"/>
                        </a:lnTo>
                        <a:lnTo>
                          <a:pt x="169" y="58"/>
                        </a:lnTo>
                        <a:lnTo>
                          <a:pt x="167" y="58"/>
                        </a:lnTo>
                        <a:lnTo>
                          <a:pt x="167" y="59"/>
                        </a:lnTo>
                        <a:lnTo>
                          <a:pt x="167" y="59"/>
                        </a:lnTo>
                        <a:lnTo>
                          <a:pt x="167" y="59"/>
                        </a:lnTo>
                        <a:lnTo>
                          <a:pt x="167" y="59"/>
                        </a:lnTo>
                        <a:lnTo>
                          <a:pt x="167" y="59"/>
                        </a:lnTo>
                        <a:lnTo>
                          <a:pt x="166" y="60"/>
                        </a:lnTo>
                        <a:lnTo>
                          <a:pt x="165" y="61"/>
                        </a:lnTo>
                        <a:lnTo>
                          <a:pt x="165" y="61"/>
                        </a:lnTo>
                        <a:lnTo>
                          <a:pt x="165" y="62"/>
                        </a:lnTo>
                        <a:lnTo>
                          <a:pt x="165" y="62"/>
                        </a:lnTo>
                        <a:lnTo>
                          <a:pt x="167" y="64"/>
                        </a:lnTo>
                        <a:lnTo>
                          <a:pt x="167" y="62"/>
                        </a:lnTo>
                        <a:lnTo>
                          <a:pt x="169" y="64"/>
                        </a:lnTo>
                        <a:lnTo>
                          <a:pt x="169" y="64"/>
                        </a:lnTo>
                        <a:lnTo>
                          <a:pt x="167" y="65"/>
                        </a:lnTo>
                        <a:lnTo>
                          <a:pt x="165" y="66"/>
                        </a:lnTo>
                        <a:lnTo>
                          <a:pt x="165" y="66"/>
                        </a:lnTo>
                        <a:lnTo>
                          <a:pt x="164" y="67"/>
                        </a:lnTo>
                        <a:lnTo>
                          <a:pt x="163" y="66"/>
                        </a:lnTo>
                        <a:lnTo>
                          <a:pt x="163" y="66"/>
                        </a:lnTo>
                        <a:lnTo>
                          <a:pt x="165" y="66"/>
                        </a:lnTo>
                        <a:lnTo>
                          <a:pt x="165" y="65"/>
                        </a:lnTo>
                        <a:lnTo>
                          <a:pt x="165" y="65"/>
                        </a:lnTo>
                        <a:lnTo>
                          <a:pt x="164" y="65"/>
                        </a:lnTo>
                        <a:lnTo>
                          <a:pt x="163" y="65"/>
                        </a:lnTo>
                        <a:lnTo>
                          <a:pt x="162" y="66"/>
                        </a:lnTo>
                        <a:lnTo>
                          <a:pt x="162" y="67"/>
                        </a:lnTo>
                        <a:lnTo>
                          <a:pt x="160" y="68"/>
                        </a:lnTo>
                        <a:lnTo>
                          <a:pt x="159" y="70"/>
                        </a:lnTo>
                        <a:lnTo>
                          <a:pt x="159" y="71"/>
                        </a:lnTo>
                        <a:lnTo>
                          <a:pt x="159" y="72"/>
                        </a:lnTo>
                        <a:lnTo>
                          <a:pt x="158" y="73"/>
                        </a:lnTo>
                        <a:lnTo>
                          <a:pt x="157" y="74"/>
                        </a:lnTo>
                        <a:lnTo>
                          <a:pt x="156" y="75"/>
                        </a:lnTo>
                        <a:lnTo>
                          <a:pt x="154" y="77"/>
                        </a:lnTo>
                        <a:lnTo>
                          <a:pt x="154" y="77"/>
                        </a:lnTo>
                        <a:lnTo>
                          <a:pt x="152" y="77"/>
                        </a:lnTo>
                        <a:lnTo>
                          <a:pt x="152" y="78"/>
                        </a:lnTo>
                        <a:lnTo>
                          <a:pt x="152" y="78"/>
                        </a:lnTo>
                        <a:lnTo>
                          <a:pt x="152" y="79"/>
                        </a:lnTo>
                        <a:lnTo>
                          <a:pt x="152" y="80"/>
                        </a:lnTo>
                        <a:lnTo>
                          <a:pt x="151" y="82"/>
                        </a:lnTo>
                        <a:lnTo>
                          <a:pt x="149" y="85"/>
                        </a:lnTo>
                        <a:lnTo>
                          <a:pt x="149" y="86"/>
                        </a:lnTo>
                        <a:lnTo>
                          <a:pt x="147" y="88"/>
                        </a:lnTo>
                        <a:lnTo>
                          <a:pt x="147" y="89"/>
                        </a:lnTo>
                        <a:lnTo>
                          <a:pt x="149" y="92"/>
                        </a:lnTo>
                        <a:lnTo>
                          <a:pt x="149" y="93"/>
                        </a:lnTo>
                        <a:lnTo>
                          <a:pt x="149" y="94"/>
                        </a:lnTo>
                        <a:lnTo>
                          <a:pt x="150" y="97"/>
                        </a:lnTo>
                        <a:lnTo>
                          <a:pt x="150" y="99"/>
                        </a:lnTo>
                        <a:lnTo>
                          <a:pt x="151" y="99"/>
                        </a:lnTo>
                        <a:lnTo>
                          <a:pt x="152" y="100"/>
                        </a:lnTo>
                        <a:lnTo>
                          <a:pt x="152" y="100"/>
                        </a:lnTo>
                        <a:lnTo>
                          <a:pt x="153" y="101"/>
                        </a:lnTo>
                        <a:lnTo>
                          <a:pt x="154" y="101"/>
                        </a:lnTo>
                        <a:lnTo>
                          <a:pt x="156" y="101"/>
                        </a:lnTo>
                        <a:lnTo>
                          <a:pt x="156" y="102"/>
                        </a:lnTo>
                        <a:lnTo>
                          <a:pt x="156" y="102"/>
                        </a:lnTo>
                        <a:lnTo>
                          <a:pt x="157" y="102"/>
                        </a:lnTo>
                        <a:lnTo>
                          <a:pt x="157" y="104"/>
                        </a:lnTo>
                        <a:lnTo>
                          <a:pt x="157" y="104"/>
                        </a:lnTo>
                        <a:lnTo>
                          <a:pt x="156" y="105"/>
                        </a:lnTo>
                        <a:lnTo>
                          <a:pt x="156" y="105"/>
                        </a:lnTo>
                        <a:lnTo>
                          <a:pt x="153" y="106"/>
                        </a:lnTo>
                        <a:lnTo>
                          <a:pt x="153" y="106"/>
                        </a:lnTo>
                        <a:lnTo>
                          <a:pt x="152" y="107"/>
                        </a:lnTo>
                        <a:lnTo>
                          <a:pt x="151" y="107"/>
                        </a:lnTo>
                        <a:lnTo>
                          <a:pt x="151" y="107"/>
                        </a:lnTo>
                        <a:lnTo>
                          <a:pt x="151" y="107"/>
                        </a:lnTo>
                        <a:lnTo>
                          <a:pt x="150" y="108"/>
                        </a:lnTo>
                        <a:lnTo>
                          <a:pt x="149" y="108"/>
                        </a:lnTo>
                        <a:lnTo>
                          <a:pt x="147" y="109"/>
                        </a:lnTo>
                        <a:lnTo>
                          <a:pt x="146" y="109"/>
                        </a:lnTo>
                        <a:lnTo>
                          <a:pt x="147" y="109"/>
                        </a:lnTo>
                        <a:lnTo>
                          <a:pt x="146" y="111"/>
                        </a:lnTo>
                        <a:lnTo>
                          <a:pt x="145" y="111"/>
                        </a:lnTo>
                        <a:lnTo>
                          <a:pt x="145" y="112"/>
                        </a:lnTo>
                        <a:lnTo>
                          <a:pt x="145" y="112"/>
                        </a:lnTo>
                        <a:lnTo>
                          <a:pt x="145" y="112"/>
                        </a:lnTo>
                        <a:lnTo>
                          <a:pt x="144" y="113"/>
                        </a:lnTo>
                        <a:lnTo>
                          <a:pt x="144" y="114"/>
                        </a:lnTo>
                        <a:lnTo>
                          <a:pt x="144" y="115"/>
                        </a:lnTo>
                        <a:lnTo>
                          <a:pt x="143" y="115"/>
                        </a:lnTo>
                        <a:lnTo>
                          <a:pt x="142" y="115"/>
                        </a:lnTo>
                        <a:lnTo>
                          <a:pt x="142" y="118"/>
                        </a:lnTo>
                        <a:lnTo>
                          <a:pt x="142" y="119"/>
                        </a:lnTo>
                        <a:lnTo>
                          <a:pt x="142" y="119"/>
                        </a:lnTo>
                        <a:lnTo>
                          <a:pt x="140" y="120"/>
                        </a:lnTo>
                        <a:lnTo>
                          <a:pt x="140" y="121"/>
                        </a:lnTo>
                        <a:lnTo>
                          <a:pt x="140" y="121"/>
                        </a:lnTo>
                        <a:lnTo>
                          <a:pt x="140" y="122"/>
                        </a:lnTo>
                        <a:lnTo>
                          <a:pt x="139" y="122"/>
                        </a:lnTo>
                        <a:lnTo>
                          <a:pt x="138" y="124"/>
                        </a:lnTo>
                        <a:lnTo>
                          <a:pt x="138" y="125"/>
                        </a:lnTo>
                        <a:lnTo>
                          <a:pt x="139" y="126"/>
                        </a:lnTo>
                        <a:lnTo>
                          <a:pt x="140" y="127"/>
                        </a:lnTo>
                        <a:lnTo>
                          <a:pt x="140" y="126"/>
                        </a:lnTo>
                        <a:lnTo>
                          <a:pt x="140" y="126"/>
                        </a:lnTo>
                        <a:lnTo>
                          <a:pt x="142" y="126"/>
                        </a:lnTo>
                        <a:lnTo>
                          <a:pt x="140" y="127"/>
                        </a:lnTo>
                        <a:lnTo>
                          <a:pt x="140" y="127"/>
                        </a:lnTo>
                        <a:lnTo>
                          <a:pt x="139" y="128"/>
                        </a:lnTo>
                        <a:lnTo>
                          <a:pt x="138" y="128"/>
                        </a:lnTo>
                        <a:lnTo>
                          <a:pt x="137" y="128"/>
                        </a:lnTo>
                        <a:lnTo>
                          <a:pt x="137" y="128"/>
                        </a:lnTo>
                        <a:lnTo>
                          <a:pt x="135" y="127"/>
                        </a:lnTo>
                        <a:lnTo>
                          <a:pt x="135" y="127"/>
                        </a:lnTo>
                        <a:lnTo>
                          <a:pt x="135" y="128"/>
                        </a:lnTo>
                        <a:lnTo>
                          <a:pt x="132" y="127"/>
                        </a:lnTo>
                        <a:lnTo>
                          <a:pt x="131" y="127"/>
                        </a:lnTo>
                        <a:lnTo>
                          <a:pt x="131" y="128"/>
                        </a:lnTo>
                        <a:lnTo>
                          <a:pt x="129" y="129"/>
                        </a:lnTo>
                        <a:lnTo>
                          <a:pt x="127" y="131"/>
                        </a:lnTo>
                        <a:lnTo>
                          <a:pt x="127" y="131"/>
                        </a:lnTo>
                        <a:lnTo>
                          <a:pt x="127" y="131"/>
                        </a:lnTo>
                        <a:lnTo>
                          <a:pt x="127" y="131"/>
                        </a:lnTo>
                        <a:lnTo>
                          <a:pt x="125" y="132"/>
                        </a:lnTo>
                        <a:lnTo>
                          <a:pt x="125" y="132"/>
                        </a:lnTo>
                        <a:lnTo>
                          <a:pt x="125" y="132"/>
                        </a:lnTo>
                        <a:lnTo>
                          <a:pt x="124" y="133"/>
                        </a:lnTo>
                        <a:lnTo>
                          <a:pt x="124" y="133"/>
                        </a:lnTo>
                        <a:lnTo>
                          <a:pt x="123" y="135"/>
                        </a:lnTo>
                        <a:lnTo>
                          <a:pt x="122" y="137"/>
                        </a:lnTo>
                        <a:lnTo>
                          <a:pt x="123" y="137"/>
                        </a:lnTo>
                        <a:lnTo>
                          <a:pt x="122" y="139"/>
                        </a:lnTo>
                        <a:lnTo>
                          <a:pt x="120" y="140"/>
                        </a:lnTo>
                        <a:lnTo>
                          <a:pt x="119" y="141"/>
                        </a:lnTo>
                        <a:lnTo>
                          <a:pt x="119" y="141"/>
                        </a:lnTo>
                        <a:lnTo>
                          <a:pt x="119" y="142"/>
                        </a:lnTo>
                        <a:lnTo>
                          <a:pt x="118" y="144"/>
                        </a:lnTo>
                        <a:lnTo>
                          <a:pt x="118" y="144"/>
                        </a:lnTo>
                        <a:lnTo>
                          <a:pt x="118" y="145"/>
                        </a:lnTo>
                        <a:lnTo>
                          <a:pt x="116" y="145"/>
                        </a:lnTo>
                        <a:lnTo>
                          <a:pt x="116" y="145"/>
                        </a:lnTo>
                        <a:lnTo>
                          <a:pt x="115" y="142"/>
                        </a:lnTo>
                        <a:lnTo>
                          <a:pt x="112" y="142"/>
                        </a:lnTo>
                        <a:lnTo>
                          <a:pt x="111" y="142"/>
                        </a:lnTo>
                        <a:lnTo>
                          <a:pt x="110" y="144"/>
                        </a:lnTo>
                        <a:lnTo>
                          <a:pt x="109" y="145"/>
                        </a:lnTo>
                        <a:lnTo>
                          <a:pt x="107" y="146"/>
                        </a:lnTo>
                        <a:lnTo>
                          <a:pt x="106" y="146"/>
                        </a:lnTo>
                        <a:lnTo>
                          <a:pt x="104" y="146"/>
                        </a:lnTo>
                        <a:lnTo>
                          <a:pt x="104" y="145"/>
                        </a:lnTo>
                        <a:lnTo>
                          <a:pt x="104" y="145"/>
                        </a:lnTo>
                        <a:lnTo>
                          <a:pt x="100" y="145"/>
                        </a:lnTo>
                        <a:lnTo>
                          <a:pt x="97" y="145"/>
                        </a:lnTo>
                        <a:lnTo>
                          <a:pt x="96" y="145"/>
                        </a:lnTo>
                        <a:lnTo>
                          <a:pt x="96" y="146"/>
                        </a:lnTo>
                        <a:lnTo>
                          <a:pt x="95" y="145"/>
                        </a:lnTo>
                        <a:lnTo>
                          <a:pt x="93" y="145"/>
                        </a:lnTo>
                        <a:lnTo>
                          <a:pt x="93" y="145"/>
                        </a:lnTo>
                        <a:lnTo>
                          <a:pt x="92" y="145"/>
                        </a:lnTo>
                        <a:lnTo>
                          <a:pt x="91" y="145"/>
                        </a:lnTo>
                        <a:lnTo>
                          <a:pt x="90" y="145"/>
                        </a:lnTo>
                        <a:lnTo>
                          <a:pt x="89" y="144"/>
                        </a:lnTo>
                        <a:lnTo>
                          <a:pt x="87" y="145"/>
                        </a:lnTo>
                        <a:lnTo>
                          <a:pt x="85" y="145"/>
                        </a:lnTo>
                        <a:lnTo>
                          <a:pt x="84" y="145"/>
                        </a:lnTo>
                        <a:lnTo>
                          <a:pt x="83" y="145"/>
                        </a:lnTo>
                        <a:lnTo>
                          <a:pt x="82" y="145"/>
                        </a:lnTo>
                        <a:lnTo>
                          <a:pt x="79" y="145"/>
                        </a:lnTo>
                        <a:lnTo>
                          <a:pt x="78" y="145"/>
                        </a:lnTo>
                        <a:lnTo>
                          <a:pt x="78" y="146"/>
                        </a:lnTo>
                        <a:lnTo>
                          <a:pt x="78" y="147"/>
                        </a:lnTo>
                        <a:lnTo>
                          <a:pt x="76" y="148"/>
                        </a:lnTo>
                        <a:lnTo>
                          <a:pt x="75" y="149"/>
                        </a:lnTo>
                        <a:lnTo>
                          <a:pt x="73" y="149"/>
                        </a:lnTo>
                        <a:lnTo>
                          <a:pt x="72" y="149"/>
                        </a:lnTo>
                        <a:lnTo>
                          <a:pt x="71" y="149"/>
                        </a:lnTo>
                        <a:lnTo>
                          <a:pt x="70" y="149"/>
                        </a:lnTo>
                        <a:lnTo>
                          <a:pt x="69" y="151"/>
                        </a:lnTo>
                        <a:lnTo>
                          <a:pt x="67" y="151"/>
                        </a:lnTo>
                        <a:lnTo>
                          <a:pt x="65" y="151"/>
                        </a:lnTo>
                        <a:lnTo>
                          <a:pt x="65" y="151"/>
                        </a:lnTo>
                        <a:lnTo>
                          <a:pt x="64" y="151"/>
                        </a:lnTo>
                        <a:lnTo>
                          <a:pt x="64" y="151"/>
                        </a:lnTo>
                        <a:lnTo>
                          <a:pt x="64" y="152"/>
                        </a:lnTo>
                        <a:lnTo>
                          <a:pt x="64" y="153"/>
                        </a:lnTo>
                        <a:lnTo>
                          <a:pt x="64" y="153"/>
                        </a:lnTo>
                        <a:lnTo>
                          <a:pt x="63" y="153"/>
                        </a:lnTo>
                        <a:lnTo>
                          <a:pt x="63" y="153"/>
                        </a:lnTo>
                        <a:lnTo>
                          <a:pt x="63" y="154"/>
                        </a:lnTo>
                        <a:lnTo>
                          <a:pt x="63" y="154"/>
                        </a:lnTo>
                        <a:lnTo>
                          <a:pt x="62" y="154"/>
                        </a:lnTo>
                        <a:lnTo>
                          <a:pt x="62" y="154"/>
                        </a:lnTo>
                        <a:lnTo>
                          <a:pt x="60" y="154"/>
                        </a:lnTo>
                        <a:lnTo>
                          <a:pt x="60" y="154"/>
                        </a:lnTo>
                        <a:lnTo>
                          <a:pt x="60" y="154"/>
                        </a:lnTo>
                        <a:lnTo>
                          <a:pt x="60" y="154"/>
                        </a:lnTo>
                        <a:lnTo>
                          <a:pt x="60" y="155"/>
                        </a:lnTo>
                        <a:lnTo>
                          <a:pt x="60" y="155"/>
                        </a:lnTo>
                        <a:lnTo>
                          <a:pt x="60" y="155"/>
                        </a:lnTo>
                        <a:lnTo>
                          <a:pt x="60" y="155"/>
                        </a:lnTo>
                        <a:lnTo>
                          <a:pt x="60" y="155"/>
                        </a:lnTo>
                        <a:lnTo>
                          <a:pt x="60" y="155"/>
                        </a:lnTo>
                        <a:lnTo>
                          <a:pt x="60" y="157"/>
                        </a:lnTo>
                        <a:lnTo>
                          <a:pt x="60" y="157"/>
                        </a:lnTo>
                        <a:lnTo>
                          <a:pt x="60" y="157"/>
                        </a:lnTo>
                        <a:lnTo>
                          <a:pt x="60" y="157"/>
                        </a:lnTo>
                        <a:lnTo>
                          <a:pt x="60" y="157"/>
                        </a:lnTo>
                        <a:lnTo>
                          <a:pt x="59" y="157"/>
                        </a:lnTo>
                        <a:lnTo>
                          <a:pt x="59" y="157"/>
                        </a:lnTo>
                        <a:lnTo>
                          <a:pt x="60" y="157"/>
                        </a:lnTo>
                        <a:lnTo>
                          <a:pt x="59" y="157"/>
                        </a:lnTo>
                        <a:lnTo>
                          <a:pt x="59" y="157"/>
                        </a:lnTo>
                        <a:lnTo>
                          <a:pt x="59" y="158"/>
                        </a:lnTo>
                        <a:lnTo>
                          <a:pt x="59" y="158"/>
                        </a:lnTo>
                        <a:lnTo>
                          <a:pt x="59" y="158"/>
                        </a:lnTo>
                        <a:lnTo>
                          <a:pt x="59" y="158"/>
                        </a:lnTo>
                        <a:lnTo>
                          <a:pt x="59" y="159"/>
                        </a:lnTo>
                        <a:lnTo>
                          <a:pt x="58" y="159"/>
                        </a:lnTo>
                        <a:lnTo>
                          <a:pt x="58" y="159"/>
                        </a:lnTo>
                        <a:lnTo>
                          <a:pt x="57" y="159"/>
                        </a:lnTo>
                        <a:lnTo>
                          <a:pt x="56" y="159"/>
                        </a:lnTo>
                        <a:lnTo>
                          <a:pt x="56" y="159"/>
                        </a:lnTo>
                        <a:lnTo>
                          <a:pt x="56" y="158"/>
                        </a:lnTo>
                        <a:lnTo>
                          <a:pt x="55" y="159"/>
                        </a:lnTo>
                        <a:lnTo>
                          <a:pt x="55" y="158"/>
                        </a:lnTo>
                        <a:lnTo>
                          <a:pt x="55" y="158"/>
                        </a:lnTo>
                        <a:lnTo>
                          <a:pt x="53" y="158"/>
                        </a:lnTo>
                        <a:lnTo>
                          <a:pt x="53" y="157"/>
                        </a:lnTo>
                        <a:lnTo>
                          <a:pt x="52" y="157"/>
                        </a:lnTo>
                        <a:lnTo>
                          <a:pt x="52" y="155"/>
                        </a:lnTo>
                        <a:lnTo>
                          <a:pt x="51" y="155"/>
                        </a:lnTo>
                        <a:lnTo>
                          <a:pt x="50" y="155"/>
                        </a:lnTo>
                        <a:lnTo>
                          <a:pt x="50" y="155"/>
                        </a:lnTo>
                        <a:lnTo>
                          <a:pt x="50" y="154"/>
                        </a:lnTo>
                        <a:lnTo>
                          <a:pt x="49" y="154"/>
                        </a:lnTo>
                        <a:lnTo>
                          <a:pt x="49" y="153"/>
                        </a:lnTo>
                        <a:lnTo>
                          <a:pt x="47" y="153"/>
                        </a:lnTo>
                        <a:lnTo>
                          <a:pt x="47" y="152"/>
                        </a:lnTo>
                        <a:lnTo>
                          <a:pt x="46" y="152"/>
                        </a:lnTo>
                        <a:lnTo>
                          <a:pt x="47" y="151"/>
                        </a:lnTo>
                        <a:lnTo>
                          <a:pt x="47" y="151"/>
                        </a:lnTo>
                        <a:lnTo>
                          <a:pt x="46" y="149"/>
                        </a:lnTo>
                        <a:lnTo>
                          <a:pt x="45" y="149"/>
                        </a:lnTo>
                        <a:lnTo>
                          <a:pt x="46" y="149"/>
                        </a:lnTo>
                        <a:lnTo>
                          <a:pt x="47" y="149"/>
                        </a:lnTo>
                        <a:lnTo>
                          <a:pt x="47" y="149"/>
                        </a:lnTo>
                        <a:lnTo>
                          <a:pt x="47" y="148"/>
                        </a:lnTo>
                        <a:lnTo>
                          <a:pt x="47" y="148"/>
                        </a:lnTo>
                        <a:lnTo>
                          <a:pt x="46" y="147"/>
                        </a:lnTo>
                        <a:lnTo>
                          <a:pt x="46" y="147"/>
                        </a:lnTo>
                        <a:lnTo>
                          <a:pt x="45" y="146"/>
                        </a:lnTo>
                        <a:lnTo>
                          <a:pt x="44" y="145"/>
                        </a:lnTo>
                        <a:lnTo>
                          <a:pt x="44" y="144"/>
                        </a:lnTo>
                        <a:lnTo>
                          <a:pt x="44" y="144"/>
                        </a:lnTo>
                        <a:lnTo>
                          <a:pt x="44" y="144"/>
                        </a:lnTo>
                        <a:lnTo>
                          <a:pt x="46" y="144"/>
                        </a:lnTo>
                        <a:lnTo>
                          <a:pt x="46" y="142"/>
                        </a:lnTo>
                        <a:lnTo>
                          <a:pt x="45" y="144"/>
                        </a:lnTo>
                        <a:lnTo>
                          <a:pt x="45" y="142"/>
                        </a:lnTo>
                        <a:lnTo>
                          <a:pt x="45" y="142"/>
                        </a:lnTo>
                        <a:lnTo>
                          <a:pt x="44" y="141"/>
                        </a:lnTo>
                        <a:lnTo>
                          <a:pt x="44" y="140"/>
                        </a:lnTo>
                        <a:lnTo>
                          <a:pt x="43" y="140"/>
                        </a:lnTo>
                        <a:lnTo>
                          <a:pt x="42" y="140"/>
                        </a:lnTo>
                        <a:lnTo>
                          <a:pt x="42" y="139"/>
                        </a:lnTo>
                        <a:lnTo>
                          <a:pt x="42" y="139"/>
                        </a:lnTo>
                        <a:lnTo>
                          <a:pt x="42" y="139"/>
                        </a:lnTo>
                        <a:lnTo>
                          <a:pt x="42" y="138"/>
                        </a:lnTo>
                        <a:lnTo>
                          <a:pt x="40" y="138"/>
                        </a:lnTo>
                        <a:lnTo>
                          <a:pt x="38" y="137"/>
                        </a:lnTo>
                        <a:lnTo>
                          <a:pt x="37" y="135"/>
                        </a:lnTo>
                        <a:lnTo>
                          <a:pt x="36" y="135"/>
                        </a:lnTo>
                        <a:lnTo>
                          <a:pt x="33" y="134"/>
                        </a:lnTo>
                        <a:lnTo>
                          <a:pt x="32" y="134"/>
                        </a:lnTo>
                        <a:lnTo>
                          <a:pt x="32" y="134"/>
                        </a:lnTo>
                        <a:lnTo>
                          <a:pt x="32" y="134"/>
                        </a:lnTo>
                        <a:lnTo>
                          <a:pt x="32" y="134"/>
                        </a:lnTo>
                        <a:lnTo>
                          <a:pt x="32" y="135"/>
                        </a:lnTo>
                        <a:lnTo>
                          <a:pt x="32" y="135"/>
                        </a:lnTo>
                        <a:lnTo>
                          <a:pt x="31" y="135"/>
                        </a:lnTo>
                        <a:lnTo>
                          <a:pt x="29" y="135"/>
                        </a:lnTo>
                        <a:lnTo>
                          <a:pt x="29" y="135"/>
                        </a:lnTo>
                        <a:lnTo>
                          <a:pt x="29" y="135"/>
                        </a:lnTo>
                        <a:lnTo>
                          <a:pt x="27" y="135"/>
                        </a:lnTo>
                        <a:lnTo>
                          <a:pt x="27" y="135"/>
                        </a:lnTo>
                        <a:lnTo>
                          <a:pt x="26" y="131"/>
                        </a:lnTo>
                        <a:lnTo>
                          <a:pt x="26" y="129"/>
                        </a:lnTo>
                        <a:lnTo>
                          <a:pt x="25" y="128"/>
                        </a:lnTo>
                        <a:lnTo>
                          <a:pt x="26" y="127"/>
                        </a:lnTo>
                        <a:lnTo>
                          <a:pt x="26" y="126"/>
                        </a:lnTo>
                        <a:lnTo>
                          <a:pt x="27" y="124"/>
                        </a:lnTo>
                        <a:lnTo>
                          <a:pt x="30" y="121"/>
                        </a:lnTo>
                        <a:lnTo>
                          <a:pt x="29" y="120"/>
                        </a:lnTo>
                        <a:lnTo>
                          <a:pt x="30" y="119"/>
                        </a:lnTo>
                        <a:lnTo>
                          <a:pt x="30" y="119"/>
                        </a:lnTo>
                        <a:lnTo>
                          <a:pt x="31" y="118"/>
                        </a:lnTo>
                        <a:lnTo>
                          <a:pt x="32" y="118"/>
                        </a:lnTo>
                        <a:lnTo>
                          <a:pt x="32" y="118"/>
                        </a:lnTo>
                        <a:lnTo>
                          <a:pt x="33" y="118"/>
                        </a:lnTo>
                        <a:lnTo>
                          <a:pt x="35" y="117"/>
                        </a:lnTo>
                        <a:lnTo>
                          <a:pt x="35" y="115"/>
                        </a:lnTo>
                        <a:lnTo>
                          <a:pt x="33" y="115"/>
                        </a:lnTo>
                        <a:lnTo>
                          <a:pt x="33" y="115"/>
                        </a:lnTo>
                        <a:lnTo>
                          <a:pt x="32" y="114"/>
                        </a:lnTo>
                        <a:lnTo>
                          <a:pt x="30" y="109"/>
                        </a:lnTo>
                        <a:lnTo>
                          <a:pt x="29" y="109"/>
                        </a:lnTo>
                        <a:lnTo>
                          <a:pt x="30" y="108"/>
                        </a:lnTo>
                        <a:lnTo>
                          <a:pt x="29" y="107"/>
                        </a:lnTo>
                        <a:lnTo>
                          <a:pt x="30" y="107"/>
                        </a:lnTo>
                        <a:lnTo>
                          <a:pt x="30" y="106"/>
                        </a:lnTo>
                        <a:lnTo>
                          <a:pt x="30" y="106"/>
                        </a:lnTo>
                        <a:lnTo>
                          <a:pt x="31" y="104"/>
                        </a:lnTo>
                        <a:lnTo>
                          <a:pt x="32" y="102"/>
                        </a:lnTo>
                        <a:lnTo>
                          <a:pt x="33" y="101"/>
                        </a:lnTo>
                        <a:lnTo>
                          <a:pt x="35" y="101"/>
                        </a:lnTo>
                        <a:lnTo>
                          <a:pt x="35" y="100"/>
                        </a:lnTo>
                        <a:lnTo>
                          <a:pt x="35" y="99"/>
                        </a:lnTo>
                        <a:lnTo>
                          <a:pt x="36" y="99"/>
                        </a:lnTo>
                        <a:lnTo>
                          <a:pt x="36" y="98"/>
                        </a:lnTo>
                        <a:lnTo>
                          <a:pt x="36" y="97"/>
                        </a:lnTo>
                        <a:lnTo>
                          <a:pt x="35" y="97"/>
                        </a:lnTo>
                        <a:lnTo>
                          <a:pt x="35" y="95"/>
                        </a:lnTo>
                        <a:lnTo>
                          <a:pt x="33" y="95"/>
                        </a:lnTo>
                        <a:lnTo>
                          <a:pt x="33" y="94"/>
                        </a:lnTo>
                        <a:lnTo>
                          <a:pt x="31" y="94"/>
                        </a:lnTo>
                        <a:lnTo>
                          <a:pt x="30" y="93"/>
                        </a:lnTo>
                        <a:lnTo>
                          <a:pt x="31" y="92"/>
                        </a:lnTo>
                        <a:lnTo>
                          <a:pt x="31" y="91"/>
                        </a:lnTo>
                        <a:lnTo>
                          <a:pt x="29" y="89"/>
                        </a:lnTo>
                        <a:lnTo>
                          <a:pt x="31" y="89"/>
                        </a:lnTo>
                        <a:lnTo>
                          <a:pt x="30" y="88"/>
                        </a:lnTo>
                        <a:lnTo>
                          <a:pt x="27" y="86"/>
                        </a:lnTo>
                        <a:lnTo>
                          <a:pt x="26" y="84"/>
                        </a:lnTo>
                        <a:lnTo>
                          <a:pt x="29" y="85"/>
                        </a:lnTo>
                        <a:lnTo>
                          <a:pt x="31" y="84"/>
                        </a:lnTo>
                        <a:lnTo>
                          <a:pt x="32" y="85"/>
                        </a:lnTo>
                        <a:lnTo>
                          <a:pt x="36" y="84"/>
                        </a:lnTo>
                        <a:lnTo>
                          <a:pt x="36" y="82"/>
                        </a:lnTo>
                        <a:lnTo>
                          <a:pt x="37" y="81"/>
                        </a:lnTo>
                        <a:lnTo>
                          <a:pt x="37" y="77"/>
                        </a:lnTo>
                        <a:lnTo>
                          <a:pt x="37" y="75"/>
                        </a:lnTo>
                        <a:lnTo>
                          <a:pt x="36" y="74"/>
                        </a:lnTo>
                        <a:lnTo>
                          <a:pt x="37" y="73"/>
                        </a:lnTo>
                        <a:lnTo>
                          <a:pt x="38" y="72"/>
                        </a:lnTo>
                        <a:lnTo>
                          <a:pt x="38" y="71"/>
                        </a:lnTo>
                        <a:lnTo>
                          <a:pt x="39" y="71"/>
                        </a:lnTo>
                        <a:lnTo>
                          <a:pt x="39" y="70"/>
                        </a:lnTo>
                        <a:lnTo>
                          <a:pt x="39" y="70"/>
                        </a:lnTo>
                        <a:lnTo>
                          <a:pt x="38" y="68"/>
                        </a:lnTo>
                        <a:lnTo>
                          <a:pt x="39" y="67"/>
                        </a:lnTo>
                        <a:lnTo>
                          <a:pt x="39" y="66"/>
                        </a:lnTo>
                        <a:lnTo>
                          <a:pt x="39" y="65"/>
                        </a:lnTo>
                        <a:lnTo>
                          <a:pt x="39" y="62"/>
                        </a:lnTo>
                        <a:lnTo>
                          <a:pt x="39" y="60"/>
                        </a:lnTo>
                        <a:lnTo>
                          <a:pt x="39" y="59"/>
                        </a:lnTo>
                        <a:lnTo>
                          <a:pt x="38" y="55"/>
                        </a:lnTo>
                        <a:lnTo>
                          <a:pt x="39" y="57"/>
                        </a:lnTo>
                        <a:lnTo>
                          <a:pt x="42" y="55"/>
                        </a:lnTo>
                        <a:lnTo>
                          <a:pt x="42" y="53"/>
                        </a:lnTo>
                        <a:lnTo>
                          <a:pt x="43" y="52"/>
                        </a:lnTo>
                        <a:lnTo>
                          <a:pt x="44" y="52"/>
                        </a:lnTo>
                        <a:lnTo>
                          <a:pt x="45" y="52"/>
                        </a:lnTo>
                        <a:lnTo>
                          <a:pt x="47" y="51"/>
                        </a:lnTo>
                        <a:lnTo>
                          <a:pt x="47" y="50"/>
                        </a:lnTo>
                        <a:lnTo>
                          <a:pt x="47" y="50"/>
                        </a:lnTo>
                        <a:lnTo>
                          <a:pt x="49" y="48"/>
                        </a:lnTo>
                        <a:lnTo>
                          <a:pt x="49" y="47"/>
                        </a:lnTo>
                        <a:lnTo>
                          <a:pt x="50" y="45"/>
                        </a:lnTo>
                        <a:lnTo>
                          <a:pt x="50" y="44"/>
                        </a:lnTo>
                        <a:lnTo>
                          <a:pt x="49" y="44"/>
                        </a:lnTo>
                        <a:lnTo>
                          <a:pt x="49" y="42"/>
                        </a:lnTo>
                        <a:lnTo>
                          <a:pt x="46" y="42"/>
                        </a:lnTo>
                        <a:lnTo>
                          <a:pt x="45" y="44"/>
                        </a:lnTo>
                        <a:lnTo>
                          <a:pt x="44" y="42"/>
                        </a:lnTo>
                        <a:lnTo>
                          <a:pt x="44" y="42"/>
                        </a:lnTo>
                        <a:lnTo>
                          <a:pt x="45" y="40"/>
                        </a:lnTo>
                        <a:lnTo>
                          <a:pt x="45" y="39"/>
                        </a:lnTo>
                        <a:lnTo>
                          <a:pt x="44" y="39"/>
                        </a:lnTo>
                        <a:lnTo>
                          <a:pt x="44" y="38"/>
                        </a:lnTo>
                        <a:lnTo>
                          <a:pt x="44" y="38"/>
                        </a:lnTo>
                        <a:lnTo>
                          <a:pt x="43" y="38"/>
                        </a:lnTo>
                        <a:lnTo>
                          <a:pt x="42" y="38"/>
                        </a:lnTo>
                        <a:lnTo>
                          <a:pt x="40" y="37"/>
                        </a:lnTo>
                        <a:lnTo>
                          <a:pt x="39" y="38"/>
                        </a:lnTo>
                        <a:lnTo>
                          <a:pt x="38" y="38"/>
                        </a:lnTo>
                        <a:lnTo>
                          <a:pt x="38" y="37"/>
                        </a:lnTo>
                        <a:lnTo>
                          <a:pt x="37" y="37"/>
                        </a:lnTo>
                        <a:lnTo>
                          <a:pt x="36" y="38"/>
                        </a:lnTo>
                        <a:lnTo>
                          <a:pt x="36" y="37"/>
                        </a:lnTo>
                        <a:lnTo>
                          <a:pt x="35" y="37"/>
                        </a:lnTo>
                        <a:lnTo>
                          <a:pt x="35" y="39"/>
                        </a:lnTo>
                        <a:lnTo>
                          <a:pt x="32" y="40"/>
                        </a:lnTo>
                        <a:lnTo>
                          <a:pt x="30" y="40"/>
                        </a:lnTo>
                        <a:lnTo>
                          <a:pt x="29" y="39"/>
                        </a:lnTo>
                        <a:lnTo>
                          <a:pt x="27" y="39"/>
                        </a:lnTo>
                        <a:lnTo>
                          <a:pt x="26" y="40"/>
                        </a:lnTo>
                        <a:lnTo>
                          <a:pt x="27" y="39"/>
                        </a:lnTo>
                        <a:lnTo>
                          <a:pt x="26" y="39"/>
                        </a:lnTo>
                        <a:lnTo>
                          <a:pt x="25" y="39"/>
                        </a:lnTo>
                        <a:lnTo>
                          <a:pt x="24" y="39"/>
                        </a:lnTo>
                        <a:lnTo>
                          <a:pt x="23" y="39"/>
                        </a:lnTo>
                        <a:lnTo>
                          <a:pt x="22" y="38"/>
                        </a:lnTo>
                        <a:lnTo>
                          <a:pt x="20" y="39"/>
                        </a:lnTo>
                        <a:lnTo>
                          <a:pt x="19" y="40"/>
                        </a:lnTo>
                        <a:lnTo>
                          <a:pt x="18" y="40"/>
                        </a:lnTo>
                        <a:lnTo>
                          <a:pt x="17" y="39"/>
                        </a:lnTo>
                        <a:lnTo>
                          <a:pt x="17" y="38"/>
                        </a:lnTo>
                        <a:lnTo>
                          <a:pt x="17" y="37"/>
                        </a:lnTo>
                        <a:lnTo>
                          <a:pt x="19" y="35"/>
                        </a:lnTo>
                        <a:lnTo>
                          <a:pt x="18" y="35"/>
                        </a:lnTo>
                        <a:lnTo>
                          <a:pt x="17" y="34"/>
                        </a:lnTo>
                        <a:lnTo>
                          <a:pt x="16" y="34"/>
                        </a:lnTo>
                        <a:lnTo>
                          <a:pt x="15" y="34"/>
                        </a:lnTo>
                        <a:lnTo>
                          <a:pt x="13" y="34"/>
                        </a:lnTo>
                        <a:lnTo>
                          <a:pt x="10" y="37"/>
                        </a:lnTo>
                        <a:lnTo>
                          <a:pt x="10" y="37"/>
                        </a:lnTo>
                        <a:lnTo>
                          <a:pt x="9" y="38"/>
                        </a:lnTo>
                        <a:lnTo>
                          <a:pt x="9" y="38"/>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grpSp>
            <p:sp>
              <p:nvSpPr>
                <p:cNvPr id="377" name="South Africa">
                  <a:extLst>
                    <a:ext uri="{FF2B5EF4-FFF2-40B4-BE49-F238E27FC236}">
                      <a16:creationId xmlns:a16="http://schemas.microsoft.com/office/drawing/2014/main" id="{D09AD877-9198-3549-8D0B-7E344EA3D541}"/>
                    </a:ext>
                  </a:extLst>
                </p:cNvPr>
                <p:cNvSpPr>
                  <a:spLocks noEditPoints="1"/>
                </p:cNvSpPr>
                <p:nvPr/>
              </p:nvSpPr>
              <p:spPr bwMode="auto">
                <a:xfrm>
                  <a:off x="6782219" y="4649898"/>
                  <a:ext cx="424263" cy="380525"/>
                </a:xfrm>
                <a:custGeom>
                  <a:avLst/>
                  <a:gdLst>
                    <a:gd name="T0" fmla="*/ 153 w 291"/>
                    <a:gd name="T1" fmla="*/ 241 h 261"/>
                    <a:gd name="T2" fmla="*/ 140 w 291"/>
                    <a:gd name="T3" fmla="*/ 243 h 261"/>
                    <a:gd name="T4" fmla="*/ 135 w 291"/>
                    <a:gd name="T5" fmla="*/ 248 h 261"/>
                    <a:gd name="T6" fmla="*/ 115 w 291"/>
                    <a:gd name="T7" fmla="*/ 244 h 261"/>
                    <a:gd name="T8" fmla="*/ 108 w 291"/>
                    <a:gd name="T9" fmla="*/ 244 h 261"/>
                    <a:gd name="T10" fmla="*/ 90 w 291"/>
                    <a:gd name="T11" fmla="*/ 248 h 261"/>
                    <a:gd name="T12" fmla="*/ 79 w 291"/>
                    <a:gd name="T13" fmla="*/ 253 h 261"/>
                    <a:gd name="T14" fmla="*/ 68 w 291"/>
                    <a:gd name="T15" fmla="*/ 254 h 261"/>
                    <a:gd name="T16" fmla="*/ 55 w 291"/>
                    <a:gd name="T17" fmla="*/ 261 h 261"/>
                    <a:gd name="T18" fmla="*/ 45 w 291"/>
                    <a:gd name="T19" fmla="*/ 257 h 261"/>
                    <a:gd name="T20" fmla="*/ 40 w 291"/>
                    <a:gd name="T21" fmla="*/ 253 h 261"/>
                    <a:gd name="T22" fmla="*/ 36 w 291"/>
                    <a:gd name="T23" fmla="*/ 250 h 261"/>
                    <a:gd name="T24" fmla="*/ 29 w 291"/>
                    <a:gd name="T25" fmla="*/ 248 h 261"/>
                    <a:gd name="T26" fmla="*/ 28 w 291"/>
                    <a:gd name="T27" fmla="*/ 247 h 261"/>
                    <a:gd name="T28" fmla="*/ 30 w 291"/>
                    <a:gd name="T29" fmla="*/ 242 h 261"/>
                    <a:gd name="T30" fmla="*/ 28 w 291"/>
                    <a:gd name="T31" fmla="*/ 233 h 261"/>
                    <a:gd name="T32" fmla="*/ 23 w 291"/>
                    <a:gd name="T33" fmla="*/ 224 h 261"/>
                    <a:gd name="T34" fmla="*/ 22 w 291"/>
                    <a:gd name="T35" fmla="*/ 217 h 261"/>
                    <a:gd name="T36" fmla="*/ 30 w 291"/>
                    <a:gd name="T37" fmla="*/ 204 h 261"/>
                    <a:gd name="T38" fmla="*/ 19 w 291"/>
                    <a:gd name="T39" fmla="*/ 183 h 261"/>
                    <a:gd name="T40" fmla="*/ 10 w 291"/>
                    <a:gd name="T41" fmla="*/ 155 h 261"/>
                    <a:gd name="T42" fmla="*/ 3 w 291"/>
                    <a:gd name="T43" fmla="*/ 137 h 261"/>
                    <a:gd name="T44" fmla="*/ 8 w 291"/>
                    <a:gd name="T45" fmla="*/ 127 h 261"/>
                    <a:gd name="T46" fmla="*/ 13 w 291"/>
                    <a:gd name="T47" fmla="*/ 122 h 261"/>
                    <a:gd name="T48" fmla="*/ 17 w 291"/>
                    <a:gd name="T49" fmla="*/ 134 h 261"/>
                    <a:gd name="T50" fmla="*/ 33 w 291"/>
                    <a:gd name="T51" fmla="*/ 138 h 261"/>
                    <a:gd name="T52" fmla="*/ 52 w 291"/>
                    <a:gd name="T53" fmla="*/ 134 h 261"/>
                    <a:gd name="T54" fmla="*/ 71 w 291"/>
                    <a:gd name="T55" fmla="*/ 58 h 261"/>
                    <a:gd name="T56" fmla="*/ 79 w 291"/>
                    <a:gd name="T57" fmla="*/ 76 h 261"/>
                    <a:gd name="T58" fmla="*/ 77 w 291"/>
                    <a:gd name="T59" fmla="*/ 97 h 261"/>
                    <a:gd name="T60" fmla="*/ 100 w 291"/>
                    <a:gd name="T61" fmla="*/ 91 h 261"/>
                    <a:gd name="T62" fmla="*/ 116 w 291"/>
                    <a:gd name="T63" fmla="*/ 70 h 261"/>
                    <a:gd name="T64" fmla="*/ 138 w 291"/>
                    <a:gd name="T65" fmla="*/ 71 h 261"/>
                    <a:gd name="T66" fmla="*/ 167 w 291"/>
                    <a:gd name="T67" fmla="*/ 62 h 261"/>
                    <a:gd name="T68" fmla="*/ 193 w 291"/>
                    <a:gd name="T69" fmla="*/ 30 h 261"/>
                    <a:gd name="T70" fmla="*/ 207 w 291"/>
                    <a:gd name="T71" fmla="*/ 19 h 261"/>
                    <a:gd name="T72" fmla="*/ 226 w 291"/>
                    <a:gd name="T73" fmla="*/ 3 h 261"/>
                    <a:gd name="T74" fmla="*/ 263 w 291"/>
                    <a:gd name="T75" fmla="*/ 2 h 261"/>
                    <a:gd name="T76" fmla="*/ 279 w 291"/>
                    <a:gd name="T77" fmla="*/ 46 h 261"/>
                    <a:gd name="T78" fmla="*/ 256 w 291"/>
                    <a:gd name="T79" fmla="*/ 87 h 261"/>
                    <a:gd name="T80" fmla="*/ 278 w 291"/>
                    <a:gd name="T81" fmla="*/ 96 h 261"/>
                    <a:gd name="T82" fmla="*/ 280 w 291"/>
                    <a:gd name="T83" fmla="*/ 129 h 261"/>
                    <a:gd name="T84" fmla="*/ 273 w 291"/>
                    <a:gd name="T85" fmla="*/ 137 h 261"/>
                    <a:gd name="T86" fmla="*/ 256 w 291"/>
                    <a:gd name="T87" fmla="*/ 155 h 261"/>
                    <a:gd name="T88" fmla="*/ 253 w 291"/>
                    <a:gd name="T89" fmla="*/ 160 h 261"/>
                    <a:gd name="T90" fmla="*/ 242 w 291"/>
                    <a:gd name="T91" fmla="*/ 178 h 261"/>
                    <a:gd name="T92" fmla="*/ 226 w 291"/>
                    <a:gd name="T93" fmla="*/ 194 h 261"/>
                    <a:gd name="T94" fmla="*/ 217 w 291"/>
                    <a:gd name="T95" fmla="*/ 204 h 261"/>
                    <a:gd name="T96" fmla="*/ 200 w 291"/>
                    <a:gd name="T97" fmla="*/ 217 h 261"/>
                    <a:gd name="T98" fmla="*/ 191 w 291"/>
                    <a:gd name="T99" fmla="*/ 225 h 261"/>
                    <a:gd name="T100" fmla="*/ 179 w 291"/>
                    <a:gd name="T101" fmla="*/ 234 h 261"/>
                    <a:gd name="T102" fmla="*/ 202 w 291"/>
                    <a:gd name="T103" fmla="*/ 176 h 261"/>
                    <a:gd name="T104" fmla="*/ 191 w 291"/>
                    <a:gd name="T105" fmla="*/ 148 h 261"/>
                    <a:gd name="T106" fmla="*/ 197 w 291"/>
                    <a:gd name="T107" fmla="*/ 141 h 261"/>
                    <a:gd name="T108" fmla="*/ 204 w 291"/>
                    <a:gd name="T109" fmla="*/ 135 h 261"/>
                    <a:gd name="T110" fmla="*/ 220 w 291"/>
                    <a:gd name="T111" fmla="*/ 140 h 261"/>
                    <a:gd name="T112" fmla="*/ 225 w 291"/>
                    <a:gd name="T113" fmla="*/ 150 h 261"/>
                    <a:gd name="T114" fmla="*/ 220 w 291"/>
                    <a:gd name="T115" fmla="*/ 160 h 261"/>
                    <a:gd name="T116" fmla="*/ 204 w 291"/>
                    <a:gd name="T117" fmla="*/ 166 h 2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291" h="261">
                      <a:moveTo>
                        <a:pt x="169" y="238"/>
                      </a:moveTo>
                      <a:lnTo>
                        <a:pt x="166" y="238"/>
                      </a:lnTo>
                      <a:lnTo>
                        <a:pt x="165" y="238"/>
                      </a:lnTo>
                      <a:lnTo>
                        <a:pt x="164" y="238"/>
                      </a:lnTo>
                      <a:lnTo>
                        <a:pt x="162" y="237"/>
                      </a:lnTo>
                      <a:lnTo>
                        <a:pt x="159" y="237"/>
                      </a:lnTo>
                      <a:lnTo>
                        <a:pt x="158" y="238"/>
                      </a:lnTo>
                      <a:lnTo>
                        <a:pt x="157" y="238"/>
                      </a:lnTo>
                      <a:lnTo>
                        <a:pt x="155" y="238"/>
                      </a:lnTo>
                      <a:lnTo>
                        <a:pt x="155" y="240"/>
                      </a:lnTo>
                      <a:lnTo>
                        <a:pt x="153" y="241"/>
                      </a:lnTo>
                      <a:lnTo>
                        <a:pt x="153" y="242"/>
                      </a:lnTo>
                      <a:lnTo>
                        <a:pt x="153" y="243"/>
                      </a:lnTo>
                      <a:lnTo>
                        <a:pt x="155" y="244"/>
                      </a:lnTo>
                      <a:lnTo>
                        <a:pt x="153" y="245"/>
                      </a:lnTo>
                      <a:lnTo>
                        <a:pt x="153" y="244"/>
                      </a:lnTo>
                      <a:lnTo>
                        <a:pt x="151" y="244"/>
                      </a:lnTo>
                      <a:lnTo>
                        <a:pt x="150" y="244"/>
                      </a:lnTo>
                      <a:lnTo>
                        <a:pt x="149" y="244"/>
                      </a:lnTo>
                      <a:lnTo>
                        <a:pt x="146" y="243"/>
                      </a:lnTo>
                      <a:lnTo>
                        <a:pt x="143" y="243"/>
                      </a:lnTo>
                      <a:lnTo>
                        <a:pt x="140" y="243"/>
                      </a:lnTo>
                      <a:lnTo>
                        <a:pt x="140" y="244"/>
                      </a:lnTo>
                      <a:lnTo>
                        <a:pt x="140" y="245"/>
                      </a:lnTo>
                      <a:lnTo>
                        <a:pt x="140" y="245"/>
                      </a:lnTo>
                      <a:lnTo>
                        <a:pt x="140" y="247"/>
                      </a:lnTo>
                      <a:lnTo>
                        <a:pt x="139" y="247"/>
                      </a:lnTo>
                      <a:lnTo>
                        <a:pt x="139" y="248"/>
                      </a:lnTo>
                      <a:lnTo>
                        <a:pt x="139" y="248"/>
                      </a:lnTo>
                      <a:lnTo>
                        <a:pt x="138" y="248"/>
                      </a:lnTo>
                      <a:lnTo>
                        <a:pt x="137" y="248"/>
                      </a:lnTo>
                      <a:lnTo>
                        <a:pt x="136" y="248"/>
                      </a:lnTo>
                      <a:lnTo>
                        <a:pt x="135" y="248"/>
                      </a:lnTo>
                      <a:lnTo>
                        <a:pt x="133" y="247"/>
                      </a:lnTo>
                      <a:lnTo>
                        <a:pt x="131" y="245"/>
                      </a:lnTo>
                      <a:lnTo>
                        <a:pt x="130" y="245"/>
                      </a:lnTo>
                      <a:lnTo>
                        <a:pt x="128" y="244"/>
                      </a:lnTo>
                      <a:lnTo>
                        <a:pt x="124" y="244"/>
                      </a:lnTo>
                      <a:lnTo>
                        <a:pt x="119" y="243"/>
                      </a:lnTo>
                      <a:lnTo>
                        <a:pt x="117" y="243"/>
                      </a:lnTo>
                      <a:lnTo>
                        <a:pt x="115" y="244"/>
                      </a:lnTo>
                      <a:lnTo>
                        <a:pt x="115" y="244"/>
                      </a:lnTo>
                      <a:lnTo>
                        <a:pt x="115" y="245"/>
                      </a:lnTo>
                      <a:lnTo>
                        <a:pt x="115" y="244"/>
                      </a:lnTo>
                      <a:lnTo>
                        <a:pt x="115" y="244"/>
                      </a:lnTo>
                      <a:lnTo>
                        <a:pt x="115" y="244"/>
                      </a:lnTo>
                      <a:lnTo>
                        <a:pt x="115" y="245"/>
                      </a:lnTo>
                      <a:lnTo>
                        <a:pt x="115" y="245"/>
                      </a:lnTo>
                      <a:lnTo>
                        <a:pt x="115" y="245"/>
                      </a:lnTo>
                      <a:lnTo>
                        <a:pt x="115" y="247"/>
                      </a:lnTo>
                      <a:lnTo>
                        <a:pt x="113" y="247"/>
                      </a:lnTo>
                      <a:lnTo>
                        <a:pt x="111" y="245"/>
                      </a:lnTo>
                      <a:lnTo>
                        <a:pt x="109" y="245"/>
                      </a:lnTo>
                      <a:lnTo>
                        <a:pt x="109" y="244"/>
                      </a:lnTo>
                      <a:lnTo>
                        <a:pt x="108" y="244"/>
                      </a:lnTo>
                      <a:lnTo>
                        <a:pt x="108" y="245"/>
                      </a:lnTo>
                      <a:lnTo>
                        <a:pt x="108" y="245"/>
                      </a:lnTo>
                      <a:lnTo>
                        <a:pt x="108" y="245"/>
                      </a:lnTo>
                      <a:lnTo>
                        <a:pt x="106" y="245"/>
                      </a:lnTo>
                      <a:lnTo>
                        <a:pt x="104" y="244"/>
                      </a:lnTo>
                      <a:lnTo>
                        <a:pt x="100" y="244"/>
                      </a:lnTo>
                      <a:lnTo>
                        <a:pt x="97" y="244"/>
                      </a:lnTo>
                      <a:lnTo>
                        <a:pt x="96" y="244"/>
                      </a:lnTo>
                      <a:lnTo>
                        <a:pt x="93" y="245"/>
                      </a:lnTo>
                      <a:lnTo>
                        <a:pt x="92" y="247"/>
                      </a:lnTo>
                      <a:lnTo>
                        <a:pt x="90" y="248"/>
                      </a:lnTo>
                      <a:lnTo>
                        <a:pt x="90" y="249"/>
                      </a:lnTo>
                      <a:lnTo>
                        <a:pt x="89" y="250"/>
                      </a:lnTo>
                      <a:lnTo>
                        <a:pt x="89" y="250"/>
                      </a:lnTo>
                      <a:lnTo>
                        <a:pt x="88" y="251"/>
                      </a:lnTo>
                      <a:lnTo>
                        <a:pt x="86" y="253"/>
                      </a:lnTo>
                      <a:lnTo>
                        <a:pt x="85" y="253"/>
                      </a:lnTo>
                      <a:lnTo>
                        <a:pt x="83" y="251"/>
                      </a:lnTo>
                      <a:lnTo>
                        <a:pt x="83" y="251"/>
                      </a:lnTo>
                      <a:lnTo>
                        <a:pt x="82" y="251"/>
                      </a:lnTo>
                      <a:lnTo>
                        <a:pt x="82" y="251"/>
                      </a:lnTo>
                      <a:lnTo>
                        <a:pt x="79" y="253"/>
                      </a:lnTo>
                      <a:lnTo>
                        <a:pt x="79" y="253"/>
                      </a:lnTo>
                      <a:lnTo>
                        <a:pt x="79" y="253"/>
                      </a:lnTo>
                      <a:lnTo>
                        <a:pt x="77" y="253"/>
                      </a:lnTo>
                      <a:lnTo>
                        <a:pt x="76" y="253"/>
                      </a:lnTo>
                      <a:lnTo>
                        <a:pt x="75" y="251"/>
                      </a:lnTo>
                      <a:lnTo>
                        <a:pt x="73" y="251"/>
                      </a:lnTo>
                      <a:lnTo>
                        <a:pt x="71" y="251"/>
                      </a:lnTo>
                      <a:lnTo>
                        <a:pt x="70" y="253"/>
                      </a:lnTo>
                      <a:lnTo>
                        <a:pt x="70" y="253"/>
                      </a:lnTo>
                      <a:lnTo>
                        <a:pt x="69" y="254"/>
                      </a:lnTo>
                      <a:lnTo>
                        <a:pt x="68" y="254"/>
                      </a:lnTo>
                      <a:lnTo>
                        <a:pt x="64" y="254"/>
                      </a:lnTo>
                      <a:lnTo>
                        <a:pt x="63" y="254"/>
                      </a:lnTo>
                      <a:lnTo>
                        <a:pt x="63" y="255"/>
                      </a:lnTo>
                      <a:lnTo>
                        <a:pt x="60" y="257"/>
                      </a:lnTo>
                      <a:lnTo>
                        <a:pt x="59" y="257"/>
                      </a:lnTo>
                      <a:lnTo>
                        <a:pt x="58" y="258"/>
                      </a:lnTo>
                      <a:lnTo>
                        <a:pt x="57" y="258"/>
                      </a:lnTo>
                      <a:lnTo>
                        <a:pt x="56" y="260"/>
                      </a:lnTo>
                      <a:lnTo>
                        <a:pt x="56" y="260"/>
                      </a:lnTo>
                      <a:lnTo>
                        <a:pt x="55" y="261"/>
                      </a:lnTo>
                      <a:lnTo>
                        <a:pt x="55" y="261"/>
                      </a:lnTo>
                      <a:lnTo>
                        <a:pt x="53" y="261"/>
                      </a:lnTo>
                      <a:lnTo>
                        <a:pt x="53" y="260"/>
                      </a:lnTo>
                      <a:lnTo>
                        <a:pt x="52" y="260"/>
                      </a:lnTo>
                      <a:lnTo>
                        <a:pt x="50" y="260"/>
                      </a:lnTo>
                      <a:lnTo>
                        <a:pt x="50" y="260"/>
                      </a:lnTo>
                      <a:lnTo>
                        <a:pt x="50" y="260"/>
                      </a:lnTo>
                      <a:lnTo>
                        <a:pt x="49" y="260"/>
                      </a:lnTo>
                      <a:lnTo>
                        <a:pt x="48" y="258"/>
                      </a:lnTo>
                      <a:lnTo>
                        <a:pt x="46" y="258"/>
                      </a:lnTo>
                      <a:lnTo>
                        <a:pt x="46" y="257"/>
                      </a:lnTo>
                      <a:lnTo>
                        <a:pt x="45" y="257"/>
                      </a:lnTo>
                      <a:lnTo>
                        <a:pt x="44" y="256"/>
                      </a:lnTo>
                      <a:lnTo>
                        <a:pt x="44" y="256"/>
                      </a:lnTo>
                      <a:lnTo>
                        <a:pt x="44" y="256"/>
                      </a:lnTo>
                      <a:lnTo>
                        <a:pt x="44" y="255"/>
                      </a:lnTo>
                      <a:lnTo>
                        <a:pt x="44" y="255"/>
                      </a:lnTo>
                      <a:lnTo>
                        <a:pt x="44" y="254"/>
                      </a:lnTo>
                      <a:lnTo>
                        <a:pt x="43" y="253"/>
                      </a:lnTo>
                      <a:lnTo>
                        <a:pt x="43" y="253"/>
                      </a:lnTo>
                      <a:lnTo>
                        <a:pt x="43" y="253"/>
                      </a:lnTo>
                      <a:lnTo>
                        <a:pt x="42" y="253"/>
                      </a:lnTo>
                      <a:lnTo>
                        <a:pt x="40" y="253"/>
                      </a:lnTo>
                      <a:lnTo>
                        <a:pt x="40" y="251"/>
                      </a:lnTo>
                      <a:lnTo>
                        <a:pt x="39" y="251"/>
                      </a:lnTo>
                      <a:lnTo>
                        <a:pt x="39" y="251"/>
                      </a:lnTo>
                      <a:lnTo>
                        <a:pt x="39" y="251"/>
                      </a:lnTo>
                      <a:lnTo>
                        <a:pt x="38" y="251"/>
                      </a:lnTo>
                      <a:lnTo>
                        <a:pt x="37" y="251"/>
                      </a:lnTo>
                      <a:lnTo>
                        <a:pt x="36" y="251"/>
                      </a:lnTo>
                      <a:lnTo>
                        <a:pt x="36" y="253"/>
                      </a:lnTo>
                      <a:lnTo>
                        <a:pt x="35" y="251"/>
                      </a:lnTo>
                      <a:lnTo>
                        <a:pt x="36" y="251"/>
                      </a:lnTo>
                      <a:lnTo>
                        <a:pt x="36" y="250"/>
                      </a:lnTo>
                      <a:lnTo>
                        <a:pt x="36" y="250"/>
                      </a:lnTo>
                      <a:lnTo>
                        <a:pt x="36" y="249"/>
                      </a:lnTo>
                      <a:lnTo>
                        <a:pt x="37" y="247"/>
                      </a:lnTo>
                      <a:lnTo>
                        <a:pt x="36" y="247"/>
                      </a:lnTo>
                      <a:lnTo>
                        <a:pt x="36" y="245"/>
                      </a:lnTo>
                      <a:lnTo>
                        <a:pt x="35" y="245"/>
                      </a:lnTo>
                      <a:lnTo>
                        <a:pt x="32" y="244"/>
                      </a:lnTo>
                      <a:lnTo>
                        <a:pt x="30" y="245"/>
                      </a:lnTo>
                      <a:lnTo>
                        <a:pt x="30" y="247"/>
                      </a:lnTo>
                      <a:lnTo>
                        <a:pt x="29" y="248"/>
                      </a:lnTo>
                      <a:lnTo>
                        <a:pt x="29" y="248"/>
                      </a:lnTo>
                      <a:lnTo>
                        <a:pt x="29" y="248"/>
                      </a:lnTo>
                      <a:lnTo>
                        <a:pt x="30" y="248"/>
                      </a:lnTo>
                      <a:lnTo>
                        <a:pt x="30" y="249"/>
                      </a:lnTo>
                      <a:lnTo>
                        <a:pt x="30" y="250"/>
                      </a:lnTo>
                      <a:lnTo>
                        <a:pt x="30" y="251"/>
                      </a:lnTo>
                      <a:lnTo>
                        <a:pt x="29" y="251"/>
                      </a:lnTo>
                      <a:lnTo>
                        <a:pt x="29" y="250"/>
                      </a:lnTo>
                      <a:lnTo>
                        <a:pt x="29" y="249"/>
                      </a:lnTo>
                      <a:lnTo>
                        <a:pt x="28" y="249"/>
                      </a:lnTo>
                      <a:lnTo>
                        <a:pt x="28" y="248"/>
                      </a:lnTo>
                      <a:lnTo>
                        <a:pt x="28" y="247"/>
                      </a:lnTo>
                      <a:lnTo>
                        <a:pt x="28" y="247"/>
                      </a:lnTo>
                      <a:lnTo>
                        <a:pt x="26" y="245"/>
                      </a:lnTo>
                      <a:lnTo>
                        <a:pt x="26" y="245"/>
                      </a:lnTo>
                      <a:lnTo>
                        <a:pt x="26" y="245"/>
                      </a:lnTo>
                      <a:lnTo>
                        <a:pt x="28" y="244"/>
                      </a:lnTo>
                      <a:lnTo>
                        <a:pt x="28" y="244"/>
                      </a:lnTo>
                      <a:lnTo>
                        <a:pt x="28" y="243"/>
                      </a:lnTo>
                      <a:lnTo>
                        <a:pt x="28" y="243"/>
                      </a:lnTo>
                      <a:lnTo>
                        <a:pt x="29" y="242"/>
                      </a:lnTo>
                      <a:lnTo>
                        <a:pt x="29" y="242"/>
                      </a:lnTo>
                      <a:lnTo>
                        <a:pt x="30" y="242"/>
                      </a:lnTo>
                      <a:lnTo>
                        <a:pt x="30" y="242"/>
                      </a:lnTo>
                      <a:lnTo>
                        <a:pt x="30" y="241"/>
                      </a:lnTo>
                      <a:lnTo>
                        <a:pt x="30" y="241"/>
                      </a:lnTo>
                      <a:lnTo>
                        <a:pt x="30" y="238"/>
                      </a:lnTo>
                      <a:lnTo>
                        <a:pt x="30" y="237"/>
                      </a:lnTo>
                      <a:lnTo>
                        <a:pt x="30" y="236"/>
                      </a:lnTo>
                      <a:lnTo>
                        <a:pt x="29" y="236"/>
                      </a:lnTo>
                      <a:lnTo>
                        <a:pt x="28" y="236"/>
                      </a:lnTo>
                      <a:lnTo>
                        <a:pt x="28" y="235"/>
                      </a:lnTo>
                      <a:lnTo>
                        <a:pt x="28" y="234"/>
                      </a:lnTo>
                      <a:lnTo>
                        <a:pt x="28" y="233"/>
                      </a:lnTo>
                      <a:lnTo>
                        <a:pt x="26" y="231"/>
                      </a:lnTo>
                      <a:lnTo>
                        <a:pt x="25" y="230"/>
                      </a:lnTo>
                      <a:lnTo>
                        <a:pt x="25" y="230"/>
                      </a:lnTo>
                      <a:lnTo>
                        <a:pt x="24" y="228"/>
                      </a:lnTo>
                      <a:lnTo>
                        <a:pt x="25" y="227"/>
                      </a:lnTo>
                      <a:lnTo>
                        <a:pt x="24" y="227"/>
                      </a:lnTo>
                      <a:lnTo>
                        <a:pt x="23" y="225"/>
                      </a:lnTo>
                      <a:lnTo>
                        <a:pt x="23" y="224"/>
                      </a:lnTo>
                      <a:lnTo>
                        <a:pt x="23" y="223"/>
                      </a:lnTo>
                      <a:lnTo>
                        <a:pt x="23" y="223"/>
                      </a:lnTo>
                      <a:lnTo>
                        <a:pt x="23" y="224"/>
                      </a:lnTo>
                      <a:lnTo>
                        <a:pt x="22" y="224"/>
                      </a:lnTo>
                      <a:lnTo>
                        <a:pt x="22" y="224"/>
                      </a:lnTo>
                      <a:lnTo>
                        <a:pt x="22" y="223"/>
                      </a:lnTo>
                      <a:lnTo>
                        <a:pt x="22" y="223"/>
                      </a:lnTo>
                      <a:lnTo>
                        <a:pt x="22" y="222"/>
                      </a:lnTo>
                      <a:lnTo>
                        <a:pt x="20" y="222"/>
                      </a:lnTo>
                      <a:lnTo>
                        <a:pt x="22" y="221"/>
                      </a:lnTo>
                      <a:lnTo>
                        <a:pt x="20" y="220"/>
                      </a:lnTo>
                      <a:lnTo>
                        <a:pt x="22" y="220"/>
                      </a:lnTo>
                      <a:lnTo>
                        <a:pt x="22" y="217"/>
                      </a:lnTo>
                      <a:lnTo>
                        <a:pt x="22" y="217"/>
                      </a:lnTo>
                      <a:lnTo>
                        <a:pt x="23" y="217"/>
                      </a:lnTo>
                      <a:lnTo>
                        <a:pt x="23" y="217"/>
                      </a:lnTo>
                      <a:lnTo>
                        <a:pt x="23" y="217"/>
                      </a:lnTo>
                      <a:lnTo>
                        <a:pt x="24" y="218"/>
                      </a:lnTo>
                      <a:lnTo>
                        <a:pt x="25" y="218"/>
                      </a:lnTo>
                      <a:lnTo>
                        <a:pt x="28" y="216"/>
                      </a:lnTo>
                      <a:lnTo>
                        <a:pt x="29" y="215"/>
                      </a:lnTo>
                      <a:lnTo>
                        <a:pt x="29" y="213"/>
                      </a:lnTo>
                      <a:lnTo>
                        <a:pt x="29" y="209"/>
                      </a:lnTo>
                      <a:lnTo>
                        <a:pt x="30" y="209"/>
                      </a:lnTo>
                      <a:lnTo>
                        <a:pt x="30" y="204"/>
                      </a:lnTo>
                      <a:lnTo>
                        <a:pt x="30" y="203"/>
                      </a:lnTo>
                      <a:lnTo>
                        <a:pt x="29" y="202"/>
                      </a:lnTo>
                      <a:lnTo>
                        <a:pt x="29" y="201"/>
                      </a:lnTo>
                      <a:lnTo>
                        <a:pt x="29" y="200"/>
                      </a:lnTo>
                      <a:lnTo>
                        <a:pt x="29" y="197"/>
                      </a:lnTo>
                      <a:lnTo>
                        <a:pt x="28" y="196"/>
                      </a:lnTo>
                      <a:lnTo>
                        <a:pt x="25" y="191"/>
                      </a:lnTo>
                      <a:lnTo>
                        <a:pt x="24" y="190"/>
                      </a:lnTo>
                      <a:lnTo>
                        <a:pt x="23" y="187"/>
                      </a:lnTo>
                      <a:lnTo>
                        <a:pt x="22" y="187"/>
                      </a:lnTo>
                      <a:lnTo>
                        <a:pt x="19" y="183"/>
                      </a:lnTo>
                      <a:lnTo>
                        <a:pt x="18" y="181"/>
                      </a:lnTo>
                      <a:lnTo>
                        <a:pt x="18" y="177"/>
                      </a:lnTo>
                      <a:lnTo>
                        <a:pt x="17" y="177"/>
                      </a:lnTo>
                      <a:lnTo>
                        <a:pt x="17" y="176"/>
                      </a:lnTo>
                      <a:lnTo>
                        <a:pt x="16" y="174"/>
                      </a:lnTo>
                      <a:lnTo>
                        <a:pt x="13" y="168"/>
                      </a:lnTo>
                      <a:lnTo>
                        <a:pt x="13" y="167"/>
                      </a:lnTo>
                      <a:lnTo>
                        <a:pt x="12" y="164"/>
                      </a:lnTo>
                      <a:lnTo>
                        <a:pt x="11" y="161"/>
                      </a:lnTo>
                      <a:lnTo>
                        <a:pt x="11" y="158"/>
                      </a:lnTo>
                      <a:lnTo>
                        <a:pt x="10" y="155"/>
                      </a:lnTo>
                      <a:lnTo>
                        <a:pt x="9" y="153"/>
                      </a:lnTo>
                      <a:lnTo>
                        <a:pt x="9" y="151"/>
                      </a:lnTo>
                      <a:lnTo>
                        <a:pt x="9" y="149"/>
                      </a:lnTo>
                      <a:lnTo>
                        <a:pt x="8" y="147"/>
                      </a:lnTo>
                      <a:lnTo>
                        <a:pt x="8" y="147"/>
                      </a:lnTo>
                      <a:lnTo>
                        <a:pt x="8" y="146"/>
                      </a:lnTo>
                      <a:lnTo>
                        <a:pt x="6" y="142"/>
                      </a:lnTo>
                      <a:lnTo>
                        <a:pt x="5" y="142"/>
                      </a:lnTo>
                      <a:lnTo>
                        <a:pt x="5" y="141"/>
                      </a:lnTo>
                      <a:lnTo>
                        <a:pt x="4" y="138"/>
                      </a:lnTo>
                      <a:lnTo>
                        <a:pt x="3" y="137"/>
                      </a:lnTo>
                      <a:lnTo>
                        <a:pt x="2" y="136"/>
                      </a:lnTo>
                      <a:lnTo>
                        <a:pt x="2" y="135"/>
                      </a:lnTo>
                      <a:lnTo>
                        <a:pt x="0" y="134"/>
                      </a:lnTo>
                      <a:lnTo>
                        <a:pt x="0" y="133"/>
                      </a:lnTo>
                      <a:lnTo>
                        <a:pt x="3" y="131"/>
                      </a:lnTo>
                      <a:lnTo>
                        <a:pt x="4" y="130"/>
                      </a:lnTo>
                      <a:lnTo>
                        <a:pt x="6" y="130"/>
                      </a:lnTo>
                      <a:lnTo>
                        <a:pt x="8" y="131"/>
                      </a:lnTo>
                      <a:lnTo>
                        <a:pt x="8" y="130"/>
                      </a:lnTo>
                      <a:lnTo>
                        <a:pt x="6" y="128"/>
                      </a:lnTo>
                      <a:lnTo>
                        <a:pt x="8" y="127"/>
                      </a:lnTo>
                      <a:lnTo>
                        <a:pt x="8" y="126"/>
                      </a:lnTo>
                      <a:lnTo>
                        <a:pt x="8" y="126"/>
                      </a:lnTo>
                      <a:lnTo>
                        <a:pt x="8" y="124"/>
                      </a:lnTo>
                      <a:lnTo>
                        <a:pt x="8" y="123"/>
                      </a:lnTo>
                      <a:lnTo>
                        <a:pt x="8" y="122"/>
                      </a:lnTo>
                      <a:lnTo>
                        <a:pt x="9" y="123"/>
                      </a:lnTo>
                      <a:lnTo>
                        <a:pt x="10" y="121"/>
                      </a:lnTo>
                      <a:lnTo>
                        <a:pt x="10" y="120"/>
                      </a:lnTo>
                      <a:lnTo>
                        <a:pt x="12" y="120"/>
                      </a:lnTo>
                      <a:lnTo>
                        <a:pt x="12" y="122"/>
                      </a:lnTo>
                      <a:lnTo>
                        <a:pt x="13" y="122"/>
                      </a:lnTo>
                      <a:lnTo>
                        <a:pt x="15" y="123"/>
                      </a:lnTo>
                      <a:lnTo>
                        <a:pt x="15" y="124"/>
                      </a:lnTo>
                      <a:lnTo>
                        <a:pt x="15" y="126"/>
                      </a:lnTo>
                      <a:lnTo>
                        <a:pt x="16" y="124"/>
                      </a:lnTo>
                      <a:lnTo>
                        <a:pt x="17" y="124"/>
                      </a:lnTo>
                      <a:lnTo>
                        <a:pt x="18" y="126"/>
                      </a:lnTo>
                      <a:lnTo>
                        <a:pt x="17" y="128"/>
                      </a:lnTo>
                      <a:lnTo>
                        <a:pt x="16" y="129"/>
                      </a:lnTo>
                      <a:lnTo>
                        <a:pt x="17" y="131"/>
                      </a:lnTo>
                      <a:lnTo>
                        <a:pt x="18" y="133"/>
                      </a:lnTo>
                      <a:lnTo>
                        <a:pt x="17" y="134"/>
                      </a:lnTo>
                      <a:lnTo>
                        <a:pt x="17" y="135"/>
                      </a:lnTo>
                      <a:lnTo>
                        <a:pt x="18" y="135"/>
                      </a:lnTo>
                      <a:lnTo>
                        <a:pt x="19" y="135"/>
                      </a:lnTo>
                      <a:lnTo>
                        <a:pt x="20" y="136"/>
                      </a:lnTo>
                      <a:lnTo>
                        <a:pt x="20" y="136"/>
                      </a:lnTo>
                      <a:lnTo>
                        <a:pt x="23" y="136"/>
                      </a:lnTo>
                      <a:lnTo>
                        <a:pt x="25" y="136"/>
                      </a:lnTo>
                      <a:lnTo>
                        <a:pt x="28" y="137"/>
                      </a:lnTo>
                      <a:lnTo>
                        <a:pt x="31" y="140"/>
                      </a:lnTo>
                      <a:lnTo>
                        <a:pt x="31" y="138"/>
                      </a:lnTo>
                      <a:lnTo>
                        <a:pt x="33" y="138"/>
                      </a:lnTo>
                      <a:lnTo>
                        <a:pt x="35" y="138"/>
                      </a:lnTo>
                      <a:lnTo>
                        <a:pt x="40" y="137"/>
                      </a:lnTo>
                      <a:lnTo>
                        <a:pt x="44" y="138"/>
                      </a:lnTo>
                      <a:lnTo>
                        <a:pt x="45" y="138"/>
                      </a:lnTo>
                      <a:lnTo>
                        <a:pt x="45" y="141"/>
                      </a:lnTo>
                      <a:lnTo>
                        <a:pt x="48" y="140"/>
                      </a:lnTo>
                      <a:lnTo>
                        <a:pt x="50" y="140"/>
                      </a:lnTo>
                      <a:lnTo>
                        <a:pt x="49" y="138"/>
                      </a:lnTo>
                      <a:lnTo>
                        <a:pt x="50" y="136"/>
                      </a:lnTo>
                      <a:lnTo>
                        <a:pt x="51" y="135"/>
                      </a:lnTo>
                      <a:lnTo>
                        <a:pt x="52" y="134"/>
                      </a:lnTo>
                      <a:lnTo>
                        <a:pt x="55" y="133"/>
                      </a:lnTo>
                      <a:lnTo>
                        <a:pt x="56" y="133"/>
                      </a:lnTo>
                      <a:lnTo>
                        <a:pt x="57" y="131"/>
                      </a:lnTo>
                      <a:lnTo>
                        <a:pt x="57" y="133"/>
                      </a:lnTo>
                      <a:lnTo>
                        <a:pt x="58" y="131"/>
                      </a:lnTo>
                      <a:lnTo>
                        <a:pt x="59" y="130"/>
                      </a:lnTo>
                      <a:lnTo>
                        <a:pt x="60" y="129"/>
                      </a:lnTo>
                      <a:lnTo>
                        <a:pt x="60" y="129"/>
                      </a:lnTo>
                      <a:lnTo>
                        <a:pt x="63" y="129"/>
                      </a:lnTo>
                      <a:lnTo>
                        <a:pt x="66" y="55"/>
                      </a:lnTo>
                      <a:lnTo>
                        <a:pt x="71" y="58"/>
                      </a:lnTo>
                      <a:lnTo>
                        <a:pt x="73" y="60"/>
                      </a:lnTo>
                      <a:lnTo>
                        <a:pt x="75" y="63"/>
                      </a:lnTo>
                      <a:lnTo>
                        <a:pt x="75" y="63"/>
                      </a:lnTo>
                      <a:lnTo>
                        <a:pt x="76" y="64"/>
                      </a:lnTo>
                      <a:lnTo>
                        <a:pt x="76" y="67"/>
                      </a:lnTo>
                      <a:lnTo>
                        <a:pt x="77" y="70"/>
                      </a:lnTo>
                      <a:lnTo>
                        <a:pt x="77" y="70"/>
                      </a:lnTo>
                      <a:lnTo>
                        <a:pt x="77" y="71"/>
                      </a:lnTo>
                      <a:lnTo>
                        <a:pt x="78" y="74"/>
                      </a:lnTo>
                      <a:lnTo>
                        <a:pt x="78" y="76"/>
                      </a:lnTo>
                      <a:lnTo>
                        <a:pt x="79" y="76"/>
                      </a:lnTo>
                      <a:lnTo>
                        <a:pt x="79" y="78"/>
                      </a:lnTo>
                      <a:lnTo>
                        <a:pt x="80" y="80"/>
                      </a:lnTo>
                      <a:lnTo>
                        <a:pt x="80" y="81"/>
                      </a:lnTo>
                      <a:lnTo>
                        <a:pt x="82" y="82"/>
                      </a:lnTo>
                      <a:lnTo>
                        <a:pt x="78" y="84"/>
                      </a:lnTo>
                      <a:lnTo>
                        <a:pt x="77" y="88"/>
                      </a:lnTo>
                      <a:lnTo>
                        <a:pt x="76" y="89"/>
                      </a:lnTo>
                      <a:lnTo>
                        <a:pt x="75" y="90"/>
                      </a:lnTo>
                      <a:lnTo>
                        <a:pt x="76" y="91"/>
                      </a:lnTo>
                      <a:lnTo>
                        <a:pt x="75" y="94"/>
                      </a:lnTo>
                      <a:lnTo>
                        <a:pt x="77" y="97"/>
                      </a:lnTo>
                      <a:lnTo>
                        <a:pt x="79" y="96"/>
                      </a:lnTo>
                      <a:lnTo>
                        <a:pt x="80" y="95"/>
                      </a:lnTo>
                      <a:lnTo>
                        <a:pt x="84" y="97"/>
                      </a:lnTo>
                      <a:lnTo>
                        <a:pt x="89" y="96"/>
                      </a:lnTo>
                      <a:lnTo>
                        <a:pt x="95" y="97"/>
                      </a:lnTo>
                      <a:lnTo>
                        <a:pt x="96" y="97"/>
                      </a:lnTo>
                      <a:lnTo>
                        <a:pt x="97" y="96"/>
                      </a:lnTo>
                      <a:lnTo>
                        <a:pt x="98" y="95"/>
                      </a:lnTo>
                      <a:lnTo>
                        <a:pt x="97" y="93"/>
                      </a:lnTo>
                      <a:lnTo>
                        <a:pt x="98" y="93"/>
                      </a:lnTo>
                      <a:lnTo>
                        <a:pt x="100" y="91"/>
                      </a:lnTo>
                      <a:lnTo>
                        <a:pt x="103" y="91"/>
                      </a:lnTo>
                      <a:lnTo>
                        <a:pt x="106" y="84"/>
                      </a:lnTo>
                      <a:lnTo>
                        <a:pt x="109" y="84"/>
                      </a:lnTo>
                      <a:lnTo>
                        <a:pt x="109" y="84"/>
                      </a:lnTo>
                      <a:lnTo>
                        <a:pt x="111" y="82"/>
                      </a:lnTo>
                      <a:lnTo>
                        <a:pt x="112" y="81"/>
                      </a:lnTo>
                      <a:lnTo>
                        <a:pt x="113" y="80"/>
                      </a:lnTo>
                      <a:lnTo>
                        <a:pt x="112" y="78"/>
                      </a:lnTo>
                      <a:lnTo>
                        <a:pt x="115" y="76"/>
                      </a:lnTo>
                      <a:lnTo>
                        <a:pt x="113" y="75"/>
                      </a:lnTo>
                      <a:lnTo>
                        <a:pt x="116" y="70"/>
                      </a:lnTo>
                      <a:lnTo>
                        <a:pt x="116" y="69"/>
                      </a:lnTo>
                      <a:lnTo>
                        <a:pt x="117" y="69"/>
                      </a:lnTo>
                      <a:lnTo>
                        <a:pt x="119" y="64"/>
                      </a:lnTo>
                      <a:lnTo>
                        <a:pt x="123" y="64"/>
                      </a:lnTo>
                      <a:lnTo>
                        <a:pt x="128" y="64"/>
                      </a:lnTo>
                      <a:lnTo>
                        <a:pt x="133" y="69"/>
                      </a:lnTo>
                      <a:lnTo>
                        <a:pt x="133" y="71"/>
                      </a:lnTo>
                      <a:lnTo>
                        <a:pt x="135" y="71"/>
                      </a:lnTo>
                      <a:lnTo>
                        <a:pt x="135" y="73"/>
                      </a:lnTo>
                      <a:lnTo>
                        <a:pt x="137" y="71"/>
                      </a:lnTo>
                      <a:lnTo>
                        <a:pt x="138" y="71"/>
                      </a:lnTo>
                      <a:lnTo>
                        <a:pt x="139" y="73"/>
                      </a:lnTo>
                      <a:lnTo>
                        <a:pt x="143" y="75"/>
                      </a:lnTo>
                      <a:lnTo>
                        <a:pt x="144" y="74"/>
                      </a:lnTo>
                      <a:lnTo>
                        <a:pt x="145" y="74"/>
                      </a:lnTo>
                      <a:lnTo>
                        <a:pt x="147" y="75"/>
                      </a:lnTo>
                      <a:lnTo>
                        <a:pt x="151" y="76"/>
                      </a:lnTo>
                      <a:lnTo>
                        <a:pt x="155" y="74"/>
                      </a:lnTo>
                      <a:lnTo>
                        <a:pt x="160" y="74"/>
                      </a:lnTo>
                      <a:lnTo>
                        <a:pt x="165" y="71"/>
                      </a:lnTo>
                      <a:lnTo>
                        <a:pt x="166" y="64"/>
                      </a:lnTo>
                      <a:lnTo>
                        <a:pt x="167" y="62"/>
                      </a:lnTo>
                      <a:lnTo>
                        <a:pt x="170" y="57"/>
                      </a:lnTo>
                      <a:lnTo>
                        <a:pt x="170" y="54"/>
                      </a:lnTo>
                      <a:lnTo>
                        <a:pt x="179" y="51"/>
                      </a:lnTo>
                      <a:lnTo>
                        <a:pt x="182" y="47"/>
                      </a:lnTo>
                      <a:lnTo>
                        <a:pt x="184" y="46"/>
                      </a:lnTo>
                      <a:lnTo>
                        <a:pt x="187" y="44"/>
                      </a:lnTo>
                      <a:lnTo>
                        <a:pt x="190" y="33"/>
                      </a:lnTo>
                      <a:lnTo>
                        <a:pt x="191" y="31"/>
                      </a:lnTo>
                      <a:lnTo>
                        <a:pt x="191" y="33"/>
                      </a:lnTo>
                      <a:lnTo>
                        <a:pt x="192" y="31"/>
                      </a:lnTo>
                      <a:lnTo>
                        <a:pt x="193" y="30"/>
                      </a:lnTo>
                      <a:lnTo>
                        <a:pt x="193" y="29"/>
                      </a:lnTo>
                      <a:lnTo>
                        <a:pt x="195" y="29"/>
                      </a:lnTo>
                      <a:lnTo>
                        <a:pt x="196" y="29"/>
                      </a:lnTo>
                      <a:lnTo>
                        <a:pt x="197" y="27"/>
                      </a:lnTo>
                      <a:lnTo>
                        <a:pt x="198" y="26"/>
                      </a:lnTo>
                      <a:lnTo>
                        <a:pt x="199" y="26"/>
                      </a:lnTo>
                      <a:lnTo>
                        <a:pt x="200" y="24"/>
                      </a:lnTo>
                      <a:lnTo>
                        <a:pt x="202" y="23"/>
                      </a:lnTo>
                      <a:lnTo>
                        <a:pt x="203" y="21"/>
                      </a:lnTo>
                      <a:lnTo>
                        <a:pt x="205" y="20"/>
                      </a:lnTo>
                      <a:lnTo>
                        <a:pt x="207" y="19"/>
                      </a:lnTo>
                      <a:lnTo>
                        <a:pt x="207" y="16"/>
                      </a:lnTo>
                      <a:lnTo>
                        <a:pt x="210" y="16"/>
                      </a:lnTo>
                      <a:lnTo>
                        <a:pt x="210" y="14"/>
                      </a:lnTo>
                      <a:lnTo>
                        <a:pt x="210" y="14"/>
                      </a:lnTo>
                      <a:lnTo>
                        <a:pt x="211" y="13"/>
                      </a:lnTo>
                      <a:lnTo>
                        <a:pt x="211" y="11"/>
                      </a:lnTo>
                      <a:lnTo>
                        <a:pt x="212" y="11"/>
                      </a:lnTo>
                      <a:lnTo>
                        <a:pt x="216" y="9"/>
                      </a:lnTo>
                      <a:lnTo>
                        <a:pt x="222" y="8"/>
                      </a:lnTo>
                      <a:lnTo>
                        <a:pt x="225" y="7"/>
                      </a:lnTo>
                      <a:lnTo>
                        <a:pt x="226" y="3"/>
                      </a:lnTo>
                      <a:lnTo>
                        <a:pt x="230" y="2"/>
                      </a:lnTo>
                      <a:lnTo>
                        <a:pt x="233" y="1"/>
                      </a:lnTo>
                      <a:lnTo>
                        <a:pt x="235" y="1"/>
                      </a:lnTo>
                      <a:lnTo>
                        <a:pt x="237" y="1"/>
                      </a:lnTo>
                      <a:lnTo>
                        <a:pt x="239" y="0"/>
                      </a:lnTo>
                      <a:lnTo>
                        <a:pt x="244" y="1"/>
                      </a:lnTo>
                      <a:lnTo>
                        <a:pt x="247" y="3"/>
                      </a:lnTo>
                      <a:lnTo>
                        <a:pt x="250" y="3"/>
                      </a:lnTo>
                      <a:lnTo>
                        <a:pt x="251" y="4"/>
                      </a:lnTo>
                      <a:lnTo>
                        <a:pt x="252" y="4"/>
                      </a:lnTo>
                      <a:lnTo>
                        <a:pt x="263" y="2"/>
                      </a:lnTo>
                      <a:lnTo>
                        <a:pt x="265" y="3"/>
                      </a:lnTo>
                      <a:lnTo>
                        <a:pt x="269" y="3"/>
                      </a:lnTo>
                      <a:lnTo>
                        <a:pt x="272" y="22"/>
                      </a:lnTo>
                      <a:lnTo>
                        <a:pt x="272" y="27"/>
                      </a:lnTo>
                      <a:lnTo>
                        <a:pt x="272" y="28"/>
                      </a:lnTo>
                      <a:lnTo>
                        <a:pt x="273" y="30"/>
                      </a:lnTo>
                      <a:lnTo>
                        <a:pt x="273" y="31"/>
                      </a:lnTo>
                      <a:lnTo>
                        <a:pt x="276" y="35"/>
                      </a:lnTo>
                      <a:lnTo>
                        <a:pt x="277" y="37"/>
                      </a:lnTo>
                      <a:lnTo>
                        <a:pt x="277" y="41"/>
                      </a:lnTo>
                      <a:lnTo>
                        <a:pt x="279" y="46"/>
                      </a:lnTo>
                      <a:lnTo>
                        <a:pt x="278" y="51"/>
                      </a:lnTo>
                      <a:lnTo>
                        <a:pt x="278" y="62"/>
                      </a:lnTo>
                      <a:lnTo>
                        <a:pt x="277" y="73"/>
                      </a:lnTo>
                      <a:lnTo>
                        <a:pt x="276" y="76"/>
                      </a:lnTo>
                      <a:lnTo>
                        <a:pt x="277" y="78"/>
                      </a:lnTo>
                      <a:lnTo>
                        <a:pt x="275" y="80"/>
                      </a:lnTo>
                      <a:lnTo>
                        <a:pt x="266" y="73"/>
                      </a:lnTo>
                      <a:lnTo>
                        <a:pt x="265" y="74"/>
                      </a:lnTo>
                      <a:lnTo>
                        <a:pt x="262" y="77"/>
                      </a:lnTo>
                      <a:lnTo>
                        <a:pt x="259" y="82"/>
                      </a:lnTo>
                      <a:lnTo>
                        <a:pt x="256" y="87"/>
                      </a:lnTo>
                      <a:lnTo>
                        <a:pt x="255" y="89"/>
                      </a:lnTo>
                      <a:lnTo>
                        <a:pt x="255" y="96"/>
                      </a:lnTo>
                      <a:lnTo>
                        <a:pt x="256" y="95"/>
                      </a:lnTo>
                      <a:lnTo>
                        <a:pt x="257" y="96"/>
                      </a:lnTo>
                      <a:lnTo>
                        <a:pt x="257" y="98"/>
                      </a:lnTo>
                      <a:lnTo>
                        <a:pt x="259" y="103"/>
                      </a:lnTo>
                      <a:lnTo>
                        <a:pt x="265" y="106"/>
                      </a:lnTo>
                      <a:lnTo>
                        <a:pt x="275" y="107"/>
                      </a:lnTo>
                      <a:lnTo>
                        <a:pt x="275" y="96"/>
                      </a:lnTo>
                      <a:lnTo>
                        <a:pt x="277" y="96"/>
                      </a:lnTo>
                      <a:lnTo>
                        <a:pt x="278" y="96"/>
                      </a:lnTo>
                      <a:lnTo>
                        <a:pt x="282" y="97"/>
                      </a:lnTo>
                      <a:lnTo>
                        <a:pt x="291" y="97"/>
                      </a:lnTo>
                      <a:lnTo>
                        <a:pt x="290" y="102"/>
                      </a:lnTo>
                      <a:lnTo>
                        <a:pt x="289" y="103"/>
                      </a:lnTo>
                      <a:lnTo>
                        <a:pt x="285" y="111"/>
                      </a:lnTo>
                      <a:lnTo>
                        <a:pt x="284" y="117"/>
                      </a:lnTo>
                      <a:lnTo>
                        <a:pt x="284" y="118"/>
                      </a:lnTo>
                      <a:lnTo>
                        <a:pt x="283" y="124"/>
                      </a:lnTo>
                      <a:lnTo>
                        <a:pt x="280" y="128"/>
                      </a:lnTo>
                      <a:lnTo>
                        <a:pt x="280" y="128"/>
                      </a:lnTo>
                      <a:lnTo>
                        <a:pt x="280" y="129"/>
                      </a:lnTo>
                      <a:lnTo>
                        <a:pt x="280" y="129"/>
                      </a:lnTo>
                      <a:lnTo>
                        <a:pt x="279" y="131"/>
                      </a:lnTo>
                      <a:lnTo>
                        <a:pt x="278" y="134"/>
                      </a:lnTo>
                      <a:lnTo>
                        <a:pt x="277" y="134"/>
                      </a:lnTo>
                      <a:lnTo>
                        <a:pt x="276" y="136"/>
                      </a:lnTo>
                      <a:lnTo>
                        <a:pt x="275" y="136"/>
                      </a:lnTo>
                      <a:lnTo>
                        <a:pt x="275" y="137"/>
                      </a:lnTo>
                      <a:lnTo>
                        <a:pt x="273" y="136"/>
                      </a:lnTo>
                      <a:lnTo>
                        <a:pt x="273" y="137"/>
                      </a:lnTo>
                      <a:lnTo>
                        <a:pt x="273" y="137"/>
                      </a:lnTo>
                      <a:lnTo>
                        <a:pt x="273" y="137"/>
                      </a:lnTo>
                      <a:lnTo>
                        <a:pt x="272" y="138"/>
                      </a:lnTo>
                      <a:lnTo>
                        <a:pt x="270" y="140"/>
                      </a:lnTo>
                      <a:lnTo>
                        <a:pt x="270" y="140"/>
                      </a:lnTo>
                      <a:lnTo>
                        <a:pt x="269" y="140"/>
                      </a:lnTo>
                      <a:lnTo>
                        <a:pt x="267" y="140"/>
                      </a:lnTo>
                      <a:lnTo>
                        <a:pt x="264" y="146"/>
                      </a:lnTo>
                      <a:lnTo>
                        <a:pt x="260" y="148"/>
                      </a:lnTo>
                      <a:lnTo>
                        <a:pt x="257" y="154"/>
                      </a:lnTo>
                      <a:lnTo>
                        <a:pt x="256" y="155"/>
                      </a:lnTo>
                      <a:lnTo>
                        <a:pt x="256" y="154"/>
                      </a:lnTo>
                      <a:lnTo>
                        <a:pt x="256" y="155"/>
                      </a:lnTo>
                      <a:lnTo>
                        <a:pt x="255" y="156"/>
                      </a:lnTo>
                      <a:lnTo>
                        <a:pt x="255" y="157"/>
                      </a:lnTo>
                      <a:lnTo>
                        <a:pt x="255" y="158"/>
                      </a:lnTo>
                      <a:lnTo>
                        <a:pt x="253" y="158"/>
                      </a:lnTo>
                      <a:lnTo>
                        <a:pt x="253" y="158"/>
                      </a:lnTo>
                      <a:lnTo>
                        <a:pt x="253" y="158"/>
                      </a:lnTo>
                      <a:lnTo>
                        <a:pt x="252" y="160"/>
                      </a:lnTo>
                      <a:lnTo>
                        <a:pt x="252" y="160"/>
                      </a:lnTo>
                      <a:lnTo>
                        <a:pt x="252" y="160"/>
                      </a:lnTo>
                      <a:lnTo>
                        <a:pt x="253" y="160"/>
                      </a:lnTo>
                      <a:lnTo>
                        <a:pt x="253" y="160"/>
                      </a:lnTo>
                      <a:lnTo>
                        <a:pt x="253" y="160"/>
                      </a:lnTo>
                      <a:lnTo>
                        <a:pt x="255" y="160"/>
                      </a:lnTo>
                      <a:lnTo>
                        <a:pt x="255" y="160"/>
                      </a:lnTo>
                      <a:lnTo>
                        <a:pt x="253" y="160"/>
                      </a:lnTo>
                      <a:lnTo>
                        <a:pt x="253" y="161"/>
                      </a:lnTo>
                      <a:lnTo>
                        <a:pt x="251" y="163"/>
                      </a:lnTo>
                      <a:lnTo>
                        <a:pt x="247" y="168"/>
                      </a:lnTo>
                      <a:lnTo>
                        <a:pt x="246" y="171"/>
                      </a:lnTo>
                      <a:lnTo>
                        <a:pt x="245" y="171"/>
                      </a:lnTo>
                      <a:lnTo>
                        <a:pt x="244" y="175"/>
                      </a:lnTo>
                      <a:lnTo>
                        <a:pt x="242" y="178"/>
                      </a:lnTo>
                      <a:lnTo>
                        <a:pt x="239" y="181"/>
                      </a:lnTo>
                      <a:lnTo>
                        <a:pt x="239" y="181"/>
                      </a:lnTo>
                      <a:lnTo>
                        <a:pt x="238" y="182"/>
                      </a:lnTo>
                      <a:lnTo>
                        <a:pt x="237" y="184"/>
                      </a:lnTo>
                      <a:lnTo>
                        <a:pt x="236" y="185"/>
                      </a:lnTo>
                      <a:lnTo>
                        <a:pt x="235" y="187"/>
                      </a:lnTo>
                      <a:lnTo>
                        <a:pt x="232" y="188"/>
                      </a:lnTo>
                      <a:lnTo>
                        <a:pt x="230" y="190"/>
                      </a:lnTo>
                      <a:lnTo>
                        <a:pt x="229" y="191"/>
                      </a:lnTo>
                      <a:lnTo>
                        <a:pt x="226" y="194"/>
                      </a:lnTo>
                      <a:lnTo>
                        <a:pt x="226" y="194"/>
                      </a:lnTo>
                      <a:lnTo>
                        <a:pt x="225" y="195"/>
                      </a:lnTo>
                      <a:lnTo>
                        <a:pt x="225" y="195"/>
                      </a:lnTo>
                      <a:lnTo>
                        <a:pt x="223" y="196"/>
                      </a:lnTo>
                      <a:lnTo>
                        <a:pt x="223" y="196"/>
                      </a:lnTo>
                      <a:lnTo>
                        <a:pt x="222" y="197"/>
                      </a:lnTo>
                      <a:lnTo>
                        <a:pt x="222" y="197"/>
                      </a:lnTo>
                      <a:lnTo>
                        <a:pt x="222" y="198"/>
                      </a:lnTo>
                      <a:lnTo>
                        <a:pt x="220" y="198"/>
                      </a:lnTo>
                      <a:lnTo>
                        <a:pt x="218" y="202"/>
                      </a:lnTo>
                      <a:lnTo>
                        <a:pt x="217" y="202"/>
                      </a:lnTo>
                      <a:lnTo>
                        <a:pt x="217" y="204"/>
                      </a:lnTo>
                      <a:lnTo>
                        <a:pt x="213" y="207"/>
                      </a:lnTo>
                      <a:lnTo>
                        <a:pt x="212" y="209"/>
                      </a:lnTo>
                      <a:lnTo>
                        <a:pt x="210" y="210"/>
                      </a:lnTo>
                      <a:lnTo>
                        <a:pt x="209" y="210"/>
                      </a:lnTo>
                      <a:lnTo>
                        <a:pt x="207" y="211"/>
                      </a:lnTo>
                      <a:lnTo>
                        <a:pt x="207" y="213"/>
                      </a:lnTo>
                      <a:lnTo>
                        <a:pt x="206" y="214"/>
                      </a:lnTo>
                      <a:lnTo>
                        <a:pt x="205" y="215"/>
                      </a:lnTo>
                      <a:lnTo>
                        <a:pt x="203" y="216"/>
                      </a:lnTo>
                      <a:lnTo>
                        <a:pt x="203" y="217"/>
                      </a:lnTo>
                      <a:lnTo>
                        <a:pt x="200" y="217"/>
                      </a:lnTo>
                      <a:lnTo>
                        <a:pt x="200" y="218"/>
                      </a:lnTo>
                      <a:lnTo>
                        <a:pt x="200" y="218"/>
                      </a:lnTo>
                      <a:lnTo>
                        <a:pt x="199" y="218"/>
                      </a:lnTo>
                      <a:lnTo>
                        <a:pt x="198" y="220"/>
                      </a:lnTo>
                      <a:lnTo>
                        <a:pt x="197" y="220"/>
                      </a:lnTo>
                      <a:lnTo>
                        <a:pt x="197" y="221"/>
                      </a:lnTo>
                      <a:lnTo>
                        <a:pt x="197" y="221"/>
                      </a:lnTo>
                      <a:lnTo>
                        <a:pt x="196" y="222"/>
                      </a:lnTo>
                      <a:lnTo>
                        <a:pt x="195" y="223"/>
                      </a:lnTo>
                      <a:lnTo>
                        <a:pt x="193" y="224"/>
                      </a:lnTo>
                      <a:lnTo>
                        <a:pt x="191" y="225"/>
                      </a:lnTo>
                      <a:lnTo>
                        <a:pt x="189" y="227"/>
                      </a:lnTo>
                      <a:lnTo>
                        <a:pt x="187" y="228"/>
                      </a:lnTo>
                      <a:lnTo>
                        <a:pt x="186" y="229"/>
                      </a:lnTo>
                      <a:lnTo>
                        <a:pt x="186" y="229"/>
                      </a:lnTo>
                      <a:lnTo>
                        <a:pt x="185" y="229"/>
                      </a:lnTo>
                      <a:lnTo>
                        <a:pt x="184" y="230"/>
                      </a:lnTo>
                      <a:lnTo>
                        <a:pt x="183" y="230"/>
                      </a:lnTo>
                      <a:lnTo>
                        <a:pt x="183" y="231"/>
                      </a:lnTo>
                      <a:lnTo>
                        <a:pt x="182" y="233"/>
                      </a:lnTo>
                      <a:lnTo>
                        <a:pt x="179" y="234"/>
                      </a:lnTo>
                      <a:lnTo>
                        <a:pt x="179" y="234"/>
                      </a:lnTo>
                      <a:lnTo>
                        <a:pt x="177" y="235"/>
                      </a:lnTo>
                      <a:lnTo>
                        <a:pt x="176" y="236"/>
                      </a:lnTo>
                      <a:lnTo>
                        <a:pt x="175" y="236"/>
                      </a:lnTo>
                      <a:lnTo>
                        <a:pt x="172" y="236"/>
                      </a:lnTo>
                      <a:lnTo>
                        <a:pt x="171" y="237"/>
                      </a:lnTo>
                      <a:lnTo>
                        <a:pt x="171" y="237"/>
                      </a:lnTo>
                      <a:lnTo>
                        <a:pt x="170" y="237"/>
                      </a:lnTo>
                      <a:lnTo>
                        <a:pt x="169" y="238"/>
                      </a:lnTo>
                      <a:lnTo>
                        <a:pt x="169" y="238"/>
                      </a:lnTo>
                      <a:lnTo>
                        <a:pt x="169" y="238"/>
                      </a:lnTo>
                      <a:close/>
                      <a:moveTo>
                        <a:pt x="202" y="176"/>
                      </a:moveTo>
                      <a:lnTo>
                        <a:pt x="200" y="175"/>
                      </a:lnTo>
                      <a:lnTo>
                        <a:pt x="195" y="173"/>
                      </a:lnTo>
                      <a:lnTo>
                        <a:pt x="191" y="167"/>
                      </a:lnTo>
                      <a:lnTo>
                        <a:pt x="190" y="167"/>
                      </a:lnTo>
                      <a:lnTo>
                        <a:pt x="190" y="163"/>
                      </a:lnTo>
                      <a:lnTo>
                        <a:pt x="189" y="164"/>
                      </a:lnTo>
                      <a:lnTo>
                        <a:pt x="184" y="156"/>
                      </a:lnTo>
                      <a:lnTo>
                        <a:pt x="184" y="155"/>
                      </a:lnTo>
                      <a:lnTo>
                        <a:pt x="185" y="154"/>
                      </a:lnTo>
                      <a:lnTo>
                        <a:pt x="191" y="149"/>
                      </a:lnTo>
                      <a:lnTo>
                        <a:pt x="191" y="148"/>
                      </a:lnTo>
                      <a:lnTo>
                        <a:pt x="192" y="148"/>
                      </a:lnTo>
                      <a:lnTo>
                        <a:pt x="193" y="147"/>
                      </a:lnTo>
                      <a:lnTo>
                        <a:pt x="193" y="147"/>
                      </a:lnTo>
                      <a:lnTo>
                        <a:pt x="193" y="146"/>
                      </a:lnTo>
                      <a:lnTo>
                        <a:pt x="195" y="144"/>
                      </a:lnTo>
                      <a:lnTo>
                        <a:pt x="196" y="142"/>
                      </a:lnTo>
                      <a:lnTo>
                        <a:pt x="196" y="142"/>
                      </a:lnTo>
                      <a:lnTo>
                        <a:pt x="196" y="142"/>
                      </a:lnTo>
                      <a:lnTo>
                        <a:pt x="197" y="142"/>
                      </a:lnTo>
                      <a:lnTo>
                        <a:pt x="197" y="141"/>
                      </a:lnTo>
                      <a:lnTo>
                        <a:pt x="197" y="141"/>
                      </a:lnTo>
                      <a:lnTo>
                        <a:pt x="197" y="140"/>
                      </a:lnTo>
                      <a:lnTo>
                        <a:pt x="197" y="140"/>
                      </a:lnTo>
                      <a:lnTo>
                        <a:pt x="198" y="138"/>
                      </a:lnTo>
                      <a:lnTo>
                        <a:pt x="199" y="138"/>
                      </a:lnTo>
                      <a:lnTo>
                        <a:pt x="200" y="137"/>
                      </a:lnTo>
                      <a:lnTo>
                        <a:pt x="202" y="137"/>
                      </a:lnTo>
                      <a:lnTo>
                        <a:pt x="202" y="138"/>
                      </a:lnTo>
                      <a:lnTo>
                        <a:pt x="203" y="138"/>
                      </a:lnTo>
                      <a:lnTo>
                        <a:pt x="203" y="137"/>
                      </a:lnTo>
                      <a:lnTo>
                        <a:pt x="204" y="137"/>
                      </a:lnTo>
                      <a:lnTo>
                        <a:pt x="204" y="135"/>
                      </a:lnTo>
                      <a:lnTo>
                        <a:pt x="205" y="135"/>
                      </a:lnTo>
                      <a:lnTo>
                        <a:pt x="206" y="135"/>
                      </a:lnTo>
                      <a:lnTo>
                        <a:pt x="209" y="135"/>
                      </a:lnTo>
                      <a:lnTo>
                        <a:pt x="210" y="134"/>
                      </a:lnTo>
                      <a:lnTo>
                        <a:pt x="212" y="133"/>
                      </a:lnTo>
                      <a:lnTo>
                        <a:pt x="215" y="133"/>
                      </a:lnTo>
                      <a:lnTo>
                        <a:pt x="215" y="133"/>
                      </a:lnTo>
                      <a:lnTo>
                        <a:pt x="217" y="134"/>
                      </a:lnTo>
                      <a:lnTo>
                        <a:pt x="218" y="135"/>
                      </a:lnTo>
                      <a:lnTo>
                        <a:pt x="219" y="138"/>
                      </a:lnTo>
                      <a:lnTo>
                        <a:pt x="220" y="140"/>
                      </a:lnTo>
                      <a:lnTo>
                        <a:pt x="220" y="140"/>
                      </a:lnTo>
                      <a:lnTo>
                        <a:pt x="223" y="141"/>
                      </a:lnTo>
                      <a:lnTo>
                        <a:pt x="223" y="141"/>
                      </a:lnTo>
                      <a:lnTo>
                        <a:pt x="224" y="142"/>
                      </a:lnTo>
                      <a:lnTo>
                        <a:pt x="225" y="142"/>
                      </a:lnTo>
                      <a:lnTo>
                        <a:pt x="225" y="144"/>
                      </a:lnTo>
                      <a:lnTo>
                        <a:pt x="226" y="144"/>
                      </a:lnTo>
                      <a:lnTo>
                        <a:pt x="226" y="148"/>
                      </a:lnTo>
                      <a:lnTo>
                        <a:pt x="226" y="149"/>
                      </a:lnTo>
                      <a:lnTo>
                        <a:pt x="226" y="150"/>
                      </a:lnTo>
                      <a:lnTo>
                        <a:pt x="225" y="150"/>
                      </a:lnTo>
                      <a:lnTo>
                        <a:pt x="224" y="150"/>
                      </a:lnTo>
                      <a:lnTo>
                        <a:pt x="224" y="151"/>
                      </a:lnTo>
                      <a:lnTo>
                        <a:pt x="224" y="153"/>
                      </a:lnTo>
                      <a:lnTo>
                        <a:pt x="224" y="155"/>
                      </a:lnTo>
                      <a:lnTo>
                        <a:pt x="222" y="154"/>
                      </a:lnTo>
                      <a:lnTo>
                        <a:pt x="220" y="155"/>
                      </a:lnTo>
                      <a:lnTo>
                        <a:pt x="220" y="156"/>
                      </a:lnTo>
                      <a:lnTo>
                        <a:pt x="220" y="158"/>
                      </a:lnTo>
                      <a:lnTo>
                        <a:pt x="220" y="158"/>
                      </a:lnTo>
                      <a:lnTo>
                        <a:pt x="220" y="160"/>
                      </a:lnTo>
                      <a:lnTo>
                        <a:pt x="220" y="160"/>
                      </a:lnTo>
                      <a:lnTo>
                        <a:pt x="219" y="161"/>
                      </a:lnTo>
                      <a:lnTo>
                        <a:pt x="216" y="163"/>
                      </a:lnTo>
                      <a:lnTo>
                        <a:pt x="213" y="163"/>
                      </a:lnTo>
                      <a:lnTo>
                        <a:pt x="212" y="164"/>
                      </a:lnTo>
                      <a:lnTo>
                        <a:pt x="210" y="163"/>
                      </a:lnTo>
                      <a:lnTo>
                        <a:pt x="209" y="164"/>
                      </a:lnTo>
                      <a:lnTo>
                        <a:pt x="207" y="164"/>
                      </a:lnTo>
                      <a:lnTo>
                        <a:pt x="207" y="164"/>
                      </a:lnTo>
                      <a:lnTo>
                        <a:pt x="206" y="166"/>
                      </a:lnTo>
                      <a:lnTo>
                        <a:pt x="205" y="166"/>
                      </a:lnTo>
                      <a:lnTo>
                        <a:pt x="204" y="166"/>
                      </a:lnTo>
                      <a:lnTo>
                        <a:pt x="205" y="168"/>
                      </a:lnTo>
                      <a:lnTo>
                        <a:pt x="204" y="169"/>
                      </a:lnTo>
                      <a:lnTo>
                        <a:pt x="203" y="170"/>
                      </a:lnTo>
                      <a:lnTo>
                        <a:pt x="203" y="171"/>
                      </a:lnTo>
                      <a:lnTo>
                        <a:pt x="203" y="173"/>
                      </a:lnTo>
                      <a:lnTo>
                        <a:pt x="202" y="174"/>
                      </a:lnTo>
                      <a:lnTo>
                        <a:pt x="202" y="176"/>
                      </a:lnTo>
                      <a:lnTo>
                        <a:pt x="202" y="176"/>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78" name="Slovenia">
                  <a:extLst>
                    <a:ext uri="{FF2B5EF4-FFF2-40B4-BE49-F238E27FC236}">
                      <a16:creationId xmlns:a16="http://schemas.microsoft.com/office/drawing/2014/main" id="{A06F2FFE-1BC3-244C-99A3-1DB2F7D1605C}"/>
                    </a:ext>
                  </a:extLst>
                </p:cNvPr>
                <p:cNvSpPr>
                  <a:spLocks/>
                </p:cNvSpPr>
                <p:nvPr/>
              </p:nvSpPr>
              <p:spPr bwMode="auto">
                <a:xfrm>
                  <a:off x="6678706" y="2585443"/>
                  <a:ext cx="69982" cy="46655"/>
                </a:xfrm>
                <a:custGeom>
                  <a:avLst/>
                  <a:gdLst>
                    <a:gd name="T0" fmla="*/ 47 w 48"/>
                    <a:gd name="T1" fmla="*/ 3 h 32"/>
                    <a:gd name="T2" fmla="*/ 46 w 48"/>
                    <a:gd name="T3" fmla="*/ 1 h 32"/>
                    <a:gd name="T4" fmla="*/ 44 w 48"/>
                    <a:gd name="T5" fmla="*/ 0 h 32"/>
                    <a:gd name="T6" fmla="*/ 40 w 48"/>
                    <a:gd name="T7" fmla="*/ 1 h 32"/>
                    <a:gd name="T8" fmla="*/ 41 w 48"/>
                    <a:gd name="T9" fmla="*/ 3 h 32"/>
                    <a:gd name="T10" fmla="*/ 41 w 48"/>
                    <a:gd name="T11" fmla="*/ 5 h 32"/>
                    <a:gd name="T12" fmla="*/ 37 w 48"/>
                    <a:gd name="T13" fmla="*/ 3 h 32"/>
                    <a:gd name="T14" fmla="*/ 35 w 48"/>
                    <a:gd name="T15" fmla="*/ 3 h 32"/>
                    <a:gd name="T16" fmla="*/ 33 w 48"/>
                    <a:gd name="T17" fmla="*/ 5 h 32"/>
                    <a:gd name="T18" fmla="*/ 31 w 48"/>
                    <a:gd name="T19" fmla="*/ 5 h 32"/>
                    <a:gd name="T20" fmla="*/ 29 w 48"/>
                    <a:gd name="T21" fmla="*/ 5 h 32"/>
                    <a:gd name="T22" fmla="*/ 24 w 48"/>
                    <a:gd name="T23" fmla="*/ 5 h 32"/>
                    <a:gd name="T24" fmla="*/ 23 w 48"/>
                    <a:gd name="T25" fmla="*/ 5 h 32"/>
                    <a:gd name="T26" fmla="*/ 22 w 48"/>
                    <a:gd name="T27" fmla="*/ 8 h 32"/>
                    <a:gd name="T28" fmla="*/ 20 w 48"/>
                    <a:gd name="T29" fmla="*/ 9 h 32"/>
                    <a:gd name="T30" fmla="*/ 19 w 48"/>
                    <a:gd name="T31" fmla="*/ 10 h 32"/>
                    <a:gd name="T32" fmla="*/ 16 w 48"/>
                    <a:gd name="T33" fmla="*/ 9 h 32"/>
                    <a:gd name="T34" fmla="*/ 10 w 48"/>
                    <a:gd name="T35" fmla="*/ 9 h 32"/>
                    <a:gd name="T36" fmla="*/ 8 w 48"/>
                    <a:gd name="T37" fmla="*/ 8 h 32"/>
                    <a:gd name="T38" fmla="*/ 4 w 48"/>
                    <a:gd name="T39" fmla="*/ 7 h 32"/>
                    <a:gd name="T40" fmla="*/ 2 w 48"/>
                    <a:gd name="T41" fmla="*/ 9 h 32"/>
                    <a:gd name="T42" fmla="*/ 0 w 48"/>
                    <a:gd name="T43" fmla="*/ 10 h 32"/>
                    <a:gd name="T44" fmla="*/ 0 w 48"/>
                    <a:gd name="T45" fmla="*/ 13 h 32"/>
                    <a:gd name="T46" fmla="*/ 0 w 48"/>
                    <a:gd name="T47" fmla="*/ 13 h 32"/>
                    <a:gd name="T48" fmla="*/ 0 w 48"/>
                    <a:gd name="T49" fmla="*/ 14 h 32"/>
                    <a:gd name="T50" fmla="*/ 0 w 48"/>
                    <a:gd name="T51" fmla="*/ 13 h 32"/>
                    <a:gd name="T52" fmla="*/ 1 w 48"/>
                    <a:gd name="T53" fmla="*/ 14 h 32"/>
                    <a:gd name="T54" fmla="*/ 3 w 48"/>
                    <a:gd name="T55" fmla="*/ 14 h 32"/>
                    <a:gd name="T56" fmla="*/ 1 w 48"/>
                    <a:gd name="T57" fmla="*/ 16 h 32"/>
                    <a:gd name="T58" fmla="*/ 1 w 48"/>
                    <a:gd name="T59" fmla="*/ 19 h 32"/>
                    <a:gd name="T60" fmla="*/ 3 w 48"/>
                    <a:gd name="T61" fmla="*/ 17 h 32"/>
                    <a:gd name="T62" fmla="*/ 3 w 48"/>
                    <a:gd name="T63" fmla="*/ 21 h 32"/>
                    <a:gd name="T64" fmla="*/ 4 w 48"/>
                    <a:gd name="T65" fmla="*/ 22 h 32"/>
                    <a:gd name="T66" fmla="*/ 7 w 48"/>
                    <a:gd name="T67" fmla="*/ 23 h 32"/>
                    <a:gd name="T68" fmla="*/ 9 w 48"/>
                    <a:gd name="T69" fmla="*/ 26 h 32"/>
                    <a:gd name="T70" fmla="*/ 3 w 48"/>
                    <a:gd name="T71" fmla="*/ 28 h 32"/>
                    <a:gd name="T72" fmla="*/ 3 w 48"/>
                    <a:gd name="T73" fmla="*/ 29 h 32"/>
                    <a:gd name="T74" fmla="*/ 6 w 48"/>
                    <a:gd name="T75" fmla="*/ 29 h 32"/>
                    <a:gd name="T76" fmla="*/ 8 w 48"/>
                    <a:gd name="T77" fmla="*/ 29 h 32"/>
                    <a:gd name="T78" fmla="*/ 9 w 48"/>
                    <a:gd name="T79" fmla="*/ 29 h 32"/>
                    <a:gd name="T80" fmla="*/ 10 w 48"/>
                    <a:gd name="T81" fmla="*/ 28 h 32"/>
                    <a:gd name="T82" fmla="*/ 14 w 48"/>
                    <a:gd name="T83" fmla="*/ 30 h 32"/>
                    <a:gd name="T84" fmla="*/ 16 w 48"/>
                    <a:gd name="T85" fmla="*/ 28 h 32"/>
                    <a:gd name="T86" fmla="*/ 21 w 48"/>
                    <a:gd name="T87" fmla="*/ 28 h 32"/>
                    <a:gd name="T88" fmla="*/ 23 w 48"/>
                    <a:gd name="T89" fmla="*/ 29 h 32"/>
                    <a:gd name="T90" fmla="*/ 29 w 48"/>
                    <a:gd name="T91" fmla="*/ 29 h 32"/>
                    <a:gd name="T92" fmla="*/ 30 w 48"/>
                    <a:gd name="T93" fmla="*/ 23 h 32"/>
                    <a:gd name="T94" fmla="*/ 34 w 48"/>
                    <a:gd name="T95" fmla="*/ 22 h 32"/>
                    <a:gd name="T96" fmla="*/ 31 w 48"/>
                    <a:gd name="T97" fmla="*/ 19 h 32"/>
                    <a:gd name="T98" fmla="*/ 35 w 48"/>
                    <a:gd name="T99" fmla="*/ 15 h 32"/>
                    <a:gd name="T100" fmla="*/ 39 w 48"/>
                    <a:gd name="T101" fmla="*/ 14 h 32"/>
                    <a:gd name="T102" fmla="*/ 42 w 48"/>
                    <a:gd name="T103" fmla="*/ 12 h 32"/>
                    <a:gd name="T104" fmla="*/ 42 w 48"/>
                    <a:gd name="T105" fmla="*/ 6 h 32"/>
                    <a:gd name="T106" fmla="*/ 48 w 48"/>
                    <a:gd name="T107" fmla="*/ 5 h 32"/>
                    <a:gd name="T108" fmla="*/ 48 w 48"/>
                    <a:gd name="T109" fmla="*/ 5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8" h="32">
                      <a:moveTo>
                        <a:pt x="48" y="5"/>
                      </a:moveTo>
                      <a:lnTo>
                        <a:pt x="47" y="3"/>
                      </a:lnTo>
                      <a:lnTo>
                        <a:pt x="46" y="2"/>
                      </a:lnTo>
                      <a:lnTo>
                        <a:pt x="46" y="1"/>
                      </a:lnTo>
                      <a:lnTo>
                        <a:pt x="46" y="1"/>
                      </a:lnTo>
                      <a:lnTo>
                        <a:pt x="44" y="0"/>
                      </a:lnTo>
                      <a:lnTo>
                        <a:pt x="42" y="0"/>
                      </a:lnTo>
                      <a:lnTo>
                        <a:pt x="40" y="1"/>
                      </a:lnTo>
                      <a:lnTo>
                        <a:pt x="41" y="2"/>
                      </a:lnTo>
                      <a:lnTo>
                        <a:pt x="41" y="3"/>
                      </a:lnTo>
                      <a:lnTo>
                        <a:pt x="41" y="5"/>
                      </a:lnTo>
                      <a:lnTo>
                        <a:pt x="41" y="5"/>
                      </a:lnTo>
                      <a:lnTo>
                        <a:pt x="37" y="3"/>
                      </a:lnTo>
                      <a:lnTo>
                        <a:pt x="37" y="3"/>
                      </a:lnTo>
                      <a:lnTo>
                        <a:pt x="36" y="3"/>
                      </a:lnTo>
                      <a:lnTo>
                        <a:pt x="35" y="3"/>
                      </a:lnTo>
                      <a:lnTo>
                        <a:pt x="35" y="5"/>
                      </a:lnTo>
                      <a:lnTo>
                        <a:pt x="33" y="5"/>
                      </a:lnTo>
                      <a:lnTo>
                        <a:pt x="33" y="5"/>
                      </a:lnTo>
                      <a:lnTo>
                        <a:pt x="31" y="5"/>
                      </a:lnTo>
                      <a:lnTo>
                        <a:pt x="31" y="5"/>
                      </a:lnTo>
                      <a:lnTo>
                        <a:pt x="29" y="5"/>
                      </a:lnTo>
                      <a:lnTo>
                        <a:pt x="27" y="6"/>
                      </a:lnTo>
                      <a:lnTo>
                        <a:pt x="24" y="5"/>
                      </a:lnTo>
                      <a:lnTo>
                        <a:pt x="24" y="5"/>
                      </a:lnTo>
                      <a:lnTo>
                        <a:pt x="23" y="5"/>
                      </a:lnTo>
                      <a:lnTo>
                        <a:pt x="22" y="6"/>
                      </a:lnTo>
                      <a:lnTo>
                        <a:pt x="22" y="8"/>
                      </a:lnTo>
                      <a:lnTo>
                        <a:pt x="20" y="8"/>
                      </a:lnTo>
                      <a:lnTo>
                        <a:pt x="20" y="9"/>
                      </a:lnTo>
                      <a:lnTo>
                        <a:pt x="19" y="9"/>
                      </a:lnTo>
                      <a:lnTo>
                        <a:pt x="19" y="10"/>
                      </a:lnTo>
                      <a:lnTo>
                        <a:pt x="16" y="9"/>
                      </a:lnTo>
                      <a:lnTo>
                        <a:pt x="16" y="9"/>
                      </a:lnTo>
                      <a:lnTo>
                        <a:pt x="14" y="9"/>
                      </a:lnTo>
                      <a:lnTo>
                        <a:pt x="10" y="9"/>
                      </a:lnTo>
                      <a:lnTo>
                        <a:pt x="10" y="9"/>
                      </a:lnTo>
                      <a:lnTo>
                        <a:pt x="8" y="8"/>
                      </a:lnTo>
                      <a:lnTo>
                        <a:pt x="7" y="9"/>
                      </a:lnTo>
                      <a:lnTo>
                        <a:pt x="4" y="7"/>
                      </a:lnTo>
                      <a:lnTo>
                        <a:pt x="3" y="9"/>
                      </a:lnTo>
                      <a:lnTo>
                        <a:pt x="2" y="9"/>
                      </a:lnTo>
                      <a:lnTo>
                        <a:pt x="2" y="10"/>
                      </a:lnTo>
                      <a:lnTo>
                        <a:pt x="0" y="10"/>
                      </a:lnTo>
                      <a:lnTo>
                        <a:pt x="0" y="12"/>
                      </a:lnTo>
                      <a:lnTo>
                        <a:pt x="0" y="13"/>
                      </a:lnTo>
                      <a:lnTo>
                        <a:pt x="0" y="13"/>
                      </a:lnTo>
                      <a:lnTo>
                        <a:pt x="0" y="13"/>
                      </a:lnTo>
                      <a:lnTo>
                        <a:pt x="0" y="13"/>
                      </a:lnTo>
                      <a:lnTo>
                        <a:pt x="0" y="14"/>
                      </a:lnTo>
                      <a:lnTo>
                        <a:pt x="0" y="14"/>
                      </a:lnTo>
                      <a:lnTo>
                        <a:pt x="0" y="13"/>
                      </a:lnTo>
                      <a:lnTo>
                        <a:pt x="0" y="13"/>
                      </a:lnTo>
                      <a:lnTo>
                        <a:pt x="1" y="14"/>
                      </a:lnTo>
                      <a:lnTo>
                        <a:pt x="2" y="14"/>
                      </a:lnTo>
                      <a:lnTo>
                        <a:pt x="3" y="14"/>
                      </a:lnTo>
                      <a:lnTo>
                        <a:pt x="3" y="16"/>
                      </a:lnTo>
                      <a:lnTo>
                        <a:pt x="1" y="16"/>
                      </a:lnTo>
                      <a:lnTo>
                        <a:pt x="1" y="17"/>
                      </a:lnTo>
                      <a:lnTo>
                        <a:pt x="1" y="19"/>
                      </a:lnTo>
                      <a:lnTo>
                        <a:pt x="3" y="17"/>
                      </a:lnTo>
                      <a:lnTo>
                        <a:pt x="3" y="17"/>
                      </a:lnTo>
                      <a:lnTo>
                        <a:pt x="4" y="19"/>
                      </a:lnTo>
                      <a:lnTo>
                        <a:pt x="3" y="21"/>
                      </a:lnTo>
                      <a:lnTo>
                        <a:pt x="3" y="21"/>
                      </a:lnTo>
                      <a:lnTo>
                        <a:pt x="4" y="22"/>
                      </a:lnTo>
                      <a:lnTo>
                        <a:pt x="4" y="22"/>
                      </a:lnTo>
                      <a:lnTo>
                        <a:pt x="7" y="23"/>
                      </a:lnTo>
                      <a:lnTo>
                        <a:pt x="7" y="26"/>
                      </a:lnTo>
                      <a:lnTo>
                        <a:pt x="9" y="26"/>
                      </a:lnTo>
                      <a:lnTo>
                        <a:pt x="4" y="27"/>
                      </a:lnTo>
                      <a:lnTo>
                        <a:pt x="3" y="28"/>
                      </a:lnTo>
                      <a:lnTo>
                        <a:pt x="3" y="29"/>
                      </a:lnTo>
                      <a:lnTo>
                        <a:pt x="3" y="29"/>
                      </a:lnTo>
                      <a:lnTo>
                        <a:pt x="4" y="29"/>
                      </a:lnTo>
                      <a:lnTo>
                        <a:pt x="6" y="29"/>
                      </a:lnTo>
                      <a:lnTo>
                        <a:pt x="7" y="29"/>
                      </a:lnTo>
                      <a:lnTo>
                        <a:pt x="8" y="29"/>
                      </a:lnTo>
                      <a:lnTo>
                        <a:pt x="9" y="30"/>
                      </a:lnTo>
                      <a:lnTo>
                        <a:pt x="9" y="29"/>
                      </a:lnTo>
                      <a:lnTo>
                        <a:pt x="9" y="28"/>
                      </a:lnTo>
                      <a:lnTo>
                        <a:pt x="10" y="28"/>
                      </a:lnTo>
                      <a:lnTo>
                        <a:pt x="13" y="32"/>
                      </a:lnTo>
                      <a:lnTo>
                        <a:pt x="14" y="30"/>
                      </a:lnTo>
                      <a:lnTo>
                        <a:pt x="15" y="28"/>
                      </a:lnTo>
                      <a:lnTo>
                        <a:pt x="16" y="28"/>
                      </a:lnTo>
                      <a:lnTo>
                        <a:pt x="17" y="28"/>
                      </a:lnTo>
                      <a:lnTo>
                        <a:pt x="21" y="28"/>
                      </a:lnTo>
                      <a:lnTo>
                        <a:pt x="21" y="27"/>
                      </a:lnTo>
                      <a:lnTo>
                        <a:pt x="23" y="29"/>
                      </a:lnTo>
                      <a:lnTo>
                        <a:pt x="26" y="27"/>
                      </a:lnTo>
                      <a:lnTo>
                        <a:pt x="29" y="29"/>
                      </a:lnTo>
                      <a:lnTo>
                        <a:pt x="31" y="28"/>
                      </a:lnTo>
                      <a:lnTo>
                        <a:pt x="30" y="23"/>
                      </a:lnTo>
                      <a:lnTo>
                        <a:pt x="33" y="23"/>
                      </a:lnTo>
                      <a:lnTo>
                        <a:pt x="34" y="22"/>
                      </a:lnTo>
                      <a:lnTo>
                        <a:pt x="33" y="20"/>
                      </a:lnTo>
                      <a:lnTo>
                        <a:pt x="31" y="19"/>
                      </a:lnTo>
                      <a:lnTo>
                        <a:pt x="33" y="15"/>
                      </a:lnTo>
                      <a:lnTo>
                        <a:pt x="35" y="15"/>
                      </a:lnTo>
                      <a:lnTo>
                        <a:pt x="36" y="14"/>
                      </a:lnTo>
                      <a:lnTo>
                        <a:pt x="39" y="14"/>
                      </a:lnTo>
                      <a:lnTo>
                        <a:pt x="40" y="12"/>
                      </a:lnTo>
                      <a:lnTo>
                        <a:pt x="42" y="12"/>
                      </a:lnTo>
                      <a:lnTo>
                        <a:pt x="41" y="8"/>
                      </a:lnTo>
                      <a:lnTo>
                        <a:pt x="42" y="6"/>
                      </a:lnTo>
                      <a:lnTo>
                        <a:pt x="46" y="6"/>
                      </a:lnTo>
                      <a:lnTo>
                        <a:pt x="48" y="5"/>
                      </a:lnTo>
                      <a:lnTo>
                        <a:pt x="48" y="5"/>
                      </a:lnTo>
                      <a:lnTo>
                        <a:pt x="48" y="5"/>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79" name="Slovakia">
                  <a:extLst>
                    <a:ext uri="{FF2B5EF4-FFF2-40B4-BE49-F238E27FC236}">
                      <a16:creationId xmlns:a16="http://schemas.microsoft.com/office/drawing/2014/main" id="{D168FD82-E28D-2549-BF63-75ECCBD2B759}"/>
                    </a:ext>
                  </a:extLst>
                </p:cNvPr>
                <p:cNvSpPr>
                  <a:spLocks/>
                </p:cNvSpPr>
                <p:nvPr/>
              </p:nvSpPr>
              <p:spPr bwMode="auto">
                <a:xfrm>
                  <a:off x="6751603" y="2502339"/>
                  <a:ext cx="126842" cy="58318"/>
                </a:xfrm>
                <a:custGeom>
                  <a:avLst/>
                  <a:gdLst>
                    <a:gd name="T0" fmla="*/ 31 w 87"/>
                    <a:gd name="T1" fmla="*/ 4 h 40"/>
                    <a:gd name="T2" fmla="*/ 34 w 87"/>
                    <a:gd name="T3" fmla="*/ 6 h 40"/>
                    <a:gd name="T4" fmla="*/ 36 w 87"/>
                    <a:gd name="T5" fmla="*/ 6 h 40"/>
                    <a:gd name="T6" fmla="*/ 38 w 87"/>
                    <a:gd name="T7" fmla="*/ 4 h 40"/>
                    <a:gd name="T8" fmla="*/ 40 w 87"/>
                    <a:gd name="T9" fmla="*/ 3 h 40"/>
                    <a:gd name="T10" fmla="*/ 44 w 87"/>
                    <a:gd name="T11" fmla="*/ 5 h 40"/>
                    <a:gd name="T12" fmla="*/ 45 w 87"/>
                    <a:gd name="T13" fmla="*/ 6 h 40"/>
                    <a:gd name="T14" fmla="*/ 46 w 87"/>
                    <a:gd name="T15" fmla="*/ 9 h 40"/>
                    <a:gd name="T16" fmla="*/ 47 w 87"/>
                    <a:gd name="T17" fmla="*/ 11 h 40"/>
                    <a:gd name="T18" fmla="*/ 50 w 87"/>
                    <a:gd name="T19" fmla="*/ 10 h 40"/>
                    <a:gd name="T20" fmla="*/ 52 w 87"/>
                    <a:gd name="T21" fmla="*/ 9 h 40"/>
                    <a:gd name="T22" fmla="*/ 54 w 87"/>
                    <a:gd name="T23" fmla="*/ 6 h 40"/>
                    <a:gd name="T24" fmla="*/ 57 w 87"/>
                    <a:gd name="T25" fmla="*/ 7 h 40"/>
                    <a:gd name="T26" fmla="*/ 59 w 87"/>
                    <a:gd name="T27" fmla="*/ 6 h 40"/>
                    <a:gd name="T28" fmla="*/ 63 w 87"/>
                    <a:gd name="T29" fmla="*/ 9 h 40"/>
                    <a:gd name="T30" fmla="*/ 65 w 87"/>
                    <a:gd name="T31" fmla="*/ 7 h 40"/>
                    <a:gd name="T32" fmla="*/ 66 w 87"/>
                    <a:gd name="T33" fmla="*/ 6 h 40"/>
                    <a:gd name="T34" fmla="*/ 72 w 87"/>
                    <a:gd name="T35" fmla="*/ 6 h 40"/>
                    <a:gd name="T36" fmla="*/ 77 w 87"/>
                    <a:gd name="T37" fmla="*/ 7 h 40"/>
                    <a:gd name="T38" fmla="*/ 80 w 87"/>
                    <a:gd name="T39" fmla="*/ 9 h 40"/>
                    <a:gd name="T40" fmla="*/ 86 w 87"/>
                    <a:gd name="T41" fmla="*/ 11 h 40"/>
                    <a:gd name="T42" fmla="*/ 87 w 87"/>
                    <a:gd name="T43" fmla="*/ 12 h 40"/>
                    <a:gd name="T44" fmla="*/ 84 w 87"/>
                    <a:gd name="T45" fmla="*/ 27 h 40"/>
                    <a:gd name="T46" fmla="*/ 79 w 87"/>
                    <a:gd name="T47" fmla="*/ 29 h 40"/>
                    <a:gd name="T48" fmla="*/ 77 w 87"/>
                    <a:gd name="T49" fmla="*/ 25 h 40"/>
                    <a:gd name="T50" fmla="*/ 74 w 87"/>
                    <a:gd name="T51" fmla="*/ 23 h 40"/>
                    <a:gd name="T52" fmla="*/ 71 w 87"/>
                    <a:gd name="T53" fmla="*/ 24 h 40"/>
                    <a:gd name="T54" fmla="*/ 67 w 87"/>
                    <a:gd name="T55" fmla="*/ 24 h 40"/>
                    <a:gd name="T56" fmla="*/ 64 w 87"/>
                    <a:gd name="T57" fmla="*/ 23 h 40"/>
                    <a:gd name="T58" fmla="*/ 59 w 87"/>
                    <a:gd name="T59" fmla="*/ 26 h 40"/>
                    <a:gd name="T60" fmla="*/ 57 w 87"/>
                    <a:gd name="T61" fmla="*/ 30 h 40"/>
                    <a:gd name="T62" fmla="*/ 53 w 87"/>
                    <a:gd name="T63" fmla="*/ 31 h 40"/>
                    <a:gd name="T64" fmla="*/ 47 w 87"/>
                    <a:gd name="T65" fmla="*/ 31 h 40"/>
                    <a:gd name="T66" fmla="*/ 45 w 87"/>
                    <a:gd name="T67" fmla="*/ 30 h 40"/>
                    <a:gd name="T68" fmla="*/ 43 w 87"/>
                    <a:gd name="T69" fmla="*/ 33 h 40"/>
                    <a:gd name="T70" fmla="*/ 37 w 87"/>
                    <a:gd name="T71" fmla="*/ 34 h 40"/>
                    <a:gd name="T72" fmla="*/ 34 w 87"/>
                    <a:gd name="T73" fmla="*/ 34 h 40"/>
                    <a:gd name="T74" fmla="*/ 32 w 87"/>
                    <a:gd name="T75" fmla="*/ 37 h 40"/>
                    <a:gd name="T76" fmla="*/ 32 w 87"/>
                    <a:gd name="T77" fmla="*/ 39 h 40"/>
                    <a:gd name="T78" fmla="*/ 30 w 87"/>
                    <a:gd name="T79" fmla="*/ 40 h 40"/>
                    <a:gd name="T80" fmla="*/ 20 w 87"/>
                    <a:gd name="T81" fmla="*/ 39 h 40"/>
                    <a:gd name="T82" fmla="*/ 14 w 87"/>
                    <a:gd name="T83" fmla="*/ 38 h 40"/>
                    <a:gd name="T84" fmla="*/ 9 w 87"/>
                    <a:gd name="T85" fmla="*/ 36 h 40"/>
                    <a:gd name="T86" fmla="*/ 7 w 87"/>
                    <a:gd name="T87" fmla="*/ 34 h 40"/>
                    <a:gd name="T88" fmla="*/ 6 w 87"/>
                    <a:gd name="T89" fmla="*/ 34 h 40"/>
                    <a:gd name="T90" fmla="*/ 5 w 87"/>
                    <a:gd name="T91" fmla="*/ 32 h 40"/>
                    <a:gd name="T92" fmla="*/ 1 w 87"/>
                    <a:gd name="T93" fmla="*/ 29 h 40"/>
                    <a:gd name="T94" fmla="*/ 1 w 87"/>
                    <a:gd name="T95" fmla="*/ 25 h 40"/>
                    <a:gd name="T96" fmla="*/ 0 w 87"/>
                    <a:gd name="T97" fmla="*/ 20 h 40"/>
                    <a:gd name="T98" fmla="*/ 5 w 87"/>
                    <a:gd name="T99" fmla="*/ 18 h 40"/>
                    <a:gd name="T100" fmla="*/ 12 w 87"/>
                    <a:gd name="T101" fmla="*/ 19 h 40"/>
                    <a:gd name="T102" fmla="*/ 19 w 87"/>
                    <a:gd name="T103" fmla="*/ 11 h 40"/>
                    <a:gd name="T104" fmla="*/ 25 w 87"/>
                    <a:gd name="T105" fmla="*/ 5 h 40"/>
                    <a:gd name="T106" fmla="*/ 30 w 87"/>
                    <a:gd name="T107" fmla="*/ 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7" h="40">
                      <a:moveTo>
                        <a:pt x="30" y="0"/>
                      </a:moveTo>
                      <a:lnTo>
                        <a:pt x="31" y="4"/>
                      </a:lnTo>
                      <a:lnTo>
                        <a:pt x="31" y="4"/>
                      </a:lnTo>
                      <a:lnTo>
                        <a:pt x="33" y="5"/>
                      </a:lnTo>
                      <a:lnTo>
                        <a:pt x="33" y="6"/>
                      </a:lnTo>
                      <a:lnTo>
                        <a:pt x="34" y="6"/>
                      </a:lnTo>
                      <a:lnTo>
                        <a:pt x="34" y="6"/>
                      </a:lnTo>
                      <a:lnTo>
                        <a:pt x="36" y="6"/>
                      </a:lnTo>
                      <a:lnTo>
                        <a:pt x="36" y="6"/>
                      </a:lnTo>
                      <a:lnTo>
                        <a:pt x="37" y="6"/>
                      </a:lnTo>
                      <a:lnTo>
                        <a:pt x="37" y="5"/>
                      </a:lnTo>
                      <a:lnTo>
                        <a:pt x="38" y="4"/>
                      </a:lnTo>
                      <a:lnTo>
                        <a:pt x="39" y="4"/>
                      </a:lnTo>
                      <a:lnTo>
                        <a:pt x="40" y="4"/>
                      </a:lnTo>
                      <a:lnTo>
                        <a:pt x="40" y="3"/>
                      </a:lnTo>
                      <a:lnTo>
                        <a:pt x="41" y="4"/>
                      </a:lnTo>
                      <a:lnTo>
                        <a:pt x="43" y="5"/>
                      </a:lnTo>
                      <a:lnTo>
                        <a:pt x="44" y="5"/>
                      </a:lnTo>
                      <a:lnTo>
                        <a:pt x="43" y="6"/>
                      </a:lnTo>
                      <a:lnTo>
                        <a:pt x="45" y="7"/>
                      </a:lnTo>
                      <a:lnTo>
                        <a:pt x="45" y="6"/>
                      </a:lnTo>
                      <a:lnTo>
                        <a:pt x="46" y="7"/>
                      </a:lnTo>
                      <a:lnTo>
                        <a:pt x="46" y="9"/>
                      </a:lnTo>
                      <a:lnTo>
                        <a:pt x="46" y="9"/>
                      </a:lnTo>
                      <a:lnTo>
                        <a:pt x="45" y="10"/>
                      </a:lnTo>
                      <a:lnTo>
                        <a:pt x="46" y="11"/>
                      </a:lnTo>
                      <a:lnTo>
                        <a:pt x="47" y="11"/>
                      </a:lnTo>
                      <a:lnTo>
                        <a:pt x="47" y="10"/>
                      </a:lnTo>
                      <a:lnTo>
                        <a:pt x="49" y="11"/>
                      </a:lnTo>
                      <a:lnTo>
                        <a:pt x="50" y="10"/>
                      </a:lnTo>
                      <a:lnTo>
                        <a:pt x="52" y="11"/>
                      </a:lnTo>
                      <a:lnTo>
                        <a:pt x="51" y="9"/>
                      </a:lnTo>
                      <a:lnTo>
                        <a:pt x="52" y="9"/>
                      </a:lnTo>
                      <a:lnTo>
                        <a:pt x="52" y="9"/>
                      </a:lnTo>
                      <a:lnTo>
                        <a:pt x="54" y="7"/>
                      </a:lnTo>
                      <a:lnTo>
                        <a:pt x="54" y="6"/>
                      </a:lnTo>
                      <a:lnTo>
                        <a:pt x="56" y="6"/>
                      </a:lnTo>
                      <a:lnTo>
                        <a:pt x="57" y="7"/>
                      </a:lnTo>
                      <a:lnTo>
                        <a:pt x="57" y="7"/>
                      </a:lnTo>
                      <a:lnTo>
                        <a:pt x="57" y="6"/>
                      </a:lnTo>
                      <a:lnTo>
                        <a:pt x="58" y="7"/>
                      </a:lnTo>
                      <a:lnTo>
                        <a:pt x="59" y="6"/>
                      </a:lnTo>
                      <a:lnTo>
                        <a:pt x="60" y="6"/>
                      </a:lnTo>
                      <a:lnTo>
                        <a:pt x="63" y="9"/>
                      </a:lnTo>
                      <a:lnTo>
                        <a:pt x="63" y="9"/>
                      </a:lnTo>
                      <a:lnTo>
                        <a:pt x="64" y="9"/>
                      </a:lnTo>
                      <a:lnTo>
                        <a:pt x="65" y="9"/>
                      </a:lnTo>
                      <a:lnTo>
                        <a:pt x="65" y="7"/>
                      </a:lnTo>
                      <a:lnTo>
                        <a:pt x="66" y="6"/>
                      </a:lnTo>
                      <a:lnTo>
                        <a:pt x="65" y="6"/>
                      </a:lnTo>
                      <a:lnTo>
                        <a:pt x="66" y="6"/>
                      </a:lnTo>
                      <a:lnTo>
                        <a:pt x="69" y="6"/>
                      </a:lnTo>
                      <a:lnTo>
                        <a:pt x="71" y="5"/>
                      </a:lnTo>
                      <a:lnTo>
                        <a:pt x="72" y="6"/>
                      </a:lnTo>
                      <a:lnTo>
                        <a:pt x="74" y="6"/>
                      </a:lnTo>
                      <a:lnTo>
                        <a:pt x="77" y="6"/>
                      </a:lnTo>
                      <a:lnTo>
                        <a:pt x="77" y="7"/>
                      </a:lnTo>
                      <a:lnTo>
                        <a:pt x="77" y="7"/>
                      </a:lnTo>
                      <a:lnTo>
                        <a:pt x="78" y="7"/>
                      </a:lnTo>
                      <a:lnTo>
                        <a:pt x="80" y="9"/>
                      </a:lnTo>
                      <a:lnTo>
                        <a:pt x="81" y="9"/>
                      </a:lnTo>
                      <a:lnTo>
                        <a:pt x="81" y="10"/>
                      </a:lnTo>
                      <a:lnTo>
                        <a:pt x="86" y="11"/>
                      </a:lnTo>
                      <a:lnTo>
                        <a:pt x="86" y="12"/>
                      </a:lnTo>
                      <a:lnTo>
                        <a:pt x="87" y="12"/>
                      </a:lnTo>
                      <a:lnTo>
                        <a:pt x="87" y="12"/>
                      </a:lnTo>
                      <a:lnTo>
                        <a:pt x="85" y="20"/>
                      </a:lnTo>
                      <a:lnTo>
                        <a:pt x="84" y="25"/>
                      </a:lnTo>
                      <a:lnTo>
                        <a:pt x="84" y="27"/>
                      </a:lnTo>
                      <a:lnTo>
                        <a:pt x="80" y="27"/>
                      </a:lnTo>
                      <a:lnTo>
                        <a:pt x="80" y="29"/>
                      </a:lnTo>
                      <a:lnTo>
                        <a:pt x="79" y="29"/>
                      </a:lnTo>
                      <a:lnTo>
                        <a:pt x="79" y="27"/>
                      </a:lnTo>
                      <a:lnTo>
                        <a:pt x="77" y="25"/>
                      </a:lnTo>
                      <a:lnTo>
                        <a:pt x="77" y="25"/>
                      </a:lnTo>
                      <a:lnTo>
                        <a:pt x="76" y="24"/>
                      </a:lnTo>
                      <a:lnTo>
                        <a:pt x="76" y="24"/>
                      </a:lnTo>
                      <a:lnTo>
                        <a:pt x="74" y="23"/>
                      </a:lnTo>
                      <a:lnTo>
                        <a:pt x="72" y="23"/>
                      </a:lnTo>
                      <a:lnTo>
                        <a:pt x="72" y="24"/>
                      </a:lnTo>
                      <a:lnTo>
                        <a:pt x="71" y="24"/>
                      </a:lnTo>
                      <a:lnTo>
                        <a:pt x="70" y="24"/>
                      </a:lnTo>
                      <a:lnTo>
                        <a:pt x="69" y="25"/>
                      </a:lnTo>
                      <a:lnTo>
                        <a:pt x="67" y="24"/>
                      </a:lnTo>
                      <a:lnTo>
                        <a:pt x="66" y="24"/>
                      </a:lnTo>
                      <a:lnTo>
                        <a:pt x="65" y="23"/>
                      </a:lnTo>
                      <a:lnTo>
                        <a:pt x="64" y="23"/>
                      </a:lnTo>
                      <a:lnTo>
                        <a:pt x="60" y="24"/>
                      </a:lnTo>
                      <a:lnTo>
                        <a:pt x="60" y="25"/>
                      </a:lnTo>
                      <a:lnTo>
                        <a:pt x="59" y="26"/>
                      </a:lnTo>
                      <a:lnTo>
                        <a:pt x="58" y="29"/>
                      </a:lnTo>
                      <a:lnTo>
                        <a:pt x="57" y="29"/>
                      </a:lnTo>
                      <a:lnTo>
                        <a:pt x="57" y="30"/>
                      </a:lnTo>
                      <a:lnTo>
                        <a:pt x="56" y="29"/>
                      </a:lnTo>
                      <a:lnTo>
                        <a:pt x="53" y="29"/>
                      </a:lnTo>
                      <a:lnTo>
                        <a:pt x="53" y="31"/>
                      </a:lnTo>
                      <a:lnTo>
                        <a:pt x="51" y="32"/>
                      </a:lnTo>
                      <a:lnTo>
                        <a:pt x="47" y="32"/>
                      </a:lnTo>
                      <a:lnTo>
                        <a:pt x="47" y="31"/>
                      </a:lnTo>
                      <a:lnTo>
                        <a:pt x="46" y="31"/>
                      </a:lnTo>
                      <a:lnTo>
                        <a:pt x="46" y="30"/>
                      </a:lnTo>
                      <a:lnTo>
                        <a:pt x="45" y="30"/>
                      </a:lnTo>
                      <a:lnTo>
                        <a:pt x="44" y="31"/>
                      </a:lnTo>
                      <a:lnTo>
                        <a:pt x="44" y="33"/>
                      </a:lnTo>
                      <a:lnTo>
                        <a:pt x="43" y="33"/>
                      </a:lnTo>
                      <a:lnTo>
                        <a:pt x="40" y="33"/>
                      </a:lnTo>
                      <a:lnTo>
                        <a:pt x="40" y="34"/>
                      </a:lnTo>
                      <a:lnTo>
                        <a:pt x="37" y="34"/>
                      </a:lnTo>
                      <a:lnTo>
                        <a:pt x="37" y="33"/>
                      </a:lnTo>
                      <a:lnTo>
                        <a:pt x="36" y="34"/>
                      </a:lnTo>
                      <a:lnTo>
                        <a:pt x="34" y="34"/>
                      </a:lnTo>
                      <a:lnTo>
                        <a:pt x="33" y="36"/>
                      </a:lnTo>
                      <a:lnTo>
                        <a:pt x="32" y="36"/>
                      </a:lnTo>
                      <a:lnTo>
                        <a:pt x="32" y="37"/>
                      </a:lnTo>
                      <a:lnTo>
                        <a:pt x="34" y="38"/>
                      </a:lnTo>
                      <a:lnTo>
                        <a:pt x="34" y="39"/>
                      </a:lnTo>
                      <a:lnTo>
                        <a:pt x="32" y="39"/>
                      </a:lnTo>
                      <a:lnTo>
                        <a:pt x="31" y="39"/>
                      </a:lnTo>
                      <a:lnTo>
                        <a:pt x="30" y="39"/>
                      </a:lnTo>
                      <a:lnTo>
                        <a:pt x="30" y="40"/>
                      </a:lnTo>
                      <a:lnTo>
                        <a:pt x="29" y="39"/>
                      </a:lnTo>
                      <a:lnTo>
                        <a:pt x="25" y="40"/>
                      </a:lnTo>
                      <a:lnTo>
                        <a:pt x="20" y="39"/>
                      </a:lnTo>
                      <a:lnTo>
                        <a:pt x="18" y="40"/>
                      </a:lnTo>
                      <a:lnTo>
                        <a:pt x="16" y="39"/>
                      </a:lnTo>
                      <a:lnTo>
                        <a:pt x="14" y="38"/>
                      </a:lnTo>
                      <a:lnTo>
                        <a:pt x="13" y="37"/>
                      </a:lnTo>
                      <a:lnTo>
                        <a:pt x="12" y="37"/>
                      </a:lnTo>
                      <a:lnTo>
                        <a:pt x="9" y="36"/>
                      </a:lnTo>
                      <a:lnTo>
                        <a:pt x="9" y="36"/>
                      </a:lnTo>
                      <a:lnTo>
                        <a:pt x="9" y="34"/>
                      </a:lnTo>
                      <a:lnTo>
                        <a:pt x="7" y="34"/>
                      </a:lnTo>
                      <a:lnTo>
                        <a:pt x="7" y="34"/>
                      </a:lnTo>
                      <a:lnTo>
                        <a:pt x="7" y="34"/>
                      </a:lnTo>
                      <a:lnTo>
                        <a:pt x="6" y="34"/>
                      </a:lnTo>
                      <a:lnTo>
                        <a:pt x="6" y="33"/>
                      </a:lnTo>
                      <a:lnTo>
                        <a:pt x="6" y="33"/>
                      </a:lnTo>
                      <a:lnTo>
                        <a:pt x="5" y="32"/>
                      </a:lnTo>
                      <a:lnTo>
                        <a:pt x="3" y="32"/>
                      </a:lnTo>
                      <a:lnTo>
                        <a:pt x="3" y="29"/>
                      </a:lnTo>
                      <a:lnTo>
                        <a:pt x="1" y="29"/>
                      </a:lnTo>
                      <a:lnTo>
                        <a:pt x="1" y="29"/>
                      </a:lnTo>
                      <a:lnTo>
                        <a:pt x="0" y="27"/>
                      </a:lnTo>
                      <a:lnTo>
                        <a:pt x="1" y="25"/>
                      </a:lnTo>
                      <a:lnTo>
                        <a:pt x="3" y="23"/>
                      </a:lnTo>
                      <a:lnTo>
                        <a:pt x="1" y="20"/>
                      </a:lnTo>
                      <a:lnTo>
                        <a:pt x="0" y="20"/>
                      </a:lnTo>
                      <a:lnTo>
                        <a:pt x="0" y="19"/>
                      </a:lnTo>
                      <a:lnTo>
                        <a:pt x="1" y="17"/>
                      </a:lnTo>
                      <a:lnTo>
                        <a:pt x="5" y="18"/>
                      </a:lnTo>
                      <a:lnTo>
                        <a:pt x="5" y="18"/>
                      </a:lnTo>
                      <a:lnTo>
                        <a:pt x="6" y="18"/>
                      </a:lnTo>
                      <a:lnTo>
                        <a:pt x="12" y="19"/>
                      </a:lnTo>
                      <a:lnTo>
                        <a:pt x="16" y="17"/>
                      </a:lnTo>
                      <a:lnTo>
                        <a:pt x="16" y="12"/>
                      </a:lnTo>
                      <a:lnTo>
                        <a:pt x="19" y="11"/>
                      </a:lnTo>
                      <a:lnTo>
                        <a:pt x="21" y="10"/>
                      </a:lnTo>
                      <a:lnTo>
                        <a:pt x="21" y="6"/>
                      </a:lnTo>
                      <a:lnTo>
                        <a:pt x="25" y="5"/>
                      </a:lnTo>
                      <a:lnTo>
                        <a:pt x="26" y="4"/>
                      </a:lnTo>
                      <a:lnTo>
                        <a:pt x="30" y="0"/>
                      </a:lnTo>
                      <a:lnTo>
                        <a:pt x="30" y="0"/>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80" name="Serbia">
                  <a:extLst>
                    <a:ext uri="{FF2B5EF4-FFF2-40B4-BE49-F238E27FC236}">
                      <a16:creationId xmlns:a16="http://schemas.microsoft.com/office/drawing/2014/main" id="{864D1C12-94E2-2747-B4D9-71FFF5A6095E}"/>
                    </a:ext>
                  </a:extLst>
                </p:cNvPr>
                <p:cNvSpPr>
                  <a:spLocks/>
                </p:cNvSpPr>
                <p:nvPr/>
              </p:nvSpPr>
              <p:spPr bwMode="auto">
                <a:xfrm>
                  <a:off x="6808463" y="2605855"/>
                  <a:ext cx="104973" cy="113721"/>
                </a:xfrm>
                <a:custGeom>
                  <a:avLst/>
                  <a:gdLst>
                    <a:gd name="T0" fmla="*/ 64 w 72"/>
                    <a:gd name="T1" fmla="*/ 73 h 78"/>
                    <a:gd name="T2" fmla="*/ 67 w 72"/>
                    <a:gd name="T3" fmla="*/ 67 h 78"/>
                    <a:gd name="T4" fmla="*/ 72 w 72"/>
                    <a:gd name="T5" fmla="*/ 61 h 78"/>
                    <a:gd name="T6" fmla="*/ 65 w 72"/>
                    <a:gd name="T7" fmla="*/ 55 h 78"/>
                    <a:gd name="T8" fmla="*/ 60 w 72"/>
                    <a:gd name="T9" fmla="*/ 45 h 78"/>
                    <a:gd name="T10" fmla="*/ 65 w 72"/>
                    <a:gd name="T11" fmla="*/ 40 h 78"/>
                    <a:gd name="T12" fmla="*/ 66 w 72"/>
                    <a:gd name="T13" fmla="*/ 33 h 78"/>
                    <a:gd name="T14" fmla="*/ 55 w 72"/>
                    <a:gd name="T15" fmla="*/ 34 h 78"/>
                    <a:gd name="T16" fmla="*/ 46 w 72"/>
                    <a:gd name="T17" fmla="*/ 30 h 78"/>
                    <a:gd name="T18" fmla="*/ 44 w 72"/>
                    <a:gd name="T19" fmla="*/ 26 h 78"/>
                    <a:gd name="T20" fmla="*/ 44 w 72"/>
                    <a:gd name="T21" fmla="*/ 22 h 78"/>
                    <a:gd name="T22" fmla="*/ 37 w 72"/>
                    <a:gd name="T23" fmla="*/ 18 h 78"/>
                    <a:gd name="T24" fmla="*/ 31 w 72"/>
                    <a:gd name="T25" fmla="*/ 12 h 78"/>
                    <a:gd name="T26" fmla="*/ 24 w 72"/>
                    <a:gd name="T27" fmla="*/ 3 h 78"/>
                    <a:gd name="T28" fmla="*/ 18 w 72"/>
                    <a:gd name="T29" fmla="*/ 1 h 78"/>
                    <a:gd name="T30" fmla="*/ 10 w 72"/>
                    <a:gd name="T31" fmla="*/ 1 h 78"/>
                    <a:gd name="T32" fmla="*/ 2 w 72"/>
                    <a:gd name="T33" fmla="*/ 3 h 78"/>
                    <a:gd name="T34" fmla="*/ 1 w 72"/>
                    <a:gd name="T35" fmla="*/ 9 h 78"/>
                    <a:gd name="T36" fmla="*/ 10 w 72"/>
                    <a:gd name="T37" fmla="*/ 20 h 78"/>
                    <a:gd name="T38" fmla="*/ 6 w 72"/>
                    <a:gd name="T39" fmla="*/ 26 h 78"/>
                    <a:gd name="T40" fmla="*/ 10 w 72"/>
                    <a:gd name="T41" fmla="*/ 35 h 78"/>
                    <a:gd name="T42" fmla="*/ 10 w 72"/>
                    <a:gd name="T43" fmla="*/ 48 h 78"/>
                    <a:gd name="T44" fmla="*/ 7 w 72"/>
                    <a:gd name="T45" fmla="*/ 53 h 78"/>
                    <a:gd name="T46" fmla="*/ 12 w 72"/>
                    <a:gd name="T47" fmla="*/ 59 h 78"/>
                    <a:gd name="T48" fmla="*/ 18 w 72"/>
                    <a:gd name="T49" fmla="*/ 61 h 78"/>
                    <a:gd name="T50" fmla="*/ 21 w 72"/>
                    <a:gd name="T51" fmla="*/ 66 h 78"/>
                    <a:gd name="T52" fmla="*/ 26 w 72"/>
                    <a:gd name="T53" fmla="*/ 68 h 78"/>
                    <a:gd name="T54" fmla="*/ 28 w 72"/>
                    <a:gd name="T55" fmla="*/ 68 h 78"/>
                    <a:gd name="T56" fmla="*/ 30 w 72"/>
                    <a:gd name="T57" fmla="*/ 67 h 78"/>
                    <a:gd name="T58" fmla="*/ 32 w 72"/>
                    <a:gd name="T59" fmla="*/ 66 h 78"/>
                    <a:gd name="T60" fmla="*/ 34 w 72"/>
                    <a:gd name="T61" fmla="*/ 66 h 78"/>
                    <a:gd name="T62" fmla="*/ 34 w 72"/>
                    <a:gd name="T63" fmla="*/ 63 h 78"/>
                    <a:gd name="T64" fmla="*/ 35 w 72"/>
                    <a:gd name="T65" fmla="*/ 62 h 78"/>
                    <a:gd name="T66" fmla="*/ 37 w 72"/>
                    <a:gd name="T67" fmla="*/ 62 h 78"/>
                    <a:gd name="T68" fmla="*/ 37 w 72"/>
                    <a:gd name="T69" fmla="*/ 61 h 78"/>
                    <a:gd name="T70" fmla="*/ 37 w 72"/>
                    <a:gd name="T71" fmla="*/ 60 h 78"/>
                    <a:gd name="T72" fmla="*/ 35 w 72"/>
                    <a:gd name="T73" fmla="*/ 60 h 78"/>
                    <a:gd name="T74" fmla="*/ 37 w 72"/>
                    <a:gd name="T75" fmla="*/ 59 h 78"/>
                    <a:gd name="T76" fmla="*/ 38 w 72"/>
                    <a:gd name="T77" fmla="*/ 58 h 78"/>
                    <a:gd name="T78" fmla="*/ 40 w 72"/>
                    <a:gd name="T79" fmla="*/ 58 h 78"/>
                    <a:gd name="T80" fmla="*/ 41 w 72"/>
                    <a:gd name="T81" fmla="*/ 59 h 78"/>
                    <a:gd name="T82" fmla="*/ 40 w 72"/>
                    <a:gd name="T83" fmla="*/ 60 h 78"/>
                    <a:gd name="T84" fmla="*/ 41 w 72"/>
                    <a:gd name="T85" fmla="*/ 60 h 78"/>
                    <a:gd name="T86" fmla="*/ 44 w 72"/>
                    <a:gd name="T87" fmla="*/ 60 h 78"/>
                    <a:gd name="T88" fmla="*/ 45 w 72"/>
                    <a:gd name="T89" fmla="*/ 61 h 78"/>
                    <a:gd name="T90" fmla="*/ 46 w 72"/>
                    <a:gd name="T91" fmla="*/ 61 h 78"/>
                    <a:gd name="T92" fmla="*/ 46 w 72"/>
                    <a:gd name="T93" fmla="*/ 63 h 78"/>
                    <a:gd name="T94" fmla="*/ 47 w 72"/>
                    <a:gd name="T95" fmla="*/ 62 h 78"/>
                    <a:gd name="T96" fmla="*/ 48 w 72"/>
                    <a:gd name="T97" fmla="*/ 65 h 78"/>
                    <a:gd name="T98" fmla="*/ 50 w 72"/>
                    <a:gd name="T99" fmla="*/ 65 h 78"/>
                    <a:gd name="T100" fmla="*/ 51 w 72"/>
                    <a:gd name="T101" fmla="*/ 66 h 78"/>
                    <a:gd name="T102" fmla="*/ 51 w 72"/>
                    <a:gd name="T103" fmla="*/ 67 h 78"/>
                    <a:gd name="T104" fmla="*/ 52 w 72"/>
                    <a:gd name="T105" fmla="*/ 68 h 78"/>
                    <a:gd name="T106" fmla="*/ 54 w 72"/>
                    <a:gd name="T107" fmla="*/ 68 h 78"/>
                    <a:gd name="T108" fmla="*/ 55 w 72"/>
                    <a:gd name="T109" fmla="*/ 69 h 78"/>
                    <a:gd name="T110" fmla="*/ 57 w 72"/>
                    <a:gd name="T111" fmla="*/ 69 h 78"/>
                    <a:gd name="T112" fmla="*/ 55 w 72"/>
                    <a:gd name="T113" fmla="*/ 70 h 78"/>
                    <a:gd name="T114" fmla="*/ 55 w 72"/>
                    <a:gd name="T115" fmla="*/ 74 h 78"/>
                    <a:gd name="T116" fmla="*/ 54 w 72"/>
                    <a:gd name="T117"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72" h="78">
                      <a:moveTo>
                        <a:pt x="57" y="76"/>
                      </a:moveTo>
                      <a:lnTo>
                        <a:pt x="58" y="76"/>
                      </a:lnTo>
                      <a:lnTo>
                        <a:pt x="64" y="76"/>
                      </a:lnTo>
                      <a:lnTo>
                        <a:pt x="65" y="76"/>
                      </a:lnTo>
                      <a:lnTo>
                        <a:pt x="66" y="76"/>
                      </a:lnTo>
                      <a:lnTo>
                        <a:pt x="66" y="75"/>
                      </a:lnTo>
                      <a:lnTo>
                        <a:pt x="66" y="74"/>
                      </a:lnTo>
                      <a:lnTo>
                        <a:pt x="64" y="73"/>
                      </a:lnTo>
                      <a:lnTo>
                        <a:pt x="65" y="70"/>
                      </a:lnTo>
                      <a:lnTo>
                        <a:pt x="65" y="70"/>
                      </a:lnTo>
                      <a:lnTo>
                        <a:pt x="65" y="69"/>
                      </a:lnTo>
                      <a:lnTo>
                        <a:pt x="64" y="68"/>
                      </a:lnTo>
                      <a:lnTo>
                        <a:pt x="65" y="67"/>
                      </a:lnTo>
                      <a:lnTo>
                        <a:pt x="66" y="67"/>
                      </a:lnTo>
                      <a:lnTo>
                        <a:pt x="66" y="67"/>
                      </a:lnTo>
                      <a:lnTo>
                        <a:pt x="67" y="67"/>
                      </a:lnTo>
                      <a:lnTo>
                        <a:pt x="68" y="67"/>
                      </a:lnTo>
                      <a:lnTo>
                        <a:pt x="68" y="66"/>
                      </a:lnTo>
                      <a:lnTo>
                        <a:pt x="68" y="66"/>
                      </a:lnTo>
                      <a:lnTo>
                        <a:pt x="70" y="65"/>
                      </a:lnTo>
                      <a:lnTo>
                        <a:pt x="71" y="63"/>
                      </a:lnTo>
                      <a:lnTo>
                        <a:pt x="71" y="63"/>
                      </a:lnTo>
                      <a:lnTo>
                        <a:pt x="72" y="62"/>
                      </a:lnTo>
                      <a:lnTo>
                        <a:pt x="72" y="61"/>
                      </a:lnTo>
                      <a:lnTo>
                        <a:pt x="70" y="60"/>
                      </a:lnTo>
                      <a:lnTo>
                        <a:pt x="68" y="59"/>
                      </a:lnTo>
                      <a:lnTo>
                        <a:pt x="68" y="58"/>
                      </a:lnTo>
                      <a:lnTo>
                        <a:pt x="68" y="58"/>
                      </a:lnTo>
                      <a:lnTo>
                        <a:pt x="67" y="56"/>
                      </a:lnTo>
                      <a:lnTo>
                        <a:pt x="66" y="56"/>
                      </a:lnTo>
                      <a:lnTo>
                        <a:pt x="65" y="55"/>
                      </a:lnTo>
                      <a:lnTo>
                        <a:pt x="65" y="55"/>
                      </a:lnTo>
                      <a:lnTo>
                        <a:pt x="64" y="55"/>
                      </a:lnTo>
                      <a:lnTo>
                        <a:pt x="64" y="53"/>
                      </a:lnTo>
                      <a:lnTo>
                        <a:pt x="64" y="52"/>
                      </a:lnTo>
                      <a:lnTo>
                        <a:pt x="61" y="50"/>
                      </a:lnTo>
                      <a:lnTo>
                        <a:pt x="61" y="49"/>
                      </a:lnTo>
                      <a:lnTo>
                        <a:pt x="61" y="48"/>
                      </a:lnTo>
                      <a:lnTo>
                        <a:pt x="60" y="47"/>
                      </a:lnTo>
                      <a:lnTo>
                        <a:pt x="60" y="45"/>
                      </a:lnTo>
                      <a:lnTo>
                        <a:pt x="61" y="43"/>
                      </a:lnTo>
                      <a:lnTo>
                        <a:pt x="62" y="43"/>
                      </a:lnTo>
                      <a:lnTo>
                        <a:pt x="64" y="42"/>
                      </a:lnTo>
                      <a:lnTo>
                        <a:pt x="64" y="42"/>
                      </a:lnTo>
                      <a:lnTo>
                        <a:pt x="64" y="41"/>
                      </a:lnTo>
                      <a:lnTo>
                        <a:pt x="64" y="41"/>
                      </a:lnTo>
                      <a:lnTo>
                        <a:pt x="64" y="40"/>
                      </a:lnTo>
                      <a:lnTo>
                        <a:pt x="65" y="40"/>
                      </a:lnTo>
                      <a:lnTo>
                        <a:pt x="65" y="39"/>
                      </a:lnTo>
                      <a:lnTo>
                        <a:pt x="61" y="38"/>
                      </a:lnTo>
                      <a:lnTo>
                        <a:pt x="60" y="34"/>
                      </a:lnTo>
                      <a:lnTo>
                        <a:pt x="61" y="34"/>
                      </a:lnTo>
                      <a:lnTo>
                        <a:pt x="62" y="33"/>
                      </a:lnTo>
                      <a:lnTo>
                        <a:pt x="65" y="34"/>
                      </a:lnTo>
                      <a:lnTo>
                        <a:pt x="65" y="33"/>
                      </a:lnTo>
                      <a:lnTo>
                        <a:pt x="66" y="33"/>
                      </a:lnTo>
                      <a:lnTo>
                        <a:pt x="65" y="33"/>
                      </a:lnTo>
                      <a:lnTo>
                        <a:pt x="62" y="32"/>
                      </a:lnTo>
                      <a:lnTo>
                        <a:pt x="61" y="30"/>
                      </a:lnTo>
                      <a:lnTo>
                        <a:pt x="60" y="30"/>
                      </a:lnTo>
                      <a:lnTo>
                        <a:pt x="59" y="30"/>
                      </a:lnTo>
                      <a:lnTo>
                        <a:pt x="58" y="30"/>
                      </a:lnTo>
                      <a:lnTo>
                        <a:pt x="57" y="34"/>
                      </a:lnTo>
                      <a:lnTo>
                        <a:pt x="55" y="34"/>
                      </a:lnTo>
                      <a:lnTo>
                        <a:pt x="54" y="34"/>
                      </a:lnTo>
                      <a:lnTo>
                        <a:pt x="53" y="32"/>
                      </a:lnTo>
                      <a:lnTo>
                        <a:pt x="51" y="32"/>
                      </a:lnTo>
                      <a:lnTo>
                        <a:pt x="50" y="30"/>
                      </a:lnTo>
                      <a:lnTo>
                        <a:pt x="48" y="32"/>
                      </a:lnTo>
                      <a:lnTo>
                        <a:pt x="48" y="30"/>
                      </a:lnTo>
                      <a:lnTo>
                        <a:pt x="47" y="32"/>
                      </a:lnTo>
                      <a:lnTo>
                        <a:pt x="46" y="30"/>
                      </a:lnTo>
                      <a:lnTo>
                        <a:pt x="45" y="29"/>
                      </a:lnTo>
                      <a:lnTo>
                        <a:pt x="45" y="28"/>
                      </a:lnTo>
                      <a:lnTo>
                        <a:pt x="44" y="28"/>
                      </a:lnTo>
                      <a:lnTo>
                        <a:pt x="44" y="27"/>
                      </a:lnTo>
                      <a:lnTo>
                        <a:pt x="42" y="27"/>
                      </a:lnTo>
                      <a:lnTo>
                        <a:pt x="44" y="26"/>
                      </a:lnTo>
                      <a:lnTo>
                        <a:pt x="44" y="26"/>
                      </a:lnTo>
                      <a:lnTo>
                        <a:pt x="44" y="26"/>
                      </a:lnTo>
                      <a:lnTo>
                        <a:pt x="44" y="25"/>
                      </a:lnTo>
                      <a:lnTo>
                        <a:pt x="44" y="25"/>
                      </a:lnTo>
                      <a:lnTo>
                        <a:pt x="44" y="25"/>
                      </a:lnTo>
                      <a:lnTo>
                        <a:pt x="44" y="23"/>
                      </a:lnTo>
                      <a:lnTo>
                        <a:pt x="44" y="23"/>
                      </a:lnTo>
                      <a:lnTo>
                        <a:pt x="42" y="23"/>
                      </a:lnTo>
                      <a:lnTo>
                        <a:pt x="44" y="23"/>
                      </a:lnTo>
                      <a:lnTo>
                        <a:pt x="44" y="22"/>
                      </a:lnTo>
                      <a:lnTo>
                        <a:pt x="44" y="21"/>
                      </a:lnTo>
                      <a:lnTo>
                        <a:pt x="44" y="21"/>
                      </a:lnTo>
                      <a:lnTo>
                        <a:pt x="44" y="21"/>
                      </a:lnTo>
                      <a:lnTo>
                        <a:pt x="42" y="20"/>
                      </a:lnTo>
                      <a:lnTo>
                        <a:pt x="40" y="19"/>
                      </a:lnTo>
                      <a:lnTo>
                        <a:pt x="39" y="19"/>
                      </a:lnTo>
                      <a:lnTo>
                        <a:pt x="38" y="18"/>
                      </a:lnTo>
                      <a:lnTo>
                        <a:pt x="37" y="18"/>
                      </a:lnTo>
                      <a:lnTo>
                        <a:pt x="34" y="18"/>
                      </a:lnTo>
                      <a:lnTo>
                        <a:pt x="33" y="15"/>
                      </a:lnTo>
                      <a:lnTo>
                        <a:pt x="33" y="15"/>
                      </a:lnTo>
                      <a:lnTo>
                        <a:pt x="32" y="15"/>
                      </a:lnTo>
                      <a:lnTo>
                        <a:pt x="31" y="14"/>
                      </a:lnTo>
                      <a:lnTo>
                        <a:pt x="31" y="14"/>
                      </a:lnTo>
                      <a:lnTo>
                        <a:pt x="32" y="13"/>
                      </a:lnTo>
                      <a:lnTo>
                        <a:pt x="31" y="12"/>
                      </a:lnTo>
                      <a:lnTo>
                        <a:pt x="31" y="9"/>
                      </a:lnTo>
                      <a:lnTo>
                        <a:pt x="30" y="9"/>
                      </a:lnTo>
                      <a:lnTo>
                        <a:pt x="28" y="8"/>
                      </a:lnTo>
                      <a:lnTo>
                        <a:pt x="28" y="7"/>
                      </a:lnTo>
                      <a:lnTo>
                        <a:pt x="27" y="6"/>
                      </a:lnTo>
                      <a:lnTo>
                        <a:pt x="26" y="6"/>
                      </a:lnTo>
                      <a:lnTo>
                        <a:pt x="25" y="5"/>
                      </a:lnTo>
                      <a:lnTo>
                        <a:pt x="24" y="3"/>
                      </a:lnTo>
                      <a:lnTo>
                        <a:pt x="22" y="2"/>
                      </a:lnTo>
                      <a:lnTo>
                        <a:pt x="22" y="1"/>
                      </a:lnTo>
                      <a:lnTo>
                        <a:pt x="22" y="1"/>
                      </a:lnTo>
                      <a:lnTo>
                        <a:pt x="21" y="1"/>
                      </a:lnTo>
                      <a:lnTo>
                        <a:pt x="20" y="1"/>
                      </a:lnTo>
                      <a:lnTo>
                        <a:pt x="19" y="1"/>
                      </a:lnTo>
                      <a:lnTo>
                        <a:pt x="19" y="0"/>
                      </a:lnTo>
                      <a:lnTo>
                        <a:pt x="18" y="1"/>
                      </a:lnTo>
                      <a:lnTo>
                        <a:pt x="17" y="0"/>
                      </a:lnTo>
                      <a:lnTo>
                        <a:pt x="17" y="0"/>
                      </a:lnTo>
                      <a:lnTo>
                        <a:pt x="14" y="1"/>
                      </a:lnTo>
                      <a:lnTo>
                        <a:pt x="14" y="1"/>
                      </a:lnTo>
                      <a:lnTo>
                        <a:pt x="12" y="1"/>
                      </a:lnTo>
                      <a:lnTo>
                        <a:pt x="10" y="0"/>
                      </a:lnTo>
                      <a:lnTo>
                        <a:pt x="10" y="1"/>
                      </a:lnTo>
                      <a:lnTo>
                        <a:pt x="10" y="1"/>
                      </a:lnTo>
                      <a:lnTo>
                        <a:pt x="8" y="2"/>
                      </a:lnTo>
                      <a:lnTo>
                        <a:pt x="8" y="2"/>
                      </a:lnTo>
                      <a:lnTo>
                        <a:pt x="7" y="2"/>
                      </a:lnTo>
                      <a:lnTo>
                        <a:pt x="7" y="2"/>
                      </a:lnTo>
                      <a:lnTo>
                        <a:pt x="6" y="3"/>
                      </a:lnTo>
                      <a:lnTo>
                        <a:pt x="5" y="3"/>
                      </a:lnTo>
                      <a:lnTo>
                        <a:pt x="4" y="3"/>
                      </a:lnTo>
                      <a:lnTo>
                        <a:pt x="2" y="3"/>
                      </a:lnTo>
                      <a:lnTo>
                        <a:pt x="2" y="3"/>
                      </a:lnTo>
                      <a:lnTo>
                        <a:pt x="2" y="3"/>
                      </a:lnTo>
                      <a:lnTo>
                        <a:pt x="1" y="5"/>
                      </a:lnTo>
                      <a:lnTo>
                        <a:pt x="1" y="5"/>
                      </a:lnTo>
                      <a:lnTo>
                        <a:pt x="1" y="5"/>
                      </a:lnTo>
                      <a:lnTo>
                        <a:pt x="0" y="6"/>
                      </a:lnTo>
                      <a:lnTo>
                        <a:pt x="0" y="7"/>
                      </a:lnTo>
                      <a:lnTo>
                        <a:pt x="1" y="9"/>
                      </a:lnTo>
                      <a:lnTo>
                        <a:pt x="1" y="12"/>
                      </a:lnTo>
                      <a:lnTo>
                        <a:pt x="2" y="14"/>
                      </a:lnTo>
                      <a:lnTo>
                        <a:pt x="2" y="16"/>
                      </a:lnTo>
                      <a:lnTo>
                        <a:pt x="4" y="18"/>
                      </a:lnTo>
                      <a:lnTo>
                        <a:pt x="6" y="19"/>
                      </a:lnTo>
                      <a:lnTo>
                        <a:pt x="8" y="18"/>
                      </a:lnTo>
                      <a:lnTo>
                        <a:pt x="10" y="19"/>
                      </a:lnTo>
                      <a:lnTo>
                        <a:pt x="10" y="20"/>
                      </a:lnTo>
                      <a:lnTo>
                        <a:pt x="7" y="20"/>
                      </a:lnTo>
                      <a:lnTo>
                        <a:pt x="6" y="21"/>
                      </a:lnTo>
                      <a:lnTo>
                        <a:pt x="4" y="21"/>
                      </a:lnTo>
                      <a:lnTo>
                        <a:pt x="4" y="23"/>
                      </a:lnTo>
                      <a:lnTo>
                        <a:pt x="2" y="25"/>
                      </a:lnTo>
                      <a:lnTo>
                        <a:pt x="4" y="25"/>
                      </a:lnTo>
                      <a:lnTo>
                        <a:pt x="5" y="25"/>
                      </a:lnTo>
                      <a:lnTo>
                        <a:pt x="6" y="26"/>
                      </a:lnTo>
                      <a:lnTo>
                        <a:pt x="7" y="28"/>
                      </a:lnTo>
                      <a:lnTo>
                        <a:pt x="6" y="29"/>
                      </a:lnTo>
                      <a:lnTo>
                        <a:pt x="6" y="30"/>
                      </a:lnTo>
                      <a:lnTo>
                        <a:pt x="5" y="33"/>
                      </a:lnTo>
                      <a:lnTo>
                        <a:pt x="6" y="34"/>
                      </a:lnTo>
                      <a:lnTo>
                        <a:pt x="8" y="33"/>
                      </a:lnTo>
                      <a:lnTo>
                        <a:pt x="10" y="34"/>
                      </a:lnTo>
                      <a:lnTo>
                        <a:pt x="10" y="35"/>
                      </a:lnTo>
                      <a:lnTo>
                        <a:pt x="12" y="36"/>
                      </a:lnTo>
                      <a:lnTo>
                        <a:pt x="11" y="39"/>
                      </a:lnTo>
                      <a:lnTo>
                        <a:pt x="11" y="40"/>
                      </a:lnTo>
                      <a:lnTo>
                        <a:pt x="8" y="41"/>
                      </a:lnTo>
                      <a:lnTo>
                        <a:pt x="6" y="45"/>
                      </a:lnTo>
                      <a:lnTo>
                        <a:pt x="7" y="47"/>
                      </a:lnTo>
                      <a:lnTo>
                        <a:pt x="8" y="47"/>
                      </a:lnTo>
                      <a:lnTo>
                        <a:pt x="10" y="48"/>
                      </a:lnTo>
                      <a:lnTo>
                        <a:pt x="8" y="48"/>
                      </a:lnTo>
                      <a:lnTo>
                        <a:pt x="8" y="49"/>
                      </a:lnTo>
                      <a:lnTo>
                        <a:pt x="7" y="50"/>
                      </a:lnTo>
                      <a:lnTo>
                        <a:pt x="6" y="52"/>
                      </a:lnTo>
                      <a:lnTo>
                        <a:pt x="6" y="52"/>
                      </a:lnTo>
                      <a:lnTo>
                        <a:pt x="6" y="52"/>
                      </a:lnTo>
                      <a:lnTo>
                        <a:pt x="7" y="53"/>
                      </a:lnTo>
                      <a:lnTo>
                        <a:pt x="7" y="53"/>
                      </a:lnTo>
                      <a:lnTo>
                        <a:pt x="7" y="54"/>
                      </a:lnTo>
                      <a:lnTo>
                        <a:pt x="8" y="55"/>
                      </a:lnTo>
                      <a:lnTo>
                        <a:pt x="10" y="55"/>
                      </a:lnTo>
                      <a:lnTo>
                        <a:pt x="10" y="56"/>
                      </a:lnTo>
                      <a:lnTo>
                        <a:pt x="11" y="56"/>
                      </a:lnTo>
                      <a:lnTo>
                        <a:pt x="11" y="56"/>
                      </a:lnTo>
                      <a:lnTo>
                        <a:pt x="11" y="58"/>
                      </a:lnTo>
                      <a:lnTo>
                        <a:pt x="12" y="59"/>
                      </a:lnTo>
                      <a:lnTo>
                        <a:pt x="12" y="59"/>
                      </a:lnTo>
                      <a:lnTo>
                        <a:pt x="13" y="59"/>
                      </a:lnTo>
                      <a:lnTo>
                        <a:pt x="13" y="60"/>
                      </a:lnTo>
                      <a:lnTo>
                        <a:pt x="14" y="60"/>
                      </a:lnTo>
                      <a:lnTo>
                        <a:pt x="15" y="60"/>
                      </a:lnTo>
                      <a:lnTo>
                        <a:pt x="17" y="60"/>
                      </a:lnTo>
                      <a:lnTo>
                        <a:pt x="17" y="60"/>
                      </a:lnTo>
                      <a:lnTo>
                        <a:pt x="18" y="61"/>
                      </a:lnTo>
                      <a:lnTo>
                        <a:pt x="18" y="61"/>
                      </a:lnTo>
                      <a:lnTo>
                        <a:pt x="19" y="61"/>
                      </a:lnTo>
                      <a:lnTo>
                        <a:pt x="20" y="62"/>
                      </a:lnTo>
                      <a:lnTo>
                        <a:pt x="20" y="63"/>
                      </a:lnTo>
                      <a:lnTo>
                        <a:pt x="20" y="65"/>
                      </a:lnTo>
                      <a:lnTo>
                        <a:pt x="20" y="65"/>
                      </a:lnTo>
                      <a:lnTo>
                        <a:pt x="21" y="65"/>
                      </a:lnTo>
                      <a:lnTo>
                        <a:pt x="21" y="66"/>
                      </a:lnTo>
                      <a:lnTo>
                        <a:pt x="22" y="66"/>
                      </a:lnTo>
                      <a:lnTo>
                        <a:pt x="24" y="66"/>
                      </a:lnTo>
                      <a:lnTo>
                        <a:pt x="24" y="67"/>
                      </a:lnTo>
                      <a:lnTo>
                        <a:pt x="25" y="67"/>
                      </a:lnTo>
                      <a:lnTo>
                        <a:pt x="25" y="67"/>
                      </a:lnTo>
                      <a:lnTo>
                        <a:pt x="26" y="67"/>
                      </a:lnTo>
                      <a:lnTo>
                        <a:pt x="26" y="68"/>
                      </a:lnTo>
                      <a:lnTo>
                        <a:pt x="26" y="68"/>
                      </a:lnTo>
                      <a:lnTo>
                        <a:pt x="26" y="68"/>
                      </a:lnTo>
                      <a:lnTo>
                        <a:pt x="26" y="68"/>
                      </a:lnTo>
                      <a:lnTo>
                        <a:pt x="27" y="68"/>
                      </a:lnTo>
                      <a:lnTo>
                        <a:pt x="27" y="68"/>
                      </a:lnTo>
                      <a:lnTo>
                        <a:pt x="27" y="68"/>
                      </a:lnTo>
                      <a:lnTo>
                        <a:pt x="28" y="68"/>
                      </a:lnTo>
                      <a:lnTo>
                        <a:pt x="28" y="68"/>
                      </a:lnTo>
                      <a:lnTo>
                        <a:pt x="28" y="68"/>
                      </a:lnTo>
                      <a:lnTo>
                        <a:pt x="30" y="68"/>
                      </a:lnTo>
                      <a:lnTo>
                        <a:pt x="30" y="68"/>
                      </a:lnTo>
                      <a:lnTo>
                        <a:pt x="30" y="68"/>
                      </a:lnTo>
                      <a:lnTo>
                        <a:pt x="30" y="68"/>
                      </a:lnTo>
                      <a:lnTo>
                        <a:pt x="30" y="68"/>
                      </a:lnTo>
                      <a:lnTo>
                        <a:pt x="30" y="68"/>
                      </a:lnTo>
                      <a:lnTo>
                        <a:pt x="30" y="67"/>
                      </a:lnTo>
                      <a:lnTo>
                        <a:pt x="30" y="67"/>
                      </a:lnTo>
                      <a:lnTo>
                        <a:pt x="30" y="67"/>
                      </a:lnTo>
                      <a:lnTo>
                        <a:pt x="31" y="67"/>
                      </a:lnTo>
                      <a:lnTo>
                        <a:pt x="31" y="67"/>
                      </a:lnTo>
                      <a:lnTo>
                        <a:pt x="31" y="67"/>
                      </a:lnTo>
                      <a:lnTo>
                        <a:pt x="32" y="67"/>
                      </a:lnTo>
                      <a:lnTo>
                        <a:pt x="32" y="66"/>
                      </a:lnTo>
                      <a:lnTo>
                        <a:pt x="32" y="66"/>
                      </a:lnTo>
                      <a:lnTo>
                        <a:pt x="32" y="66"/>
                      </a:lnTo>
                      <a:lnTo>
                        <a:pt x="32" y="66"/>
                      </a:lnTo>
                      <a:lnTo>
                        <a:pt x="33" y="66"/>
                      </a:lnTo>
                      <a:lnTo>
                        <a:pt x="33" y="66"/>
                      </a:lnTo>
                      <a:lnTo>
                        <a:pt x="33" y="66"/>
                      </a:lnTo>
                      <a:lnTo>
                        <a:pt x="33" y="66"/>
                      </a:lnTo>
                      <a:lnTo>
                        <a:pt x="33" y="66"/>
                      </a:lnTo>
                      <a:lnTo>
                        <a:pt x="34" y="66"/>
                      </a:lnTo>
                      <a:lnTo>
                        <a:pt x="34" y="66"/>
                      </a:lnTo>
                      <a:lnTo>
                        <a:pt x="34" y="66"/>
                      </a:lnTo>
                      <a:lnTo>
                        <a:pt x="34" y="66"/>
                      </a:lnTo>
                      <a:lnTo>
                        <a:pt x="34" y="66"/>
                      </a:lnTo>
                      <a:lnTo>
                        <a:pt x="33" y="65"/>
                      </a:lnTo>
                      <a:lnTo>
                        <a:pt x="33" y="65"/>
                      </a:lnTo>
                      <a:lnTo>
                        <a:pt x="33" y="65"/>
                      </a:lnTo>
                      <a:lnTo>
                        <a:pt x="33" y="65"/>
                      </a:lnTo>
                      <a:lnTo>
                        <a:pt x="34" y="63"/>
                      </a:lnTo>
                      <a:lnTo>
                        <a:pt x="34" y="63"/>
                      </a:lnTo>
                      <a:lnTo>
                        <a:pt x="34" y="63"/>
                      </a:lnTo>
                      <a:lnTo>
                        <a:pt x="34" y="63"/>
                      </a:lnTo>
                      <a:lnTo>
                        <a:pt x="34" y="63"/>
                      </a:lnTo>
                      <a:lnTo>
                        <a:pt x="34" y="63"/>
                      </a:lnTo>
                      <a:lnTo>
                        <a:pt x="35" y="63"/>
                      </a:lnTo>
                      <a:lnTo>
                        <a:pt x="35" y="63"/>
                      </a:lnTo>
                      <a:lnTo>
                        <a:pt x="35" y="62"/>
                      </a:lnTo>
                      <a:lnTo>
                        <a:pt x="35" y="62"/>
                      </a:lnTo>
                      <a:lnTo>
                        <a:pt x="35" y="62"/>
                      </a:lnTo>
                      <a:lnTo>
                        <a:pt x="35" y="62"/>
                      </a:lnTo>
                      <a:lnTo>
                        <a:pt x="35" y="63"/>
                      </a:lnTo>
                      <a:lnTo>
                        <a:pt x="37" y="63"/>
                      </a:lnTo>
                      <a:lnTo>
                        <a:pt x="37" y="63"/>
                      </a:lnTo>
                      <a:lnTo>
                        <a:pt x="37" y="62"/>
                      </a:lnTo>
                      <a:lnTo>
                        <a:pt x="37" y="62"/>
                      </a:lnTo>
                      <a:lnTo>
                        <a:pt x="37" y="63"/>
                      </a:lnTo>
                      <a:lnTo>
                        <a:pt x="37" y="62"/>
                      </a:lnTo>
                      <a:lnTo>
                        <a:pt x="37" y="62"/>
                      </a:lnTo>
                      <a:lnTo>
                        <a:pt x="37" y="62"/>
                      </a:lnTo>
                      <a:lnTo>
                        <a:pt x="37" y="62"/>
                      </a:lnTo>
                      <a:lnTo>
                        <a:pt x="37" y="62"/>
                      </a:lnTo>
                      <a:lnTo>
                        <a:pt x="37" y="61"/>
                      </a:lnTo>
                      <a:lnTo>
                        <a:pt x="37" y="61"/>
                      </a:lnTo>
                      <a:lnTo>
                        <a:pt x="37" y="61"/>
                      </a:lnTo>
                      <a:lnTo>
                        <a:pt x="37" y="61"/>
                      </a:lnTo>
                      <a:lnTo>
                        <a:pt x="37" y="61"/>
                      </a:lnTo>
                      <a:lnTo>
                        <a:pt x="37" y="61"/>
                      </a:lnTo>
                      <a:lnTo>
                        <a:pt x="37" y="61"/>
                      </a:lnTo>
                      <a:lnTo>
                        <a:pt x="37" y="61"/>
                      </a:lnTo>
                      <a:lnTo>
                        <a:pt x="37" y="60"/>
                      </a:lnTo>
                      <a:lnTo>
                        <a:pt x="37" y="60"/>
                      </a:lnTo>
                      <a:lnTo>
                        <a:pt x="37" y="60"/>
                      </a:lnTo>
                      <a:lnTo>
                        <a:pt x="37" y="60"/>
                      </a:lnTo>
                      <a:lnTo>
                        <a:pt x="37" y="60"/>
                      </a:lnTo>
                      <a:lnTo>
                        <a:pt x="35" y="60"/>
                      </a:lnTo>
                      <a:lnTo>
                        <a:pt x="35" y="60"/>
                      </a:lnTo>
                      <a:lnTo>
                        <a:pt x="35" y="60"/>
                      </a:lnTo>
                      <a:lnTo>
                        <a:pt x="35" y="60"/>
                      </a:lnTo>
                      <a:lnTo>
                        <a:pt x="35" y="60"/>
                      </a:lnTo>
                      <a:lnTo>
                        <a:pt x="35" y="59"/>
                      </a:lnTo>
                      <a:lnTo>
                        <a:pt x="35" y="59"/>
                      </a:lnTo>
                      <a:lnTo>
                        <a:pt x="35" y="59"/>
                      </a:lnTo>
                      <a:lnTo>
                        <a:pt x="37" y="59"/>
                      </a:lnTo>
                      <a:lnTo>
                        <a:pt x="37" y="59"/>
                      </a:lnTo>
                      <a:lnTo>
                        <a:pt x="37" y="59"/>
                      </a:lnTo>
                      <a:lnTo>
                        <a:pt x="37" y="59"/>
                      </a:lnTo>
                      <a:lnTo>
                        <a:pt x="37" y="59"/>
                      </a:lnTo>
                      <a:lnTo>
                        <a:pt x="38" y="59"/>
                      </a:lnTo>
                      <a:lnTo>
                        <a:pt x="38" y="59"/>
                      </a:lnTo>
                      <a:lnTo>
                        <a:pt x="38" y="59"/>
                      </a:lnTo>
                      <a:lnTo>
                        <a:pt x="38" y="59"/>
                      </a:lnTo>
                      <a:lnTo>
                        <a:pt x="38" y="59"/>
                      </a:lnTo>
                      <a:lnTo>
                        <a:pt x="38" y="59"/>
                      </a:lnTo>
                      <a:lnTo>
                        <a:pt x="38" y="58"/>
                      </a:lnTo>
                      <a:lnTo>
                        <a:pt x="38" y="58"/>
                      </a:lnTo>
                      <a:lnTo>
                        <a:pt x="38" y="58"/>
                      </a:lnTo>
                      <a:lnTo>
                        <a:pt x="39" y="58"/>
                      </a:lnTo>
                      <a:lnTo>
                        <a:pt x="39" y="58"/>
                      </a:lnTo>
                      <a:lnTo>
                        <a:pt x="39" y="58"/>
                      </a:lnTo>
                      <a:lnTo>
                        <a:pt x="39" y="58"/>
                      </a:lnTo>
                      <a:lnTo>
                        <a:pt x="39" y="58"/>
                      </a:lnTo>
                      <a:lnTo>
                        <a:pt x="40" y="58"/>
                      </a:lnTo>
                      <a:lnTo>
                        <a:pt x="40" y="58"/>
                      </a:lnTo>
                      <a:lnTo>
                        <a:pt x="40" y="58"/>
                      </a:lnTo>
                      <a:lnTo>
                        <a:pt x="40" y="58"/>
                      </a:lnTo>
                      <a:lnTo>
                        <a:pt x="40" y="58"/>
                      </a:lnTo>
                      <a:lnTo>
                        <a:pt x="40" y="58"/>
                      </a:lnTo>
                      <a:lnTo>
                        <a:pt x="40" y="58"/>
                      </a:lnTo>
                      <a:lnTo>
                        <a:pt x="41" y="58"/>
                      </a:lnTo>
                      <a:lnTo>
                        <a:pt x="41" y="58"/>
                      </a:lnTo>
                      <a:lnTo>
                        <a:pt x="41" y="59"/>
                      </a:lnTo>
                      <a:lnTo>
                        <a:pt x="41" y="59"/>
                      </a:lnTo>
                      <a:lnTo>
                        <a:pt x="41" y="59"/>
                      </a:lnTo>
                      <a:lnTo>
                        <a:pt x="41" y="59"/>
                      </a:lnTo>
                      <a:lnTo>
                        <a:pt x="41" y="59"/>
                      </a:lnTo>
                      <a:lnTo>
                        <a:pt x="41" y="59"/>
                      </a:lnTo>
                      <a:lnTo>
                        <a:pt x="40" y="60"/>
                      </a:lnTo>
                      <a:lnTo>
                        <a:pt x="40" y="60"/>
                      </a:lnTo>
                      <a:lnTo>
                        <a:pt x="40" y="60"/>
                      </a:lnTo>
                      <a:lnTo>
                        <a:pt x="40" y="60"/>
                      </a:lnTo>
                      <a:lnTo>
                        <a:pt x="40" y="60"/>
                      </a:lnTo>
                      <a:lnTo>
                        <a:pt x="40" y="60"/>
                      </a:lnTo>
                      <a:lnTo>
                        <a:pt x="40" y="60"/>
                      </a:lnTo>
                      <a:lnTo>
                        <a:pt x="40" y="60"/>
                      </a:lnTo>
                      <a:lnTo>
                        <a:pt x="40" y="60"/>
                      </a:lnTo>
                      <a:lnTo>
                        <a:pt x="40" y="60"/>
                      </a:lnTo>
                      <a:lnTo>
                        <a:pt x="41" y="60"/>
                      </a:lnTo>
                      <a:lnTo>
                        <a:pt x="41" y="60"/>
                      </a:lnTo>
                      <a:lnTo>
                        <a:pt x="42" y="60"/>
                      </a:lnTo>
                      <a:lnTo>
                        <a:pt x="42" y="60"/>
                      </a:lnTo>
                      <a:lnTo>
                        <a:pt x="42" y="60"/>
                      </a:lnTo>
                      <a:lnTo>
                        <a:pt x="42" y="60"/>
                      </a:lnTo>
                      <a:lnTo>
                        <a:pt x="42" y="60"/>
                      </a:lnTo>
                      <a:lnTo>
                        <a:pt x="42" y="60"/>
                      </a:lnTo>
                      <a:lnTo>
                        <a:pt x="44" y="60"/>
                      </a:lnTo>
                      <a:lnTo>
                        <a:pt x="44" y="60"/>
                      </a:lnTo>
                      <a:lnTo>
                        <a:pt x="44" y="60"/>
                      </a:lnTo>
                      <a:lnTo>
                        <a:pt x="44" y="60"/>
                      </a:lnTo>
                      <a:lnTo>
                        <a:pt x="44" y="60"/>
                      </a:lnTo>
                      <a:lnTo>
                        <a:pt x="45" y="60"/>
                      </a:lnTo>
                      <a:lnTo>
                        <a:pt x="45" y="60"/>
                      </a:lnTo>
                      <a:lnTo>
                        <a:pt x="45" y="60"/>
                      </a:lnTo>
                      <a:lnTo>
                        <a:pt x="45" y="61"/>
                      </a:lnTo>
                      <a:lnTo>
                        <a:pt x="45" y="61"/>
                      </a:lnTo>
                      <a:lnTo>
                        <a:pt x="45" y="61"/>
                      </a:lnTo>
                      <a:lnTo>
                        <a:pt x="45" y="61"/>
                      </a:lnTo>
                      <a:lnTo>
                        <a:pt x="45" y="61"/>
                      </a:lnTo>
                      <a:lnTo>
                        <a:pt x="45" y="61"/>
                      </a:lnTo>
                      <a:lnTo>
                        <a:pt x="46" y="61"/>
                      </a:lnTo>
                      <a:lnTo>
                        <a:pt x="46" y="61"/>
                      </a:lnTo>
                      <a:lnTo>
                        <a:pt x="46" y="61"/>
                      </a:lnTo>
                      <a:lnTo>
                        <a:pt x="46" y="61"/>
                      </a:lnTo>
                      <a:lnTo>
                        <a:pt x="46" y="62"/>
                      </a:lnTo>
                      <a:lnTo>
                        <a:pt x="46" y="62"/>
                      </a:lnTo>
                      <a:lnTo>
                        <a:pt x="46" y="62"/>
                      </a:lnTo>
                      <a:lnTo>
                        <a:pt x="46" y="63"/>
                      </a:lnTo>
                      <a:lnTo>
                        <a:pt x="46" y="63"/>
                      </a:lnTo>
                      <a:lnTo>
                        <a:pt x="46" y="63"/>
                      </a:lnTo>
                      <a:lnTo>
                        <a:pt x="46" y="63"/>
                      </a:lnTo>
                      <a:lnTo>
                        <a:pt x="46" y="63"/>
                      </a:lnTo>
                      <a:lnTo>
                        <a:pt x="46" y="63"/>
                      </a:lnTo>
                      <a:lnTo>
                        <a:pt x="46" y="63"/>
                      </a:lnTo>
                      <a:lnTo>
                        <a:pt x="46" y="63"/>
                      </a:lnTo>
                      <a:lnTo>
                        <a:pt x="47" y="63"/>
                      </a:lnTo>
                      <a:lnTo>
                        <a:pt x="47" y="62"/>
                      </a:lnTo>
                      <a:lnTo>
                        <a:pt x="47" y="62"/>
                      </a:lnTo>
                      <a:lnTo>
                        <a:pt x="47" y="62"/>
                      </a:lnTo>
                      <a:lnTo>
                        <a:pt x="47" y="62"/>
                      </a:lnTo>
                      <a:lnTo>
                        <a:pt x="48" y="63"/>
                      </a:lnTo>
                      <a:lnTo>
                        <a:pt x="48" y="63"/>
                      </a:lnTo>
                      <a:lnTo>
                        <a:pt x="48" y="63"/>
                      </a:lnTo>
                      <a:lnTo>
                        <a:pt x="48" y="63"/>
                      </a:lnTo>
                      <a:lnTo>
                        <a:pt x="48" y="65"/>
                      </a:lnTo>
                      <a:lnTo>
                        <a:pt x="48" y="65"/>
                      </a:lnTo>
                      <a:lnTo>
                        <a:pt x="48" y="65"/>
                      </a:lnTo>
                      <a:lnTo>
                        <a:pt x="48" y="65"/>
                      </a:lnTo>
                      <a:lnTo>
                        <a:pt x="48" y="65"/>
                      </a:lnTo>
                      <a:lnTo>
                        <a:pt x="48" y="65"/>
                      </a:lnTo>
                      <a:lnTo>
                        <a:pt x="48" y="65"/>
                      </a:lnTo>
                      <a:lnTo>
                        <a:pt x="48" y="65"/>
                      </a:lnTo>
                      <a:lnTo>
                        <a:pt x="48" y="65"/>
                      </a:lnTo>
                      <a:lnTo>
                        <a:pt x="50" y="65"/>
                      </a:lnTo>
                      <a:lnTo>
                        <a:pt x="50" y="65"/>
                      </a:lnTo>
                      <a:lnTo>
                        <a:pt x="50" y="65"/>
                      </a:lnTo>
                      <a:lnTo>
                        <a:pt x="50" y="65"/>
                      </a:lnTo>
                      <a:lnTo>
                        <a:pt x="50" y="65"/>
                      </a:lnTo>
                      <a:lnTo>
                        <a:pt x="51" y="65"/>
                      </a:lnTo>
                      <a:lnTo>
                        <a:pt x="51" y="65"/>
                      </a:lnTo>
                      <a:lnTo>
                        <a:pt x="51" y="66"/>
                      </a:lnTo>
                      <a:lnTo>
                        <a:pt x="51" y="66"/>
                      </a:lnTo>
                      <a:lnTo>
                        <a:pt x="51" y="66"/>
                      </a:lnTo>
                      <a:lnTo>
                        <a:pt x="51" y="66"/>
                      </a:lnTo>
                      <a:lnTo>
                        <a:pt x="51" y="66"/>
                      </a:lnTo>
                      <a:lnTo>
                        <a:pt x="52" y="66"/>
                      </a:lnTo>
                      <a:lnTo>
                        <a:pt x="52" y="67"/>
                      </a:lnTo>
                      <a:lnTo>
                        <a:pt x="52" y="67"/>
                      </a:lnTo>
                      <a:lnTo>
                        <a:pt x="51" y="67"/>
                      </a:lnTo>
                      <a:lnTo>
                        <a:pt x="51" y="67"/>
                      </a:lnTo>
                      <a:lnTo>
                        <a:pt x="51" y="67"/>
                      </a:lnTo>
                      <a:lnTo>
                        <a:pt x="51" y="68"/>
                      </a:lnTo>
                      <a:lnTo>
                        <a:pt x="51" y="68"/>
                      </a:lnTo>
                      <a:lnTo>
                        <a:pt x="51" y="68"/>
                      </a:lnTo>
                      <a:lnTo>
                        <a:pt x="51" y="68"/>
                      </a:lnTo>
                      <a:lnTo>
                        <a:pt x="51" y="68"/>
                      </a:lnTo>
                      <a:lnTo>
                        <a:pt x="52" y="68"/>
                      </a:lnTo>
                      <a:lnTo>
                        <a:pt x="52" y="68"/>
                      </a:lnTo>
                      <a:lnTo>
                        <a:pt x="52" y="68"/>
                      </a:lnTo>
                      <a:lnTo>
                        <a:pt x="52" y="68"/>
                      </a:lnTo>
                      <a:lnTo>
                        <a:pt x="52" y="68"/>
                      </a:lnTo>
                      <a:lnTo>
                        <a:pt x="53" y="68"/>
                      </a:lnTo>
                      <a:lnTo>
                        <a:pt x="53" y="68"/>
                      </a:lnTo>
                      <a:lnTo>
                        <a:pt x="53" y="68"/>
                      </a:lnTo>
                      <a:lnTo>
                        <a:pt x="53" y="68"/>
                      </a:lnTo>
                      <a:lnTo>
                        <a:pt x="53" y="68"/>
                      </a:lnTo>
                      <a:lnTo>
                        <a:pt x="54" y="68"/>
                      </a:lnTo>
                      <a:lnTo>
                        <a:pt x="54" y="68"/>
                      </a:lnTo>
                      <a:lnTo>
                        <a:pt x="54" y="68"/>
                      </a:lnTo>
                      <a:lnTo>
                        <a:pt x="54" y="68"/>
                      </a:lnTo>
                      <a:lnTo>
                        <a:pt x="54" y="68"/>
                      </a:lnTo>
                      <a:lnTo>
                        <a:pt x="54" y="68"/>
                      </a:lnTo>
                      <a:lnTo>
                        <a:pt x="55" y="68"/>
                      </a:lnTo>
                      <a:lnTo>
                        <a:pt x="55" y="69"/>
                      </a:lnTo>
                      <a:lnTo>
                        <a:pt x="55" y="69"/>
                      </a:lnTo>
                      <a:lnTo>
                        <a:pt x="55" y="69"/>
                      </a:lnTo>
                      <a:lnTo>
                        <a:pt x="55" y="69"/>
                      </a:lnTo>
                      <a:lnTo>
                        <a:pt x="55" y="69"/>
                      </a:lnTo>
                      <a:lnTo>
                        <a:pt x="55" y="69"/>
                      </a:lnTo>
                      <a:lnTo>
                        <a:pt x="57" y="69"/>
                      </a:lnTo>
                      <a:lnTo>
                        <a:pt x="57" y="69"/>
                      </a:lnTo>
                      <a:lnTo>
                        <a:pt x="57" y="69"/>
                      </a:lnTo>
                      <a:lnTo>
                        <a:pt x="57" y="69"/>
                      </a:lnTo>
                      <a:lnTo>
                        <a:pt x="57" y="70"/>
                      </a:lnTo>
                      <a:lnTo>
                        <a:pt x="57" y="70"/>
                      </a:lnTo>
                      <a:lnTo>
                        <a:pt x="55" y="70"/>
                      </a:lnTo>
                      <a:lnTo>
                        <a:pt x="55" y="70"/>
                      </a:lnTo>
                      <a:lnTo>
                        <a:pt x="55" y="70"/>
                      </a:lnTo>
                      <a:lnTo>
                        <a:pt x="55" y="70"/>
                      </a:lnTo>
                      <a:lnTo>
                        <a:pt x="55" y="70"/>
                      </a:lnTo>
                      <a:lnTo>
                        <a:pt x="55" y="70"/>
                      </a:lnTo>
                      <a:lnTo>
                        <a:pt x="55" y="72"/>
                      </a:lnTo>
                      <a:lnTo>
                        <a:pt x="55" y="72"/>
                      </a:lnTo>
                      <a:lnTo>
                        <a:pt x="54" y="72"/>
                      </a:lnTo>
                      <a:lnTo>
                        <a:pt x="54" y="73"/>
                      </a:lnTo>
                      <a:lnTo>
                        <a:pt x="54" y="73"/>
                      </a:lnTo>
                      <a:lnTo>
                        <a:pt x="54" y="74"/>
                      </a:lnTo>
                      <a:lnTo>
                        <a:pt x="54" y="74"/>
                      </a:lnTo>
                      <a:lnTo>
                        <a:pt x="55" y="74"/>
                      </a:lnTo>
                      <a:lnTo>
                        <a:pt x="54" y="74"/>
                      </a:lnTo>
                      <a:lnTo>
                        <a:pt x="54" y="75"/>
                      </a:lnTo>
                      <a:lnTo>
                        <a:pt x="54" y="75"/>
                      </a:lnTo>
                      <a:lnTo>
                        <a:pt x="54" y="76"/>
                      </a:lnTo>
                      <a:lnTo>
                        <a:pt x="54" y="78"/>
                      </a:lnTo>
                      <a:lnTo>
                        <a:pt x="54" y="78"/>
                      </a:lnTo>
                      <a:lnTo>
                        <a:pt x="54" y="78"/>
                      </a:lnTo>
                      <a:lnTo>
                        <a:pt x="54" y="78"/>
                      </a:lnTo>
                      <a:lnTo>
                        <a:pt x="54" y="78"/>
                      </a:lnTo>
                      <a:lnTo>
                        <a:pt x="54" y="78"/>
                      </a:lnTo>
                      <a:lnTo>
                        <a:pt x="57" y="76"/>
                      </a:lnTo>
                      <a:lnTo>
                        <a:pt x="57" y="76"/>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81" name="Romania">
                  <a:extLst>
                    <a:ext uri="{FF2B5EF4-FFF2-40B4-BE49-F238E27FC236}">
                      <a16:creationId xmlns:a16="http://schemas.microsoft.com/office/drawing/2014/main" id="{7F81FC52-D2F8-0C42-8867-6D2973AC79D2}"/>
                    </a:ext>
                  </a:extLst>
                </p:cNvPr>
                <p:cNvSpPr>
                  <a:spLocks/>
                </p:cNvSpPr>
                <p:nvPr/>
              </p:nvSpPr>
              <p:spPr bwMode="auto">
                <a:xfrm>
                  <a:off x="6840537" y="2547536"/>
                  <a:ext cx="225982" cy="134132"/>
                </a:xfrm>
                <a:custGeom>
                  <a:avLst/>
                  <a:gdLst>
                    <a:gd name="T0" fmla="*/ 49 w 155"/>
                    <a:gd name="T1" fmla="*/ 82 h 92"/>
                    <a:gd name="T2" fmla="*/ 46 w 155"/>
                    <a:gd name="T3" fmla="*/ 88 h 92"/>
                    <a:gd name="T4" fmla="*/ 62 w 155"/>
                    <a:gd name="T5" fmla="*/ 88 h 92"/>
                    <a:gd name="T6" fmla="*/ 76 w 155"/>
                    <a:gd name="T7" fmla="*/ 89 h 92"/>
                    <a:gd name="T8" fmla="*/ 89 w 155"/>
                    <a:gd name="T9" fmla="*/ 92 h 92"/>
                    <a:gd name="T10" fmla="*/ 97 w 155"/>
                    <a:gd name="T11" fmla="*/ 88 h 92"/>
                    <a:gd name="T12" fmla="*/ 107 w 155"/>
                    <a:gd name="T13" fmla="*/ 83 h 92"/>
                    <a:gd name="T14" fmla="*/ 118 w 155"/>
                    <a:gd name="T15" fmla="*/ 82 h 92"/>
                    <a:gd name="T16" fmla="*/ 126 w 155"/>
                    <a:gd name="T17" fmla="*/ 85 h 92"/>
                    <a:gd name="T18" fmla="*/ 135 w 155"/>
                    <a:gd name="T19" fmla="*/ 89 h 92"/>
                    <a:gd name="T20" fmla="*/ 140 w 155"/>
                    <a:gd name="T21" fmla="*/ 81 h 92"/>
                    <a:gd name="T22" fmla="*/ 143 w 155"/>
                    <a:gd name="T23" fmla="*/ 74 h 92"/>
                    <a:gd name="T24" fmla="*/ 140 w 155"/>
                    <a:gd name="T25" fmla="*/ 75 h 92"/>
                    <a:gd name="T26" fmla="*/ 140 w 155"/>
                    <a:gd name="T27" fmla="*/ 72 h 92"/>
                    <a:gd name="T28" fmla="*/ 143 w 155"/>
                    <a:gd name="T29" fmla="*/ 69 h 92"/>
                    <a:gd name="T30" fmla="*/ 143 w 155"/>
                    <a:gd name="T31" fmla="*/ 66 h 92"/>
                    <a:gd name="T32" fmla="*/ 145 w 155"/>
                    <a:gd name="T33" fmla="*/ 66 h 92"/>
                    <a:gd name="T34" fmla="*/ 147 w 155"/>
                    <a:gd name="T35" fmla="*/ 68 h 92"/>
                    <a:gd name="T36" fmla="*/ 155 w 155"/>
                    <a:gd name="T37" fmla="*/ 63 h 92"/>
                    <a:gd name="T38" fmla="*/ 153 w 155"/>
                    <a:gd name="T39" fmla="*/ 59 h 92"/>
                    <a:gd name="T40" fmla="*/ 145 w 155"/>
                    <a:gd name="T41" fmla="*/ 56 h 92"/>
                    <a:gd name="T42" fmla="*/ 140 w 155"/>
                    <a:gd name="T43" fmla="*/ 58 h 92"/>
                    <a:gd name="T44" fmla="*/ 136 w 155"/>
                    <a:gd name="T45" fmla="*/ 59 h 92"/>
                    <a:gd name="T46" fmla="*/ 132 w 155"/>
                    <a:gd name="T47" fmla="*/ 55 h 92"/>
                    <a:gd name="T48" fmla="*/ 129 w 155"/>
                    <a:gd name="T49" fmla="*/ 52 h 92"/>
                    <a:gd name="T50" fmla="*/ 126 w 155"/>
                    <a:gd name="T51" fmla="*/ 41 h 92"/>
                    <a:gd name="T52" fmla="*/ 123 w 155"/>
                    <a:gd name="T53" fmla="*/ 27 h 92"/>
                    <a:gd name="T54" fmla="*/ 115 w 155"/>
                    <a:gd name="T55" fmla="*/ 19 h 92"/>
                    <a:gd name="T56" fmla="*/ 104 w 155"/>
                    <a:gd name="T57" fmla="*/ 2 h 92"/>
                    <a:gd name="T58" fmla="*/ 91 w 155"/>
                    <a:gd name="T59" fmla="*/ 2 h 92"/>
                    <a:gd name="T60" fmla="*/ 76 w 155"/>
                    <a:gd name="T61" fmla="*/ 6 h 92"/>
                    <a:gd name="T62" fmla="*/ 65 w 155"/>
                    <a:gd name="T63" fmla="*/ 6 h 92"/>
                    <a:gd name="T64" fmla="*/ 51 w 155"/>
                    <a:gd name="T65" fmla="*/ 5 h 92"/>
                    <a:gd name="T66" fmla="*/ 40 w 155"/>
                    <a:gd name="T67" fmla="*/ 2 h 92"/>
                    <a:gd name="T68" fmla="*/ 33 w 155"/>
                    <a:gd name="T69" fmla="*/ 8 h 92"/>
                    <a:gd name="T70" fmla="*/ 28 w 155"/>
                    <a:gd name="T71" fmla="*/ 12 h 92"/>
                    <a:gd name="T72" fmla="*/ 24 w 155"/>
                    <a:gd name="T73" fmla="*/ 18 h 92"/>
                    <a:gd name="T74" fmla="*/ 22 w 155"/>
                    <a:gd name="T75" fmla="*/ 23 h 92"/>
                    <a:gd name="T76" fmla="*/ 18 w 155"/>
                    <a:gd name="T77" fmla="*/ 27 h 92"/>
                    <a:gd name="T78" fmla="*/ 18 w 155"/>
                    <a:gd name="T79" fmla="*/ 31 h 92"/>
                    <a:gd name="T80" fmla="*/ 16 w 155"/>
                    <a:gd name="T81" fmla="*/ 35 h 92"/>
                    <a:gd name="T82" fmla="*/ 11 w 155"/>
                    <a:gd name="T83" fmla="*/ 39 h 92"/>
                    <a:gd name="T84" fmla="*/ 8 w 155"/>
                    <a:gd name="T85" fmla="*/ 40 h 92"/>
                    <a:gd name="T86" fmla="*/ 3 w 155"/>
                    <a:gd name="T87" fmla="*/ 41 h 92"/>
                    <a:gd name="T88" fmla="*/ 2 w 155"/>
                    <a:gd name="T89" fmla="*/ 43 h 92"/>
                    <a:gd name="T90" fmla="*/ 6 w 155"/>
                    <a:gd name="T91" fmla="*/ 48 h 92"/>
                    <a:gd name="T92" fmla="*/ 9 w 155"/>
                    <a:gd name="T93" fmla="*/ 54 h 92"/>
                    <a:gd name="T94" fmla="*/ 12 w 155"/>
                    <a:gd name="T95" fmla="*/ 58 h 92"/>
                    <a:gd name="T96" fmla="*/ 20 w 155"/>
                    <a:gd name="T97" fmla="*/ 60 h 92"/>
                    <a:gd name="T98" fmla="*/ 22 w 155"/>
                    <a:gd name="T99" fmla="*/ 63 h 92"/>
                    <a:gd name="T100" fmla="*/ 22 w 155"/>
                    <a:gd name="T101" fmla="*/ 65 h 92"/>
                    <a:gd name="T102" fmla="*/ 20 w 155"/>
                    <a:gd name="T103" fmla="*/ 67 h 92"/>
                    <a:gd name="T104" fmla="*/ 24 w 155"/>
                    <a:gd name="T105" fmla="*/ 70 h 92"/>
                    <a:gd name="T106" fmla="*/ 29 w 155"/>
                    <a:gd name="T107" fmla="*/ 72 h 92"/>
                    <a:gd name="T108" fmla="*/ 36 w 155"/>
                    <a:gd name="T109" fmla="*/ 70 h 92"/>
                    <a:gd name="T110" fmla="*/ 43 w 155"/>
                    <a:gd name="T111" fmla="*/ 73 h 92"/>
                    <a:gd name="T112" fmla="*/ 39 w 155"/>
                    <a:gd name="T113" fmla="*/ 74 h 92"/>
                    <a:gd name="T114" fmla="*/ 43 w 155"/>
                    <a:gd name="T115" fmla="*/ 80 h 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155" h="92">
                      <a:moveTo>
                        <a:pt x="43" y="80"/>
                      </a:moveTo>
                      <a:lnTo>
                        <a:pt x="43" y="80"/>
                      </a:lnTo>
                      <a:lnTo>
                        <a:pt x="44" y="80"/>
                      </a:lnTo>
                      <a:lnTo>
                        <a:pt x="46" y="81"/>
                      </a:lnTo>
                      <a:lnTo>
                        <a:pt x="49" y="82"/>
                      </a:lnTo>
                      <a:lnTo>
                        <a:pt x="49" y="82"/>
                      </a:lnTo>
                      <a:lnTo>
                        <a:pt x="49" y="83"/>
                      </a:lnTo>
                      <a:lnTo>
                        <a:pt x="46" y="85"/>
                      </a:lnTo>
                      <a:lnTo>
                        <a:pt x="45" y="86"/>
                      </a:lnTo>
                      <a:lnTo>
                        <a:pt x="46" y="88"/>
                      </a:lnTo>
                      <a:lnTo>
                        <a:pt x="49" y="88"/>
                      </a:lnTo>
                      <a:lnTo>
                        <a:pt x="52" y="88"/>
                      </a:lnTo>
                      <a:lnTo>
                        <a:pt x="53" y="88"/>
                      </a:lnTo>
                      <a:lnTo>
                        <a:pt x="58" y="88"/>
                      </a:lnTo>
                      <a:lnTo>
                        <a:pt x="62" y="88"/>
                      </a:lnTo>
                      <a:lnTo>
                        <a:pt x="63" y="89"/>
                      </a:lnTo>
                      <a:lnTo>
                        <a:pt x="65" y="89"/>
                      </a:lnTo>
                      <a:lnTo>
                        <a:pt x="70" y="90"/>
                      </a:lnTo>
                      <a:lnTo>
                        <a:pt x="73" y="89"/>
                      </a:lnTo>
                      <a:lnTo>
                        <a:pt x="76" y="89"/>
                      </a:lnTo>
                      <a:lnTo>
                        <a:pt x="77" y="89"/>
                      </a:lnTo>
                      <a:lnTo>
                        <a:pt x="80" y="89"/>
                      </a:lnTo>
                      <a:lnTo>
                        <a:pt x="84" y="90"/>
                      </a:lnTo>
                      <a:lnTo>
                        <a:pt x="86" y="90"/>
                      </a:lnTo>
                      <a:lnTo>
                        <a:pt x="89" y="92"/>
                      </a:lnTo>
                      <a:lnTo>
                        <a:pt x="90" y="92"/>
                      </a:lnTo>
                      <a:lnTo>
                        <a:pt x="92" y="90"/>
                      </a:lnTo>
                      <a:lnTo>
                        <a:pt x="93" y="89"/>
                      </a:lnTo>
                      <a:lnTo>
                        <a:pt x="96" y="89"/>
                      </a:lnTo>
                      <a:lnTo>
                        <a:pt x="97" y="88"/>
                      </a:lnTo>
                      <a:lnTo>
                        <a:pt x="100" y="86"/>
                      </a:lnTo>
                      <a:lnTo>
                        <a:pt x="100" y="85"/>
                      </a:lnTo>
                      <a:lnTo>
                        <a:pt x="103" y="83"/>
                      </a:lnTo>
                      <a:lnTo>
                        <a:pt x="103" y="83"/>
                      </a:lnTo>
                      <a:lnTo>
                        <a:pt x="107" y="83"/>
                      </a:lnTo>
                      <a:lnTo>
                        <a:pt x="109" y="82"/>
                      </a:lnTo>
                      <a:lnTo>
                        <a:pt x="112" y="81"/>
                      </a:lnTo>
                      <a:lnTo>
                        <a:pt x="115" y="81"/>
                      </a:lnTo>
                      <a:lnTo>
                        <a:pt x="118" y="81"/>
                      </a:lnTo>
                      <a:lnTo>
                        <a:pt x="118" y="82"/>
                      </a:lnTo>
                      <a:lnTo>
                        <a:pt x="119" y="83"/>
                      </a:lnTo>
                      <a:lnTo>
                        <a:pt x="120" y="83"/>
                      </a:lnTo>
                      <a:lnTo>
                        <a:pt x="124" y="83"/>
                      </a:lnTo>
                      <a:lnTo>
                        <a:pt x="124" y="83"/>
                      </a:lnTo>
                      <a:lnTo>
                        <a:pt x="126" y="85"/>
                      </a:lnTo>
                      <a:lnTo>
                        <a:pt x="127" y="86"/>
                      </a:lnTo>
                      <a:lnTo>
                        <a:pt x="130" y="85"/>
                      </a:lnTo>
                      <a:lnTo>
                        <a:pt x="131" y="87"/>
                      </a:lnTo>
                      <a:lnTo>
                        <a:pt x="132" y="88"/>
                      </a:lnTo>
                      <a:lnTo>
                        <a:pt x="135" y="89"/>
                      </a:lnTo>
                      <a:lnTo>
                        <a:pt x="140" y="89"/>
                      </a:lnTo>
                      <a:lnTo>
                        <a:pt x="140" y="88"/>
                      </a:lnTo>
                      <a:lnTo>
                        <a:pt x="142" y="85"/>
                      </a:lnTo>
                      <a:lnTo>
                        <a:pt x="139" y="81"/>
                      </a:lnTo>
                      <a:lnTo>
                        <a:pt x="140" y="81"/>
                      </a:lnTo>
                      <a:lnTo>
                        <a:pt x="139" y="80"/>
                      </a:lnTo>
                      <a:lnTo>
                        <a:pt x="139" y="78"/>
                      </a:lnTo>
                      <a:lnTo>
                        <a:pt x="140" y="78"/>
                      </a:lnTo>
                      <a:lnTo>
                        <a:pt x="142" y="75"/>
                      </a:lnTo>
                      <a:lnTo>
                        <a:pt x="143" y="74"/>
                      </a:lnTo>
                      <a:lnTo>
                        <a:pt x="144" y="73"/>
                      </a:lnTo>
                      <a:lnTo>
                        <a:pt x="144" y="73"/>
                      </a:lnTo>
                      <a:lnTo>
                        <a:pt x="144" y="73"/>
                      </a:lnTo>
                      <a:lnTo>
                        <a:pt x="143" y="74"/>
                      </a:lnTo>
                      <a:lnTo>
                        <a:pt x="140" y="75"/>
                      </a:lnTo>
                      <a:lnTo>
                        <a:pt x="140" y="73"/>
                      </a:lnTo>
                      <a:lnTo>
                        <a:pt x="140" y="73"/>
                      </a:lnTo>
                      <a:lnTo>
                        <a:pt x="140" y="73"/>
                      </a:lnTo>
                      <a:lnTo>
                        <a:pt x="140" y="73"/>
                      </a:lnTo>
                      <a:lnTo>
                        <a:pt x="140" y="72"/>
                      </a:lnTo>
                      <a:lnTo>
                        <a:pt x="140" y="70"/>
                      </a:lnTo>
                      <a:lnTo>
                        <a:pt x="142" y="70"/>
                      </a:lnTo>
                      <a:lnTo>
                        <a:pt x="140" y="70"/>
                      </a:lnTo>
                      <a:lnTo>
                        <a:pt x="142" y="70"/>
                      </a:lnTo>
                      <a:lnTo>
                        <a:pt x="143" y="69"/>
                      </a:lnTo>
                      <a:lnTo>
                        <a:pt x="144" y="69"/>
                      </a:lnTo>
                      <a:lnTo>
                        <a:pt x="144" y="68"/>
                      </a:lnTo>
                      <a:lnTo>
                        <a:pt x="144" y="68"/>
                      </a:lnTo>
                      <a:lnTo>
                        <a:pt x="143" y="67"/>
                      </a:lnTo>
                      <a:lnTo>
                        <a:pt x="143" y="66"/>
                      </a:lnTo>
                      <a:lnTo>
                        <a:pt x="143" y="65"/>
                      </a:lnTo>
                      <a:lnTo>
                        <a:pt x="144" y="63"/>
                      </a:lnTo>
                      <a:lnTo>
                        <a:pt x="145" y="63"/>
                      </a:lnTo>
                      <a:lnTo>
                        <a:pt x="145" y="65"/>
                      </a:lnTo>
                      <a:lnTo>
                        <a:pt x="145" y="66"/>
                      </a:lnTo>
                      <a:lnTo>
                        <a:pt x="145" y="67"/>
                      </a:lnTo>
                      <a:lnTo>
                        <a:pt x="146" y="68"/>
                      </a:lnTo>
                      <a:lnTo>
                        <a:pt x="146" y="67"/>
                      </a:lnTo>
                      <a:lnTo>
                        <a:pt x="146" y="67"/>
                      </a:lnTo>
                      <a:lnTo>
                        <a:pt x="147" y="68"/>
                      </a:lnTo>
                      <a:lnTo>
                        <a:pt x="155" y="68"/>
                      </a:lnTo>
                      <a:lnTo>
                        <a:pt x="155" y="67"/>
                      </a:lnTo>
                      <a:lnTo>
                        <a:pt x="153" y="67"/>
                      </a:lnTo>
                      <a:lnTo>
                        <a:pt x="153" y="66"/>
                      </a:lnTo>
                      <a:lnTo>
                        <a:pt x="155" y="63"/>
                      </a:lnTo>
                      <a:lnTo>
                        <a:pt x="155" y="61"/>
                      </a:lnTo>
                      <a:lnTo>
                        <a:pt x="155" y="61"/>
                      </a:lnTo>
                      <a:lnTo>
                        <a:pt x="153" y="60"/>
                      </a:lnTo>
                      <a:lnTo>
                        <a:pt x="155" y="60"/>
                      </a:lnTo>
                      <a:lnTo>
                        <a:pt x="153" y="59"/>
                      </a:lnTo>
                      <a:lnTo>
                        <a:pt x="153" y="56"/>
                      </a:lnTo>
                      <a:lnTo>
                        <a:pt x="152" y="56"/>
                      </a:lnTo>
                      <a:lnTo>
                        <a:pt x="150" y="56"/>
                      </a:lnTo>
                      <a:lnTo>
                        <a:pt x="146" y="56"/>
                      </a:lnTo>
                      <a:lnTo>
                        <a:pt x="145" y="56"/>
                      </a:lnTo>
                      <a:lnTo>
                        <a:pt x="145" y="56"/>
                      </a:lnTo>
                      <a:lnTo>
                        <a:pt x="144" y="58"/>
                      </a:lnTo>
                      <a:lnTo>
                        <a:pt x="143" y="58"/>
                      </a:lnTo>
                      <a:lnTo>
                        <a:pt x="143" y="59"/>
                      </a:lnTo>
                      <a:lnTo>
                        <a:pt x="140" y="58"/>
                      </a:lnTo>
                      <a:lnTo>
                        <a:pt x="140" y="59"/>
                      </a:lnTo>
                      <a:lnTo>
                        <a:pt x="139" y="59"/>
                      </a:lnTo>
                      <a:lnTo>
                        <a:pt x="138" y="59"/>
                      </a:lnTo>
                      <a:lnTo>
                        <a:pt x="138" y="59"/>
                      </a:lnTo>
                      <a:lnTo>
                        <a:pt x="136" y="59"/>
                      </a:lnTo>
                      <a:lnTo>
                        <a:pt x="135" y="58"/>
                      </a:lnTo>
                      <a:lnTo>
                        <a:pt x="133" y="58"/>
                      </a:lnTo>
                      <a:lnTo>
                        <a:pt x="133" y="56"/>
                      </a:lnTo>
                      <a:lnTo>
                        <a:pt x="132" y="55"/>
                      </a:lnTo>
                      <a:lnTo>
                        <a:pt x="132" y="55"/>
                      </a:lnTo>
                      <a:lnTo>
                        <a:pt x="131" y="54"/>
                      </a:lnTo>
                      <a:lnTo>
                        <a:pt x="131" y="53"/>
                      </a:lnTo>
                      <a:lnTo>
                        <a:pt x="130" y="52"/>
                      </a:lnTo>
                      <a:lnTo>
                        <a:pt x="129" y="52"/>
                      </a:lnTo>
                      <a:lnTo>
                        <a:pt x="129" y="52"/>
                      </a:lnTo>
                      <a:lnTo>
                        <a:pt x="129" y="48"/>
                      </a:lnTo>
                      <a:lnTo>
                        <a:pt x="127" y="48"/>
                      </a:lnTo>
                      <a:lnTo>
                        <a:pt x="126" y="43"/>
                      </a:lnTo>
                      <a:lnTo>
                        <a:pt x="126" y="42"/>
                      </a:lnTo>
                      <a:lnTo>
                        <a:pt x="126" y="41"/>
                      </a:lnTo>
                      <a:lnTo>
                        <a:pt x="125" y="38"/>
                      </a:lnTo>
                      <a:lnTo>
                        <a:pt x="126" y="36"/>
                      </a:lnTo>
                      <a:lnTo>
                        <a:pt x="125" y="31"/>
                      </a:lnTo>
                      <a:lnTo>
                        <a:pt x="124" y="29"/>
                      </a:lnTo>
                      <a:lnTo>
                        <a:pt x="123" y="27"/>
                      </a:lnTo>
                      <a:lnTo>
                        <a:pt x="123" y="25"/>
                      </a:lnTo>
                      <a:lnTo>
                        <a:pt x="123" y="23"/>
                      </a:lnTo>
                      <a:lnTo>
                        <a:pt x="120" y="22"/>
                      </a:lnTo>
                      <a:lnTo>
                        <a:pt x="118" y="22"/>
                      </a:lnTo>
                      <a:lnTo>
                        <a:pt x="115" y="19"/>
                      </a:lnTo>
                      <a:lnTo>
                        <a:pt x="111" y="15"/>
                      </a:lnTo>
                      <a:lnTo>
                        <a:pt x="107" y="9"/>
                      </a:lnTo>
                      <a:lnTo>
                        <a:pt x="107" y="7"/>
                      </a:lnTo>
                      <a:lnTo>
                        <a:pt x="105" y="7"/>
                      </a:lnTo>
                      <a:lnTo>
                        <a:pt x="104" y="2"/>
                      </a:lnTo>
                      <a:lnTo>
                        <a:pt x="98" y="0"/>
                      </a:lnTo>
                      <a:lnTo>
                        <a:pt x="93" y="0"/>
                      </a:lnTo>
                      <a:lnTo>
                        <a:pt x="92" y="0"/>
                      </a:lnTo>
                      <a:lnTo>
                        <a:pt x="90" y="0"/>
                      </a:lnTo>
                      <a:lnTo>
                        <a:pt x="91" y="2"/>
                      </a:lnTo>
                      <a:lnTo>
                        <a:pt x="91" y="5"/>
                      </a:lnTo>
                      <a:lnTo>
                        <a:pt x="85" y="5"/>
                      </a:lnTo>
                      <a:lnTo>
                        <a:pt x="83" y="6"/>
                      </a:lnTo>
                      <a:lnTo>
                        <a:pt x="80" y="6"/>
                      </a:lnTo>
                      <a:lnTo>
                        <a:pt x="76" y="6"/>
                      </a:lnTo>
                      <a:lnTo>
                        <a:pt x="75" y="8"/>
                      </a:lnTo>
                      <a:lnTo>
                        <a:pt x="70" y="9"/>
                      </a:lnTo>
                      <a:lnTo>
                        <a:pt x="69" y="8"/>
                      </a:lnTo>
                      <a:lnTo>
                        <a:pt x="66" y="7"/>
                      </a:lnTo>
                      <a:lnTo>
                        <a:pt x="65" y="6"/>
                      </a:lnTo>
                      <a:lnTo>
                        <a:pt x="65" y="6"/>
                      </a:lnTo>
                      <a:lnTo>
                        <a:pt x="60" y="6"/>
                      </a:lnTo>
                      <a:lnTo>
                        <a:pt x="55" y="6"/>
                      </a:lnTo>
                      <a:lnTo>
                        <a:pt x="53" y="5"/>
                      </a:lnTo>
                      <a:lnTo>
                        <a:pt x="51" y="5"/>
                      </a:lnTo>
                      <a:lnTo>
                        <a:pt x="49" y="3"/>
                      </a:lnTo>
                      <a:lnTo>
                        <a:pt x="46" y="5"/>
                      </a:lnTo>
                      <a:lnTo>
                        <a:pt x="45" y="3"/>
                      </a:lnTo>
                      <a:lnTo>
                        <a:pt x="43" y="5"/>
                      </a:lnTo>
                      <a:lnTo>
                        <a:pt x="40" y="2"/>
                      </a:lnTo>
                      <a:lnTo>
                        <a:pt x="37" y="5"/>
                      </a:lnTo>
                      <a:lnTo>
                        <a:pt x="37" y="6"/>
                      </a:lnTo>
                      <a:lnTo>
                        <a:pt x="36" y="7"/>
                      </a:lnTo>
                      <a:lnTo>
                        <a:pt x="36" y="7"/>
                      </a:lnTo>
                      <a:lnTo>
                        <a:pt x="33" y="8"/>
                      </a:lnTo>
                      <a:lnTo>
                        <a:pt x="30" y="8"/>
                      </a:lnTo>
                      <a:lnTo>
                        <a:pt x="30" y="9"/>
                      </a:lnTo>
                      <a:lnTo>
                        <a:pt x="29" y="9"/>
                      </a:lnTo>
                      <a:lnTo>
                        <a:pt x="29" y="9"/>
                      </a:lnTo>
                      <a:lnTo>
                        <a:pt x="28" y="12"/>
                      </a:lnTo>
                      <a:lnTo>
                        <a:pt x="26" y="12"/>
                      </a:lnTo>
                      <a:lnTo>
                        <a:pt x="24" y="13"/>
                      </a:lnTo>
                      <a:lnTo>
                        <a:pt x="25" y="16"/>
                      </a:lnTo>
                      <a:lnTo>
                        <a:pt x="24" y="16"/>
                      </a:lnTo>
                      <a:lnTo>
                        <a:pt x="24" y="18"/>
                      </a:lnTo>
                      <a:lnTo>
                        <a:pt x="24" y="20"/>
                      </a:lnTo>
                      <a:lnTo>
                        <a:pt x="23" y="20"/>
                      </a:lnTo>
                      <a:lnTo>
                        <a:pt x="23" y="21"/>
                      </a:lnTo>
                      <a:lnTo>
                        <a:pt x="20" y="22"/>
                      </a:lnTo>
                      <a:lnTo>
                        <a:pt x="22" y="23"/>
                      </a:lnTo>
                      <a:lnTo>
                        <a:pt x="20" y="23"/>
                      </a:lnTo>
                      <a:lnTo>
                        <a:pt x="20" y="25"/>
                      </a:lnTo>
                      <a:lnTo>
                        <a:pt x="19" y="26"/>
                      </a:lnTo>
                      <a:lnTo>
                        <a:pt x="19" y="27"/>
                      </a:lnTo>
                      <a:lnTo>
                        <a:pt x="18" y="27"/>
                      </a:lnTo>
                      <a:lnTo>
                        <a:pt x="18" y="27"/>
                      </a:lnTo>
                      <a:lnTo>
                        <a:pt x="18" y="28"/>
                      </a:lnTo>
                      <a:lnTo>
                        <a:pt x="18" y="29"/>
                      </a:lnTo>
                      <a:lnTo>
                        <a:pt x="18" y="31"/>
                      </a:lnTo>
                      <a:lnTo>
                        <a:pt x="18" y="31"/>
                      </a:lnTo>
                      <a:lnTo>
                        <a:pt x="17" y="32"/>
                      </a:lnTo>
                      <a:lnTo>
                        <a:pt x="16" y="32"/>
                      </a:lnTo>
                      <a:lnTo>
                        <a:pt x="16" y="33"/>
                      </a:lnTo>
                      <a:lnTo>
                        <a:pt x="15" y="34"/>
                      </a:lnTo>
                      <a:lnTo>
                        <a:pt x="16" y="35"/>
                      </a:lnTo>
                      <a:lnTo>
                        <a:pt x="16" y="35"/>
                      </a:lnTo>
                      <a:lnTo>
                        <a:pt x="15" y="36"/>
                      </a:lnTo>
                      <a:lnTo>
                        <a:pt x="13" y="39"/>
                      </a:lnTo>
                      <a:lnTo>
                        <a:pt x="12" y="39"/>
                      </a:lnTo>
                      <a:lnTo>
                        <a:pt x="11" y="39"/>
                      </a:lnTo>
                      <a:lnTo>
                        <a:pt x="10" y="39"/>
                      </a:lnTo>
                      <a:lnTo>
                        <a:pt x="9" y="39"/>
                      </a:lnTo>
                      <a:lnTo>
                        <a:pt x="8" y="39"/>
                      </a:lnTo>
                      <a:lnTo>
                        <a:pt x="6" y="39"/>
                      </a:lnTo>
                      <a:lnTo>
                        <a:pt x="8" y="40"/>
                      </a:lnTo>
                      <a:lnTo>
                        <a:pt x="6" y="40"/>
                      </a:lnTo>
                      <a:lnTo>
                        <a:pt x="6" y="41"/>
                      </a:lnTo>
                      <a:lnTo>
                        <a:pt x="5" y="41"/>
                      </a:lnTo>
                      <a:lnTo>
                        <a:pt x="4" y="41"/>
                      </a:lnTo>
                      <a:lnTo>
                        <a:pt x="3" y="41"/>
                      </a:lnTo>
                      <a:lnTo>
                        <a:pt x="2" y="41"/>
                      </a:lnTo>
                      <a:lnTo>
                        <a:pt x="0" y="41"/>
                      </a:lnTo>
                      <a:lnTo>
                        <a:pt x="0" y="42"/>
                      </a:lnTo>
                      <a:lnTo>
                        <a:pt x="0" y="42"/>
                      </a:lnTo>
                      <a:lnTo>
                        <a:pt x="2" y="43"/>
                      </a:lnTo>
                      <a:lnTo>
                        <a:pt x="3" y="45"/>
                      </a:lnTo>
                      <a:lnTo>
                        <a:pt x="4" y="46"/>
                      </a:lnTo>
                      <a:lnTo>
                        <a:pt x="5" y="46"/>
                      </a:lnTo>
                      <a:lnTo>
                        <a:pt x="6" y="47"/>
                      </a:lnTo>
                      <a:lnTo>
                        <a:pt x="6" y="48"/>
                      </a:lnTo>
                      <a:lnTo>
                        <a:pt x="8" y="49"/>
                      </a:lnTo>
                      <a:lnTo>
                        <a:pt x="9" y="49"/>
                      </a:lnTo>
                      <a:lnTo>
                        <a:pt x="9" y="52"/>
                      </a:lnTo>
                      <a:lnTo>
                        <a:pt x="10" y="53"/>
                      </a:lnTo>
                      <a:lnTo>
                        <a:pt x="9" y="54"/>
                      </a:lnTo>
                      <a:lnTo>
                        <a:pt x="9" y="54"/>
                      </a:lnTo>
                      <a:lnTo>
                        <a:pt x="10" y="55"/>
                      </a:lnTo>
                      <a:lnTo>
                        <a:pt x="11" y="55"/>
                      </a:lnTo>
                      <a:lnTo>
                        <a:pt x="11" y="55"/>
                      </a:lnTo>
                      <a:lnTo>
                        <a:pt x="12" y="58"/>
                      </a:lnTo>
                      <a:lnTo>
                        <a:pt x="15" y="58"/>
                      </a:lnTo>
                      <a:lnTo>
                        <a:pt x="16" y="58"/>
                      </a:lnTo>
                      <a:lnTo>
                        <a:pt x="17" y="59"/>
                      </a:lnTo>
                      <a:lnTo>
                        <a:pt x="17" y="59"/>
                      </a:lnTo>
                      <a:lnTo>
                        <a:pt x="20" y="60"/>
                      </a:lnTo>
                      <a:lnTo>
                        <a:pt x="22" y="61"/>
                      </a:lnTo>
                      <a:lnTo>
                        <a:pt x="22" y="61"/>
                      </a:lnTo>
                      <a:lnTo>
                        <a:pt x="22" y="61"/>
                      </a:lnTo>
                      <a:lnTo>
                        <a:pt x="22" y="62"/>
                      </a:lnTo>
                      <a:lnTo>
                        <a:pt x="22" y="63"/>
                      </a:lnTo>
                      <a:lnTo>
                        <a:pt x="20" y="63"/>
                      </a:lnTo>
                      <a:lnTo>
                        <a:pt x="22" y="63"/>
                      </a:lnTo>
                      <a:lnTo>
                        <a:pt x="22" y="63"/>
                      </a:lnTo>
                      <a:lnTo>
                        <a:pt x="22" y="65"/>
                      </a:lnTo>
                      <a:lnTo>
                        <a:pt x="22" y="65"/>
                      </a:lnTo>
                      <a:lnTo>
                        <a:pt x="22" y="65"/>
                      </a:lnTo>
                      <a:lnTo>
                        <a:pt x="22" y="66"/>
                      </a:lnTo>
                      <a:lnTo>
                        <a:pt x="22" y="66"/>
                      </a:lnTo>
                      <a:lnTo>
                        <a:pt x="22" y="66"/>
                      </a:lnTo>
                      <a:lnTo>
                        <a:pt x="20" y="67"/>
                      </a:lnTo>
                      <a:lnTo>
                        <a:pt x="22" y="67"/>
                      </a:lnTo>
                      <a:lnTo>
                        <a:pt x="22" y="68"/>
                      </a:lnTo>
                      <a:lnTo>
                        <a:pt x="23" y="68"/>
                      </a:lnTo>
                      <a:lnTo>
                        <a:pt x="23" y="69"/>
                      </a:lnTo>
                      <a:lnTo>
                        <a:pt x="24" y="70"/>
                      </a:lnTo>
                      <a:lnTo>
                        <a:pt x="25" y="72"/>
                      </a:lnTo>
                      <a:lnTo>
                        <a:pt x="26" y="70"/>
                      </a:lnTo>
                      <a:lnTo>
                        <a:pt x="26" y="72"/>
                      </a:lnTo>
                      <a:lnTo>
                        <a:pt x="28" y="70"/>
                      </a:lnTo>
                      <a:lnTo>
                        <a:pt x="29" y="72"/>
                      </a:lnTo>
                      <a:lnTo>
                        <a:pt x="31" y="72"/>
                      </a:lnTo>
                      <a:lnTo>
                        <a:pt x="32" y="74"/>
                      </a:lnTo>
                      <a:lnTo>
                        <a:pt x="33" y="74"/>
                      </a:lnTo>
                      <a:lnTo>
                        <a:pt x="35" y="74"/>
                      </a:lnTo>
                      <a:lnTo>
                        <a:pt x="36" y="70"/>
                      </a:lnTo>
                      <a:lnTo>
                        <a:pt x="37" y="70"/>
                      </a:lnTo>
                      <a:lnTo>
                        <a:pt x="38" y="70"/>
                      </a:lnTo>
                      <a:lnTo>
                        <a:pt x="39" y="70"/>
                      </a:lnTo>
                      <a:lnTo>
                        <a:pt x="40" y="72"/>
                      </a:lnTo>
                      <a:lnTo>
                        <a:pt x="43" y="73"/>
                      </a:lnTo>
                      <a:lnTo>
                        <a:pt x="44" y="73"/>
                      </a:lnTo>
                      <a:lnTo>
                        <a:pt x="43" y="73"/>
                      </a:lnTo>
                      <a:lnTo>
                        <a:pt x="43" y="74"/>
                      </a:lnTo>
                      <a:lnTo>
                        <a:pt x="40" y="73"/>
                      </a:lnTo>
                      <a:lnTo>
                        <a:pt x="39" y="74"/>
                      </a:lnTo>
                      <a:lnTo>
                        <a:pt x="38" y="74"/>
                      </a:lnTo>
                      <a:lnTo>
                        <a:pt x="39" y="78"/>
                      </a:lnTo>
                      <a:lnTo>
                        <a:pt x="43" y="79"/>
                      </a:lnTo>
                      <a:lnTo>
                        <a:pt x="43" y="80"/>
                      </a:lnTo>
                      <a:lnTo>
                        <a:pt x="43" y="80"/>
                      </a:lnTo>
                      <a:lnTo>
                        <a:pt x="43" y="80"/>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82" name="Qatar">
                  <a:extLst>
                    <a:ext uri="{FF2B5EF4-FFF2-40B4-BE49-F238E27FC236}">
                      <a16:creationId xmlns:a16="http://schemas.microsoft.com/office/drawing/2014/main" id="{778C03A6-247B-F34B-B629-166BDEF1A48D}"/>
                    </a:ext>
                  </a:extLst>
                </p:cNvPr>
                <p:cNvSpPr>
                  <a:spLocks/>
                </p:cNvSpPr>
                <p:nvPr/>
              </p:nvSpPr>
              <p:spPr bwMode="auto">
                <a:xfrm>
                  <a:off x="7667194" y="3203613"/>
                  <a:ext cx="23327" cy="46655"/>
                </a:xfrm>
                <a:custGeom>
                  <a:avLst/>
                  <a:gdLst>
                    <a:gd name="T0" fmla="*/ 10 w 16"/>
                    <a:gd name="T1" fmla="*/ 31 h 32"/>
                    <a:gd name="T2" fmla="*/ 6 w 16"/>
                    <a:gd name="T3" fmla="*/ 32 h 32"/>
                    <a:gd name="T4" fmla="*/ 3 w 16"/>
                    <a:gd name="T5" fmla="*/ 29 h 32"/>
                    <a:gd name="T6" fmla="*/ 4 w 16"/>
                    <a:gd name="T7" fmla="*/ 27 h 32"/>
                    <a:gd name="T8" fmla="*/ 0 w 16"/>
                    <a:gd name="T9" fmla="*/ 20 h 32"/>
                    <a:gd name="T10" fmla="*/ 0 w 16"/>
                    <a:gd name="T11" fmla="*/ 13 h 32"/>
                    <a:gd name="T12" fmla="*/ 2 w 16"/>
                    <a:gd name="T13" fmla="*/ 14 h 32"/>
                    <a:gd name="T14" fmla="*/ 0 w 16"/>
                    <a:gd name="T15" fmla="*/ 12 h 32"/>
                    <a:gd name="T16" fmla="*/ 3 w 16"/>
                    <a:gd name="T17" fmla="*/ 12 h 32"/>
                    <a:gd name="T18" fmla="*/ 3 w 16"/>
                    <a:gd name="T19" fmla="*/ 11 h 32"/>
                    <a:gd name="T20" fmla="*/ 3 w 16"/>
                    <a:gd name="T21" fmla="*/ 11 h 32"/>
                    <a:gd name="T22" fmla="*/ 2 w 16"/>
                    <a:gd name="T23" fmla="*/ 10 h 32"/>
                    <a:gd name="T24" fmla="*/ 2 w 16"/>
                    <a:gd name="T25" fmla="*/ 7 h 32"/>
                    <a:gd name="T26" fmla="*/ 3 w 16"/>
                    <a:gd name="T27" fmla="*/ 9 h 32"/>
                    <a:gd name="T28" fmla="*/ 3 w 16"/>
                    <a:gd name="T29" fmla="*/ 7 h 32"/>
                    <a:gd name="T30" fmla="*/ 3 w 16"/>
                    <a:gd name="T31" fmla="*/ 7 h 32"/>
                    <a:gd name="T32" fmla="*/ 3 w 16"/>
                    <a:gd name="T33" fmla="*/ 7 h 32"/>
                    <a:gd name="T34" fmla="*/ 3 w 16"/>
                    <a:gd name="T35" fmla="*/ 4 h 32"/>
                    <a:gd name="T36" fmla="*/ 4 w 16"/>
                    <a:gd name="T37" fmla="*/ 3 h 32"/>
                    <a:gd name="T38" fmla="*/ 7 w 16"/>
                    <a:gd name="T39" fmla="*/ 0 h 32"/>
                    <a:gd name="T40" fmla="*/ 9 w 16"/>
                    <a:gd name="T41" fmla="*/ 2 h 32"/>
                    <a:gd name="T42" fmla="*/ 9 w 16"/>
                    <a:gd name="T43" fmla="*/ 3 h 32"/>
                    <a:gd name="T44" fmla="*/ 10 w 16"/>
                    <a:gd name="T45" fmla="*/ 5 h 32"/>
                    <a:gd name="T46" fmla="*/ 13 w 16"/>
                    <a:gd name="T47" fmla="*/ 5 h 32"/>
                    <a:gd name="T48" fmla="*/ 13 w 16"/>
                    <a:gd name="T49" fmla="*/ 7 h 32"/>
                    <a:gd name="T50" fmla="*/ 13 w 16"/>
                    <a:gd name="T51" fmla="*/ 11 h 32"/>
                    <a:gd name="T52" fmla="*/ 12 w 16"/>
                    <a:gd name="T53" fmla="*/ 11 h 32"/>
                    <a:gd name="T54" fmla="*/ 12 w 16"/>
                    <a:gd name="T55" fmla="*/ 13 h 32"/>
                    <a:gd name="T56" fmla="*/ 13 w 16"/>
                    <a:gd name="T57" fmla="*/ 14 h 32"/>
                    <a:gd name="T58" fmla="*/ 13 w 16"/>
                    <a:gd name="T59" fmla="*/ 14 h 32"/>
                    <a:gd name="T60" fmla="*/ 14 w 16"/>
                    <a:gd name="T61" fmla="*/ 18 h 32"/>
                    <a:gd name="T62" fmla="*/ 16 w 16"/>
                    <a:gd name="T63" fmla="*/ 24 h 32"/>
                    <a:gd name="T64" fmla="*/ 13 w 16"/>
                    <a:gd name="T65" fmla="*/ 26 h 32"/>
                    <a:gd name="T66" fmla="*/ 13 w 16"/>
                    <a:gd name="T67" fmla="*/ 29 h 32"/>
                    <a:gd name="T68" fmla="*/ 13 w 16"/>
                    <a:gd name="T69" fmla="*/ 30 h 32"/>
                    <a:gd name="T70" fmla="*/ 13 w 16"/>
                    <a:gd name="T71" fmla="*/ 30 h 32"/>
                    <a:gd name="T72" fmla="*/ 13 w 16"/>
                    <a:gd name="T73" fmla="*/ 30 h 32"/>
                    <a:gd name="T74" fmla="*/ 12 w 16"/>
                    <a:gd name="T75" fmla="*/ 31 h 32"/>
                    <a:gd name="T76" fmla="*/ 12 w 16"/>
                    <a:gd name="T77" fmla="*/ 31 h 32"/>
                    <a:gd name="T78" fmla="*/ 12 w 16"/>
                    <a:gd name="T79" fmla="*/ 31 h 32"/>
                    <a:gd name="T80" fmla="*/ 12 w 16"/>
                    <a:gd name="T81" fmla="*/ 31 h 32"/>
                    <a:gd name="T82" fmla="*/ 12 w 16"/>
                    <a:gd name="T83" fmla="*/ 31 h 32"/>
                    <a:gd name="T84" fmla="*/ 12 w 16"/>
                    <a:gd name="T85" fmla="*/ 31 h 32"/>
                    <a:gd name="T86" fmla="*/ 12 w 16"/>
                    <a:gd name="T87" fmla="*/ 31 h 32"/>
                    <a:gd name="T88" fmla="*/ 12 w 16"/>
                    <a:gd name="T89" fmla="*/ 31 h 32"/>
                    <a:gd name="T90" fmla="*/ 12 w 16"/>
                    <a:gd name="T91" fmla="*/ 31 h 32"/>
                    <a:gd name="T92" fmla="*/ 12 w 16"/>
                    <a:gd name="T93" fmla="*/ 31 h 32"/>
                    <a:gd name="T94" fmla="*/ 11 w 16"/>
                    <a:gd name="T95" fmla="*/ 31 h 32"/>
                    <a:gd name="T96" fmla="*/ 10 w 16"/>
                    <a:gd name="T97" fmla="*/ 31 h 32"/>
                    <a:gd name="T98" fmla="*/ 10 w 16"/>
                    <a:gd name="T99" fmla="*/ 31 h 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6" h="32">
                      <a:moveTo>
                        <a:pt x="10" y="31"/>
                      </a:moveTo>
                      <a:lnTo>
                        <a:pt x="6" y="32"/>
                      </a:lnTo>
                      <a:lnTo>
                        <a:pt x="3" y="29"/>
                      </a:lnTo>
                      <a:lnTo>
                        <a:pt x="4" y="27"/>
                      </a:lnTo>
                      <a:lnTo>
                        <a:pt x="0" y="20"/>
                      </a:lnTo>
                      <a:lnTo>
                        <a:pt x="0" y="13"/>
                      </a:lnTo>
                      <a:lnTo>
                        <a:pt x="2" y="14"/>
                      </a:lnTo>
                      <a:lnTo>
                        <a:pt x="0" y="12"/>
                      </a:lnTo>
                      <a:lnTo>
                        <a:pt x="3" y="12"/>
                      </a:lnTo>
                      <a:lnTo>
                        <a:pt x="3" y="11"/>
                      </a:lnTo>
                      <a:lnTo>
                        <a:pt x="3" y="11"/>
                      </a:lnTo>
                      <a:lnTo>
                        <a:pt x="2" y="10"/>
                      </a:lnTo>
                      <a:lnTo>
                        <a:pt x="2" y="7"/>
                      </a:lnTo>
                      <a:lnTo>
                        <a:pt x="3" y="9"/>
                      </a:lnTo>
                      <a:lnTo>
                        <a:pt x="3" y="7"/>
                      </a:lnTo>
                      <a:lnTo>
                        <a:pt x="3" y="7"/>
                      </a:lnTo>
                      <a:lnTo>
                        <a:pt x="3" y="7"/>
                      </a:lnTo>
                      <a:lnTo>
                        <a:pt x="3" y="4"/>
                      </a:lnTo>
                      <a:lnTo>
                        <a:pt x="4" y="3"/>
                      </a:lnTo>
                      <a:lnTo>
                        <a:pt x="7" y="0"/>
                      </a:lnTo>
                      <a:lnTo>
                        <a:pt x="9" y="2"/>
                      </a:lnTo>
                      <a:lnTo>
                        <a:pt x="9" y="3"/>
                      </a:lnTo>
                      <a:lnTo>
                        <a:pt x="10" y="5"/>
                      </a:lnTo>
                      <a:lnTo>
                        <a:pt x="13" y="5"/>
                      </a:lnTo>
                      <a:lnTo>
                        <a:pt x="13" y="7"/>
                      </a:lnTo>
                      <a:lnTo>
                        <a:pt x="13" y="11"/>
                      </a:lnTo>
                      <a:lnTo>
                        <a:pt x="12" y="11"/>
                      </a:lnTo>
                      <a:lnTo>
                        <a:pt x="12" y="13"/>
                      </a:lnTo>
                      <a:lnTo>
                        <a:pt x="13" y="14"/>
                      </a:lnTo>
                      <a:lnTo>
                        <a:pt x="13" y="14"/>
                      </a:lnTo>
                      <a:lnTo>
                        <a:pt x="14" y="18"/>
                      </a:lnTo>
                      <a:lnTo>
                        <a:pt x="16" y="24"/>
                      </a:lnTo>
                      <a:lnTo>
                        <a:pt x="13" y="26"/>
                      </a:lnTo>
                      <a:lnTo>
                        <a:pt x="13" y="29"/>
                      </a:lnTo>
                      <a:lnTo>
                        <a:pt x="13" y="30"/>
                      </a:lnTo>
                      <a:lnTo>
                        <a:pt x="13" y="30"/>
                      </a:lnTo>
                      <a:lnTo>
                        <a:pt x="13" y="30"/>
                      </a:lnTo>
                      <a:lnTo>
                        <a:pt x="12" y="31"/>
                      </a:lnTo>
                      <a:lnTo>
                        <a:pt x="12" y="31"/>
                      </a:lnTo>
                      <a:lnTo>
                        <a:pt x="12" y="31"/>
                      </a:lnTo>
                      <a:lnTo>
                        <a:pt x="12" y="31"/>
                      </a:lnTo>
                      <a:lnTo>
                        <a:pt x="12" y="31"/>
                      </a:lnTo>
                      <a:lnTo>
                        <a:pt x="12" y="31"/>
                      </a:lnTo>
                      <a:lnTo>
                        <a:pt x="12" y="31"/>
                      </a:lnTo>
                      <a:lnTo>
                        <a:pt x="12" y="31"/>
                      </a:lnTo>
                      <a:lnTo>
                        <a:pt x="12" y="31"/>
                      </a:lnTo>
                      <a:lnTo>
                        <a:pt x="12" y="31"/>
                      </a:lnTo>
                      <a:lnTo>
                        <a:pt x="11" y="31"/>
                      </a:lnTo>
                      <a:lnTo>
                        <a:pt x="10" y="31"/>
                      </a:lnTo>
                      <a:lnTo>
                        <a:pt x="10" y="31"/>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grpSp>
              <p:nvGrpSpPr>
                <p:cNvPr id="383" name="Portugal">
                  <a:extLst>
                    <a:ext uri="{FF2B5EF4-FFF2-40B4-BE49-F238E27FC236}">
                      <a16:creationId xmlns:a16="http://schemas.microsoft.com/office/drawing/2014/main" id="{0510CA82-DC68-BB40-9FDC-AAFA2899D545}"/>
                    </a:ext>
                  </a:extLst>
                </p:cNvPr>
                <p:cNvGrpSpPr/>
                <p:nvPr/>
              </p:nvGrpSpPr>
              <p:grpSpPr>
                <a:xfrm>
                  <a:off x="5611487" y="2725406"/>
                  <a:ext cx="613796" cy="153085"/>
                  <a:chOff x="4203679" y="2943322"/>
                  <a:chExt cx="676878" cy="168818"/>
                </a:xfrm>
                <a:grpFill/>
              </p:grpSpPr>
              <p:sp>
                <p:nvSpPr>
                  <p:cNvPr id="529" name="Freeform 46">
                    <a:extLst>
                      <a:ext uri="{FF2B5EF4-FFF2-40B4-BE49-F238E27FC236}">
                        <a16:creationId xmlns:a16="http://schemas.microsoft.com/office/drawing/2014/main" id="{D4BCCF28-EC31-FC45-AA69-FA05A1C9A617}"/>
                      </a:ext>
                    </a:extLst>
                  </p:cNvPr>
                  <p:cNvSpPr>
                    <a:spLocks noEditPoints="1"/>
                  </p:cNvSpPr>
                  <p:nvPr/>
                </p:nvSpPr>
                <p:spPr bwMode="auto">
                  <a:xfrm>
                    <a:off x="4203679" y="3025319"/>
                    <a:ext cx="163994" cy="86821"/>
                  </a:xfrm>
                  <a:custGeom>
                    <a:avLst/>
                    <a:gdLst>
                      <a:gd name="T0" fmla="*/ 3 w 102"/>
                      <a:gd name="T1" fmla="*/ 2 h 54"/>
                      <a:gd name="T2" fmla="*/ 0 w 102"/>
                      <a:gd name="T3" fmla="*/ 0 h 54"/>
                      <a:gd name="T4" fmla="*/ 3 w 102"/>
                      <a:gd name="T5" fmla="*/ 0 h 54"/>
                      <a:gd name="T6" fmla="*/ 4 w 102"/>
                      <a:gd name="T7" fmla="*/ 1 h 54"/>
                      <a:gd name="T8" fmla="*/ 3 w 102"/>
                      <a:gd name="T9" fmla="*/ 3 h 54"/>
                      <a:gd name="T10" fmla="*/ 41 w 102"/>
                      <a:gd name="T11" fmla="*/ 20 h 54"/>
                      <a:gd name="T12" fmla="*/ 40 w 102"/>
                      <a:gd name="T13" fmla="*/ 20 h 54"/>
                      <a:gd name="T14" fmla="*/ 41 w 102"/>
                      <a:gd name="T15" fmla="*/ 20 h 54"/>
                      <a:gd name="T16" fmla="*/ 44 w 102"/>
                      <a:gd name="T17" fmla="*/ 21 h 54"/>
                      <a:gd name="T18" fmla="*/ 50 w 102"/>
                      <a:gd name="T19" fmla="*/ 21 h 54"/>
                      <a:gd name="T20" fmla="*/ 48 w 102"/>
                      <a:gd name="T21" fmla="*/ 23 h 54"/>
                      <a:gd name="T22" fmla="*/ 44 w 102"/>
                      <a:gd name="T23" fmla="*/ 21 h 54"/>
                      <a:gd name="T24" fmla="*/ 44 w 102"/>
                      <a:gd name="T25" fmla="*/ 21 h 54"/>
                      <a:gd name="T26" fmla="*/ 54 w 102"/>
                      <a:gd name="T27" fmla="*/ 20 h 54"/>
                      <a:gd name="T28" fmla="*/ 51 w 102"/>
                      <a:gd name="T29" fmla="*/ 17 h 54"/>
                      <a:gd name="T30" fmla="*/ 51 w 102"/>
                      <a:gd name="T31" fmla="*/ 16 h 54"/>
                      <a:gd name="T32" fmla="*/ 53 w 102"/>
                      <a:gd name="T33" fmla="*/ 19 h 54"/>
                      <a:gd name="T34" fmla="*/ 57 w 102"/>
                      <a:gd name="T35" fmla="*/ 19 h 54"/>
                      <a:gd name="T36" fmla="*/ 67 w 102"/>
                      <a:gd name="T37" fmla="*/ 16 h 54"/>
                      <a:gd name="T38" fmla="*/ 66 w 102"/>
                      <a:gd name="T39" fmla="*/ 17 h 54"/>
                      <a:gd name="T40" fmla="*/ 65 w 102"/>
                      <a:gd name="T41" fmla="*/ 17 h 54"/>
                      <a:gd name="T42" fmla="*/ 64 w 102"/>
                      <a:gd name="T43" fmla="*/ 16 h 54"/>
                      <a:gd name="T44" fmla="*/ 62 w 102"/>
                      <a:gd name="T45" fmla="*/ 16 h 54"/>
                      <a:gd name="T46" fmla="*/ 66 w 102"/>
                      <a:gd name="T47" fmla="*/ 14 h 54"/>
                      <a:gd name="T48" fmla="*/ 67 w 102"/>
                      <a:gd name="T49" fmla="*/ 16 h 54"/>
                      <a:gd name="T50" fmla="*/ 92 w 102"/>
                      <a:gd name="T51" fmla="*/ 36 h 54"/>
                      <a:gd name="T52" fmla="*/ 88 w 102"/>
                      <a:gd name="T53" fmla="*/ 35 h 54"/>
                      <a:gd name="T54" fmla="*/ 87 w 102"/>
                      <a:gd name="T55" fmla="*/ 33 h 54"/>
                      <a:gd name="T56" fmla="*/ 92 w 102"/>
                      <a:gd name="T57" fmla="*/ 33 h 54"/>
                      <a:gd name="T58" fmla="*/ 94 w 102"/>
                      <a:gd name="T59" fmla="*/ 34 h 54"/>
                      <a:gd name="T60" fmla="*/ 97 w 102"/>
                      <a:gd name="T61" fmla="*/ 33 h 54"/>
                      <a:gd name="T62" fmla="*/ 95 w 102"/>
                      <a:gd name="T63" fmla="*/ 36 h 54"/>
                      <a:gd name="T64" fmla="*/ 93 w 102"/>
                      <a:gd name="T65" fmla="*/ 36 h 54"/>
                      <a:gd name="T66" fmla="*/ 100 w 102"/>
                      <a:gd name="T67" fmla="*/ 53 h 54"/>
                      <a:gd name="T68" fmla="*/ 102 w 102"/>
                      <a:gd name="T69" fmla="*/ 52 h 54"/>
                      <a:gd name="T70" fmla="*/ 102 w 102"/>
                      <a:gd name="T71" fmla="*/ 54 h 54"/>
                      <a:gd name="T72" fmla="*/ 101 w 102"/>
                      <a:gd name="T73"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2" h="54">
                        <a:moveTo>
                          <a:pt x="3" y="3"/>
                        </a:moveTo>
                        <a:lnTo>
                          <a:pt x="3" y="2"/>
                        </a:lnTo>
                        <a:lnTo>
                          <a:pt x="0" y="0"/>
                        </a:lnTo>
                        <a:lnTo>
                          <a:pt x="0" y="0"/>
                        </a:lnTo>
                        <a:lnTo>
                          <a:pt x="1" y="1"/>
                        </a:lnTo>
                        <a:lnTo>
                          <a:pt x="3" y="0"/>
                        </a:lnTo>
                        <a:lnTo>
                          <a:pt x="4" y="0"/>
                        </a:lnTo>
                        <a:lnTo>
                          <a:pt x="4" y="1"/>
                        </a:lnTo>
                        <a:lnTo>
                          <a:pt x="5" y="2"/>
                        </a:lnTo>
                        <a:lnTo>
                          <a:pt x="3" y="3"/>
                        </a:lnTo>
                        <a:lnTo>
                          <a:pt x="3" y="3"/>
                        </a:lnTo>
                        <a:close/>
                        <a:moveTo>
                          <a:pt x="41" y="20"/>
                        </a:moveTo>
                        <a:lnTo>
                          <a:pt x="40" y="21"/>
                        </a:lnTo>
                        <a:lnTo>
                          <a:pt x="40" y="20"/>
                        </a:lnTo>
                        <a:lnTo>
                          <a:pt x="41" y="19"/>
                        </a:lnTo>
                        <a:lnTo>
                          <a:pt x="41" y="20"/>
                        </a:lnTo>
                        <a:lnTo>
                          <a:pt x="41" y="20"/>
                        </a:lnTo>
                        <a:close/>
                        <a:moveTo>
                          <a:pt x="44" y="21"/>
                        </a:moveTo>
                        <a:lnTo>
                          <a:pt x="45" y="20"/>
                        </a:lnTo>
                        <a:lnTo>
                          <a:pt x="50" y="21"/>
                        </a:lnTo>
                        <a:lnTo>
                          <a:pt x="51" y="22"/>
                        </a:lnTo>
                        <a:lnTo>
                          <a:pt x="48" y="23"/>
                        </a:lnTo>
                        <a:lnTo>
                          <a:pt x="47" y="23"/>
                        </a:lnTo>
                        <a:lnTo>
                          <a:pt x="44" y="21"/>
                        </a:lnTo>
                        <a:lnTo>
                          <a:pt x="44" y="21"/>
                        </a:lnTo>
                        <a:lnTo>
                          <a:pt x="44" y="21"/>
                        </a:lnTo>
                        <a:close/>
                        <a:moveTo>
                          <a:pt x="57" y="19"/>
                        </a:moveTo>
                        <a:lnTo>
                          <a:pt x="54" y="20"/>
                        </a:lnTo>
                        <a:lnTo>
                          <a:pt x="52" y="20"/>
                        </a:lnTo>
                        <a:lnTo>
                          <a:pt x="51" y="17"/>
                        </a:lnTo>
                        <a:lnTo>
                          <a:pt x="48" y="16"/>
                        </a:lnTo>
                        <a:lnTo>
                          <a:pt x="51" y="16"/>
                        </a:lnTo>
                        <a:lnTo>
                          <a:pt x="52" y="16"/>
                        </a:lnTo>
                        <a:lnTo>
                          <a:pt x="53" y="19"/>
                        </a:lnTo>
                        <a:lnTo>
                          <a:pt x="55" y="19"/>
                        </a:lnTo>
                        <a:lnTo>
                          <a:pt x="57" y="19"/>
                        </a:lnTo>
                        <a:lnTo>
                          <a:pt x="57" y="19"/>
                        </a:lnTo>
                        <a:close/>
                        <a:moveTo>
                          <a:pt x="67" y="16"/>
                        </a:moveTo>
                        <a:lnTo>
                          <a:pt x="68" y="17"/>
                        </a:lnTo>
                        <a:lnTo>
                          <a:pt x="66" y="17"/>
                        </a:lnTo>
                        <a:lnTo>
                          <a:pt x="65" y="17"/>
                        </a:lnTo>
                        <a:lnTo>
                          <a:pt x="65" y="17"/>
                        </a:lnTo>
                        <a:lnTo>
                          <a:pt x="64" y="16"/>
                        </a:lnTo>
                        <a:lnTo>
                          <a:pt x="64" y="16"/>
                        </a:lnTo>
                        <a:lnTo>
                          <a:pt x="64" y="16"/>
                        </a:lnTo>
                        <a:lnTo>
                          <a:pt x="62" y="16"/>
                        </a:lnTo>
                        <a:lnTo>
                          <a:pt x="64" y="15"/>
                        </a:lnTo>
                        <a:lnTo>
                          <a:pt x="66" y="14"/>
                        </a:lnTo>
                        <a:lnTo>
                          <a:pt x="67" y="16"/>
                        </a:lnTo>
                        <a:lnTo>
                          <a:pt x="67" y="16"/>
                        </a:lnTo>
                        <a:close/>
                        <a:moveTo>
                          <a:pt x="93" y="36"/>
                        </a:moveTo>
                        <a:lnTo>
                          <a:pt x="92" y="36"/>
                        </a:lnTo>
                        <a:lnTo>
                          <a:pt x="90" y="35"/>
                        </a:lnTo>
                        <a:lnTo>
                          <a:pt x="88" y="35"/>
                        </a:lnTo>
                        <a:lnTo>
                          <a:pt x="87" y="34"/>
                        </a:lnTo>
                        <a:lnTo>
                          <a:pt x="87" y="33"/>
                        </a:lnTo>
                        <a:lnTo>
                          <a:pt x="88" y="33"/>
                        </a:lnTo>
                        <a:lnTo>
                          <a:pt x="92" y="33"/>
                        </a:lnTo>
                        <a:lnTo>
                          <a:pt x="92" y="33"/>
                        </a:lnTo>
                        <a:lnTo>
                          <a:pt x="94" y="34"/>
                        </a:lnTo>
                        <a:lnTo>
                          <a:pt x="94" y="34"/>
                        </a:lnTo>
                        <a:lnTo>
                          <a:pt x="97" y="33"/>
                        </a:lnTo>
                        <a:lnTo>
                          <a:pt x="97" y="35"/>
                        </a:lnTo>
                        <a:lnTo>
                          <a:pt x="95" y="36"/>
                        </a:lnTo>
                        <a:lnTo>
                          <a:pt x="93" y="36"/>
                        </a:lnTo>
                        <a:lnTo>
                          <a:pt x="93" y="36"/>
                        </a:lnTo>
                        <a:close/>
                        <a:moveTo>
                          <a:pt x="101" y="54"/>
                        </a:moveTo>
                        <a:lnTo>
                          <a:pt x="100" y="53"/>
                        </a:lnTo>
                        <a:lnTo>
                          <a:pt x="102" y="52"/>
                        </a:lnTo>
                        <a:lnTo>
                          <a:pt x="102" y="52"/>
                        </a:lnTo>
                        <a:lnTo>
                          <a:pt x="102" y="53"/>
                        </a:lnTo>
                        <a:lnTo>
                          <a:pt x="102" y="54"/>
                        </a:lnTo>
                        <a:lnTo>
                          <a:pt x="101" y="54"/>
                        </a:lnTo>
                        <a:lnTo>
                          <a:pt x="101" y="54"/>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530" name="Freeform 287">
                    <a:extLst>
                      <a:ext uri="{FF2B5EF4-FFF2-40B4-BE49-F238E27FC236}">
                        <a16:creationId xmlns:a16="http://schemas.microsoft.com/office/drawing/2014/main" id="{363185D5-BDE1-CC4C-8DD2-46A77503F768}"/>
                      </a:ext>
                    </a:extLst>
                  </p:cNvPr>
                  <p:cNvSpPr>
                    <a:spLocks/>
                  </p:cNvSpPr>
                  <p:nvPr/>
                </p:nvSpPr>
                <p:spPr bwMode="auto">
                  <a:xfrm>
                    <a:off x="4790521" y="2943322"/>
                    <a:ext cx="90036" cy="168818"/>
                  </a:xfrm>
                  <a:custGeom>
                    <a:avLst/>
                    <a:gdLst>
                      <a:gd name="T0" fmla="*/ 33 w 56"/>
                      <a:gd name="T1" fmla="*/ 92 h 105"/>
                      <a:gd name="T2" fmla="*/ 37 w 56"/>
                      <a:gd name="T3" fmla="*/ 84 h 105"/>
                      <a:gd name="T4" fmla="*/ 41 w 56"/>
                      <a:gd name="T5" fmla="*/ 81 h 105"/>
                      <a:gd name="T6" fmla="*/ 36 w 56"/>
                      <a:gd name="T7" fmla="*/ 73 h 105"/>
                      <a:gd name="T8" fmla="*/ 41 w 56"/>
                      <a:gd name="T9" fmla="*/ 67 h 105"/>
                      <a:gd name="T10" fmla="*/ 42 w 56"/>
                      <a:gd name="T11" fmla="*/ 63 h 105"/>
                      <a:gd name="T12" fmla="*/ 37 w 56"/>
                      <a:gd name="T13" fmla="*/ 59 h 105"/>
                      <a:gd name="T14" fmla="*/ 34 w 56"/>
                      <a:gd name="T15" fmla="*/ 52 h 105"/>
                      <a:gd name="T16" fmla="*/ 43 w 56"/>
                      <a:gd name="T17" fmla="*/ 48 h 105"/>
                      <a:gd name="T18" fmla="*/ 44 w 56"/>
                      <a:gd name="T19" fmla="*/ 38 h 105"/>
                      <a:gd name="T20" fmla="*/ 46 w 56"/>
                      <a:gd name="T21" fmla="*/ 33 h 105"/>
                      <a:gd name="T22" fmla="*/ 44 w 56"/>
                      <a:gd name="T23" fmla="*/ 21 h 105"/>
                      <a:gd name="T24" fmla="*/ 52 w 56"/>
                      <a:gd name="T25" fmla="*/ 18 h 105"/>
                      <a:gd name="T26" fmla="*/ 56 w 56"/>
                      <a:gd name="T27" fmla="*/ 11 h 105"/>
                      <a:gd name="T28" fmla="*/ 50 w 56"/>
                      <a:gd name="T29" fmla="*/ 8 h 105"/>
                      <a:gd name="T30" fmla="*/ 50 w 56"/>
                      <a:gd name="T31" fmla="*/ 4 h 105"/>
                      <a:gd name="T32" fmla="*/ 44 w 56"/>
                      <a:gd name="T33" fmla="*/ 3 h 105"/>
                      <a:gd name="T34" fmla="*/ 39 w 56"/>
                      <a:gd name="T35" fmla="*/ 6 h 105"/>
                      <a:gd name="T36" fmla="*/ 33 w 56"/>
                      <a:gd name="T37" fmla="*/ 5 h 105"/>
                      <a:gd name="T38" fmla="*/ 26 w 56"/>
                      <a:gd name="T39" fmla="*/ 6 h 105"/>
                      <a:gd name="T40" fmla="*/ 24 w 56"/>
                      <a:gd name="T41" fmla="*/ 1 h 105"/>
                      <a:gd name="T42" fmla="*/ 16 w 56"/>
                      <a:gd name="T43" fmla="*/ 3 h 105"/>
                      <a:gd name="T44" fmla="*/ 14 w 56"/>
                      <a:gd name="T45" fmla="*/ 5 h 105"/>
                      <a:gd name="T46" fmla="*/ 12 w 56"/>
                      <a:gd name="T47" fmla="*/ 6 h 105"/>
                      <a:gd name="T48" fmla="*/ 12 w 56"/>
                      <a:gd name="T49" fmla="*/ 8 h 105"/>
                      <a:gd name="T50" fmla="*/ 15 w 56"/>
                      <a:gd name="T51" fmla="*/ 8 h 105"/>
                      <a:gd name="T52" fmla="*/ 13 w 56"/>
                      <a:gd name="T53" fmla="*/ 10 h 105"/>
                      <a:gd name="T54" fmla="*/ 14 w 56"/>
                      <a:gd name="T55" fmla="*/ 13 h 105"/>
                      <a:gd name="T56" fmla="*/ 14 w 56"/>
                      <a:gd name="T57" fmla="*/ 18 h 105"/>
                      <a:gd name="T58" fmla="*/ 15 w 56"/>
                      <a:gd name="T59" fmla="*/ 21 h 105"/>
                      <a:gd name="T60" fmla="*/ 15 w 56"/>
                      <a:gd name="T61" fmla="*/ 26 h 105"/>
                      <a:gd name="T62" fmla="*/ 15 w 56"/>
                      <a:gd name="T63" fmla="*/ 27 h 105"/>
                      <a:gd name="T64" fmla="*/ 15 w 56"/>
                      <a:gd name="T65" fmla="*/ 28 h 105"/>
                      <a:gd name="T66" fmla="*/ 15 w 56"/>
                      <a:gd name="T67" fmla="*/ 31 h 105"/>
                      <a:gd name="T68" fmla="*/ 14 w 56"/>
                      <a:gd name="T69" fmla="*/ 34 h 105"/>
                      <a:gd name="T70" fmla="*/ 10 w 56"/>
                      <a:gd name="T71" fmla="*/ 40 h 105"/>
                      <a:gd name="T72" fmla="*/ 10 w 56"/>
                      <a:gd name="T73" fmla="*/ 40 h 105"/>
                      <a:gd name="T74" fmla="*/ 8 w 56"/>
                      <a:gd name="T75" fmla="*/ 48 h 105"/>
                      <a:gd name="T76" fmla="*/ 6 w 56"/>
                      <a:gd name="T77" fmla="*/ 54 h 105"/>
                      <a:gd name="T78" fmla="*/ 2 w 56"/>
                      <a:gd name="T79" fmla="*/ 57 h 105"/>
                      <a:gd name="T80" fmla="*/ 2 w 56"/>
                      <a:gd name="T81" fmla="*/ 60 h 105"/>
                      <a:gd name="T82" fmla="*/ 1 w 56"/>
                      <a:gd name="T83" fmla="*/ 67 h 105"/>
                      <a:gd name="T84" fmla="*/ 3 w 56"/>
                      <a:gd name="T85" fmla="*/ 73 h 105"/>
                      <a:gd name="T86" fmla="*/ 6 w 56"/>
                      <a:gd name="T87" fmla="*/ 75 h 105"/>
                      <a:gd name="T88" fmla="*/ 12 w 56"/>
                      <a:gd name="T89" fmla="*/ 73 h 105"/>
                      <a:gd name="T90" fmla="*/ 13 w 56"/>
                      <a:gd name="T91" fmla="*/ 75 h 105"/>
                      <a:gd name="T92" fmla="*/ 12 w 56"/>
                      <a:gd name="T93" fmla="*/ 77 h 105"/>
                      <a:gd name="T94" fmla="*/ 9 w 56"/>
                      <a:gd name="T95" fmla="*/ 75 h 105"/>
                      <a:gd name="T96" fmla="*/ 10 w 56"/>
                      <a:gd name="T97" fmla="*/ 81 h 105"/>
                      <a:gd name="T98" fmla="*/ 8 w 56"/>
                      <a:gd name="T99" fmla="*/ 87 h 105"/>
                      <a:gd name="T100" fmla="*/ 8 w 56"/>
                      <a:gd name="T101" fmla="*/ 95 h 105"/>
                      <a:gd name="T102" fmla="*/ 8 w 56"/>
                      <a:gd name="T103" fmla="*/ 100 h 105"/>
                      <a:gd name="T104" fmla="*/ 7 w 56"/>
                      <a:gd name="T105" fmla="*/ 104 h 105"/>
                      <a:gd name="T106" fmla="*/ 9 w 56"/>
                      <a:gd name="T107" fmla="*/ 104 h 105"/>
                      <a:gd name="T108" fmla="*/ 12 w 56"/>
                      <a:gd name="T109" fmla="*/ 103 h 105"/>
                      <a:gd name="T110" fmla="*/ 14 w 56"/>
                      <a:gd name="T111" fmla="*/ 103 h 105"/>
                      <a:gd name="T112" fmla="*/ 17 w 56"/>
                      <a:gd name="T113" fmla="*/ 103 h 105"/>
                      <a:gd name="T114" fmla="*/ 20 w 56"/>
                      <a:gd name="T115" fmla="*/ 104 h 105"/>
                      <a:gd name="T116" fmla="*/ 23 w 56"/>
                      <a:gd name="T117" fmla="*/ 104 h 105"/>
                      <a:gd name="T118" fmla="*/ 24 w 56"/>
                      <a:gd name="T119" fmla="*/ 105 h 105"/>
                      <a:gd name="T120" fmla="*/ 27 w 56"/>
                      <a:gd name="T121" fmla="*/ 105 h 105"/>
                      <a:gd name="T122" fmla="*/ 30 w 56"/>
                      <a:gd name="T123" fmla="*/ 103 h 105"/>
                      <a:gd name="T124" fmla="*/ 32 w 56"/>
                      <a:gd name="T125" fmla="*/ 101 h 1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56" h="105">
                        <a:moveTo>
                          <a:pt x="34" y="101"/>
                        </a:moveTo>
                        <a:lnTo>
                          <a:pt x="33" y="97"/>
                        </a:lnTo>
                        <a:lnTo>
                          <a:pt x="33" y="95"/>
                        </a:lnTo>
                        <a:lnTo>
                          <a:pt x="32" y="94"/>
                        </a:lnTo>
                        <a:lnTo>
                          <a:pt x="33" y="93"/>
                        </a:lnTo>
                        <a:lnTo>
                          <a:pt x="33" y="92"/>
                        </a:lnTo>
                        <a:lnTo>
                          <a:pt x="34" y="90"/>
                        </a:lnTo>
                        <a:lnTo>
                          <a:pt x="36" y="87"/>
                        </a:lnTo>
                        <a:lnTo>
                          <a:pt x="36" y="86"/>
                        </a:lnTo>
                        <a:lnTo>
                          <a:pt x="36" y="85"/>
                        </a:lnTo>
                        <a:lnTo>
                          <a:pt x="36" y="85"/>
                        </a:lnTo>
                        <a:lnTo>
                          <a:pt x="37" y="84"/>
                        </a:lnTo>
                        <a:lnTo>
                          <a:pt x="39" y="84"/>
                        </a:lnTo>
                        <a:lnTo>
                          <a:pt x="39" y="84"/>
                        </a:lnTo>
                        <a:lnTo>
                          <a:pt x="40" y="84"/>
                        </a:lnTo>
                        <a:lnTo>
                          <a:pt x="42" y="83"/>
                        </a:lnTo>
                        <a:lnTo>
                          <a:pt x="41" y="81"/>
                        </a:lnTo>
                        <a:lnTo>
                          <a:pt x="41" y="81"/>
                        </a:lnTo>
                        <a:lnTo>
                          <a:pt x="40" y="81"/>
                        </a:lnTo>
                        <a:lnTo>
                          <a:pt x="39" y="80"/>
                        </a:lnTo>
                        <a:lnTo>
                          <a:pt x="36" y="75"/>
                        </a:lnTo>
                        <a:lnTo>
                          <a:pt x="36" y="75"/>
                        </a:lnTo>
                        <a:lnTo>
                          <a:pt x="36" y="74"/>
                        </a:lnTo>
                        <a:lnTo>
                          <a:pt x="36" y="73"/>
                        </a:lnTo>
                        <a:lnTo>
                          <a:pt x="36" y="73"/>
                        </a:lnTo>
                        <a:lnTo>
                          <a:pt x="37" y="72"/>
                        </a:lnTo>
                        <a:lnTo>
                          <a:pt x="36" y="72"/>
                        </a:lnTo>
                        <a:lnTo>
                          <a:pt x="37" y="70"/>
                        </a:lnTo>
                        <a:lnTo>
                          <a:pt x="39" y="68"/>
                        </a:lnTo>
                        <a:lnTo>
                          <a:pt x="41" y="67"/>
                        </a:lnTo>
                        <a:lnTo>
                          <a:pt x="41" y="67"/>
                        </a:lnTo>
                        <a:lnTo>
                          <a:pt x="41" y="66"/>
                        </a:lnTo>
                        <a:lnTo>
                          <a:pt x="41" y="65"/>
                        </a:lnTo>
                        <a:lnTo>
                          <a:pt x="42" y="65"/>
                        </a:lnTo>
                        <a:lnTo>
                          <a:pt x="42" y="64"/>
                        </a:lnTo>
                        <a:lnTo>
                          <a:pt x="42" y="63"/>
                        </a:lnTo>
                        <a:lnTo>
                          <a:pt x="41" y="63"/>
                        </a:lnTo>
                        <a:lnTo>
                          <a:pt x="41" y="61"/>
                        </a:lnTo>
                        <a:lnTo>
                          <a:pt x="40" y="61"/>
                        </a:lnTo>
                        <a:lnTo>
                          <a:pt x="40" y="60"/>
                        </a:lnTo>
                        <a:lnTo>
                          <a:pt x="37" y="60"/>
                        </a:lnTo>
                        <a:lnTo>
                          <a:pt x="37" y="59"/>
                        </a:lnTo>
                        <a:lnTo>
                          <a:pt x="37" y="58"/>
                        </a:lnTo>
                        <a:lnTo>
                          <a:pt x="37" y="57"/>
                        </a:lnTo>
                        <a:lnTo>
                          <a:pt x="35" y="55"/>
                        </a:lnTo>
                        <a:lnTo>
                          <a:pt x="37" y="55"/>
                        </a:lnTo>
                        <a:lnTo>
                          <a:pt x="36" y="54"/>
                        </a:lnTo>
                        <a:lnTo>
                          <a:pt x="34" y="52"/>
                        </a:lnTo>
                        <a:lnTo>
                          <a:pt x="33" y="50"/>
                        </a:lnTo>
                        <a:lnTo>
                          <a:pt x="35" y="51"/>
                        </a:lnTo>
                        <a:lnTo>
                          <a:pt x="37" y="50"/>
                        </a:lnTo>
                        <a:lnTo>
                          <a:pt x="39" y="51"/>
                        </a:lnTo>
                        <a:lnTo>
                          <a:pt x="42" y="50"/>
                        </a:lnTo>
                        <a:lnTo>
                          <a:pt x="43" y="48"/>
                        </a:lnTo>
                        <a:lnTo>
                          <a:pt x="43" y="47"/>
                        </a:lnTo>
                        <a:lnTo>
                          <a:pt x="44" y="43"/>
                        </a:lnTo>
                        <a:lnTo>
                          <a:pt x="43" y="41"/>
                        </a:lnTo>
                        <a:lnTo>
                          <a:pt x="42" y="40"/>
                        </a:lnTo>
                        <a:lnTo>
                          <a:pt x="43" y="39"/>
                        </a:lnTo>
                        <a:lnTo>
                          <a:pt x="44" y="38"/>
                        </a:lnTo>
                        <a:lnTo>
                          <a:pt x="44" y="37"/>
                        </a:lnTo>
                        <a:lnTo>
                          <a:pt x="46" y="37"/>
                        </a:lnTo>
                        <a:lnTo>
                          <a:pt x="46" y="36"/>
                        </a:lnTo>
                        <a:lnTo>
                          <a:pt x="46" y="36"/>
                        </a:lnTo>
                        <a:lnTo>
                          <a:pt x="44" y="34"/>
                        </a:lnTo>
                        <a:lnTo>
                          <a:pt x="46" y="33"/>
                        </a:lnTo>
                        <a:lnTo>
                          <a:pt x="47" y="32"/>
                        </a:lnTo>
                        <a:lnTo>
                          <a:pt x="46" y="31"/>
                        </a:lnTo>
                        <a:lnTo>
                          <a:pt x="46" y="28"/>
                        </a:lnTo>
                        <a:lnTo>
                          <a:pt x="46" y="26"/>
                        </a:lnTo>
                        <a:lnTo>
                          <a:pt x="46" y="25"/>
                        </a:lnTo>
                        <a:lnTo>
                          <a:pt x="44" y="21"/>
                        </a:lnTo>
                        <a:lnTo>
                          <a:pt x="46" y="23"/>
                        </a:lnTo>
                        <a:lnTo>
                          <a:pt x="48" y="21"/>
                        </a:lnTo>
                        <a:lnTo>
                          <a:pt x="48" y="19"/>
                        </a:lnTo>
                        <a:lnTo>
                          <a:pt x="49" y="18"/>
                        </a:lnTo>
                        <a:lnTo>
                          <a:pt x="50" y="18"/>
                        </a:lnTo>
                        <a:lnTo>
                          <a:pt x="52" y="18"/>
                        </a:lnTo>
                        <a:lnTo>
                          <a:pt x="54" y="17"/>
                        </a:lnTo>
                        <a:lnTo>
                          <a:pt x="54" y="16"/>
                        </a:lnTo>
                        <a:lnTo>
                          <a:pt x="54" y="16"/>
                        </a:lnTo>
                        <a:lnTo>
                          <a:pt x="55" y="14"/>
                        </a:lnTo>
                        <a:lnTo>
                          <a:pt x="55" y="13"/>
                        </a:lnTo>
                        <a:lnTo>
                          <a:pt x="56" y="11"/>
                        </a:lnTo>
                        <a:lnTo>
                          <a:pt x="56" y="10"/>
                        </a:lnTo>
                        <a:lnTo>
                          <a:pt x="55" y="10"/>
                        </a:lnTo>
                        <a:lnTo>
                          <a:pt x="55" y="8"/>
                        </a:lnTo>
                        <a:lnTo>
                          <a:pt x="53" y="8"/>
                        </a:lnTo>
                        <a:lnTo>
                          <a:pt x="52" y="10"/>
                        </a:lnTo>
                        <a:lnTo>
                          <a:pt x="50" y="8"/>
                        </a:lnTo>
                        <a:lnTo>
                          <a:pt x="50" y="8"/>
                        </a:lnTo>
                        <a:lnTo>
                          <a:pt x="52" y="6"/>
                        </a:lnTo>
                        <a:lnTo>
                          <a:pt x="52" y="5"/>
                        </a:lnTo>
                        <a:lnTo>
                          <a:pt x="52" y="5"/>
                        </a:lnTo>
                        <a:lnTo>
                          <a:pt x="50" y="4"/>
                        </a:lnTo>
                        <a:lnTo>
                          <a:pt x="50" y="4"/>
                        </a:lnTo>
                        <a:lnTo>
                          <a:pt x="49" y="4"/>
                        </a:lnTo>
                        <a:lnTo>
                          <a:pt x="48" y="4"/>
                        </a:lnTo>
                        <a:lnTo>
                          <a:pt x="47" y="3"/>
                        </a:lnTo>
                        <a:lnTo>
                          <a:pt x="46" y="4"/>
                        </a:lnTo>
                        <a:lnTo>
                          <a:pt x="46" y="4"/>
                        </a:lnTo>
                        <a:lnTo>
                          <a:pt x="44" y="3"/>
                        </a:lnTo>
                        <a:lnTo>
                          <a:pt x="43" y="3"/>
                        </a:lnTo>
                        <a:lnTo>
                          <a:pt x="42" y="4"/>
                        </a:lnTo>
                        <a:lnTo>
                          <a:pt x="42" y="3"/>
                        </a:lnTo>
                        <a:lnTo>
                          <a:pt x="41" y="3"/>
                        </a:lnTo>
                        <a:lnTo>
                          <a:pt x="41" y="5"/>
                        </a:lnTo>
                        <a:lnTo>
                          <a:pt x="39" y="6"/>
                        </a:lnTo>
                        <a:lnTo>
                          <a:pt x="36" y="6"/>
                        </a:lnTo>
                        <a:lnTo>
                          <a:pt x="35" y="5"/>
                        </a:lnTo>
                        <a:lnTo>
                          <a:pt x="34" y="5"/>
                        </a:lnTo>
                        <a:lnTo>
                          <a:pt x="33" y="6"/>
                        </a:lnTo>
                        <a:lnTo>
                          <a:pt x="34" y="5"/>
                        </a:lnTo>
                        <a:lnTo>
                          <a:pt x="33" y="5"/>
                        </a:lnTo>
                        <a:lnTo>
                          <a:pt x="32" y="5"/>
                        </a:lnTo>
                        <a:lnTo>
                          <a:pt x="30" y="5"/>
                        </a:lnTo>
                        <a:lnTo>
                          <a:pt x="29" y="5"/>
                        </a:lnTo>
                        <a:lnTo>
                          <a:pt x="28" y="4"/>
                        </a:lnTo>
                        <a:lnTo>
                          <a:pt x="28" y="5"/>
                        </a:lnTo>
                        <a:lnTo>
                          <a:pt x="26" y="6"/>
                        </a:lnTo>
                        <a:lnTo>
                          <a:pt x="24" y="6"/>
                        </a:lnTo>
                        <a:lnTo>
                          <a:pt x="23" y="5"/>
                        </a:lnTo>
                        <a:lnTo>
                          <a:pt x="23" y="4"/>
                        </a:lnTo>
                        <a:lnTo>
                          <a:pt x="23" y="3"/>
                        </a:lnTo>
                        <a:lnTo>
                          <a:pt x="26" y="1"/>
                        </a:lnTo>
                        <a:lnTo>
                          <a:pt x="24" y="1"/>
                        </a:lnTo>
                        <a:lnTo>
                          <a:pt x="23" y="0"/>
                        </a:lnTo>
                        <a:lnTo>
                          <a:pt x="23" y="0"/>
                        </a:lnTo>
                        <a:lnTo>
                          <a:pt x="21" y="0"/>
                        </a:lnTo>
                        <a:lnTo>
                          <a:pt x="20" y="0"/>
                        </a:lnTo>
                        <a:lnTo>
                          <a:pt x="16" y="3"/>
                        </a:lnTo>
                        <a:lnTo>
                          <a:pt x="16" y="3"/>
                        </a:lnTo>
                        <a:lnTo>
                          <a:pt x="15" y="4"/>
                        </a:lnTo>
                        <a:lnTo>
                          <a:pt x="15" y="4"/>
                        </a:lnTo>
                        <a:lnTo>
                          <a:pt x="15" y="4"/>
                        </a:lnTo>
                        <a:lnTo>
                          <a:pt x="15" y="5"/>
                        </a:lnTo>
                        <a:lnTo>
                          <a:pt x="14" y="5"/>
                        </a:lnTo>
                        <a:lnTo>
                          <a:pt x="14" y="5"/>
                        </a:lnTo>
                        <a:lnTo>
                          <a:pt x="14" y="5"/>
                        </a:lnTo>
                        <a:lnTo>
                          <a:pt x="14" y="5"/>
                        </a:lnTo>
                        <a:lnTo>
                          <a:pt x="13" y="5"/>
                        </a:lnTo>
                        <a:lnTo>
                          <a:pt x="13" y="6"/>
                        </a:lnTo>
                        <a:lnTo>
                          <a:pt x="13" y="6"/>
                        </a:lnTo>
                        <a:lnTo>
                          <a:pt x="12" y="6"/>
                        </a:lnTo>
                        <a:lnTo>
                          <a:pt x="12" y="6"/>
                        </a:lnTo>
                        <a:lnTo>
                          <a:pt x="12" y="7"/>
                        </a:lnTo>
                        <a:lnTo>
                          <a:pt x="12" y="7"/>
                        </a:lnTo>
                        <a:lnTo>
                          <a:pt x="12" y="7"/>
                        </a:lnTo>
                        <a:lnTo>
                          <a:pt x="12" y="8"/>
                        </a:lnTo>
                        <a:lnTo>
                          <a:pt x="12" y="8"/>
                        </a:lnTo>
                        <a:lnTo>
                          <a:pt x="13" y="8"/>
                        </a:lnTo>
                        <a:lnTo>
                          <a:pt x="13" y="8"/>
                        </a:lnTo>
                        <a:lnTo>
                          <a:pt x="13" y="8"/>
                        </a:lnTo>
                        <a:lnTo>
                          <a:pt x="14" y="8"/>
                        </a:lnTo>
                        <a:lnTo>
                          <a:pt x="14" y="8"/>
                        </a:lnTo>
                        <a:lnTo>
                          <a:pt x="15" y="8"/>
                        </a:lnTo>
                        <a:lnTo>
                          <a:pt x="15" y="8"/>
                        </a:lnTo>
                        <a:lnTo>
                          <a:pt x="15" y="8"/>
                        </a:lnTo>
                        <a:lnTo>
                          <a:pt x="14" y="10"/>
                        </a:lnTo>
                        <a:lnTo>
                          <a:pt x="14" y="10"/>
                        </a:lnTo>
                        <a:lnTo>
                          <a:pt x="13" y="10"/>
                        </a:lnTo>
                        <a:lnTo>
                          <a:pt x="13" y="10"/>
                        </a:lnTo>
                        <a:lnTo>
                          <a:pt x="13" y="10"/>
                        </a:lnTo>
                        <a:lnTo>
                          <a:pt x="13" y="10"/>
                        </a:lnTo>
                        <a:lnTo>
                          <a:pt x="13" y="11"/>
                        </a:lnTo>
                        <a:lnTo>
                          <a:pt x="13" y="11"/>
                        </a:lnTo>
                        <a:lnTo>
                          <a:pt x="14" y="12"/>
                        </a:lnTo>
                        <a:lnTo>
                          <a:pt x="14" y="13"/>
                        </a:lnTo>
                        <a:lnTo>
                          <a:pt x="14" y="14"/>
                        </a:lnTo>
                        <a:lnTo>
                          <a:pt x="14" y="16"/>
                        </a:lnTo>
                        <a:lnTo>
                          <a:pt x="14" y="16"/>
                        </a:lnTo>
                        <a:lnTo>
                          <a:pt x="14" y="17"/>
                        </a:lnTo>
                        <a:lnTo>
                          <a:pt x="14" y="18"/>
                        </a:lnTo>
                        <a:lnTo>
                          <a:pt x="14" y="18"/>
                        </a:lnTo>
                        <a:lnTo>
                          <a:pt x="14" y="19"/>
                        </a:lnTo>
                        <a:lnTo>
                          <a:pt x="14" y="19"/>
                        </a:lnTo>
                        <a:lnTo>
                          <a:pt x="16" y="20"/>
                        </a:lnTo>
                        <a:lnTo>
                          <a:pt x="16" y="20"/>
                        </a:lnTo>
                        <a:lnTo>
                          <a:pt x="15" y="20"/>
                        </a:lnTo>
                        <a:lnTo>
                          <a:pt x="15" y="21"/>
                        </a:lnTo>
                        <a:lnTo>
                          <a:pt x="16" y="23"/>
                        </a:lnTo>
                        <a:lnTo>
                          <a:pt x="16" y="24"/>
                        </a:lnTo>
                        <a:lnTo>
                          <a:pt x="15" y="24"/>
                        </a:lnTo>
                        <a:lnTo>
                          <a:pt x="15" y="25"/>
                        </a:lnTo>
                        <a:lnTo>
                          <a:pt x="15" y="25"/>
                        </a:lnTo>
                        <a:lnTo>
                          <a:pt x="15" y="26"/>
                        </a:lnTo>
                        <a:lnTo>
                          <a:pt x="14" y="27"/>
                        </a:lnTo>
                        <a:lnTo>
                          <a:pt x="14" y="28"/>
                        </a:lnTo>
                        <a:lnTo>
                          <a:pt x="14" y="30"/>
                        </a:lnTo>
                        <a:lnTo>
                          <a:pt x="14" y="31"/>
                        </a:lnTo>
                        <a:lnTo>
                          <a:pt x="15" y="28"/>
                        </a:lnTo>
                        <a:lnTo>
                          <a:pt x="15" y="27"/>
                        </a:lnTo>
                        <a:lnTo>
                          <a:pt x="15" y="27"/>
                        </a:lnTo>
                        <a:lnTo>
                          <a:pt x="16" y="27"/>
                        </a:lnTo>
                        <a:lnTo>
                          <a:pt x="16" y="27"/>
                        </a:lnTo>
                        <a:lnTo>
                          <a:pt x="16" y="28"/>
                        </a:lnTo>
                        <a:lnTo>
                          <a:pt x="15" y="28"/>
                        </a:lnTo>
                        <a:lnTo>
                          <a:pt x="15" y="28"/>
                        </a:lnTo>
                        <a:lnTo>
                          <a:pt x="15" y="30"/>
                        </a:lnTo>
                        <a:lnTo>
                          <a:pt x="15" y="30"/>
                        </a:lnTo>
                        <a:lnTo>
                          <a:pt x="16" y="30"/>
                        </a:lnTo>
                        <a:lnTo>
                          <a:pt x="15" y="30"/>
                        </a:lnTo>
                        <a:lnTo>
                          <a:pt x="15" y="31"/>
                        </a:lnTo>
                        <a:lnTo>
                          <a:pt x="15" y="31"/>
                        </a:lnTo>
                        <a:lnTo>
                          <a:pt x="14" y="31"/>
                        </a:lnTo>
                        <a:lnTo>
                          <a:pt x="14" y="31"/>
                        </a:lnTo>
                        <a:lnTo>
                          <a:pt x="14" y="31"/>
                        </a:lnTo>
                        <a:lnTo>
                          <a:pt x="14" y="31"/>
                        </a:lnTo>
                        <a:lnTo>
                          <a:pt x="14" y="32"/>
                        </a:lnTo>
                        <a:lnTo>
                          <a:pt x="14" y="34"/>
                        </a:lnTo>
                        <a:lnTo>
                          <a:pt x="13" y="36"/>
                        </a:lnTo>
                        <a:lnTo>
                          <a:pt x="12" y="36"/>
                        </a:lnTo>
                        <a:lnTo>
                          <a:pt x="10" y="38"/>
                        </a:lnTo>
                        <a:lnTo>
                          <a:pt x="10" y="39"/>
                        </a:lnTo>
                        <a:lnTo>
                          <a:pt x="10" y="40"/>
                        </a:lnTo>
                        <a:lnTo>
                          <a:pt x="10" y="40"/>
                        </a:lnTo>
                        <a:lnTo>
                          <a:pt x="12" y="39"/>
                        </a:lnTo>
                        <a:lnTo>
                          <a:pt x="13" y="40"/>
                        </a:lnTo>
                        <a:lnTo>
                          <a:pt x="13" y="40"/>
                        </a:lnTo>
                        <a:lnTo>
                          <a:pt x="13" y="40"/>
                        </a:lnTo>
                        <a:lnTo>
                          <a:pt x="12" y="41"/>
                        </a:lnTo>
                        <a:lnTo>
                          <a:pt x="10" y="40"/>
                        </a:lnTo>
                        <a:lnTo>
                          <a:pt x="10" y="41"/>
                        </a:lnTo>
                        <a:lnTo>
                          <a:pt x="9" y="43"/>
                        </a:lnTo>
                        <a:lnTo>
                          <a:pt x="10" y="44"/>
                        </a:lnTo>
                        <a:lnTo>
                          <a:pt x="10" y="46"/>
                        </a:lnTo>
                        <a:lnTo>
                          <a:pt x="9" y="47"/>
                        </a:lnTo>
                        <a:lnTo>
                          <a:pt x="8" y="48"/>
                        </a:lnTo>
                        <a:lnTo>
                          <a:pt x="8" y="48"/>
                        </a:lnTo>
                        <a:lnTo>
                          <a:pt x="7" y="50"/>
                        </a:lnTo>
                        <a:lnTo>
                          <a:pt x="7" y="51"/>
                        </a:lnTo>
                        <a:lnTo>
                          <a:pt x="7" y="52"/>
                        </a:lnTo>
                        <a:lnTo>
                          <a:pt x="7" y="52"/>
                        </a:lnTo>
                        <a:lnTo>
                          <a:pt x="6" y="54"/>
                        </a:lnTo>
                        <a:lnTo>
                          <a:pt x="6" y="54"/>
                        </a:lnTo>
                        <a:lnTo>
                          <a:pt x="4" y="55"/>
                        </a:lnTo>
                        <a:lnTo>
                          <a:pt x="4" y="55"/>
                        </a:lnTo>
                        <a:lnTo>
                          <a:pt x="3" y="55"/>
                        </a:lnTo>
                        <a:lnTo>
                          <a:pt x="3" y="55"/>
                        </a:lnTo>
                        <a:lnTo>
                          <a:pt x="2" y="57"/>
                        </a:lnTo>
                        <a:lnTo>
                          <a:pt x="2" y="55"/>
                        </a:lnTo>
                        <a:lnTo>
                          <a:pt x="2" y="57"/>
                        </a:lnTo>
                        <a:lnTo>
                          <a:pt x="2" y="57"/>
                        </a:lnTo>
                        <a:lnTo>
                          <a:pt x="2" y="58"/>
                        </a:lnTo>
                        <a:lnTo>
                          <a:pt x="2" y="59"/>
                        </a:lnTo>
                        <a:lnTo>
                          <a:pt x="2" y="60"/>
                        </a:lnTo>
                        <a:lnTo>
                          <a:pt x="2" y="60"/>
                        </a:lnTo>
                        <a:lnTo>
                          <a:pt x="1" y="63"/>
                        </a:lnTo>
                        <a:lnTo>
                          <a:pt x="2" y="64"/>
                        </a:lnTo>
                        <a:lnTo>
                          <a:pt x="1" y="66"/>
                        </a:lnTo>
                        <a:lnTo>
                          <a:pt x="1" y="66"/>
                        </a:lnTo>
                        <a:lnTo>
                          <a:pt x="1" y="67"/>
                        </a:lnTo>
                        <a:lnTo>
                          <a:pt x="0" y="68"/>
                        </a:lnTo>
                        <a:lnTo>
                          <a:pt x="1" y="70"/>
                        </a:lnTo>
                        <a:lnTo>
                          <a:pt x="0" y="70"/>
                        </a:lnTo>
                        <a:lnTo>
                          <a:pt x="1" y="71"/>
                        </a:lnTo>
                        <a:lnTo>
                          <a:pt x="3" y="73"/>
                        </a:lnTo>
                        <a:lnTo>
                          <a:pt x="3" y="73"/>
                        </a:lnTo>
                        <a:lnTo>
                          <a:pt x="4" y="74"/>
                        </a:lnTo>
                        <a:lnTo>
                          <a:pt x="4" y="75"/>
                        </a:lnTo>
                        <a:lnTo>
                          <a:pt x="4" y="75"/>
                        </a:lnTo>
                        <a:lnTo>
                          <a:pt x="4" y="77"/>
                        </a:lnTo>
                        <a:lnTo>
                          <a:pt x="6" y="75"/>
                        </a:lnTo>
                        <a:lnTo>
                          <a:pt x="6" y="75"/>
                        </a:lnTo>
                        <a:lnTo>
                          <a:pt x="8" y="74"/>
                        </a:lnTo>
                        <a:lnTo>
                          <a:pt x="9" y="73"/>
                        </a:lnTo>
                        <a:lnTo>
                          <a:pt x="10" y="73"/>
                        </a:lnTo>
                        <a:lnTo>
                          <a:pt x="10" y="74"/>
                        </a:lnTo>
                        <a:lnTo>
                          <a:pt x="12" y="74"/>
                        </a:lnTo>
                        <a:lnTo>
                          <a:pt x="12" y="73"/>
                        </a:lnTo>
                        <a:lnTo>
                          <a:pt x="12" y="73"/>
                        </a:lnTo>
                        <a:lnTo>
                          <a:pt x="12" y="73"/>
                        </a:lnTo>
                        <a:lnTo>
                          <a:pt x="13" y="73"/>
                        </a:lnTo>
                        <a:lnTo>
                          <a:pt x="13" y="73"/>
                        </a:lnTo>
                        <a:lnTo>
                          <a:pt x="13" y="74"/>
                        </a:lnTo>
                        <a:lnTo>
                          <a:pt x="13" y="75"/>
                        </a:lnTo>
                        <a:lnTo>
                          <a:pt x="14" y="75"/>
                        </a:lnTo>
                        <a:lnTo>
                          <a:pt x="14" y="77"/>
                        </a:lnTo>
                        <a:lnTo>
                          <a:pt x="14" y="77"/>
                        </a:lnTo>
                        <a:lnTo>
                          <a:pt x="13" y="77"/>
                        </a:lnTo>
                        <a:lnTo>
                          <a:pt x="12" y="75"/>
                        </a:lnTo>
                        <a:lnTo>
                          <a:pt x="12" y="77"/>
                        </a:lnTo>
                        <a:lnTo>
                          <a:pt x="12" y="75"/>
                        </a:lnTo>
                        <a:lnTo>
                          <a:pt x="12" y="75"/>
                        </a:lnTo>
                        <a:lnTo>
                          <a:pt x="10" y="75"/>
                        </a:lnTo>
                        <a:lnTo>
                          <a:pt x="9" y="74"/>
                        </a:lnTo>
                        <a:lnTo>
                          <a:pt x="9" y="74"/>
                        </a:lnTo>
                        <a:lnTo>
                          <a:pt x="9" y="75"/>
                        </a:lnTo>
                        <a:lnTo>
                          <a:pt x="9" y="77"/>
                        </a:lnTo>
                        <a:lnTo>
                          <a:pt x="10" y="77"/>
                        </a:lnTo>
                        <a:lnTo>
                          <a:pt x="10" y="78"/>
                        </a:lnTo>
                        <a:lnTo>
                          <a:pt x="12" y="79"/>
                        </a:lnTo>
                        <a:lnTo>
                          <a:pt x="10" y="80"/>
                        </a:lnTo>
                        <a:lnTo>
                          <a:pt x="10" y="81"/>
                        </a:lnTo>
                        <a:lnTo>
                          <a:pt x="10" y="81"/>
                        </a:lnTo>
                        <a:lnTo>
                          <a:pt x="9" y="83"/>
                        </a:lnTo>
                        <a:lnTo>
                          <a:pt x="9" y="84"/>
                        </a:lnTo>
                        <a:lnTo>
                          <a:pt x="9" y="85"/>
                        </a:lnTo>
                        <a:lnTo>
                          <a:pt x="8" y="86"/>
                        </a:lnTo>
                        <a:lnTo>
                          <a:pt x="8" y="87"/>
                        </a:lnTo>
                        <a:lnTo>
                          <a:pt x="9" y="90"/>
                        </a:lnTo>
                        <a:lnTo>
                          <a:pt x="9" y="91"/>
                        </a:lnTo>
                        <a:lnTo>
                          <a:pt x="9" y="92"/>
                        </a:lnTo>
                        <a:lnTo>
                          <a:pt x="9" y="94"/>
                        </a:lnTo>
                        <a:lnTo>
                          <a:pt x="8" y="95"/>
                        </a:lnTo>
                        <a:lnTo>
                          <a:pt x="8" y="95"/>
                        </a:lnTo>
                        <a:lnTo>
                          <a:pt x="8" y="98"/>
                        </a:lnTo>
                        <a:lnTo>
                          <a:pt x="8" y="98"/>
                        </a:lnTo>
                        <a:lnTo>
                          <a:pt x="8" y="98"/>
                        </a:lnTo>
                        <a:lnTo>
                          <a:pt x="8" y="99"/>
                        </a:lnTo>
                        <a:lnTo>
                          <a:pt x="8" y="99"/>
                        </a:lnTo>
                        <a:lnTo>
                          <a:pt x="8" y="100"/>
                        </a:lnTo>
                        <a:lnTo>
                          <a:pt x="8" y="101"/>
                        </a:lnTo>
                        <a:lnTo>
                          <a:pt x="8" y="103"/>
                        </a:lnTo>
                        <a:lnTo>
                          <a:pt x="8" y="103"/>
                        </a:lnTo>
                        <a:lnTo>
                          <a:pt x="8" y="104"/>
                        </a:lnTo>
                        <a:lnTo>
                          <a:pt x="8" y="104"/>
                        </a:lnTo>
                        <a:lnTo>
                          <a:pt x="7" y="104"/>
                        </a:lnTo>
                        <a:lnTo>
                          <a:pt x="7" y="105"/>
                        </a:lnTo>
                        <a:lnTo>
                          <a:pt x="8" y="105"/>
                        </a:lnTo>
                        <a:lnTo>
                          <a:pt x="8" y="105"/>
                        </a:lnTo>
                        <a:lnTo>
                          <a:pt x="8" y="104"/>
                        </a:lnTo>
                        <a:lnTo>
                          <a:pt x="9" y="104"/>
                        </a:lnTo>
                        <a:lnTo>
                          <a:pt x="9" y="104"/>
                        </a:lnTo>
                        <a:lnTo>
                          <a:pt x="9" y="104"/>
                        </a:lnTo>
                        <a:lnTo>
                          <a:pt x="10" y="104"/>
                        </a:lnTo>
                        <a:lnTo>
                          <a:pt x="10" y="104"/>
                        </a:lnTo>
                        <a:lnTo>
                          <a:pt x="10" y="104"/>
                        </a:lnTo>
                        <a:lnTo>
                          <a:pt x="12" y="104"/>
                        </a:lnTo>
                        <a:lnTo>
                          <a:pt x="12" y="103"/>
                        </a:lnTo>
                        <a:lnTo>
                          <a:pt x="13" y="103"/>
                        </a:lnTo>
                        <a:lnTo>
                          <a:pt x="13" y="103"/>
                        </a:lnTo>
                        <a:lnTo>
                          <a:pt x="13" y="103"/>
                        </a:lnTo>
                        <a:lnTo>
                          <a:pt x="14" y="103"/>
                        </a:lnTo>
                        <a:lnTo>
                          <a:pt x="14" y="101"/>
                        </a:lnTo>
                        <a:lnTo>
                          <a:pt x="14" y="103"/>
                        </a:lnTo>
                        <a:lnTo>
                          <a:pt x="14" y="103"/>
                        </a:lnTo>
                        <a:lnTo>
                          <a:pt x="15" y="103"/>
                        </a:lnTo>
                        <a:lnTo>
                          <a:pt x="15" y="103"/>
                        </a:lnTo>
                        <a:lnTo>
                          <a:pt x="16" y="103"/>
                        </a:lnTo>
                        <a:lnTo>
                          <a:pt x="17" y="103"/>
                        </a:lnTo>
                        <a:lnTo>
                          <a:pt x="17" y="103"/>
                        </a:lnTo>
                        <a:lnTo>
                          <a:pt x="17" y="103"/>
                        </a:lnTo>
                        <a:lnTo>
                          <a:pt x="19" y="104"/>
                        </a:lnTo>
                        <a:lnTo>
                          <a:pt x="19" y="103"/>
                        </a:lnTo>
                        <a:lnTo>
                          <a:pt x="19" y="103"/>
                        </a:lnTo>
                        <a:lnTo>
                          <a:pt x="20" y="103"/>
                        </a:lnTo>
                        <a:lnTo>
                          <a:pt x="20" y="104"/>
                        </a:lnTo>
                        <a:lnTo>
                          <a:pt x="21" y="104"/>
                        </a:lnTo>
                        <a:lnTo>
                          <a:pt x="21" y="104"/>
                        </a:lnTo>
                        <a:lnTo>
                          <a:pt x="22" y="104"/>
                        </a:lnTo>
                        <a:lnTo>
                          <a:pt x="22" y="104"/>
                        </a:lnTo>
                        <a:lnTo>
                          <a:pt x="23" y="104"/>
                        </a:lnTo>
                        <a:lnTo>
                          <a:pt x="23" y="104"/>
                        </a:lnTo>
                        <a:lnTo>
                          <a:pt x="23" y="104"/>
                        </a:lnTo>
                        <a:lnTo>
                          <a:pt x="23" y="105"/>
                        </a:lnTo>
                        <a:lnTo>
                          <a:pt x="23" y="105"/>
                        </a:lnTo>
                        <a:lnTo>
                          <a:pt x="23" y="105"/>
                        </a:lnTo>
                        <a:lnTo>
                          <a:pt x="24" y="105"/>
                        </a:lnTo>
                        <a:lnTo>
                          <a:pt x="24" y="105"/>
                        </a:lnTo>
                        <a:lnTo>
                          <a:pt x="26" y="105"/>
                        </a:lnTo>
                        <a:lnTo>
                          <a:pt x="26" y="104"/>
                        </a:lnTo>
                        <a:lnTo>
                          <a:pt x="26" y="105"/>
                        </a:lnTo>
                        <a:lnTo>
                          <a:pt x="27" y="105"/>
                        </a:lnTo>
                        <a:lnTo>
                          <a:pt x="27" y="105"/>
                        </a:lnTo>
                        <a:lnTo>
                          <a:pt x="27" y="105"/>
                        </a:lnTo>
                        <a:lnTo>
                          <a:pt x="28" y="105"/>
                        </a:lnTo>
                        <a:lnTo>
                          <a:pt x="28" y="105"/>
                        </a:lnTo>
                        <a:lnTo>
                          <a:pt x="28" y="104"/>
                        </a:lnTo>
                        <a:lnTo>
                          <a:pt x="29" y="104"/>
                        </a:lnTo>
                        <a:lnTo>
                          <a:pt x="29" y="104"/>
                        </a:lnTo>
                        <a:lnTo>
                          <a:pt x="30" y="103"/>
                        </a:lnTo>
                        <a:lnTo>
                          <a:pt x="30" y="103"/>
                        </a:lnTo>
                        <a:lnTo>
                          <a:pt x="30" y="103"/>
                        </a:lnTo>
                        <a:lnTo>
                          <a:pt x="30" y="103"/>
                        </a:lnTo>
                        <a:lnTo>
                          <a:pt x="32" y="101"/>
                        </a:lnTo>
                        <a:lnTo>
                          <a:pt x="32" y="101"/>
                        </a:lnTo>
                        <a:lnTo>
                          <a:pt x="32" y="101"/>
                        </a:lnTo>
                        <a:lnTo>
                          <a:pt x="33" y="101"/>
                        </a:lnTo>
                        <a:lnTo>
                          <a:pt x="33" y="103"/>
                        </a:lnTo>
                        <a:lnTo>
                          <a:pt x="34" y="101"/>
                        </a:lnTo>
                        <a:lnTo>
                          <a:pt x="34" y="101"/>
                        </a:lnTo>
                        <a:lnTo>
                          <a:pt x="34" y="101"/>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grpSp>
            <p:sp>
              <p:nvSpPr>
                <p:cNvPr id="384" name="Poland">
                  <a:extLst>
                    <a:ext uri="{FF2B5EF4-FFF2-40B4-BE49-F238E27FC236}">
                      <a16:creationId xmlns:a16="http://schemas.microsoft.com/office/drawing/2014/main" id="{DA853576-E0E6-8D4F-BFA2-F869E9ACD90C}"/>
                    </a:ext>
                  </a:extLst>
                </p:cNvPr>
                <p:cNvSpPr>
                  <a:spLocks/>
                </p:cNvSpPr>
                <p:nvPr/>
              </p:nvSpPr>
              <p:spPr bwMode="auto">
                <a:xfrm>
                  <a:off x="6680163" y="2355087"/>
                  <a:ext cx="233272" cy="170580"/>
                </a:xfrm>
                <a:custGeom>
                  <a:avLst/>
                  <a:gdLst>
                    <a:gd name="T0" fmla="*/ 145 w 160"/>
                    <a:gd name="T1" fmla="*/ 54 h 117"/>
                    <a:gd name="T2" fmla="*/ 149 w 160"/>
                    <a:gd name="T3" fmla="*/ 32 h 117"/>
                    <a:gd name="T4" fmla="*/ 98 w 160"/>
                    <a:gd name="T5" fmla="*/ 10 h 117"/>
                    <a:gd name="T6" fmla="*/ 78 w 160"/>
                    <a:gd name="T7" fmla="*/ 4 h 117"/>
                    <a:gd name="T8" fmla="*/ 75 w 160"/>
                    <a:gd name="T9" fmla="*/ 8 h 117"/>
                    <a:gd name="T10" fmla="*/ 66 w 160"/>
                    <a:gd name="T11" fmla="*/ 8 h 117"/>
                    <a:gd name="T12" fmla="*/ 62 w 160"/>
                    <a:gd name="T13" fmla="*/ 4 h 117"/>
                    <a:gd name="T14" fmla="*/ 66 w 160"/>
                    <a:gd name="T15" fmla="*/ 3 h 117"/>
                    <a:gd name="T16" fmla="*/ 46 w 160"/>
                    <a:gd name="T17" fmla="*/ 1 h 117"/>
                    <a:gd name="T18" fmla="*/ 38 w 160"/>
                    <a:gd name="T19" fmla="*/ 5 h 117"/>
                    <a:gd name="T20" fmla="*/ 30 w 160"/>
                    <a:gd name="T21" fmla="*/ 8 h 117"/>
                    <a:gd name="T22" fmla="*/ 26 w 160"/>
                    <a:gd name="T23" fmla="*/ 12 h 117"/>
                    <a:gd name="T24" fmla="*/ 15 w 160"/>
                    <a:gd name="T25" fmla="*/ 13 h 117"/>
                    <a:gd name="T26" fmla="*/ 0 w 160"/>
                    <a:gd name="T27" fmla="*/ 19 h 117"/>
                    <a:gd name="T28" fmla="*/ 0 w 160"/>
                    <a:gd name="T29" fmla="*/ 23 h 117"/>
                    <a:gd name="T30" fmla="*/ 5 w 160"/>
                    <a:gd name="T31" fmla="*/ 31 h 117"/>
                    <a:gd name="T32" fmla="*/ 1 w 160"/>
                    <a:gd name="T33" fmla="*/ 39 h 117"/>
                    <a:gd name="T34" fmla="*/ 9 w 160"/>
                    <a:gd name="T35" fmla="*/ 45 h 117"/>
                    <a:gd name="T36" fmla="*/ 8 w 160"/>
                    <a:gd name="T37" fmla="*/ 50 h 117"/>
                    <a:gd name="T38" fmla="*/ 10 w 160"/>
                    <a:gd name="T39" fmla="*/ 58 h 117"/>
                    <a:gd name="T40" fmla="*/ 13 w 160"/>
                    <a:gd name="T41" fmla="*/ 64 h 117"/>
                    <a:gd name="T42" fmla="*/ 15 w 160"/>
                    <a:gd name="T43" fmla="*/ 74 h 117"/>
                    <a:gd name="T44" fmla="*/ 16 w 160"/>
                    <a:gd name="T45" fmla="*/ 77 h 117"/>
                    <a:gd name="T46" fmla="*/ 21 w 160"/>
                    <a:gd name="T47" fmla="*/ 77 h 117"/>
                    <a:gd name="T48" fmla="*/ 22 w 160"/>
                    <a:gd name="T49" fmla="*/ 80 h 117"/>
                    <a:gd name="T50" fmla="*/ 28 w 160"/>
                    <a:gd name="T51" fmla="*/ 81 h 117"/>
                    <a:gd name="T52" fmla="*/ 34 w 160"/>
                    <a:gd name="T53" fmla="*/ 84 h 117"/>
                    <a:gd name="T54" fmla="*/ 40 w 160"/>
                    <a:gd name="T55" fmla="*/ 85 h 117"/>
                    <a:gd name="T56" fmla="*/ 38 w 160"/>
                    <a:gd name="T57" fmla="*/ 87 h 117"/>
                    <a:gd name="T58" fmla="*/ 40 w 160"/>
                    <a:gd name="T59" fmla="*/ 90 h 117"/>
                    <a:gd name="T60" fmla="*/ 46 w 160"/>
                    <a:gd name="T61" fmla="*/ 93 h 117"/>
                    <a:gd name="T62" fmla="*/ 49 w 160"/>
                    <a:gd name="T63" fmla="*/ 91 h 117"/>
                    <a:gd name="T64" fmla="*/ 52 w 160"/>
                    <a:gd name="T65" fmla="*/ 88 h 117"/>
                    <a:gd name="T66" fmla="*/ 58 w 160"/>
                    <a:gd name="T67" fmla="*/ 91 h 117"/>
                    <a:gd name="T68" fmla="*/ 61 w 160"/>
                    <a:gd name="T69" fmla="*/ 91 h 117"/>
                    <a:gd name="T70" fmla="*/ 60 w 160"/>
                    <a:gd name="T71" fmla="*/ 93 h 117"/>
                    <a:gd name="T72" fmla="*/ 66 w 160"/>
                    <a:gd name="T73" fmla="*/ 95 h 117"/>
                    <a:gd name="T74" fmla="*/ 70 w 160"/>
                    <a:gd name="T75" fmla="*/ 98 h 117"/>
                    <a:gd name="T76" fmla="*/ 76 w 160"/>
                    <a:gd name="T77" fmla="*/ 99 h 117"/>
                    <a:gd name="T78" fmla="*/ 82 w 160"/>
                    <a:gd name="T79" fmla="*/ 107 h 117"/>
                    <a:gd name="T80" fmla="*/ 86 w 160"/>
                    <a:gd name="T81" fmla="*/ 106 h 117"/>
                    <a:gd name="T82" fmla="*/ 92 w 160"/>
                    <a:gd name="T83" fmla="*/ 106 h 117"/>
                    <a:gd name="T84" fmla="*/ 95 w 160"/>
                    <a:gd name="T85" fmla="*/ 110 h 117"/>
                    <a:gd name="T86" fmla="*/ 98 w 160"/>
                    <a:gd name="T87" fmla="*/ 112 h 117"/>
                    <a:gd name="T88" fmla="*/ 103 w 160"/>
                    <a:gd name="T89" fmla="*/ 108 h 117"/>
                    <a:gd name="T90" fmla="*/ 107 w 160"/>
                    <a:gd name="T91" fmla="*/ 108 h 117"/>
                    <a:gd name="T92" fmla="*/ 114 w 160"/>
                    <a:gd name="T93" fmla="*/ 110 h 117"/>
                    <a:gd name="T94" fmla="*/ 120 w 160"/>
                    <a:gd name="T95" fmla="*/ 106 h 117"/>
                    <a:gd name="T96" fmla="*/ 127 w 160"/>
                    <a:gd name="T97" fmla="*/ 108 h 117"/>
                    <a:gd name="T98" fmla="*/ 136 w 160"/>
                    <a:gd name="T99" fmla="*/ 113 h 117"/>
                    <a:gd name="T100" fmla="*/ 142 w 160"/>
                    <a:gd name="T101" fmla="*/ 113 h 117"/>
                    <a:gd name="T102" fmla="*/ 142 w 160"/>
                    <a:gd name="T103" fmla="*/ 100 h 117"/>
                    <a:gd name="T104" fmla="*/ 153 w 160"/>
                    <a:gd name="T105" fmla="*/ 88 h 117"/>
                    <a:gd name="T106" fmla="*/ 160 w 160"/>
                    <a:gd name="T107" fmla="*/ 79 h 117"/>
                    <a:gd name="T108" fmla="*/ 150 w 160"/>
                    <a:gd name="T109" fmla="*/ 65 h 1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0" h="117">
                      <a:moveTo>
                        <a:pt x="149" y="64"/>
                      </a:moveTo>
                      <a:lnTo>
                        <a:pt x="148" y="57"/>
                      </a:lnTo>
                      <a:lnTo>
                        <a:pt x="146" y="57"/>
                      </a:lnTo>
                      <a:lnTo>
                        <a:pt x="145" y="55"/>
                      </a:lnTo>
                      <a:lnTo>
                        <a:pt x="145" y="54"/>
                      </a:lnTo>
                      <a:lnTo>
                        <a:pt x="145" y="54"/>
                      </a:lnTo>
                      <a:lnTo>
                        <a:pt x="142" y="54"/>
                      </a:lnTo>
                      <a:lnTo>
                        <a:pt x="141" y="52"/>
                      </a:lnTo>
                      <a:lnTo>
                        <a:pt x="140" y="52"/>
                      </a:lnTo>
                      <a:lnTo>
                        <a:pt x="143" y="46"/>
                      </a:lnTo>
                      <a:lnTo>
                        <a:pt x="150" y="44"/>
                      </a:lnTo>
                      <a:lnTo>
                        <a:pt x="149" y="32"/>
                      </a:lnTo>
                      <a:lnTo>
                        <a:pt x="146" y="27"/>
                      </a:lnTo>
                      <a:lnTo>
                        <a:pt x="141" y="13"/>
                      </a:lnTo>
                      <a:lnTo>
                        <a:pt x="130" y="11"/>
                      </a:lnTo>
                      <a:lnTo>
                        <a:pt x="114" y="11"/>
                      </a:lnTo>
                      <a:lnTo>
                        <a:pt x="109" y="11"/>
                      </a:lnTo>
                      <a:lnTo>
                        <a:pt x="98" y="10"/>
                      </a:lnTo>
                      <a:lnTo>
                        <a:pt x="87" y="10"/>
                      </a:lnTo>
                      <a:lnTo>
                        <a:pt x="79" y="8"/>
                      </a:lnTo>
                      <a:lnTo>
                        <a:pt x="78" y="8"/>
                      </a:lnTo>
                      <a:lnTo>
                        <a:pt x="76" y="8"/>
                      </a:lnTo>
                      <a:lnTo>
                        <a:pt x="78" y="6"/>
                      </a:lnTo>
                      <a:lnTo>
                        <a:pt x="78" y="4"/>
                      </a:lnTo>
                      <a:lnTo>
                        <a:pt x="80" y="3"/>
                      </a:lnTo>
                      <a:lnTo>
                        <a:pt x="79" y="3"/>
                      </a:lnTo>
                      <a:lnTo>
                        <a:pt x="78" y="4"/>
                      </a:lnTo>
                      <a:lnTo>
                        <a:pt x="76" y="6"/>
                      </a:lnTo>
                      <a:lnTo>
                        <a:pt x="76" y="7"/>
                      </a:lnTo>
                      <a:lnTo>
                        <a:pt x="75" y="8"/>
                      </a:lnTo>
                      <a:lnTo>
                        <a:pt x="74" y="8"/>
                      </a:lnTo>
                      <a:lnTo>
                        <a:pt x="72" y="10"/>
                      </a:lnTo>
                      <a:lnTo>
                        <a:pt x="69" y="10"/>
                      </a:lnTo>
                      <a:lnTo>
                        <a:pt x="66" y="10"/>
                      </a:lnTo>
                      <a:lnTo>
                        <a:pt x="66" y="8"/>
                      </a:lnTo>
                      <a:lnTo>
                        <a:pt x="66" y="8"/>
                      </a:lnTo>
                      <a:lnTo>
                        <a:pt x="65" y="8"/>
                      </a:lnTo>
                      <a:lnTo>
                        <a:pt x="65" y="6"/>
                      </a:lnTo>
                      <a:lnTo>
                        <a:pt x="63" y="5"/>
                      </a:lnTo>
                      <a:lnTo>
                        <a:pt x="63" y="4"/>
                      </a:lnTo>
                      <a:lnTo>
                        <a:pt x="62" y="5"/>
                      </a:lnTo>
                      <a:lnTo>
                        <a:pt x="62" y="4"/>
                      </a:lnTo>
                      <a:lnTo>
                        <a:pt x="61" y="1"/>
                      </a:lnTo>
                      <a:lnTo>
                        <a:pt x="62" y="1"/>
                      </a:lnTo>
                      <a:lnTo>
                        <a:pt x="66" y="4"/>
                      </a:lnTo>
                      <a:lnTo>
                        <a:pt x="67" y="5"/>
                      </a:lnTo>
                      <a:lnTo>
                        <a:pt x="67" y="4"/>
                      </a:lnTo>
                      <a:lnTo>
                        <a:pt x="66" y="3"/>
                      </a:lnTo>
                      <a:lnTo>
                        <a:pt x="61" y="0"/>
                      </a:lnTo>
                      <a:lnTo>
                        <a:pt x="61" y="0"/>
                      </a:lnTo>
                      <a:lnTo>
                        <a:pt x="54" y="0"/>
                      </a:lnTo>
                      <a:lnTo>
                        <a:pt x="52" y="0"/>
                      </a:lnTo>
                      <a:lnTo>
                        <a:pt x="49" y="1"/>
                      </a:lnTo>
                      <a:lnTo>
                        <a:pt x="46" y="1"/>
                      </a:lnTo>
                      <a:lnTo>
                        <a:pt x="45" y="1"/>
                      </a:lnTo>
                      <a:lnTo>
                        <a:pt x="41" y="1"/>
                      </a:lnTo>
                      <a:lnTo>
                        <a:pt x="40" y="4"/>
                      </a:lnTo>
                      <a:lnTo>
                        <a:pt x="40" y="4"/>
                      </a:lnTo>
                      <a:lnTo>
                        <a:pt x="39" y="5"/>
                      </a:lnTo>
                      <a:lnTo>
                        <a:pt x="38" y="5"/>
                      </a:lnTo>
                      <a:lnTo>
                        <a:pt x="35" y="5"/>
                      </a:lnTo>
                      <a:lnTo>
                        <a:pt x="34" y="6"/>
                      </a:lnTo>
                      <a:lnTo>
                        <a:pt x="33" y="5"/>
                      </a:lnTo>
                      <a:lnTo>
                        <a:pt x="32" y="7"/>
                      </a:lnTo>
                      <a:lnTo>
                        <a:pt x="33" y="7"/>
                      </a:lnTo>
                      <a:lnTo>
                        <a:pt x="30" y="8"/>
                      </a:lnTo>
                      <a:lnTo>
                        <a:pt x="30" y="10"/>
                      </a:lnTo>
                      <a:lnTo>
                        <a:pt x="30" y="10"/>
                      </a:lnTo>
                      <a:lnTo>
                        <a:pt x="28" y="11"/>
                      </a:lnTo>
                      <a:lnTo>
                        <a:pt x="29" y="10"/>
                      </a:lnTo>
                      <a:lnTo>
                        <a:pt x="28" y="11"/>
                      </a:lnTo>
                      <a:lnTo>
                        <a:pt x="26" y="12"/>
                      </a:lnTo>
                      <a:lnTo>
                        <a:pt x="23" y="11"/>
                      </a:lnTo>
                      <a:lnTo>
                        <a:pt x="23" y="12"/>
                      </a:lnTo>
                      <a:lnTo>
                        <a:pt x="21" y="11"/>
                      </a:lnTo>
                      <a:lnTo>
                        <a:pt x="19" y="12"/>
                      </a:lnTo>
                      <a:lnTo>
                        <a:pt x="16" y="13"/>
                      </a:lnTo>
                      <a:lnTo>
                        <a:pt x="15" y="13"/>
                      </a:lnTo>
                      <a:lnTo>
                        <a:pt x="14" y="13"/>
                      </a:lnTo>
                      <a:lnTo>
                        <a:pt x="10" y="14"/>
                      </a:lnTo>
                      <a:lnTo>
                        <a:pt x="7" y="14"/>
                      </a:lnTo>
                      <a:lnTo>
                        <a:pt x="5" y="16"/>
                      </a:lnTo>
                      <a:lnTo>
                        <a:pt x="3" y="17"/>
                      </a:lnTo>
                      <a:lnTo>
                        <a:pt x="0" y="19"/>
                      </a:lnTo>
                      <a:lnTo>
                        <a:pt x="2" y="19"/>
                      </a:lnTo>
                      <a:lnTo>
                        <a:pt x="3" y="20"/>
                      </a:lnTo>
                      <a:lnTo>
                        <a:pt x="5" y="21"/>
                      </a:lnTo>
                      <a:lnTo>
                        <a:pt x="3" y="23"/>
                      </a:lnTo>
                      <a:lnTo>
                        <a:pt x="3" y="23"/>
                      </a:lnTo>
                      <a:lnTo>
                        <a:pt x="0" y="23"/>
                      </a:lnTo>
                      <a:lnTo>
                        <a:pt x="1" y="23"/>
                      </a:lnTo>
                      <a:lnTo>
                        <a:pt x="1" y="24"/>
                      </a:lnTo>
                      <a:lnTo>
                        <a:pt x="1" y="25"/>
                      </a:lnTo>
                      <a:lnTo>
                        <a:pt x="2" y="27"/>
                      </a:lnTo>
                      <a:lnTo>
                        <a:pt x="3" y="28"/>
                      </a:lnTo>
                      <a:lnTo>
                        <a:pt x="5" y="31"/>
                      </a:lnTo>
                      <a:lnTo>
                        <a:pt x="3" y="33"/>
                      </a:lnTo>
                      <a:lnTo>
                        <a:pt x="3" y="33"/>
                      </a:lnTo>
                      <a:lnTo>
                        <a:pt x="2" y="35"/>
                      </a:lnTo>
                      <a:lnTo>
                        <a:pt x="1" y="37"/>
                      </a:lnTo>
                      <a:lnTo>
                        <a:pt x="0" y="39"/>
                      </a:lnTo>
                      <a:lnTo>
                        <a:pt x="1" y="39"/>
                      </a:lnTo>
                      <a:lnTo>
                        <a:pt x="1" y="40"/>
                      </a:lnTo>
                      <a:lnTo>
                        <a:pt x="3" y="41"/>
                      </a:lnTo>
                      <a:lnTo>
                        <a:pt x="3" y="41"/>
                      </a:lnTo>
                      <a:lnTo>
                        <a:pt x="6" y="43"/>
                      </a:lnTo>
                      <a:lnTo>
                        <a:pt x="8" y="44"/>
                      </a:lnTo>
                      <a:lnTo>
                        <a:pt x="9" y="45"/>
                      </a:lnTo>
                      <a:lnTo>
                        <a:pt x="8" y="46"/>
                      </a:lnTo>
                      <a:lnTo>
                        <a:pt x="8" y="46"/>
                      </a:lnTo>
                      <a:lnTo>
                        <a:pt x="8" y="47"/>
                      </a:lnTo>
                      <a:lnTo>
                        <a:pt x="7" y="47"/>
                      </a:lnTo>
                      <a:lnTo>
                        <a:pt x="7" y="48"/>
                      </a:lnTo>
                      <a:lnTo>
                        <a:pt x="8" y="50"/>
                      </a:lnTo>
                      <a:lnTo>
                        <a:pt x="10" y="52"/>
                      </a:lnTo>
                      <a:lnTo>
                        <a:pt x="9" y="54"/>
                      </a:lnTo>
                      <a:lnTo>
                        <a:pt x="10" y="54"/>
                      </a:lnTo>
                      <a:lnTo>
                        <a:pt x="10" y="55"/>
                      </a:lnTo>
                      <a:lnTo>
                        <a:pt x="10" y="58"/>
                      </a:lnTo>
                      <a:lnTo>
                        <a:pt x="10" y="58"/>
                      </a:lnTo>
                      <a:lnTo>
                        <a:pt x="9" y="59"/>
                      </a:lnTo>
                      <a:lnTo>
                        <a:pt x="9" y="60"/>
                      </a:lnTo>
                      <a:lnTo>
                        <a:pt x="10" y="60"/>
                      </a:lnTo>
                      <a:lnTo>
                        <a:pt x="10" y="61"/>
                      </a:lnTo>
                      <a:lnTo>
                        <a:pt x="12" y="63"/>
                      </a:lnTo>
                      <a:lnTo>
                        <a:pt x="13" y="64"/>
                      </a:lnTo>
                      <a:lnTo>
                        <a:pt x="13" y="65"/>
                      </a:lnTo>
                      <a:lnTo>
                        <a:pt x="15" y="66"/>
                      </a:lnTo>
                      <a:lnTo>
                        <a:pt x="15" y="67"/>
                      </a:lnTo>
                      <a:lnTo>
                        <a:pt x="16" y="70"/>
                      </a:lnTo>
                      <a:lnTo>
                        <a:pt x="16" y="71"/>
                      </a:lnTo>
                      <a:lnTo>
                        <a:pt x="15" y="74"/>
                      </a:lnTo>
                      <a:lnTo>
                        <a:pt x="14" y="77"/>
                      </a:lnTo>
                      <a:lnTo>
                        <a:pt x="14" y="78"/>
                      </a:lnTo>
                      <a:lnTo>
                        <a:pt x="14" y="79"/>
                      </a:lnTo>
                      <a:lnTo>
                        <a:pt x="15" y="78"/>
                      </a:lnTo>
                      <a:lnTo>
                        <a:pt x="16" y="78"/>
                      </a:lnTo>
                      <a:lnTo>
                        <a:pt x="16" y="77"/>
                      </a:lnTo>
                      <a:lnTo>
                        <a:pt x="16" y="75"/>
                      </a:lnTo>
                      <a:lnTo>
                        <a:pt x="16" y="75"/>
                      </a:lnTo>
                      <a:lnTo>
                        <a:pt x="18" y="75"/>
                      </a:lnTo>
                      <a:lnTo>
                        <a:pt x="19" y="77"/>
                      </a:lnTo>
                      <a:lnTo>
                        <a:pt x="19" y="75"/>
                      </a:lnTo>
                      <a:lnTo>
                        <a:pt x="21" y="77"/>
                      </a:lnTo>
                      <a:lnTo>
                        <a:pt x="21" y="77"/>
                      </a:lnTo>
                      <a:lnTo>
                        <a:pt x="21" y="79"/>
                      </a:lnTo>
                      <a:lnTo>
                        <a:pt x="22" y="79"/>
                      </a:lnTo>
                      <a:lnTo>
                        <a:pt x="22" y="79"/>
                      </a:lnTo>
                      <a:lnTo>
                        <a:pt x="22" y="80"/>
                      </a:lnTo>
                      <a:lnTo>
                        <a:pt x="22" y="80"/>
                      </a:lnTo>
                      <a:lnTo>
                        <a:pt x="23" y="79"/>
                      </a:lnTo>
                      <a:lnTo>
                        <a:pt x="26" y="80"/>
                      </a:lnTo>
                      <a:lnTo>
                        <a:pt x="27" y="81"/>
                      </a:lnTo>
                      <a:lnTo>
                        <a:pt x="27" y="81"/>
                      </a:lnTo>
                      <a:lnTo>
                        <a:pt x="28" y="81"/>
                      </a:lnTo>
                      <a:lnTo>
                        <a:pt x="28" y="81"/>
                      </a:lnTo>
                      <a:lnTo>
                        <a:pt x="29" y="81"/>
                      </a:lnTo>
                      <a:lnTo>
                        <a:pt x="29" y="83"/>
                      </a:lnTo>
                      <a:lnTo>
                        <a:pt x="32" y="83"/>
                      </a:lnTo>
                      <a:lnTo>
                        <a:pt x="33" y="84"/>
                      </a:lnTo>
                      <a:lnTo>
                        <a:pt x="33" y="85"/>
                      </a:lnTo>
                      <a:lnTo>
                        <a:pt x="34" y="84"/>
                      </a:lnTo>
                      <a:lnTo>
                        <a:pt x="34" y="83"/>
                      </a:lnTo>
                      <a:lnTo>
                        <a:pt x="35" y="84"/>
                      </a:lnTo>
                      <a:lnTo>
                        <a:pt x="36" y="83"/>
                      </a:lnTo>
                      <a:lnTo>
                        <a:pt x="36" y="83"/>
                      </a:lnTo>
                      <a:lnTo>
                        <a:pt x="38" y="83"/>
                      </a:lnTo>
                      <a:lnTo>
                        <a:pt x="40" y="85"/>
                      </a:lnTo>
                      <a:lnTo>
                        <a:pt x="40" y="85"/>
                      </a:lnTo>
                      <a:lnTo>
                        <a:pt x="39" y="85"/>
                      </a:lnTo>
                      <a:lnTo>
                        <a:pt x="39" y="86"/>
                      </a:lnTo>
                      <a:lnTo>
                        <a:pt x="39" y="86"/>
                      </a:lnTo>
                      <a:lnTo>
                        <a:pt x="38" y="86"/>
                      </a:lnTo>
                      <a:lnTo>
                        <a:pt x="38" y="87"/>
                      </a:lnTo>
                      <a:lnTo>
                        <a:pt x="36" y="87"/>
                      </a:lnTo>
                      <a:lnTo>
                        <a:pt x="36" y="87"/>
                      </a:lnTo>
                      <a:lnTo>
                        <a:pt x="38" y="88"/>
                      </a:lnTo>
                      <a:lnTo>
                        <a:pt x="38" y="88"/>
                      </a:lnTo>
                      <a:lnTo>
                        <a:pt x="39" y="88"/>
                      </a:lnTo>
                      <a:lnTo>
                        <a:pt x="40" y="90"/>
                      </a:lnTo>
                      <a:lnTo>
                        <a:pt x="40" y="90"/>
                      </a:lnTo>
                      <a:lnTo>
                        <a:pt x="42" y="91"/>
                      </a:lnTo>
                      <a:lnTo>
                        <a:pt x="42" y="92"/>
                      </a:lnTo>
                      <a:lnTo>
                        <a:pt x="43" y="93"/>
                      </a:lnTo>
                      <a:lnTo>
                        <a:pt x="46" y="94"/>
                      </a:lnTo>
                      <a:lnTo>
                        <a:pt x="46" y="93"/>
                      </a:lnTo>
                      <a:lnTo>
                        <a:pt x="47" y="92"/>
                      </a:lnTo>
                      <a:lnTo>
                        <a:pt x="48" y="92"/>
                      </a:lnTo>
                      <a:lnTo>
                        <a:pt x="48" y="91"/>
                      </a:lnTo>
                      <a:lnTo>
                        <a:pt x="48" y="91"/>
                      </a:lnTo>
                      <a:lnTo>
                        <a:pt x="49" y="91"/>
                      </a:lnTo>
                      <a:lnTo>
                        <a:pt x="49" y="91"/>
                      </a:lnTo>
                      <a:lnTo>
                        <a:pt x="49" y="90"/>
                      </a:lnTo>
                      <a:lnTo>
                        <a:pt x="47" y="88"/>
                      </a:lnTo>
                      <a:lnTo>
                        <a:pt x="47" y="88"/>
                      </a:lnTo>
                      <a:lnTo>
                        <a:pt x="47" y="87"/>
                      </a:lnTo>
                      <a:lnTo>
                        <a:pt x="49" y="88"/>
                      </a:lnTo>
                      <a:lnTo>
                        <a:pt x="52" y="88"/>
                      </a:lnTo>
                      <a:lnTo>
                        <a:pt x="52" y="88"/>
                      </a:lnTo>
                      <a:lnTo>
                        <a:pt x="54" y="90"/>
                      </a:lnTo>
                      <a:lnTo>
                        <a:pt x="54" y="91"/>
                      </a:lnTo>
                      <a:lnTo>
                        <a:pt x="55" y="91"/>
                      </a:lnTo>
                      <a:lnTo>
                        <a:pt x="56" y="91"/>
                      </a:lnTo>
                      <a:lnTo>
                        <a:pt x="58" y="91"/>
                      </a:lnTo>
                      <a:lnTo>
                        <a:pt x="59" y="91"/>
                      </a:lnTo>
                      <a:lnTo>
                        <a:pt x="60" y="90"/>
                      </a:lnTo>
                      <a:lnTo>
                        <a:pt x="60" y="90"/>
                      </a:lnTo>
                      <a:lnTo>
                        <a:pt x="61" y="90"/>
                      </a:lnTo>
                      <a:lnTo>
                        <a:pt x="61" y="91"/>
                      </a:lnTo>
                      <a:lnTo>
                        <a:pt x="61" y="91"/>
                      </a:lnTo>
                      <a:lnTo>
                        <a:pt x="61" y="92"/>
                      </a:lnTo>
                      <a:lnTo>
                        <a:pt x="60" y="92"/>
                      </a:lnTo>
                      <a:lnTo>
                        <a:pt x="59" y="92"/>
                      </a:lnTo>
                      <a:lnTo>
                        <a:pt x="60" y="93"/>
                      </a:lnTo>
                      <a:lnTo>
                        <a:pt x="60" y="94"/>
                      </a:lnTo>
                      <a:lnTo>
                        <a:pt x="60" y="93"/>
                      </a:lnTo>
                      <a:lnTo>
                        <a:pt x="61" y="94"/>
                      </a:lnTo>
                      <a:lnTo>
                        <a:pt x="62" y="97"/>
                      </a:lnTo>
                      <a:lnTo>
                        <a:pt x="63" y="95"/>
                      </a:lnTo>
                      <a:lnTo>
                        <a:pt x="65" y="97"/>
                      </a:lnTo>
                      <a:lnTo>
                        <a:pt x="66" y="97"/>
                      </a:lnTo>
                      <a:lnTo>
                        <a:pt x="66" y="95"/>
                      </a:lnTo>
                      <a:lnTo>
                        <a:pt x="67" y="94"/>
                      </a:lnTo>
                      <a:lnTo>
                        <a:pt x="67" y="95"/>
                      </a:lnTo>
                      <a:lnTo>
                        <a:pt x="67" y="95"/>
                      </a:lnTo>
                      <a:lnTo>
                        <a:pt x="68" y="97"/>
                      </a:lnTo>
                      <a:lnTo>
                        <a:pt x="69" y="97"/>
                      </a:lnTo>
                      <a:lnTo>
                        <a:pt x="70" y="98"/>
                      </a:lnTo>
                      <a:lnTo>
                        <a:pt x="72" y="97"/>
                      </a:lnTo>
                      <a:lnTo>
                        <a:pt x="73" y="98"/>
                      </a:lnTo>
                      <a:lnTo>
                        <a:pt x="73" y="98"/>
                      </a:lnTo>
                      <a:lnTo>
                        <a:pt x="74" y="98"/>
                      </a:lnTo>
                      <a:lnTo>
                        <a:pt x="75" y="98"/>
                      </a:lnTo>
                      <a:lnTo>
                        <a:pt x="76" y="99"/>
                      </a:lnTo>
                      <a:lnTo>
                        <a:pt x="75" y="100"/>
                      </a:lnTo>
                      <a:lnTo>
                        <a:pt x="79" y="101"/>
                      </a:lnTo>
                      <a:lnTo>
                        <a:pt x="80" y="105"/>
                      </a:lnTo>
                      <a:lnTo>
                        <a:pt x="80" y="105"/>
                      </a:lnTo>
                      <a:lnTo>
                        <a:pt x="82" y="106"/>
                      </a:lnTo>
                      <a:lnTo>
                        <a:pt x="82" y="107"/>
                      </a:lnTo>
                      <a:lnTo>
                        <a:pt x="83" y="107"/>
                      </a:lnTo>
                      <a:lnTo>
                        <a:pt x="83" y="107"/>
                      </a:lnTo>
                      <a:lnTo>
                        <a:pt x="85" y="107"/>
                      </a:lnTo>
                      <a:lnTo>
                        <a:pt x="85" y="107"/>
                      </a:lnTo>
                      <a:lnTo>
                        <a:pt x="86" y="107"/>
                      </a:lnTo>
                      <a:lnTo>
                        <a:pt x="86" y="106"/>
                      </a:lnTo>
                      <a:lnTo>
                        <a:pt x="87" y="105"/>
                      </a:lnTo>
                      <a:lnTo>
                        <a:pt x="88" y="105"/>
                      </a:lnTo>
                      <a:lnTo>
                        <a:pt x="89" y="105"/>
                      </a:lnTo>
                      <a:lnTo>
                        <a:pt x="89" y="104"/>
                      </a:lnTo>
                      <a:lnTo>
                        <a:pt x="90" y="105"/>
                      </a:lnTo>
                      <a:lnTo>
                        <a:pt x="92" y="106"/>
                      </a:lnTo>
                      <a:lnTo>
                        <a:pt x="93" y="106"/>
                      </a:lnTo>
                      <a:lnTo>
                        <a:pt x="92" y="107"/>
                      </a:lnTo>
                      <a:lnTo>
                        <a:pt x="94" y="108"/>
                      </a:lnTo>
                      <a:lnTo>
                        <a:pt x="94" y="107"/>
                      </a:lnTo>
                      <a:lnTo>
                        <a:pt x="95" y="108"/>
                      </a:lnTo>
                      <a:lnTo>
                        <a:pt x="95" y="110"/>
                      </a:lnTo>
                      <a:lnTo>
                        <a:pt x="95" y="110"/>
                      </a:lnTo>
                      <a:lnTo>
                        <a:pt x="94" y="111"/>
                      </a:lnTo>
                      <a:lnTo>
                        <a:pt x="95" y="112"/>
                      </a:lnTo>
                      <a:lnTo>
                        <a:pt x="96" y="112"/>
                      </a:lnTo>
                      <a:lnTo>
                        <a:pt x="96" y="111"/>
                      </a:lnTo>
                      <a:lnTo>
                        <a:pt x="98" y="112"/>
                      </a:lnTo>
                      <a:lnTo>
                        <a:pt x="99" y="111"/>
                      </a:lnTo>
                      <a:lnTo>
                        <a:pt x="101" y="112"/>
                      </a:lnTo>
                      <a:lnTo>
                        <a:pt x="100" y="110"/>
                      </a:lnTo>
                      <a:lnTo>
                        <a:pt x="101" y="110"/>
                      </a:lnTo>
                      <a:lnTo>
                        <a:pt x="101" y="110"/>
                      </a:lnTo>
                      <a:lnTo>
                        <a:pt x="103" y="108"/>
                      </a:lnTo>
                      <a:lnTo>
                        <a:pt x="103" y="107"/>
                      </a:lnTo>
                      <a:lnTo>
                        <a:pt x="105" y="107"/>
                      </a:lnTo>
                      <a:lnTo>
                        <a:pt x="106" y="108"/>
                      </a:lnTo>
                      <a:lnTo>
                        <a:pt x="106" y="108"/>
                      </a:lnTo>
                      <a:lnTo>
                        <a:pt x="106" y="107"/>
                      </a:lnTo>
                      <a:lnTo>
                        <a:pt x="107" y="108"/>
                      </a:lnTo>
                      <a:lnTo>
                        <a:pt x="108" y="107"/>
                      </a:lnTo>
                      <a:lnTo>
                        <a:pt x="109" y="107"/>
                      </a:lnTo>
                      <a:lnTo>
                        <a:pt x="112" y="110"/>
                      </a:lnTo>
                      <a:lnTo>
                        <a:pt x="112" y="110"/>
                      </a:lnTo>
                      <a:lnTo>
                        <a:pt x="113" y="110"/>
                      </a:lnTo>
                      <a:lnTo>
                        <a:pt x="114" y="110"/>
                      </a:lnTo>
                      <a:lnTo>
                        <a:pt x="114" y="108"/>
                      </a:lnTo>
                      <a:lnTo>
                        <a:pt x="115" y="107"/>
                      </a:lnTo>
                      <a:lnTo>
                        <a:pt x="114" y="107"/>
                      </a:lnTo>
                      <a:lnTo>
                        <a:pt x="115" y="107"/>
                      </a:lnTo>
                      <a:lnTo>
                        <a:pt x="118" y="107"/>
                      </a:lnTo>
                      <a:lnTo>
                        <a:pt x="120" y="106"/>
                      </a:lnTo>
                      <a:lnTo>
                        <a:pt x="121" y="107"/>
                      </a:lnTo>
                      <a:lnTo>
                        <a:pt x="123" y="107"/>
                      </a:lnTo>
                      <a:lnTo>
                        <a:pt x="126" y="107"/>
                      </a:lnTo>
                      <a:lnTo>
                        <a:pt x="126" y="108"/>
                      </a:lnTo>
                      <a:lnTo>
                        <a:pt x="126" y="108"/>
                      </a:lnTo>
                      <a:lnTo>
                        <a:pt x="127" y="108"/>
                      </a:lnTo>
                      <a:lnTo>
                        <a:pt x="129" y="110"/>
                      </a:lnTo>
                      <a:lnTo>
                        <a:pt x="130" y="110"/>
                      </a:lnTo>
                      <a:lnTo>
                        <a:pt x="130" y="111"/>
                      </a:lnTo>
                      <a:lnTo>
                        <a:pt x="135" y="112"/>
                      </a:lnTo>
                      <a:lnTo>
                        <a:pt x="135" y="113"/>
                      </a:lnTo>
                      <a:lnTo>
                        <a:pt x="136" y="113"/>
                      </a:lnTo>
                      <a:lnTo>
                        <a:pt x="136" y="113"/>
                      </a:lnTo>
                      <a:lnTo>
                        <a:pt x="140" y="114"/>
                      </a:lnTo>
                      <a:lnTo>
                        <a:pt x="140" y="115"/>
                      </a:lnTo>
                      <a:lnTo>
                        <a:pt x="145" y="117"/>
                      </a:lnTo>
                      <a:lnTo>
                        <a:pt x="145" y="113"/>
                      </a:lnTo>
                      <a:lnTo>
                        <a:pt x="142" y="113"/>
                      </a:lnTo>
                      <a:lnTo>
                        <a:pt x="142" y="111"/>
                      </a:lnTo>
                      <a:lnTo>
                        <a:pt x="142" y="108"/>
                      </a:lnTo>
                      <a:lnTo>
                        <a:pt x="141" y="107"/>
                      </a:lnTo>
                      <a:lnTo>
                        <a:pt x="139" y="105"/>
                      </a:lnTo>
                      <a:lnTo>
                        <a:pt x="143" y="101"/>
                      </a:lnTo>
                      <a:lnTo>
                        <a:pt x="142" y="100"/>
                      </a:lnTo>
                      <a:lnTo>
                        <a:pt x="145" y="99"/>
                      </a:lnTo>
                      <a:lnTo>
                        <a:pt x="146" y="99"/>
                      </a:lnTo>
                      <a:lnTo>
                        <a:pt x="148" y="95"/>
                      </a:lnTo>
                      <a:lnTo>
                        <a:pt x="152" y="93"/>
                      </a:lnTo>
                      <a:lnTo>
                        <a:pt x="153" y="90"/>
                      </a:lnTo>
                      <a:lnTo>
                        <a:pt x="153" y="88"/>
                      </a:lnTo>
                      <a:lnTo>
                        <a:pt x="158" y="88"/>
                      </a:lnTo>
                      <a:lnTo>
                        <a:pt x="159" y="86"/>
                      </a:lnTo>
                      <a:lnTo>
                        <a:pt x="159" y="81"/>
                      </a:lnTo>
                      <a:lnTo>
                        <a:pt x="158" y="81"/>
                      </a:lnTo>
                      <a:lnTo>
                        <a:pt x="158" y="80"/>
                      </a:lnTo>
                      <a:lnTo>
                        <a:pt x="160" y="79"/>
                      </a:lnTo>
                      <a:lnTo>
                        <a:pt x="159" y="78"/>
                      </a:lnTo>
                      <a:lnTo>
                        <a:pt x="156" y="75"/>
                      </a:lnTo>
                      <a:lnTo>
                        <a:pt x="153" y="73"/>
                      </a:lnTo>
                      <a:lnTo>
                        <a:pt x="149" y="71"/>
                      </a:lnTo>
                      <a:lnTo>
                        <a:pt x="152" y="70"/>
                      </a:lnTo>
                      <a:lnTo>
                        <a:pt x="150" y="65"/>
                      </a:lnTo>
                      <a:lnTo>
                        <a:pt x="149" y="64"/>
                      </a:lnTo>
                      <a:lnTo>
                        <a:pt x="149" y="64"/>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85" name="Philippines">
                  <a:extLst>
                    <a:ext uri="{FF2B5EF4-FFF2-40B4-BE49-F238E27FC236}">
                      <a16:creationId xmlns:a16="http://schemas.microsoft.com/office/drawing/2014/main" id="{F3F8418A-273A-D54A-91DD-96F342D475CE}"/>
                    </a:ext>
                  </a:extLst>
                </p:cNvPr>
                <p:cNvSpPr>
                  <a:spLocks noEditPoints="1"/>
                </p:cNvSpPr>
                <p:nvPr>
                  <p:custDataLst>
                    <p:tags r:id="rId8"/>
                  </p:custDataLst>
                </p:nvPr>
              </p:nvSpPr>
              <p:spPr bwMode="auto">
                <a:xfrm>
                  <a:off x="9454640" y="3425221"/>
                  <a:ext cx="250767" cy="406767"/>
                </a:xfrm>
                <a:custGeom>
                  <a:avLst/>
                  <a:gdLst>
                    <a:gd name="T0" fmla="*/ 56 w 172"/>
                    <a:gd name="T1" fmla="*/ 279 h 279"/>
                    <a:gd name="T2" fmla="*/ 99 w 172"/>
                    <a:gd name="T3" fmla="*/ 159 h 279"/>
                    <a:gd name="T4" fmla="*/ 107 w 172"/>
                    <a:gd name="T5" fmla="*/ 195 h 279"/>
                    <a:gd name="T6" fmla="*/ 113 w 172"/>
                    <a:gd name="T7" fmla="*/ 156 h 279"/>
                    <a:gd name="T8" fmla="*/ 120 w 172"/>
                    <a:gd name="T9" fmla="*/ 167 h 279"/>
                    <a:gd name="T10" fmla="*/ 146 w 172"/>
                    <a:gd name="T11" fmla="*/ 165 h 279"/>
                    <a:gd name="T12" fmla="*/ 126 w 172"/>
                    <a:gd name="T13" fmla="*/ 175 h 279"/>
                    <a:gd name="T14" fmla="*/ 91 w 172"/>
                    <a:gd name="T15" fmla="*/ 165 h 279"/>
                    <a:gd name="T16" fmla="*/ 109 w 172"/>
                    <a:gd name="T17" fmla="*/ 205 h 279"/>
                    <a:gd name="T18" fmla="*/ 127 w 172"/>
                    <a:gd name="T19" fmla="*/ 205 h 279"/>
                    <a:gd name="T20" fmla="*/ 140 w 172"/>
                    <a:gd name="T21" fmla="*/ 196 h 279"/>
                    <a:gd name="T22" fmla="*/ 142 w 172"/>
                    <a:gd name="T23" fmla="*/ 181 h 279"/>
                    <a:gd name="T24" fmla="*/ 163 w 172"/>
                    <a:gd name="T25" fmla="*/ 202 h 279"/>
                    <a:gd name="T26" fmla="*/ 166 w 172"/>
                    <a:gd name="T27" fmla="*/ 241 h 279"/>
                    <a:gd name="T28" fmla="*/ 158 w 172"/>
                    <a:gd name="T29" fmla="*/ 232 h 279"/>
                    <a:gd name="T30" fmla="*/ 155 w 172"/>
                    <a:gd name="T31" fmla="*/ 256 h 279"/>
                    <a:gd name="T32" fmla="*/ 143 w 172"/>
                    <a:gd name="T33" fmla="*/ 261 h 279"/>
                    <a:gd name="T34" fmla="*/ 126 w 172"/>
                    <a:gd name="T35" fmla="*/ 247 h 279"/>
                    <a:gd name="T36" fmla="*/ 107 w 172"/>
                    <a:gd name="T37" fmla="*/ 231 h 279"/>
                    <a:gd name="T38" fmla="*/ 87 w 172"/>
                    <a:gd name="T39" fmla="*/ 241 h 279"/>
                    <a:gd name="T40" fmla="*/ 139 w 172"/>
                    <a:gd name="T41" fmla="*/ 152 h 279"/>
                    <a:gd name="T42" fmla="*/ 121 w 172"/>
                    <a:gd name="T43" fmla="*/ 125 h 279"/>
                    <a:gd name="T44" fmla="*/ 142 w 172"/>
                    <a:gd name="T45" fmla="*/ 138 h 279"/>
                    <a:gd name="T46" fmla="*/ 132 w 172"/>
                    <a:gd name="T47" fmla="*/ 165 h 279"/>
                    <a:gd name="T48" fmla="*/ 132 w 172"/>
                    <a:gd name="T49" fmla="*/ 146 h 279"/>
                    <a:gd name="T50" fmla="*/ 138 w 172"/>
                    <a:gd name="T51" fmla="*/ 174 h 279"/>
                    <a:gd name="T52" fmla="*/ 98 w 172"/>
                    <a:gd name="T53" fmla="*/ 126 h 279"/>
                    <a:gd name="T54" fmla="*/ 114 w 172"/>
                    <a:gd name="T55" fmla="*/ 140 h 279"/>
                    <a:gd name="T56" fmla="*/ 40 w 172"/>
                    <a:gd name="T57" fmla="*/ 165 h 279"/>
                    <a:gd name="T58" fmla="*/ 35 w 172"/>
                    <a:gd name="T59" fmla="*/ 173 h 279"/>
                    <a:gd name="T60" fmla="*/ 16 w 172"/>
                    <a:gd name="T61" fmla="*/ 194 h 279"/>
                    <a:gd name="T62" fmla="*/ 8 w 172"/>
                    <a:gd name="T63" fmla="*/ 196 h 279"/>
                    <a:gd name="T64" fmla="*/ 33 w 172"/>
                    <a:gd name="T65" fmla="*/ 163 h 279"/>
                    <a:gd name="T66" fmla="*/ 87 w 172"/>
                    <a:gd name="T67" fmla="*/ 246 h 279"/>
                    <a:gd name="T68" fmla="*/ 73 w 172"/>
                    <a:gd name="T69" fmla="*/ 263 h 279"/>
                    <a:gd name="T70" fmla="*/ 80 w 172"/>
                    <a:gd name="T71" fmla="*/ 263 h 279"/>
                    <a:gd name="T72" fmla="*/ 48 w 172"/>
                    <a:gd name="T73" fmla="*/ 139 h 279"/>
                    <a:gd name="T74" fmla="*/ 48 w 172"/>
                    <a:gd name="T75" fmla="*/ 138 h 279"/>
                    <a:gd name="T76" fmla="*/ 79 w 172"/>
                    <a:gd name="T77" fmla="*/ 111 h 279"/>
                    <a:gd name="T78" fmla="*/ 71 w 172"/>
                    <a:gd name="T79" fmla="*/ 79 h 279"/>
                    <a:gd name="T80" fmla="*/ 122 w 172"/>
                    <a:gd name="T81" fmla="*/ 136 h 279"/>
                    <a:gd name="T82" fmla="*/ 115 w 172"/>
                    <a:gd name="T83" fmla="*/ 104 h 279"/>
                    <a:gd name="T84" fmla="*/ 68 w 172"/>
                    <a:gd name="T85" fmla="*/ 119 h 279"/>
                    <a:gd name="T86" fmla="*/ 48 w 172"/>
                    <a:gd name="T87" fmla="*/ 109 h 279"/>
                    <a:gd name="T88" fmla="*/ 78 w 172"/>
                    <a:gd name="T89" fmla="*/ 138 h 279"/>
                    <a:gd name="T90" fmla="*/ 89 w 172"/>
                    <a:gd name="T91" fmla="*/ 162 h 279"/>
                    <a:gd name="T92" fmla="*/ 35 w 172"/>
                    <a:gd name="T93" fmla="*/ 45 h 279"/>
                    <a:gd name="T94" fmla="*/ 36 w 172"/>
                    <a:gd name="T95" fmla="*/ 8 h 279"/>
                    <a:gd name="T96" fmla="*/ 63 w 172"/>
                    <a:gd name="T97" fmla="*/ 4 h 279"/>
                    <a:gd name="T98" fmla="*/ 67 w 172"/>
                    <a:gd name="T99" fmla="*/ 19 h 279"/>
                    <a:gd name="T100" fmla="*/ 73 w 172"/>
                    <a:gd name="T101" fmla="*/ 49 h 279"/>
                    <a:gd name="T102" fmla="*/ 67 w 172"/>
                    <a:gd name="T103" fmla="*/ 80 h 279"/>
                    <a:gd name="T104" fmla="*/ 88 w 172"/>
                    <a:gd name="T105" fmla="*/ 86 h 279"/>
                    <a:gd name="T106" fmla="*/ 106 w 172"/>
                    <a:gd name="T107" fmla="*/ 99 h 279"/>
                    <a:gd name="T108" fmla="*/ 114 w 172"/>
                    <a:gd name="T109" fmla="*/ 122 h 279"/>
                    <a:gd name="T110" fmla="*/ 96 w 172"/>
                    <a:gd name="T111" fmla="*/ 105 h 279"/>
                    <a:gd name="T112" fmla="*/ 83 w 172"/>
                    <a:gd name="T113" fmla="*/ 107 h 279"/>
                    <a:gd name="T114" fmla="*/ 49 w 172"/>
                    <a:gd name="T115" fmla="*/ 101 h 279"/>
                    <a:gd name="T116" fmla="*/ 39 w 172"/>
                    <a:gd name="T117" fmla="*/ 81 h 279"/>
                    <a:gd name="T118" fmla="*/ 31 w 172"/>
                    <a:gd name="T119" fmla="*/ 49 h 27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72" h="279">
                      <a:moveTo>
                        <a:pt x="56" y="279"/>
                      </a:moveTo>
                      <a:lnTo>
                        <a:pt x="58" y="275"/>
                      </a:lnTo>
                      <a:lnTo>
                        <a:pt x="59" y="274"/>
                      </a:lnTo>
                      <a:lnTo>
                        <a:pt x="60" y="275"/>
                      </a:lnTo>
                      <a:lnTo>
                        <a:pt x="61" y="272"/>
                      </a:lnTo>
                      <a:lnTo>
                        <a:pt x="62" y="272"/>
                      </a:lnTo>
                      <a:lnTo>
                        <a:pt x="63" y="274"/>
                      </a:lnTo>
                      <a:lnTo>
                        <a:pt x="62" y="276"/>
                      </a:lnTo>
                      <a:lnTo>
                        <a:pt x="60" y="276"/>
                      </a:lnTo>
                      <a:lnTo>
                        <a:pt x="58" y="279"/>
                      </a:lnTo>
                      <a:lnTo>
                        <a:pt x="56" y="279"/>
                      </a:lnTo>
                      <a:lnTo>
                        <a:pt x="56" y="279"/>
                      </a:lnTo>
                      <a:close/>
                      <a:moveTo>
                        <a:pt x="107" y="195"/>
                      </a:moveTo>
                      <a:lnTo>
                        <a:pt x="103" y="196"/>
                      </a:lnTo>
                      <a:lnTo>
                        <a:pt x="100" y="195"/>
                      </a:lnTo>
                      <a:lnTo>
                        <a:pt x="101" y="192"/>
                      </a:lnTo>
                      <a:lnTo>
                        <a:pt x="98" y="192"/>
                      </a:lnTo>
                      <a:lnTo>
                        <a:pt x="95" y="189"/>
                      </a:lnTo>
                      <a:lnTo>
                        <a:pt x="92" y="185"/>
                      </a:lnTo>
                      <a:lnTo>
                        <a:pt x="93" y="179"/>
                      </a:lnTo>
                      <a:lnTo>
                        <a:pt x="99" y="176"/>
                      </a:lnTo>
                      <a:lnTo>
                        <a:pt x="99" y="169"/>
                      </a:lnTo>
                      <a:lnTo>
                        <a:pt x="99" y="165"/>
                      </a:lnTo>
                      <a:lnTo>
                        <a:pt x="99" y="159"/>
                      </a:lnTo>
                      <a:lnTo>
                        <a:pt x="105" y="156"/>
                      </a:lnTo>
                      <a:lnTo>
                        <a:pt x="109" y="160"/>
                      </a:lnTo>
                      <a:lnTo>
                        <a:pt x="107" y="166"/>
                      </a:lnTo>
                      <a:lnTo>
                        <a:pt x="107" y="172"/>
                      </a:lnTo>
                      <a:lnTo>
                        <a:pt x="105" y="179"/>
                      </a:lnTo>
                      <a:lnTo>
                        <a:pt x="105" y="183"/>
                      </a:lnTo>
                      <a:lnTo>
                        <a:pt x="107" y="188"/>
                      </a:lnTo>
                      <a:lnTo>
                        <a:pt x="108" y="191"/>
                      </a:lnTo>
                      <a:lnTo>
                        <a:pt x="108" y="194"/>
                      </a:lnTo>
                      <a:lnTo>
                        <a:pt x="106" y="196"/>
                      </a:lnTo>
                      <a:lnTo>
                        <a:pt x="107" y="195"/>
                      </a:lnTo>
                      <a:lnTo>
                        <a:pt x="107" y="195"/>
                      </a:lnTo>
                      <a:close/>
                      <a:moveTo>
                        <a:pt x="107" y="186"/>
                      </a:moveTo>
                      <a:lnTo>
                        <a:pt x="108" y="180"/>
                      </a:lnTo>
                      <a:lnTo>
                        <a:pt x="107" y="179"/>
                      </a:lnTo>
                      <a:lnTo>
                        <a:pt x="108" y="179"/>
                      </a:lnTo>
                      <a:lnTo>
                        <a:pt x="108" y="175"/>
                      </a:lnTo>
                      <a:lnTo>
                        <a:pt x="108" y="171"/>
                      </a:lnTo>
                      <a:lnTo>
                        <a:pt x="109" y="171"/>
                      </a:lnTo>
                      <a:lnTo>
                        <a:pt x="111" y="169"/>
                      </a:lnTo>
                      <a:lnTo>
                        <a:pt x="111" y="166"/>
                      </a:lnTo>
                      <a:lnTo>
                        <a:pt x="111" y="163"/>
                      </a:lnTo>
                      <a:lnTo>
                        <a:pt x="113" y="162"/>
                      </a:lnTo>
                      <a:lnTo>
                        <a:pt x="113" y="156"/>
                      </a:lnTo>
                      <a:lnTo>
                        <a:pt x="112" y="153"/>
                      </a:lnTo>
                      <a:lnTo>
                        <a:pt x="114" y="152"/>
                      </a:lnTo>
                      <a:lnTo>
                        <a:pt x="115" y="151"/>
                      </a:lnTo>
                      <a:lnTo>
                        <a:pt x="114" y="152"/>
                      </a:lnTo>
                      <a:lnTo>
                        <a:pt x="115" y="153"/>
                      </a:lnTo>
                      <a:lnTo>
                        <a:pt x="115" y="155"/>
                      </a:lnTo>
                      <a:lnTo>
                        <a:pt x="118" y="158"/>
                      </a:lnTo>
                      <a:lnTo>
                        <a:pt x="116" y="159"/>
                      </a:lnTo>
                      <a:lnTo>
                        <a:pt x="118" y="162"/>
                      </a:lnTo>
                      <a:lnTo>
                        <a:pt x="116" y="163"/>
                      </a:lnTo>
                      <a:lnTo>
                        <a:pt x="119" y="165"/>
                      </a:lnTo>
                      <a:lnTo>
                        <a:pt x="120" y="167"/>
                      </a:lnTo>
                      <a:lnTo>
                        <a:pt x="116" y="169"/>
                      </a:lnTo>
                      <a:lnTo>
                        <a:pt x="112" y="172"/>
                      </a:lnTo>
                      <a:lnTo>
                        <a:pt x="109" y="178"/>
                      </a:lnTo>
                      <a:lnTo>
                        <a:pt x="107" y="186"/>
                      </a:lnTo>
                      <a:lnTo>
                        <a:pt x="107" y="186"/>
                      </a:lnTo>
                      <a:lnTo>
                        <a:pt x="107" y="186"/>
                      </a:lnTo>
                      <a:close/>
                      <a:moveTo>
                        <a:pt x="148" y="175"/>
                      </a:moveTo>
                      <a:lnTo>
                        <a:pt x="146" y="172"/>
                      </a:lnTo>
                      <a:lnTo>
                        <a:pt x="146" y="169"/>
                      </a:lnTo>
                      <a:lnTo>
                        <a:pt x="143" y="167"/>
                      </a:lnTo>
                      <a:lnTo>
                        <a:pt x="143" y="163"/>
                      </a:lnTo>
                      <a:lnTo>
                        <a:pt x="146" y="165"/>
                      </a:lnTo>
                      <a:lnTo>
                        <a:pt x="146" y="162"/>
                      </a:lnTo>
                      <a:lnTo>
                        <a:pt x="146" y="167"/>
                      </a:lnTo>
                      <a:lnTo>
                        <a:pt x="149" y="171"/>
                      </a:lnTo>
                      <a:lnTo>
                        <a:pt x="149" y="173"/>
                      </a:lnTo>
                      <a:lnTo>
                        <a:pt x="148" y="175"/>
                      </a:lnTo>
                      <a:lnTo>
                        <a:pt x="148" y="175"/>
                      </a:lnTo>
                      <a:close/>
                      <a:moveTo>
                        <a:pt x="116" y="186"/>
                      </a:moveTo>
                      <a:lnTo>
                        <a:pt x="114" y="182"/>
                      </a:lnTo>
                      <a:lnTo>
                        <a:pt x="118" y="180"/>
                      </a:lnTo>
                      <a:lnTo>
                        <a:pt x="120" y="175"/>
                      </a:lnTo>
                      <a:lnTo>
                        <a:pt x="123" y="174"/>
                      </a:lnTo>
                      <a:lnTo>
                        <a:pt x="126" y="175"/>
                      </a:lnTo>
                      <a:lnTo>
                        <a:pt x="127" y="179"/>
                      </a:lnTo>
                      <a:lnTo>
                        <a:pt x="129" y="181"/>
                      </a:lnTo>
                      <a:lnTo>
                        <a:pt x="127" y="181"/>
                      </a:lnTo>
                      <a:lnTo>
                        <a:pt x="127" y="182"/>
                      </a:lnTo>
                      <a:lnTo>
                        <a:pt x="127" y="183"/>
                      </a:lnTo>
                      <a:lnTo>
                        <a:pt x="126" y="183"/>
                      </a:lnTo>
                      <a:lnTo>
                        <a:pt x="123" y="186"/>
                      </a:lnTo>
                      <a:lnTo>
                        <a:pt x="119" y="187"/>
                      </a:lnTo>
                      <a:lnTo>
                        <a:pt x="116" y="186"/>
                      </a:lnTo>
                      <a:lnTo>
                        <a:pt x="116" y="186"/>
                      </a:lnTo>
                      <a:close/>
                      <a:moveTo>
                        <a:pt x="92" y="167"/>
                      </a:moveTo>
                      <a:lnTo>
                        <a:pt x="91" y="165"/>
                      </a:lnTo>
                      <a:lnTo>
                        <a:pt x="92" y="160"/>
                      </a:lnTo>
                      <a:lnTo>
                        <a:pt x="94" y="161"/>
                      </a:lnTo>
                      <a:lnTo>
                        <a:pt x="94" y="165"/>
                      </a:lnTo>
                      <a:lnTo>
                        <a:pt x="92" y="167"/>
                      </a:lnTo>
                      <a:lnTo>
                        <a:pt x="92" y="167"/>
                      </a:lnTo>
                      <a:close/>
                      <a:moveTo>
                        <a:pt x="89" y="221"/>
                      </a:moveTo>
                      <a:lnTo>
                        <a:pt x="94" y="220"/>
                      </a:lnTo>
                      <a:lnTo>
                        <a:pt x="98" y="218"/>
                      </a:lnTo>
                      <a:lnTo>
                        <a:pt x="102" y="215"/>
                      </a:lnTo>
                      <a:lnTo>
                        <a:pt x="101" y="211"/>
                      </a:lnTo>
                      <a:lnTo>
                        <a:pt x="106" y="208"/>
                      </a:lnTo>
                      <a:lnTo>
                        <a:pt x="109" y="205"/>
                      </a:lnTo>
                      <a:lnTo>
                        <a:pt x="111" y="205"/>
                      </a:lnTo>
                      <a:lnTo>
                        <a:pt x="114" y="205"/>
                      </a:lnTo>
                      <a:lnTo>
                        <a:pt x="118" y="209"/>
                      </a:lnTo>
                      <a:lnTo>
                        <a:pt x="119" y="214"/>
                      </a:lnTo>
                      <a:lnTo>
                        <a:pt x="115" y="218"/>
                      </a:lnTo>
                      <a:lnTo>
                        <a:pt x="118" y="216"/>
                      </a:lnTo>
                      <a:lnTo>
                        <a:pt x="122" y="213"/>
                      </a:lnTo>
                      <a:lnTo>
                        <a:pt x="126" y="211"/>
                      </a:lnTo>
                      <a:lnTo>
                        <a:pt x="127" y="207"/>
                      </a:lnTo>
                      <a:lnTo>
                        <a:pt x="127" y="207"/>
                      </a:lnTo>
                      <a:lnTo>
                        <a:pt x="126" y="206"/>
                      </a:lnTo>
                      <a:lnTo>
                        <a:pt x="127" y="205"/>
                      </a:lnTo>
                      <a:lnTo>
                        <a:pt x="129" y="203"/>
                      </a:lnTo>
                      <a:lnTo>
                        <a:pt x="133" y="205"/>
                      </a:lnTo>
                      <a:lnTo>
                        <a:pt x="133" y="206"/>
                      </a:lnTo>
                      <a:lnTo>
                        <a:pt x="134" y="205"/>
                      </a:lnTo>
                      <a:lnTo>
                        <a:pt x="134" y="205"/>
                      </a:lnTo>
                      <a:lnTo>
                        <a:pt x="136" y="200"/>
                      </a:lnTo>
                      <a:lnTo>
                        <a:pt x="134" y="201"/>
                      </a:lnTo>
                      <a:lnTo>
                        <a:pt x="134" y="200"/>
                      </a:lnTo>
                      <a:lnTo>
                        <a:pt x="135" y="198"/>
                      </a:lnTo>
                      <a:lnTo>
                        <a:pt x="138" y="195"/>
                      </a:lnTo>
                      <a:lnTo>
                        <a:pt x="140" y="196"/>
                      </a:lnTo>
                      <a:lnTo>
                        <a:pt x="140" y="196"/>
                      </a:lnTo>
                      <a:lnTo>
                        <a:pt x="143" y="198"/>
                      </a:lnTo>
                      <a:lnTo>
                        <a:pt x="143" y="196"/>
                      </a:lnTo>
                      <a:lnTo>
                        <a:pt x="146" y="195"/>
                      </a:lnTo>
                      <a:lnTo>
                        <a:pt x="146" y="196"/>
                      </a:lnTo>
                      <a:lnTo>
                        <a:pt x="146" y="195"/>
                      </a:lnTo>
                      <a:lnTo>
                        <a:pt x="147" y="194"/>
                      </a:lnTo>
                      <a:lnTo>
                        <a:pt x="147" y="189"/>
                      </a:lnTo>
                      <a:lnTo>
                        <a:pt x="146" y="189"/>
                      </a:lnTo>
                      <a:lnTo>
                        <a:pt x="146" y="187"/>
                      </a:lnTo>
                      <a:lnTo>
                        <a:pt x="146" y="187"/>
                      </a:lnTo>
                      <a:lnTo>
                        <a:pt x="145" y="185"/>
                      </a:lnTo>
                      <a:lnTo>
                        <a:pt x="142" y="181"/>
                      </a:lnTo>
                      <a:lnTo>
                        <a:pt x="145" y="179"/>
                      </a:lnTo>
                      <a:lnTo>
                        <a:pt x="148" y="179"/>
                      </a:lnTo>
                      <a:lnTo>
                        <a:pt x="146" y="178"/>
                      </a:lnTo>
                      <a:lnTo>
                        <a:pt x="150" y="180"/>
                      </a:lnTo>
                      <a:lnTo>
                        <a:pt x="153" y="182"/>
                      </a:lnTo>
                      <a:lnTo>
                        <a:pt x="155" y="186"/>
                      </a:lnTo>
                      <a:lnTo>
                        <a:pt x="159" y="185"/>
                      </a:lnTo>
                      <a:lnTo>
                        <a:pt x="159" y="189"/>
                      </a:lnTo>
                      <a:lnTo>
                        <a:pt x="161" y="193"/>
                      </a:lnTo>
                      <a:lnTo>
                        <a:pt x="159" y="198"/>
                      </a:lnTo>
                      <a:lnTo>
                        <a:pt x="160" y="201"/>
                      </a:lnTo>
                      <a:lnTo>
                        <a:pt x="163" y="202"/>
                      </a:lnTo>
                      <a:lnTo>
                        <a:pt x="163" y="205"/>
                      </a:lnTo>
                      <a:lnTo>
                        <a:pt x="165" y="207"/>
                      </a:lnTo>
                      <a:lnTo>
                        <a:pt x="166" y="211"/>
                      </a:lnTo>
                      <a:lnTo>
                        <a:pt x="166" y="215"/>
                      </a:lnTo>
                      <a:lnTo>
                        <a:pt x="169" y="219"/>
                      </a:lnTo>
                      <a:lnTo>
                        <a:pt x="169" y="223"/>
                      </a:lnTo>
                      <a:lnTo>
                        <a:pt x="170" y="228"/>
                      </a:lnTo>
                      <a:lnTo>
                        <a:pt x="172" y="232"/>
                      </a:lnTo>
                      <a:lnTo>
                        <a:pt x="168" y="235"/>
                      </a:lnTo>
                      <a:lnTo>
                        <a:pt x="169" y="238"/>
                      </a:lnTo>
                      <a:lnTo>
                        <a:pt x="168" y="239"/>
                      </a:lnTo>
                      <a:lnTo>
                        <a:pt x="166" y="241"/>
                      </a:lnTo>
                      <a:lnTo>
                        <a:pt x="166" y="246"/>
                      </a:lnTo>
                      <a:lnTo>
                        <a:pt x="165" y="248"/>
                      </a:lnTo>
                      <a:lnTo>
                        <a:pt x="163" y="247"/>
                      </a:lnTo>
                      <a:lnTo>
                        <a:pt x="162" y="246"/>
                      </a:lnTo>
                      <a:lnTo>
                        <a:pt x="162" y="242"/>
                      </a:lnTo>
                      <a:lnTo>
                        <a:pt x="161" y="242"/>
                      </a:lnTo>
                      <a:lnTo>
                        <a:pt x="161" y="242"/>
                      </a:lnTo>
                      <a:lnTo>
                        <a:pt x="161" y="240"/>
                      </a:lnTo>
                      <a:lnTo>
                        <a:pt x="161" y="239"/>
                      </a:lnTo>
                      <a:lnTo>
                        <a:pt x="159" y="236"/>
                      </a:lnTo>
                      <a:lnTo>
                        <a:pt x="156" y="235"/>
                      </a:lnTo>
                      <a:lnTo>
                        <a:pt x="158" y="232"/>
                      </a:lnTo>
                      <a:lnTo>
                        <a:pt x="153" y="234"/>
                      </a:lnTo>
                      <a:lnTo>
                        <a:pt x="150" y="235"/>
                      </a:lnTo>
                      <a:lnTo>
                        <a:pt x="149" y="240"/>
                      </a:lnTo>
                      <a:lnTo>
                        <a:pt x="150" y="245"/>
                      </a:lnTo>
                      <a:lnTo>
                        <a:pt x="153" y="245"/>
                      </a:lnTo>
                      <a:lnTo>
                        <a:pt x="154" y="247"/>
                      </a:lnTo>
                      <a:lnTo>
                        <a:pt x="154" y="247"/>
                      </a:lnTo>
                      <a:lnTo>
                        <a:pt x="155" y="251"/>
                      </a:lnTo>
                      <a:lnTo>
                        <a:pt x="155" y="252"/>
                      </a:lnTo>
                      <a:lnTo>
                        <a:pt x="156" y="252"/>
                      </a:lnTo>
                      <a:lnTo>
                        <a:pt x="155" y="254"/>
                      </a:lnTo>
                      <a:lnTo>
                        <a:pt x="155" y="256"/>
                      </a:lnTo>
                      <a:lnTo>
                        <a:pt x="156" y="256"/>
                      </a:lnTo>
                      <a:lnTo>
                        <a:pt x="155" y="258"/>
                      </a:lnTo>
                      <a:lnTo>
                        <a:pt x="155" y="262"/>
                      </a:lnTo>
                      <a:lnTo>
                        <a:pt x="155" y="261"/>
                      </a:lnTo>
                      <a:lnTo>
                        <a:pt x="155" y="265"/>
                      </a:lnTo>
                      <a:lnTo>
                        <a:pt x="153" y="266"/>
                      </a:lnTo>
                      <a:lnTo>
                        <a:pt x="150" y="266"/>
                      </a:lnTo>
                      <a:lnTo>
                        <a:pt x="150" y="263"/>
                      </a:lnTo>
                      <a:lnTo>
                        <a:pt x="148" y="260"/>
                      </a:lnTo>
                      <a:lnTo>
                        <a:pt x="147" y="262"/>
                      </a:lnTo>
                      <a:lnTo>
                        <a:pt x="147" y="258"/>
                      </a:lnTo>
                      <a:lnTo>
                        <a:pt x="143" y="261"/>
                      </a:lnTo>
                      <a:lnTo>
                        <a:pt x="146" y="265"/>
                      </a:lnTo>
                      <a:lnTo>
                        <a:pt x="142" y="263"/>
                      </a:lnTo>
                      <a:lnTo>
                        <a:pt x="139" y="261"/>
                      </a:lnTo>
                      <a:lnTo>
                        <a:pt x="138" y="261"/>
                      </a:lnTo>
                      <a:lnTo>
                        <a:pt x="138" y="261"/>
                      </a:lnTo>
                      <a:lnTo>
                        <a:pt x="135" y="260"/>
                      </a:lnTo>
                      <a:lnTo>
                        <a:pt x="134" y="259"/>
                      </a:lnTo>
                      <a:lnTo>
                        <a:pt x="133" y="258"/>
                      </a:lnTo>
                      <a:lnTo>
                        <a:pt x="129" y="255"/>
                      </a:lnTo>
                      <a:lnTo>
                        <a:pt x="128" y="254"/>
                      </a:lnTo>
                      <a:lnTo>
                        <a:pt x="126" y="252"/>
                      </a:lnTo>
                      <a:lnTo>
                        <a:pt x="126" y="247"/>
                      </a:lnTo>
                      <a:lnTo>
                        <a:pt x="123" y="243"/>
                      </a:lnTo>
                      <a:lnTo>
                        <a:pt x="123" y="239"/>
                      </a:lnTo>
                      <a:lnTo>
                        <a:pt x="126" y="234"/>
                      </a:lnTo>
                      <a:lnTo>
                        <a:pt x="128" y="231"/>
                      </a:lnTo>
                      <a:lnTo>
                        <a:pt x="125" y="227"/>
                      </a:lnTo>
                      <a:lnTo>
                        <a:pt x="121" y="225"/>
                      </a:lnTo>
                      <a:lnTo>
                        <a:pt x="116" y="222"/>
                      </a:lnTo>
                      <a:lnTo>
                        <a:pt x="112" y="222"/>
                      </a:lnTo>
                      <a:lnTo>
                        <a:pt x="112" y="227"/>
                      </a:lnTo>
                      <a:lnTo>
                        <a:pt x="112" y="231"/>
                      </a:lnTo>
                      <a:lnTo>
                        <a:pt x="111" y="232"/>
                      </a:lnTo>
                      <a:lnTo>
                        <a:pt x="107" y="231"/>
                      </a:lnTo>
                      <a:lnTo>
                        <a:pt x="107" y="227"/>
                      </a:lnTo>
                      <a:lnTo>
                        <a:pt x="105" y="227"/>
                      </a:lnTo>
                      <a:lnTo>
                        <a:pt x="102" y="229"/>
                      </a:lnTo>
                      <a:lnTo>
                        <a:pt x="101" y="232"/>
                      </a:lnTo>
                      <a:lnTo>
                        <a:pt x="100" y="226"/>
                      </a:lnTo>
                      <a:lnTo>
                        <a:pt x="96" y="226"/>
                      </a:lnTo>
                      <a:lnTo>
                        <a:pt x="94" y="229"/>
                      </a:lnTo>
                      <a:lnTo>
                        <a:pt x="93" y="233"/>
                      </a:lnTo>
                      <a:lnTo>
                        <a:pt x="92" y="235"/>
                      </a:lnTo>
                      <a:lnTo>
                        <a:pt x="91" y="239"/>
                      </a:lnTo>
                      <a:lnTo>
                        <a:pt x="89" y="243"/>
                      </a:lnTo>
                      <a:lnTo>
                        <a:pt x="87" y="241"/>
                      </a:lnTo>
                      <a:lnTo>
                        <a:pt x="86" y="239"/>
                      </a:lnTo>
                      <a:lnTo>
                        <a:pt x="87" y="235"/>
                      </a:lnTo>
                      <a:lnTo>
                        <a:pt x="88" y="229"/>
                      </a:lnTo>
                      <a:lnTo>
                        <a:pt x="91" y="226"/>
                      </a:lnTo>
                      <a:lnTo>
                        <a:pt x="89" y="221"/>
                      </a:lnTo>
                      <a:lnTo>
                        <a:pt x="89" y="221"/>
                      </a:lnTo>
                      <a:close/>
                      <a:moveTo>
                        <a:pt x="148" y="154"/>
                      </a:moveTo>
                      <a:lnTo>
                        <a:pt x="146" y="153"/>
                      </a:lnTo>
                      <a:lnTo>
                        <a:pt x="146" y="152"/>
                      </a:lnTo>
                      <a:lnTo>
                        <a:pt x="145" y="153"/>
                      </a:lnTo>
                      <a:lnTo>
                        <a:pt x="140" y="153"/>
                      </a:lnTo>
                      <a:lnTo>
                        <a:pt x="139" y="152"/>
                      </a:lnTo>
                      <a:lnTo>
                        <a:pt x="136" y="151"/>
                      </a:lnTo>
                      <a:lnTo>
                        <a:pt x="134" y="147"/>
                      </a:lnTo>
                      <a:lnTo>
                        <a:pt x="132" y="146"/>
                      </a:lnTo>
                      <a:lnTo>
                        <a:pt x="134" y="142"/>
                      </a:lnTo>
                      <a:lnTo>
                        <a:pt x="134" y="140"/>
                      </a:lnTo>
                      <a:lnTo>
                        <a:pt x="132" y="139"/>
                      </a:lnTo>
                      <a:lnTo>
                        <a:pt x="128" y="136"/>
                      </a:lnTo>
                      <a:lnTo>
                        <a:pt x="127" y="134"/>
                      </a:lnTo>
                      <a:lnTo>
                        <a:pt x="122" y="133"/>
                      </a:lnTo>
                      <a:lnTo>
                        <a:pt x="121" y="129"/>
                      </a:lnTo>
                      <a:lnTo>
                        <a:pt x="120" y="126"/>
                      </a:lnTo>
                      <a:lnTo>
                        <a:pt x="121" y="125"/>
                      </a:lnTo>
                      <a:lnTo>
                        <a:pt x="123" y="126"/>
                      </a:lnTo>
                      <a:lnTo>
                        <a:pt x="126" y="126"/>
                      </a:lnTo>
                      <a:lnTo>
                        <a:pt x="129" y="125"/>
                      </a:lnTo>
                      <a:lnTo>
                        <a:pt x="130" y="125"/>
                      </a:lnTo>
                      <a:lnTo>
                        <a:pt x="133" y="122"/>
                      </a:lnTo>
                      <a:lnTo>
                        <a:pt x="135" y="125"/>
                      </a:lnTo>
                      <a:lnTo>
                        <a:pt x="136" y="124"/>
                      </a:lnTo>
                      <a:lnTo>
                        <a:pt x="138" y="127"/>
                      </a:lnTo>
                      <a:lnTo>
                        <a:pt x="140" y="128"/>
                      </a:lnTo>
                      <a:lnTo>
                        <a:pt x="141" y="132"/>
                      </a:lnTo>
                      <a:lnTo>
                        <a:pt x="142" y="134"/>
                      </a:lnTo>
                      <a:lnTo>
                        <a:pt x="142" y="138"/>
                      </a:lnTo>
                      <a:lnTo>
                        <a:pt x="142" y="141"/>
                      </a:lnTo>
                      <a:lnTo>
                        <a:pt x="143" y="145"/>
                      </a:lnTo>
                      <a:lnTo>
                        <a:pt x="146" y="147"/>
                      </a:lnTo>
                      <a:lnTo>
                        <a:pt x="145" y="151"/>
                      </a:lnTo>
                      <a:lnTo>
                        <a:pt x="147" y="151"/>
                      </a:lnTo>
                      <a:lnTo>
                        <a:pt x="148" y="154"/>
                      </a:lnTo>
                      <a:lnTo>
                        <a:pt x="148" y="154"/>
                      </a:lnTo>
                      <a:lnTo>
                        <a:pt x="148" y="154"/>
                      </a:lnTo>
                      <a:close/>
                      <a:moveTo>
                        <a:pt x="138" y="174"/>
                      </a:moveTo>
                      <a:lnTo>
                        <a:pt x="133" y="173"/>
                      </a:lnTo>
                      <a:lnTo>
                        <a:pt x="133" y="169"/>
                      </a:lnTo>
                      <a:lnTo>
                        <a:pt x="132" y="165"/>
                      </a:lnTo>
                      <a:lnTo>
                        <a:pt x="132" y="161"/>
                      </a:lnTo>
                      <a:lnTo>
                        <a:pt x="130" y="158"/>
                      </a:lnTo>
                      <a:lnTo>
                        <a:pt x="127" y="156"/>
                      </a:lnTo>
                      <a:lnTo>
                        <a:pt x="125" y="158"/>
                      </a:lnTo>
                      <a:lnTo>
                        <a:pt x="121" y="155"/>
                      </a:lnTo>
                      <a:lnTo>
                        <a:pt x="123" y="149"/>
                      </a:lnTo>
                      <a:lnTo>
                        <a:pt x="121" y="146"/>
                      </a:lnTo>
                      <a:lnTo>
                        <a:pt x="123" y="145"/>
                      </a:lnTo>
                      <a:lnTo>
                        <a:pt x="125" y="147"/>
                      </a:lnTo>
                      <a:lnTo>
                        <a:pt x="126" y="147"/>
                      </a:lnTo>
                      <a:lnTo>
                        <a:pt x="129" y="149"/>
                      </a:lnTo>
                      <a:lnTo>
                        <a:pt x="132" y="146"/>
                      </a:lnTo>
                      <a:lnTo>
                        <a:pt x="134" y="149"/>
                      </a:lnTo>
                      <a:lnTo>
                        <a:pt x="135" y="153"/>
                      </a:lnTo>
                      <a:lnTo>
                        <a:pt x="135" y="158"/>
                      </a:lnTo>
                      <a:lnTo>
                        <a:pt x="138" y="160"/>
                      </a:lnTo>
                      <a:lnTo>
                        <a:pt x="140" y="163"/>
                      </a:lnTo>
                      <a:lnTo>
                        <a:pt x="141" y="168"/>
                      </a:lnTo>
                      <a:lnTo>
                        <a:pt x="139" y="171"/>
                      </a:lnTo>
                      <a:lnTo>
                        <a:pt x="138" y="169"/>
                      </a:lnTo>
                      <a:lnTo>
                        <a:pt x="136" y="168"/>
                      </a:lnTo>
                      <a:lnTo>
                        <a:pt x="139" y="172"/>
                      </a:lnTo>
                      <a:lnTo>
                        <a:pt x="138" y="173"/>
                      </a:lnTo>
                      <a:lnTo>
                        <a:pt x="138" y="174"/>
                      </a:lnTo>
                      <a:lnTo>
                        <a:pt x="138" y="174"/>
                      </a:lnTo>
                      <a:close/>
                      <a:moveTo>
                        <a:pt x="114" y="140"/>
                      </a:moveTo>
                      <a:lnTo>
                        <a:pt x="113" y="139"/>
                      </a:lnTo>
                      <a:lnTo>
                        <a:pt x="111" y="136"/>
                      </a:lnTo>
                      <a:lnTo>
                        <a:pt x="107" y="134"/>
                      </a:lnTo>
                      <a:lnTo>
                        <a:pt x="105" y="133"/>
                      </a:lnTo>
                      <a:lnTo>
                        <a:pt x="101" y="135"/>
                      </a:lnTo>
                      <a:lnTo>
                        <a:pt x="98" y="136"/>
                      </a:lnTo>
                      <a:lnTo>
                        <a:pt x="99" y="134"/>
                      </a:lnTo>
                      <a:lnTo>
                        <a:pt x="100" y="132"/>
                      </a:lnTo>
                      <a:lnTo>
                        <a:pt x="100" y="127"/>
                      </a:lnTo>
                      <a:lnTo>
                        <a:pt x="98" y="126"/>
                      </a:lnTo>
                      <a:lnTo>
                        <a:pt x="98" y="124"/>
                      </a:lnTo>
                      <a:lnTo>
                        <a:pt x="100" y="125"/>
                      </a:lnTo>
                      <a:lnTo>
                        <a:pt x="101" y="125"/>
                      </a:lnTo>
                      <a:lnTo>
                        <a:pt x="103" y="126"/>
                      </a:lnTo>
                      <a:lnTo>
                        <a:pt x="109" y="127"/>
                      </a:lnTo>
                      <a:lnTo>
                        <a:pt x="109" y="129"/>
                      </a:lnTo>
                      <a:lnTo>
                        <a:pt x="112" y="131"/>
                      </a:lnTo>
                      <a:lnTo>
                        <a:pt x="113" y="134"/>
                      </a:lnTo>
                      <a:lnTo>
                        <a:pt x="114" y="135"/>
                      </a:lnTo>
                      <a:lnTo>
                        <a:pt x="116" y="139"/>
                      </a:lnTo>
                      <a:lnTo>
                        <a:pt x="114" y="140"/>
                      </a:lnTo>
                      <a:lnTo>
                        <a:pt x="114" y="140"/>
                      </a:lnTo>
                      <a:close/>
                      <a:moveTo>
                        <a:pt x="33" y="154"/>
                      </a:moveTo>
                      <a:lnTo>
                        <a:pt x="34" y="154"/>
                      </a:lnTo>
                      <a:lnTo>
                        <a:pt x="33" y="149"/>
                      </a:lnTo>
                      <a:lnTo>
                        <a:pt x="35" y="147"/>
                      </a:lnTo>
                      <a:lnTo>
                        <a:pt x="36" y="151"/>
                      </a:lnTo>
                      <a:lnTo>
                        <a:pt x="36" y="154"/>
                      </a:lnTo>
                      <a:lnTo>
                        <a:pt x="35" y="158"/>
                      </a:lnTo>
                      <a:lnTo>
                        <a:pt x="38" y="160"/>
                      </a:lnTo>
                      <a:lnTo>
                        <a:pt x="35" y="162"/>
                      </a:lnTo>
                      <a:lnTo>
                        <a:pt x="38" y="162"/>
                      </a:lnTo>
                      <a:lnTo>
                        <a:pt x="40" y="162"/>
                      </a:lnTo>
                      <a:lnTo>
                        <a:pt x="40" y="165"/>
                      </a:lnTo>
                      <a:lnTo>
                        <a:pt x="42" y="165"/>
                      </a:lnTo>
                      <a:lnTo>
                        <a:pt x="45" y="166"/>
                      </a:lnTo>
                      <a:lnTo>
                        <a:pt x="43" y="168"/>
                      </a:lnTo>
                      <a:lnTo>
                        <a:pt x="41" y="167"/>
                      </a:lnTo>
                      <a:lnTo>
                        <a:pt x="41" y="167"/>
                      </a:lnTo>
                      <a:lnTo>
                        <a:pt x="41" y="168"/>
                      </a:lnTo>
                      <a:lnTo>
                        <a:pt x="40" y="169"/>
                      </a:lnTo>
                      <a:lnTo>
                        <a:pt x="40" y="169"/>
                      </a:lnTo>
                      <a:lnTo>
                        <a:pt x="38" y="172"/>
                      </a:lnTo>
                      <a:lnTo>
                        <a:pt x="38" y="169"/>
                      </a:lnTo>
                      <a:lnTo>
                        <a:pt x="35" y="172"/>
                      </a:lnTo>
                      <a:lnTo>
                        <a:pt x="35" y="173"/>
                      </a:lnTo>
                      <a:lnTo>
                        <a:pt x="32" y="174"/>
                      </a:lnTo>
                      <a:lnTo>
                        <a:pt x="32" y="174"/>
                      </a:lnTo>
                      <a:lnTo>
                        <a:pt x="31" y="175"/>
                      </a:lnTo>
                      <a:lnTo>
                        <a:pt x="27" y="176"/>
                      </a:lnTo>
                      <a:lnTo>
                        <a:pt x="25" y="180"/>
                      </a:lnTo>
                      <a:lnTo>
                        <a:pt x="23" y="181"/>
                      </a:lnTo>
                      <a:lnTo>
                        <a:pt x="27" y="182"/>
                      </a:lnTo>
                      <a:lnTo>
                        <a:pt x="26" y="183"/>
                      </a:lnTo>
                      <a:lnTo>
                        <a:pt x="23" y="187"/>
                      </a:lnTo>
                      <a:lnTo>
                        <a:pt x="23" y="188"/>
                      </a:lnTo>
                      <a:lnTo>
                        <a:pt x="20" y="192"/>
                      </a:lnTo>
                      <a:lnTo>
                        <a:pt x="16" y="194"/>
                      </a:lnTo>
                      <a:lnTo>
                        <a:pt x="14" y="196"/>
                      </a:lnTo>
                      <a:lnTo>
                        <a:pt x="14" y="199"/>
                      </a:lnTo>
                      <a:lnTo>
                        <a:pt x="13" y="200"/>
                      </a:lnTo>
                      <a:lnTo>
                        <a:pt x="9" y="203"/>
                      </a:lnTo>
                      <a:lnTo>
                        <a:pt x="6" y="205"/>
                      </a:lnTo>
                      <a:lnTo>
                        <a:pt x="5" y="208"/>
                      </a:lnTo>
                      <a:lnTo>
                        <a:pt x="1" y="212"/>
                      </a:lnTo>
                      <a:lnTo>
                        <a:pt x="0" y="211"/>
                      </a:lnTo>
                      <a:lnTo>
                        <a:pt x="1" y="206"/>
                      </a:lnTo>
                      <a:lnTo>
                        <a:pt x="3" y="202"/>
                      </a:lnTo>
                      <a:lnTo>
                        <a:pt x="6" y="200"/>
                      </a:lnTo>
                      <a:lnTo>
                        <a:pt x="8" y="196"/>
                      </a:lnTo>
                      <a:lnTo>
                        <a:pt x="11" y="193"/>
                      </a:lnTo>
                      <a:lnTo>
                        <a:pt x="14" y="193"/>
                      </a:lnTo>
                      <a:lnTo>
                        <a:pt x="16" y="189"/>
                      </a:lnTo>
                      <a:lnTo>
                        <a:pt x="18" y="185"/>
                      </a:lnTo>
                      <a:lnTo>
                        <a:pt x="20" y="181"/>
                      </a:lnTo>
                      <a:lnTo>
                        <a:pt x="22" y="178"/>
                      </a:lnTo>
                      <a:lnTo>
                        <a:pt x="25" y="175"/>
                      </a:lnTo>
                      <a:lnTo>
                        <a:pt x="25" y="172"/>
                      </a:lnTo>
                      <a:lnTo>
                        <a:pt x="28" y="169"/>
                      </a:lnTo>
                      <a:lnTo>
                        <a:pt x="29" y="167"/>
                      </a:lnTo>
                      <a:lnTo>
                        <a:pt x="31" y="167"/>
                      </a:lnTo>
                      <a:lnTo>
                        <a:pt x="33" y="163"/>
                      </a:lnTo>
                      <a:lnTo>
                        <a:pt x="34" y="161"/>
                      </a:lnTo>
                      <a:lnTo>
                        <a:pt x="33" y="160"/>
                      </a:lnTo>
                      <a:lnTo>
                        <a:pt x="31" y="156"/>
                      </a:lnTo>
                      <a:lnTo>
                        <a:pt x="34" y="160"/>
                      </a:lnTo>
                      <a:lnTo>
                        <a:pt x="35" y="158"/>
                      </a:lnTo>
                      <a:lnTo>
                        <a:pt x="33" y="155"/>
                      </a:lnTo>
                      <a:lnTo>
                        <a:pt x="33" y="154"/>
                      </a:lnTo>
                      <a:lnTo>
                        <a:pt x="33" y="154"/>
                      </a:lnTo>
                      <a:close/>
                      <a:moveTo>
                        <a:pt x="88" y="252"/>
                      </a:moveTo>
                      <a:lnTo>
                        <a:pt x="85" y="249"/>
                      </a:lnTo>
                      <a:lnTo>
                        <a:pt x="85" y="247"/>
                      </a:lnTo>
                      <a:lnTo>
                        <a:pt x="87" y="246"/>
                      </a:lnTo>
                      <a:lnTo>
                        <a:pt x="91" y="246"/>
                      </a:lnTo>
                      <a:lnTo>
                        <a:pt x="92" y="247"/>
                      </a:lnTo>
                      <a:lnTo>
                        <a:pt x="92" y="248"/>
                      </a:lnTo>
                      <a:lnTo>
                        <a:pt x="92" y="249"/>
                      </a:lnTo>
                      <a:lnTo>
                        <a:pt x="92" y="251"/>
                      </a:lnTo>
                      <a:lnTo>
                        <a:pt x="92" y="252"/>
                      </a:lnTo>
                      <a:lnTo>
                        <a:pt x="88" y="252"/>
                      </a:lnTo>
                      <a:lnTo>
                        <a:pt x="88" y="252"/>
                      </a:lnTo>
                      <a:close/>
                      <a:moveTo>
                        <a:pt x="80" y="263"/>
                      </a:moveTo>
                      <a:lnTo>
                        <a:pt x="78" y="262"/>
                      </a:lnTo>
                      <a:lnTo>
                        <a:pt x="75" y="262"/>
                      </a:lnTo>
                      <a:lnTo>
                        <a:pt x="73" y="263"/>
                      </a:lnTo>
                      <a:lnTo>
                        <a:pt x="72" y="262"/>
                      </a:lnTo>
                      <a:lnTo>
                        <a:pt x="71" y="262"/>
                      </a:lnTo>
                      <a:lnTo>
                        <a:pt x="69" y="263"/>
                      </a:lnTo>
                      <a:lnTo>
                        <a:pt x="67" y="262"/>
                      </a:lnTo>
                      <a:lnTo>
                        <a:pt x="71" y="260"/>
                      </a:lnTo>
                      <a:lnTo>
                        <a:pt x="71" y="259"/>
                      </a:lnTo>
                      <a:lnTo>
                        <a:pt x="75" y="260"/>
                      </a:lnTo>
                      <a:lnTo>
                        <a:pt x="78" y="260"/>
                      </a:lnTo>
                      <a:lnTo>
                        <a:pt x="80" y="260"/>
                      </a:lnTo>
                      <a:lnTo>
                        <a:pt x="82" y="262"/>
                      </a:lnTo>
                      <a:lnTo>
                        <a:pt x="80" y="263"/>
                      </a:lnTo>
                      <a:lnTo>
                        <a:pt x="80" y="263"/>
                      </a:lnTo>
                      <a:close/>
                      <a:moveTo>
                        <a:pt x="78" y="133"/>
                      </a:moveTo>
                      <a:lnTo>
                        <a:pt x="76" y="131"/>
                      </a:lnTo>
                      <a:lnTo>
                        <a:pt x="76" y="129"/>
                      </a:lnTo>
                      <a:lnTo>
                        <a:pt x="76" y="127"/>
                      </a:lnTo>
                      <a:lnTo>
                        <a:pt x="76" y="124"/>
                      </a:lnTo>
                      <a:lnTo>
                        <a:pt x="79" y="121"/>
                      </a:lnTo>
                      <a:lnTo>
                        <a:pt x="79" y="124"/>
                      </a:lnTo>
                      <a:lnTo>
                        <a:pt x="79" y="127"/>
                      </a:lnTo>
                      <a:lnTo>
                        <a:pt x="79" y="131"/>
                      </a:lnTo>
                      <a:lnTo>
                        <a:pt x="78" y="133"/>
                      </a:lnTo>
                      <a:lnTo>
                        <a:pt x="78" y="133"/>
                      </a:lnTo>
                      <a:close/>
                      <a:moveTo>
                        <a:pt x="48" y="139"/>
                      </a:moveTo>
                      <a:lnTo>
                        <a:pt x="46" y="138"/>
                      </a:lnTo>
                      <a:lnTo>
                        <a:pt x="45" y="140"/>
                      </a:lnTo>
                      <a:lnTo>
                        <a:pt x="42" y="141"/>
                      </a:lnTo>
                      <a:lnTo>
                        <a:pt x="42" y="138"/>
                      </a:lnTo>
                      <a:lnTo>
                        <a:pt x="40" y="134"/>
                      </a:lnTo>
                      <a:lnTo>
                        <a:pt x="40" y="134"/>
                      </a:lnTo>
                      <a:lnTo>
                        <a:pt x="41" y="132"/>
                      </a:lnTo>
                      <a:lnTo>
                        <a:pt x="42" y="133"/>
                      </a:lnTo>
                      <a:lnTo>
                        <a:pt x="45" y="135"/>
                      </a:lnTo>
                      <a:lnTo>
                        <a:pt x="46" y="134"/>
                      </a:lnTo>
                      <a:lnTo>
                        <a:pt x="48" y="136"/>
                      </a:lnTo>
                      <a:lnTo>
                        <a:pt x="48" y="138"/>
                      </a:lnTo>
                      <a:lnTo>
                        <a:pt x="48" y="139"/>
                      </a:lnTo>
                      <a:lnTo>
                        <a:pt x="48" y="139"/>
                      </a:lnTo>
                      <a:close/>
                      <a:moveTo>
                        <a:pt x="76" y="112"/>
                      </a:moveTo>
                      <a:lnTo>
                        <a:pt x="73" y="112"/>
                      </a:lnTo>
                      <a:lnTo>
                        <a:pt x="73" y="112"/>
                      </a:lnTo>
                      <a:lnTo>
                        <a:pt x="73" y="111"/>
                      </a:lnTo>
                      <a:lnTo>
                        <a:pt x="73" y="109"/>
                      </a:lnTo>
                      <a:lnTo>
                        <a:pt x="73" y="108"/>
                      </a:lnTo>
                      <a:lnTo>
                        <a:pt x="75" y="108"/>
                      </a:lnTo>
                      <a:lnTo>
                        <a:pt x="76" y="108"/>
                      </a:lnTo>
                      <a:lnTo>
                        <a:pt x="76" y="109"/>
                      </a:lnTo>
                      <a:lnTo>
                        <a:pt x="79" y="111"/>
                      </a:lnTo>
                      <a:lnTo>
                        <a:pt x="76" y="112"/>
                      </a:lnTo>
                      <a:lnTo>
                        <a:pt x="76" y="112"/>
                      </a:lnTo>
                      <a:close/>
                      <a:moveTo>
                        <a:pt x="88" y="128"/>
                      </a:moveTo>
                      <a:lnTo>
                        <a:pt x="86" y="127"/>
                      </a:lnTo>
                      <a:lnTo>
                        <a:pt x="85" y="125"/>
                      </a:lnTo>
                      <a:lnTo>
                        <a:pt x="87" y="124"/>
                      </a:lnTo>
                      <a:lnTo>
                        <a:pt x="89" y="125"/>
                      </a:lnTo>
                      <a:lnTo>
                        <a:pt x="89" y="127"/>
                      </a:lnTo>
                      <a:lnTo>
                        <a:pt x="88" y="128"/>
                      </a:lnTo>
                      <a:lnTo>
                        <a:pt x="88" y="128"/>
                      </a:lnTo>
                      <a:close/>
                      <a:moveTo>
                        <a:pt x="71" y="81"/>
                      </a:moveTo>
                      <a:lnTo>
                        <a:pt x="71" y="79"/>
                      </a:lnTo>
                      <a:lnTo>
                        <a:pt x="69" y="76"/>
                      </a:lnTo>
                      <a:lnTo>
                        <a:pt x="68" y="74"/>
                      </a:lnTo>
                      <a:lnTo>
                        <a:pt x="69" y="72"/>
                      </a:lnTo>
                      <a:lnTo>
                        <a:pt x="72" y="73"/>
                      </a:lnTo>
                      <a:lnTo>
                        <a:pt x="71" y="75"/>
                      </a:lnTo>
                      <a:lnTo>
                        <a:pt x="73" y="78"/>
                      </a:lnTo>
                      <a:lnTo>
                        <a:pt x="72" y="80"/>
                      </a:lnTo>
                      <a:lnTo>
                        <a:pt x="71" y="81"/>
                      </a:lnTo>
                      <a:lnTo>
                        <a:pt x="71" y="81"/>
                      </a:lnTo>
                      <a:close/>
                      <a:moveTo>
                        <a:pt x="122" y="141"/>
                      </a:moveTo>
                      <a:lnTo>
                        <a:pt x="119" y="138"/>
                      </a:lnTo>
                      <a:lnTo>
                        <a:pt x="122" y="136"/>
                      </a:lnTo>
                      <a:lnTo>
                        <a:pt x="125" y="139"/>
                      </a:lnTo>
                      <a:lnTo>
                        <a:pt x="122" y="141"/>
                      </a:lnTo>
                      <a:lnTo>
                        <a:pt x="122" y="141"/>
                      </a:lnTo>
                      <a:close/>
                      <a:moveTo>
                        <a:pt x="112" y="106"/>
                      </a:moveTo>
                      <a:lnTo>
                        <a:pt x="109" y="104"/>
                      </a:lnTo>
                      <a:lnTo>
                        <a:pt x="109" y="101"/>
                      </a:lnTo>
                      <a:lnTo>
                        <a:pt x="109" y="98"/>
                      </a:lnTo>
                      <a:lnTo>
                        <a:pt x="109" y="94"/>
                      </a:lnTo>
                      <a:lnTo>
                        <a:pt x="112" y="94"/>
                      </a:lnTo>
                      <a:lnTo>
                        <a:pt x="114" y="96"/>
                      </a:lnTo>
                      <a:lnTo>
                        <a:pt x="114" y="100"/>
                      </a:lnTo>
                      <a:lnTo>
                        <a:pt x="115" y="104"/>
                      </a:lnTo>
                      <a:lnTo>
                        <a:pt x="112" y="104"/>
                      </a:lnTo>
                      <a:lnTo>
                        <a:pt x="112" y="106"/>
                      </a:lnTo>
                      <a:lnTo>
                        <a:pt x="112" y="106"/>
                      </a:lnTo>
                      <a:close/>
                      <a:moveTo>
                        <a:pt x="46" y="108"/>
                      </a:moveTo>
                      <a:lnTo>
                        <a:pt x="47" y="105"/>
                      </a:lnTo>
                      <a:lnTo>
                        <a:pt x="52" y="107"/>
                      </a:lnTo>
                      <a:lnTo>
                        <a:pt x="56" y="107"/>
                      </a:lnTo>
                      <a:lnTo>
                        <a:pt x="61" y="107"/>
                      </a:lnTo>
                      <a:lnTo>
                        <a:pt x="65" y="109"/>
                      </a:lnTo>
                      <a:lnTo>
                        <a:pt x="66" y="113"/>
                      </a:lnTo>
                      <a:lnTo>
                        <a:pt x="67" y="115"/>
                      </a:lnTo>
                      <a:lnTo>
                        <a:pt x="68" y="119"/>
                      </a:lnTo>
                      <a:lnTo>
                        <a:pt x="69" y="122"/>
                      </a:lnTo>
                      <a:lnTo>
                        <a:pt x="68" y="126"/>
                      </a:lnTo>
                      <a:lnTo>
                        <a:pt x="67" y="131"/>
                      </a:lnTo>
                      <a:lnTo>
                        <a:pt x="65" y="132"/>
                      </a:lnTo>
                      <a:lnTo>
                        <a:pt x="62" y="131"/>
                      </a:lnTo>
                      <a:lnTo>
                        <a:pt x="59" y="129"/>
                      </a:lnTo>
                      <a:lnTo>
                        <a:pt x="58" y="126"/>
                      </a:lnTo>
                      <a:lnTo>
                        <a:pt x="55" y="122"/>
                      </a:lnTo>
                      <a:lnTo>
                        <a:pt x="55" y="119"/>
                      </a:lnTo>
                      <a:lnTo>
                        <a:pt x="53" y="115"/>
                      </a:lnTo>
                      <a:lnTo>
                        <a:pt x="49" y="113"/>
                      </a:lnTo>
                      <a:lnTo>
                        <a:pt x="48" y="109"/>
                      </a:lnTo>
                      <a:lnTo>
                        <a:pt x="46" y="109"/>
                      </a:lnTo>
                      <a:lnTo>
                        <a:pt x="46" y="108"/>
                      </a:lnTo>
                      <a:lnTo>
                        <a:pt x="46" y="108"/>
                      </a:lnTo>
                      <a:close/>
                      <a:moveTo>
                        <a:pt x="83" y="167"/>
                      </a:moveTo>
                      <a:lnTo>
                        <a:pt x="81" y="165"/>
                      </a:lnTo>
                      <a:lnTo>
                        <a:pt x="79" y="160"/>
                      </a:lnTo>
                      <a:lnTo>
                        <a:pt x="80" y="155"/>
                      </a:lnTo>
                      <a:lnTo>
                        <a:pt x="80" y="151"/>
                      </a:lnTo>
                      <a:lnTo>
                        <a:pt x="80" y="146"/>
                      </a:lnTo>
                      <a:lnTo>
                        <a:pt x="80" y="144"/>
                      </a:lnTo>
                      <a:lnTo>
                        <a:pt x="76" y="140"/>
                      </a:lnTo>
                      <a:lnTo>
                        <a:pt x="78" y="138"/>
                      </a:lnTo>
                      <a:lnTo>
                        <a:pt x="82" y="139"/>
                      </a:lnTo>
                      <a:lnTo>
                        <a:pt x="86" y="142"/>
                      </a:lnTo>
                      <a:lnTo>
                        <a:pt x="89" y="145"/>
                      </a:lnTo>
                      <a:lnTo>
                        <a:pt x="94" y="141"/>
                      </a:lnTo>
                      <a:lnTo>
                        <a:pt x="95" y="145"/>
                      </a:lnTo>
                      <a:lnTo>
                        <a:pt x="98" y="146"/>
                      </a:lnTo>
                      <a:lnTo>
                        <a:pt x="99" y="146"/>
                      </a:lnTo>
                      <a:lnTo>
                        <a:pt x="101" y="151"/>
                      </a:lnTo>
                      <a:lnTo>
                        <a:pt x="99" y="154"/>
                      </a:lnTo>
                      <a:lnTo>
                        <a:pt x="94" y="156"/>
                      </a:lnTo>
                      <a:lnTo>
                        <a:pt x="92" y="159"/>
                      </a:lnTo>
                      <a:lnTo>
                        <a:pt x="89" y="162"/>
                      </a:lnTo>
                      <a:lnTo>
                        <a:pt x="85" y="163"/>
                      </a:lnTo>
                      <a:lnTo>
                        <a:pt x="82" y="168"/>
                      </a:lnTo>
                      <a:lnTo>
                        <a:pt x="83" y="167"/>
                      </a:lnTo>
                      <a:lnTo>
                        <a:pt x="83" y="167"/>
                      </a:lnTo>
                      <a:close/>
                      <a:moveTo>
                        <a:pt x="33" y="51"/>
                      </a:moveTo>
                      <a:lnTo>
                        <a:pt x="34" y="55"/>
                      </a:lnTo>
                      <a:lnTo>
                        <a:pt x="36" y="54"/>
                      </a:lnTo>
                      <a:lnTo>
                        <a:pt x="39" y="53"/>
                      </a:lnTo>
                      <a:lnTo>
                        <a:pt x="38" y="49"/>
                      </a:lnTo>
                      <a:lnTo>
                        <a:pt x="38" y="46"/>
                      </a:lnTo>
                      <a:lnTo>
                        <a:pt x="36" y="45"/>
                      </a:lnTo>
                      <a:lnTo>
                        <a:pt x="35" y="45"/>
                      </a:lnTo>
                      <a:lnTo>
                        <a:pt x="35" y="40"/>
                      </a:lnTo>
                      <a:lnTo>
                        <a:pt x="35" y="41"/>
                      </a:lnTo>
                      <a:lnTo>
                        <a:pt x="35" y="38"/>
                      </a:lnTo>
                      <a:lnTo>
                        <a:pt x="36" y="36"/>
                      </a:lnTo>
                      <a:lnTo>
                        <a:pt x="36" y="35"/>
                      </a:lnTo>
                      <a:lnTo>
                        <a:pt x="36" y="32"/>
                      </a:lnTo>
                      <a:lnTo>
                        <a:pt x="34" y="29"/>
                      </a:lnTo>
                      <a:lnTo>
                        <a:pt x="34" y="24"/>
                      </a:lnTo>
                      <a:lnTo>
                        <a:pt x="35" y="20"/>
                      </a:lnTo>
                      <a:lnTo>
                        <a:pt x="34" y="16"/>
                      </a:lnTo>
                      <a:lnTo>
                        <a:pt x="35" y="12"/>
                      </a:lnTo>
                      <a:lnTo>
                        <a:pt x="36" y="8"/>
                      </a:lnTo>
                      <a:lnTo>
                        <a:pt x="34" y="7"/>
                      </a:lnTo>
                      <a:lnTo>
                        <a:pt x="35" y="5"/>
                      </a:lnTo>
                      <a:lnTo>
                        <a:pt x="36" y="4"/>
                      </a:lnTo>
                      <a:lnTo>
                        <a:pt x="40" y="1"/>
                      </a:lnTo>
                      <a:lnTo>
                        <a:pt x="42" y="1"/>
                      </a:lnTo>
                      <a:lnTo>
                        <a:pt x="47" y="0"/>
                      </a:lnTo>
                      <a:lnTo>
                        <a:pt x="52" y="1"/>
                      </a:lnTo>
                      <a:lnTo>
                        <a:pt x="55" y="5"/>
                      </a:lnTo>
                      <a:lnTo>
                        <a:pt x="56" y="8"/>
                      </a:lnTo>
                      <a:lnTo>
                        <a:pt x="55" y="5"/>
                      </a:lnTo>
                      <a:lnTo>
                        <a:pt x="59" y="5"/>
                      </a:lnTo>
                      <a:lnTo>
                        <a:pt x="63" y="4"/>
                      </a:lnTo>
                      <a:lnTo>
                        <a:pt x="65" y="2"/>
                      </a:lnTo>
                      <a:lnTo>
                        <a:pt x="65" y="0"/>
                      </a:lnTo>
                      <a:lnTo>
                        <a:pt x="67" y="2"/>
                      </a:lnTo>
                      <a:lnTo>
                        <a:pt x="67" y="6"/>
                      </a:lnTo>
                      <a:lnTo>
                        <a:pt x="66" y="7"/>
                      </a:lnTo>
                      <a:lnTo>
                        <a:pt x="65" y="8"/>
                      </a:lnTo>
                      <a:lnTo>
                        <a:pt x="66" y="11"/>
                      </a:lnTo>
                      <a:lnTo>
                        <a:pt x="65" y="12"/>
                      </a:lnTo>
                      <a:lnTo>
                        <a:pt x="66" y="13"/>
                      </a:lnTo>
                      <a:lnTo>
                        <a:pt x="66" y="15"/>
                      </a:lnTo>
                      <a:lnTo>
                        <a:pt x="68" y="16"/>
                      </a:lnTo>
                      <a:lnTo>
                        <a:pt x="67" y="19"/>
                      </a:lnTo>
                      <a:lnTo>
                        <a:pt x="69" y="24"/>
                      </a:lnTo>
                      <a:lnTo>
                        <a:pt x="73" y="26"/>
                      </a:lnTo>
                      <a:lnTo>
                        <a:pt x="73" y="27"/>
                      </a:lnTo>
                      <a:lnTo>
                        <a:pt x="75" y="28"/>
                      </a:lnTo>
                      <a:lnTo>
                        <a:pt x="75" y="33"/>
                      </a:lnTo>
                      <a:lnTo>
                        <a:pt x="74" y="35"/>
                      </a:lnTo>
                      <a:lnTo>
                        <a:pt x="73" y="38"/>
                      </a:lnTo>
                      <a:lnTo>
                        <a:pt x="72" y="41"/>
                      </a:lnTo>
                      <a:lnTo>
                        <a:pt x="71" y="42"/>
                      </a:lnTo>
                      <a:lnTo>
                        <a:pt x="73" y="46"/>
                      </a:lnTo>
                      <a:lnTo>
                        <a:pt x="72" y="47"/>
                      </a:lnTo>
                      <a:lnTo>
                        <a:pt x="73" y="49"/>
                      </a:lnTo>
                      <a:lnTo>
                        <a:pt x="72" y="52"/>
                      </a:lnTo>
                      <a:lnTo>
                        <a:pt x="65" y="53"/>
                      </a:lnTo>
                      <a:lnTo>
                        <a:pt x="69" y="53"/>
                      </a:lnTo>
                      <a:lnTo>
                        <a:pt x="65" y="53"/>
                      </a:lnTo>
                      <a:lnTo>
                        <a:pt x="61" y="53"/>
                      </a:lnTo>
                      <a:lnTo>
                        <a:pt x="60" y="58"/>
                      </a:lnTo>
                      <a:lnTo>
                        <a:pt x="61" y="60"/>
                      </a:lnTo>
                      <a:lnTo>
                        <a:pt x="60" y="65"/>
                      </a:lnTo>
                      <a:lnTo>
                        <a:pt x="59" y="69"/>
                      </a:lnTo>
                      <a:lnTo>
                        <a:pt x="61" y="72"/>
                      </a:lnTo>
                      <a:lnTo>
                        <a:pt x="65" y="75"/>
                      </a:lnTo>
                      <a:lnTo>
                        <a:pt x="67" y="80"/>
                      </a:lnTo>
                      <a:lnTo>
                        <a:pt x="67" y="85"/>
                      </a:lnTo>
                      <a:lnTo>
                        <a:pt x="67" y="87"/>
                      </a:lnTo>
                      <a:lnTo>
                        <a:pt x="68" y="92"/>
                      </a:lnTo>
                      <a:lnTo>
                        <a:pt x="72" y="94"/>
                      </a:lnTo>
                      <a:lnTo>
                        <a:pt x="76" y="95"/>
                      </a:lnTo>
                      <a:lnTo>
                        <a:pt x="78" y="94"/>
                      </a:lnTo>
                      <a:lnTo>
                        <a:pt x="76" y="92"/>
                      </a:lnTo>
                      <a:lnTo>
                        <a:pt x="78" y="88"/>
                      </a:lnTo>
                      <a:lnTo>
                        <a:pt x="79" y="89"/>
                      </a:lnTo>
                      <a:lnTo>
                        <a:pt x="80" y="86"/>
                      </a:lnTo>
                      <a:lnTo>
                        <a:pt x="85" y="86"/>
                      </a:lnTo>
                      <a:lnTo>
                        <a:pt x="88" y="86"/>
                      </a:lnTo>
                      <a:lnTo>
                        <a:pt x="92" y="89"/>
                      </a:lnTo>
                      <a:lnTo>
                        <a:pt x="93" y="94"/>
                      </a:lnTo>
                      <a:lnTo>
                        <a:pt x="94" y="98"/>
                      </a:lnTo>
                      <a:lnTo>
                        <a:pt x="96" y="94"/>
                      </a:lnTo>
                      <a:lnTo>
                        <a:pt x="95" y="91"/>
                      </a:lnTo>
                      <a:lnTo>
                        <a:pt x="99" y="92"/>
                      </a:lnTo>
                      <a:lnTo>
                        <a:pt x="102" y="92"/>
                      </a:lnTo>
                      <a:lnTo>
                        <a:pt x="106" y="93"/>
                      </a:lnTo>
                      <a:lnTo>
                        <a:pt x="107" y="95"/>
                      </a:lnTo>
                      <a:lnTo>
                        <a:pt x="105" y="96"/>
                      </a:lnTo>
                      <a:lnTo>
                        <a:pt x="101" y="98"/>
                      </a:lnTo>
                      <a:lnTo>
                        <a:pt x="106" y="99"/>
                      </a:lnTo>
                      <a:lnTo>
                        <a:pt x="107" y="105"/>
                      </a:lnTo>
                      <a:lnTo>
                        <a:pt x="107" y="108"/>
                      </a:lnTo>
                      <a:lnTo>
                        <a:pt x="109" y="107"/>
                      </a:lnTo>
                      <a:lnTo>
                        <a:pt x="113" y="109"/>
                      </a:lnTo>
                      <a:lnTo>
                        <a:pt x="114" y="111"/>
                      </a:lnTo>
                      <a:lnTo>
                        <a:pt x="114" y="114"/>
                      </a:lnTo>
                      <a:lnTo>
                        <a:pt x="115" y="115"/>
                      </a:lnTo>
                      <a:lnTo>
                        <a:pt x="114" y="118"/>
                      </a:lnTo>
                      <a:lnTo>
                        <a:pt x="115" y="119"/>
                      </a:lnTo>
                      <a:lnTo>
                        <a:pt x="116" y="121"/>
                      </a:lnTo>
                      <a:lnTo>
                        <a:pt x="115" y="122"/>
                      </a:lnTo>
                      <a:lnTo>
                        <a:pt x="114" y="122"/>
                      </a:lnTo>
                      <a:lnTo>
                        <a:pt x="113" y="122"/>
                      </a:lnTo>
                      <a:lnTo>
                        <a:pt x="111" y="119"/>
                      </a:lnTo>
                      <a:lnTo>
                        <a:pt x="109" y="118"/>
                      </a:lnTo>
                      <a:lnTo>
                        <a:pt x="107" y="115"/>
                      </a:lnTo>
                      <a:lnTo>
                        <a:pt x="105" y="119"/>
                      </a:lnTo>
                      <a:lnTo>
                        <a:pt x="106" y="116"/>
                      </a:lnTo>
                      <a:lnTo>
                        <a:pt x="103" y="115"/>
                      </a:lnTo>
                      <a:lnTo>
                        <a:pt x="101" y="114"/>
                      </a:lnTo>
                      <a:lnTo>
                        <a:pt x="99" y="111"/>
                      </a:lnTo>
                      <a:lnTo>
                        <a:pt x="98" y="108"/>
                      </a:lnTo>
                      <a:lnTo>
                        <a:pt x="98" y="106"/>
                      </a:lnTo>
                      <a:lnTo>
                        <a:pt x="96" y="105"/>
                      </a:lnTo>
                      <a:lnTo>
                        <a:pt x="95" y="102"/>
                      </a:lnTo>
                      <a:lnTo>
                        <a:pt x="93" y="102"/>
                      </a:lnTo>
                      <a:lnTo>
                        <a:pt x="91" y="101"/>
                      </a:lnTo>
                      <a:lnTo>
                        <a:pt x="88" y="100"/>
                      </a:lnTo>
                      <a:lnTo>
                        <a:pt x="89" y="98"/>
                      </a:lnTo>
                      <a:lnTo>
                        <a:pt x="86" y="95"/>
                      </a:lnTo>
                      <a:lnTo>
                        <a:pt x="80" y="94"/>
                      </a:lnTo>
                      <a:lnTo>
                        <a:pt x="82" y="98"/>
                      </a:lnTo>
                      <a:lnTo>
                        <a:pt x="85" y="102"/>
                      </a:lnTo>
                      <a:lnTo>
                        <a:pt x="87" y="106"/>
                      </a:lnTo>
                      <a:lnTo>
                        <a:pt x="86" y="109"/>
                      </a:lnTo>
                      <a:lnTo>
                        <a:pt x="83" y="107"/>
                      </a:lnTo>
                      <a:lnTo>
                        <a:pt x="81" y="102"/>
                      </a:lnTo>
                      <a:lnTo>
                        <a:pt x="78" y="101"/>
                      </a:lnTo>
                      <a:lnTo>
                        <a:pt x="74" y="98"/>
                      </a:lnTo>
                      <a:lnTo>
                        <a:pt x="71" y="95"/>
                      </a:lnTo>
                      <a:lnTo>
                        <a:pt x="67" y="96"/>
                      </a:lnTo>
                      <a:lnTo>
                        <a:pt x="63" y="99"/>
                      </a:lnTo>
                      <a:lnTo>
                        <a:pt x="62" y="104"/>
                      </a:lnTo>
                      <a:lnTo>
                        <a:pt x="56" y="104"/>
                      </a:lnTo>
                      <a:lnTo>
                        <a:pt x="55" y="101"/>
                      </a:lnTo>
                      <a:lnTo>
                        <a:pt x="54" y="100"/>
                      </a:lnTo>
                      <a:lnTo>
                        <a:pt x="49" y="98"/>
                      </a:lnTo>
                      <a:lnTo>
                        <a:pt x="49" y="101"/>
                      </a:lnTo>
                      <a:lnTo>
                        <a:pt x="47" y="98"/>
                      </a:lnTo>
                      <a:lnTo>
                        <a:pt x="47" y="93"/>
                      </a:lnTo>
                      <a:lnTo>
                        <a:pt x="49" y="89"/>
                      </a:lnTo>
                      <a:lnTo>
                        <a:pt x="52" y="87"/>
                      </a:lnTo>
                      <a:lnTo>
                        <a:pt x="53" y="82"/>
                      </a:lnTo>
                      <a:lnTo>
                        <a:pt x="48" y="81"/>
                      </a:lnTo>
                      <a:lnTo>
                        <a:pt x="45" y="80"/>
                      </a:lnTo>
                      <a:lnTo>
                        <a:pt x="46" y="85"/>
                      </a:lnTo>
                      <a:lnTo>
                        <a:pt x="45" y="88"/>
                      </a:lnTo>
                      <a:lnTo>
                        <a:pt x="42" y="86"/>
                      </a:lnTo>
                      <a:lnTo>
                        <a:pt x="40" y="82"/>
                      </a:lnTo>
                      <a:lnTo>
                        <a:pt x="39" y="81"/>
                      </a:lnTo>
                      <a:lnTo>
                        <a:pt x="36" y="80"/>
                      </a:lnTo>
                      <a:lnTo>
                        <a:pt x="35" y="76"/>
                      </a:lnTo>
                      <a:lnTo>
                        <a:pt x="34" y="72"/>
                      </a:lnTo>
                      <a:lnTo>
                        <a:pt x="32" y="68"/>
                      </a:lnTo>
                      <a:lnTo>
                        <a:pt x="32" y="64"/>
                      </a:lnTo>
                      <a:lnTo>
                        <a:pt x="31" y="60"/>
                      </a:lnTo>
                      <a:lnTo>
                        <a:pt x="28" y="59"/>
                      </a:lnTo>
                      <a:lnTo>
                        <a:pt x="28" y="54"/>
                      </a:lnTo>
                      <a:lnTo>
                        <a:pt x="27" y="54"/>
                      </a:lnTo>
                      <a:lnTo>
                        <a:pt x="27" y="49"/>
                      </a:lnTo>
                      <a:lnTo>
                        <a:pt x="29" y="47"/>
                      </a:lnTo>
                      <a:lnTo>
                        <a:pt x="31" y="49"/>
                      </a:lnTo>
                      <a:lnTo>
                        <a:pt x="31" y="52"/>
                      </a:lnTo>
                      <a:lnTo>
                        <a:pt x="33" y="51"/>
                      </a:lnTo>
                      <a:lnTo>
                        <a:pt x="33" y="51"/>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86" name="Nigeria">
                  <a:extLst>
                    <a:ext uri="{FF2B5EF4-FFF2-40B4-BE49-F238E27FC236}">
                      <a16:creationId xmlns:a16="http://schemas.microsoft.com/office/drawing/2014/main" id="{3E77E275-EFFA-E14E-A7E7-28E93417E6B4}"/>
                    </a:ext>
                  </a:extLst>
                </p:cNvPr>
                <p:cNvSpPr>
                  <a:spLocks/>
                </p:cNvSpPr>
                <p:nvPr/>
              </p:nvSpPr>
              <p:spPr bwMode="auto">
                <a:xfrm>
                  <a:off x="6435228" y="3572475"/>
                  <a:ext cx="313460" cy="287216"/>
                </a:xfrm>
                <a:custGeom>
                  <a:avLst/>
                  <a:gdLst>
                    <a:gd name="T0" fmla="*/ 19 w 215"/>
                    <a:gd name="T1" fmla="*/ 62 h 197"/>
                    <a:gd name="T2" fmla="*/ 17 w 215"/>
                    <a:gd name="T3" fmla="*/ 75 h 197"/>
                    <a:gd name="T4" fmla="*/ 8 w 215"/>
                    <a:gd name="T5" fmla="*/ 94 h 197"/>
                    <a:gd name="T6" fmla="*/ 0 w 215"/>
                    <a:gd name="T7" fmla="*/ 121 h 197"/>
                    <a:gd name="T8" fmla="*/ 0 w 215"/>
                    <a:gd name="T9" fmla="*/ 141 h 197"/>
                    <a:gd name="T10" fmla="*/ 3 w 215"/>
                    <a:gd name="T11" fmla="*/ 153 h 197"/>
                    <a:gd name="T12" fmla="*/ 11 w 215"/>
                    <a:gd name="T13" fmla="*/ 152 h 197"/>
                    <a:gd name="T14" fmla="*/ 14 w 215"/>
                    <a:gd name="T15" fmla="*/ 151 h 197"/>
                    <a:gd name="T16" fmla="*/ 22 w 215"/>
                    <a:gd name="T17" fmla="*/ 150 h 197"/>
                    <a:gd name="T18" fmla="*/ 14 w 215"/>
                    <a:gd name="T19" fmla="*/ 152 h 197"/>
                    <a:gd name="T20" fmla="*/ 24 w 215"/>
                    <a:gd name="T21" fmla="*/ 152 h 197"/>
                    <a:gd name="T22" fmla="*/ 36 w 215"/>
                    <a:gd name="T23" fmla="*/ 158 h 197"/>
                    <a:gd name="T24" fmla="*/ 43 w 215"/>
                    <a:gd name="T25" fmla="*/ 166 h 197"/>
                    <a:gd name="T26" fmla="*/ 43 w 215"/>
                    <a:gd name="T27" fmla="*/ 168 h 197"/>
                    <a:gd name="T28" fmla="*/ 48 w 215"/>
                    <a:gd name="T29" fmla="*/ 168 h 197"/>
                    <a:gd name="T30" fmla="*/ 44 w 215"/>
                    <a:gd name="T31" fmla="*/ 170 h 197"/>
                    <a:gd name="T32" fmla="*/ 48 w 215"/>
                    <a:gd name="T33" fmla="*/ 173 h 197"/>
                    <a:gd name="T34" fmla="*/ 51 w 215"/>
                    <a:gd name="T35" fmla="*/ 171 h 197"/>
                    <a:gd name="T36" fmla="*/ 50 w 215"/>
                    <a:gd name="T37" fmla="*/ 174 h 197"/>
                    <a:gd name="T38" fmla="*/ 48 w 215"/>
                    <a:gd name="T39" fmla="*/ 177 h 197"/>
                    <a:gd name="T40" fmla="*/ 50 w 215"/>
                    <a:gd name="T41" fmla="*/ 178 h 197"/>
                    <a:gd name="T42" fmla="*/ 49 w 215"/>
                    <a:gd name="T43" fmla="*/ 185 h 197"/>
                    <a:gd name="T44" fmla="*/ 57 w 215"/>
                    <a:gd name="T45" fmla="*/ 194 h 197"/>
                    <a:gd name="T46" fmla="*/ 60 w 215"/>
                    <a:gd name="T47" fmla="*/ 195 h 197"/>
                    <a:gd name="T48" fmla="*/ 62 w 215"/>
                    <a:gd name="T49" fmla="*/ 197 h 197"/>
                    <a:gd name="T50" fmla="*/ 63 w 215"/>
                    <a:gd name="T51" fmla="*/ 192 h 197"/>
                    <a:gd name="T52" fmla="*/ 69 w 215"/>
                    <a:gd name="T53" fmla="*/ 195 h 197"/>
                    <a:gd name="T54" fmla="*/ 71 w 215"/>
                    <a:gd name="T55" fmla="*/ 192 h 197"/>
                    <a:gd name="T56" fmla="*/ 73 w 215"/>
                    <a:gd name="T57" fmla="*/ 192 h 197"/>
                    <a:gd name="T58" fmla="*/ 75 w 215"/>
                    <a:gd name="T59" fmla="*/ 190 h 197"/>
                    <a:gd name="T60" fmla="*/ 77 w 215"/>
                    <a:gd name="T61" fmla="*/ 194 h 197"/>
                    <a:gd name="T62" fmla="*/ 76 w 215"/>
                    <a:gd name="T63" fmla="*/ 186 h 197"/>
                    <a:gd name="T64" fmla="*/ 80 w 215"/>
                    <a:gd name="T65" fmla="*/ 193 h 197"/>
                    <a:gd name="T66" fmla="*/ 81 w 215"/>
                    <a:gd name="T67" fmla="*/ 188 h 197"/>
                    <a:gd name="T68" fmla="*/ 83 w 215"/>
                    <a:gd name="T69" fmla="*/ 192 h 197"/>
                    <a:gd name="T70" fmla="*/ 86 w 215"/>
                    <a:gd name="T71" fmla="*/ 188 h 197"/>
                    <a:gd name="T72" fmla="*/ 88 w 215"/>
                    <a:gd name="T73" fmla="*/ 190 h 197"/>
                    <a:gd name="T74" fmla="*/ 88 w 215"/>
                    <a:gd name="T75" fmla="*/ 192 h 197"/>
                    <a:gd name="T76" fmla="*/ 101 w 215"/>
                    <a:gd name="T77" fmla="*/ 191 h 197"/>
                    <a:gd name="T78" fmla="*/ 100 w 215"/>
                    <a:gd name="T79" fmla="*/ 184 h 197"/>
                    <a:gd name="T80" fmla="*/ 101 w 215"/>
                    <a:gd name="T81" fmla="*/ 185 h 197"/>
                    <a:gd name="T82" fmla="*/ 104 w 215"/>
                    <a:gd name="T83" fmla="*/ 188 h 197"/>
                    <a:gd name="T84" fmla="*/ 107 w 215"/>
                    <a:gd name="T85" fmla="*/ 185 h 197"/>
                    <a:gd name="T86" fmla="*/ 111 w 215"/>
                    <a:gd name="T87" fmla="*/ 165 h 197"/>
                    <a:gd name="T88" fmla="*/ 135 w 215"/>
                    <a:gd name="T89" fmla="*/ 140 h 197"/>
                    <a:gd name="T90" fmla="*/ 150 w 215"/>
                    <a:gd name="T91" fmla="*/ 146 h 197"/>
                    <a:gd name="T92" fmla="*/ 166 w 215"/>
                    <a:gd name="T93" fmla="*/ 139 h 197"/>
                    <a:gd name="T94" fmla="*/ 173 w 215"/>
                    <a:gd name="T95" fmla="*/ 115 h 197"/>
                    <a:gd name="T96" fmla="*/ 181 w 215"/>
                    <a:gd name="T97" fmla="*/ 104 h 197"/>
                    <a:gd name="T98" fmla="*/ 190 w 215"/>
                    <a:gd name="T99" fmla="*/ 81 h 197"/>
                    <a:gd name="T100" fmla="*/ 207 w 215"/>
                    <a:gd name="T101" fmla="*/ 53 h 197"/>
                    <a:gd name="T102" fmla="*/ 215 w 215"/>
                    <a:gd name="T103" fmla="*/ 37 h 197"/>
                    <a:gd name="T104" fmla="*/ 203 w 215"/>
                    <a:gd name="T105" fmla="*/ 15 h 197"/>
                    <a:gd name="T106" fmla="*/ 191 w 215"/>
                    <a:gd name="T107" fmla="*/ 3 h 197"/>
                    <a:gd name="T108" fmla="*/ 186 w 215"/>
                    <a:gd name="T109" fmla="*/ 7 h 197"/>
                    <a:gd name="T110" fmla="*/ 176 w 215"/>
                    <a:gd name="T111" fmla="*/ 14 h 197"/>
                    <a:gd name="T112" fmla="*/ 134 w 215"/>
                    <a:gd name="T113" fmla="*/ 12 h 197"/>
                    <a:gd name="T114" fmla="*/ 97 w 215"/>
                    <a:gd name="T115" fmla="*/ 12 h 197"/>
                    <a:gd name="T116" fmla="*/ 66 w 215"/>
                    <a:gd name="T117" fmla="*/ 5 h 197"/>
                    <a:gd name="T118" fmla="*/ 31 w 215"/>
                    <a:gd name="T119" fmla="*/ 3 h 197"/>
                    <a:gd name="T120" fmla="*/ 19 w 215"/>
                    <a:gd name="T121" fmla="*/ 38 h 1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15" h="197">
                      <a:moveTo>
                        <a:pt x="15" y="44"/>
                      </a:moveTo>
                      <a:lnTo>
                        <a:pt x="15" y="45"/>
                      </a:lnTo>
                      <a:lnTo>
                        <a:pt x="19" y="55"/>
                      </a:lnTo>
                      <a:lnTo>
                        <a:pt x="19" y="62"/>
                      </a:lnTo>
                      <a:lnTo>
                        <a:pt x="21" y="64"/>
                      </a:lnTo>
                      <a:lnTo>
                        <a:pt x="20" y="71"/>
                      </a:lnTo>
                      <a:lnTo>
                        <a:pt x="16" y="70"/>
                      </a:lnTo>
                      <a:lnTo>
                        <a:pt x="17" y="75"/>
                      </a:lnTo>
                      <a:lnTo>
                        <a:pt x="14" y="81"/>
                      </a:lnTo>
                      <a:lnTo>
                        <a:pt x="10" y="84"/>
                      </a:lnTo>
                      <a:lnTo>
                        <a:pt x="9" y="86"/>
                      </a:lnTo>
                      <a:lnTo>
                        <a:pt x="8" y="94"/>
                      </a:lnTo>
                      <a:lnTo>
                        <a:pt x="1" y="98"/>
                      </a:lnTo>
                      <a:lnTo>
                        <a:pt x="0" y="104"/>
                      </a:lnTo>
                      <a:lnTo>
                        <a:pt x="0" y="111"/>
                      </a:lnTo>
                      <a:lnTo>
                        <a:pt x="0" y="121"/>
                      </a:lnTo>
                      <a:lnTo>
                        <a:pt x="0" y="128"/>
                      </a:lnTo>
                      <a:lnTo>
                        <a:pt x="1" y="132"/>
                      </a:lnTo>
                      <a:lnTo>
                        <a:pt x="1" y="138"/>
                      </a:lnTo>
                      <a:lnTo>
                        <a:pt x="0" y="141"/>
                      </a:lnTo>
                      <a:lnTo>
                        <a:pt x="1" y="145"/>
                      </a:lnTo>
                      <a:lnTo>
                        <a:pt x="0" y="148"/>
                      </a:lnTo>
                      <a:lnTo>
                        <a:pt x="0" y="153"/>
                      </a:lnTo>
                      <a:lnTo>
                        <a:pt x="3" y="153"/>
                      </a:lnTo>
                      <a:lnTo>
                        <a:pt x="8" y="153"/>
                      </a:lnTo>
                      <a:lnTo>
                        <a:pt x="9" y="153"/>
                      </a:lnTo>
                      <a:lnTo>
                        <a:pt x="10" y="153"/>
                      </a:lnTo>
                      <a:lnTo>
                        <a:pt x="11" y="152"/>
                      </a:lnTo>
                      <a:lnTo>
                        <a:pt x="13" y="150"/>
                      </a:lnTo>
                      <a:lnTo>
                        <a:pt x="14" y="148"/>
                      </a:lnTo>
                      <a:lnTo>
                        <a:pt x="14" y="150"/>
                      </a:lnTo>
                      <a:lnTo>
                        <a:pt x="14" y="151"/>
                      </a:lnTo>
                      <a:lnTo>
                        <a:pt x="16" y="150"/>
                      </a:lnTo>
                      <a:lnTo>
                        <a:pt x="19" y="148"/>
                      </a:lnTo>
                      <a:lnTo>
                        <a:pt x="21" y="148"/>
                      </a:lnTo>
                      <a:lnTo>
                        <a:pt x="22" y="150"/>
                      </a:lnTo>
                      <a:lnTo>
                        <a:pt x="21" y="150"/>
                      </a:lnTo>
                      <a:lnTo>
                        <a:pt x="19" y="150"/>
                      </a:lnTo>
                      <a:lnTo>
                        <a:pt x="17" y="151"/>
                      </a:lnTo>
                      <a:lnTo>
                        <a:pt x="14" y="152"/>
                      </a:lnTo>
                      <a:lnTo>
                        <a:pt x="16" y="153"/>
                      </a:lnTo>
                      <a:lnTo>
                        <a:pt x="17" y="153"/>
                      </a:lnTo>
                      <a:lnTo>
                        <a:pt x="22" y="153"/>
                      </a:lnTo>
                      <a:lnTo>
                        <a:pt x="24" y="152"/>
                      </a:lnTo>
                      <a:lnTo>
                        <a:pt x="28" y="152"/>
                      </a:lnTo>
                      <a:lnTo>
                        <a:pt x="30" y="153"/>
                      </a:lnTo>
                      <a:lnTo>
                        <a:pt x="33" y="155"/>
                      </a:lnTo>
                      <a:lnTo>
                        <a:pt x="36" y="158"/>
                      </a:lnTo>
                      <a:lnTo>
                        <a:pt x="41" y="166"/>
                      </a:lnTo>
                      <a:lnTo>
                        <a:pt x="41" y="166"/>
                      </a:lnTo>
                      <a:lnTo>
                        <a:pt x="42" y="166"/>
                      </a:lnTo>
                      <a:lnTo>
                        <a:pt x="43" y="166"/>
                      </a:lnTo>
                      <a:lnTo>
                        <a:pt x="43" y="166"/>
                      </a:lnTo>
                      <a:lnTo>
                        <a:pt x="44" y="167"/>
                      </a:lnTo>
                      <a:lnTo>
                        <a:pt x="43" y="168"/>
                      </a:lnTo>
                      <a:lnTo>
                        <a:pt x="43" y="168"/>
                      </a:lnTo>
                      <a:lnTo>
                        <a:pt x="44" y="170"/>
                      </a:lnTo>
                      <a:lnTo>
                        <a:pt x="46" y="168"/>
                      </a:lnTo>
                      <a:lnTo>
                        <a:pt x="47" y="168"/>
                      </a:lnTo>
                      <a:lnTo>
                        <a:pt x="48" y="168"/>
                      </a:lnTo>
                      <a:lnTo>
                        <a:pt x="50" y="170"/>
                      </a:lnTo>
                      <a:lnTo>
                        <a:pt x="48" y="170"/>
                      </a:lnTo>
                      <a:lnTo>
                        <a:pt x="46" y="170"/>
                      </a:lnTo>
                      <a:lnTo>
                        <a:pt x="44" y="170"/>
                      </a:lnTo>
                      <a:lnTo>
                        <a:pt x="44" y="170"/>
                      </a:lnTo>
                      <a:lnTo>
                        <a:pt x="44" y="171"/>
                      </a:lnTo>
                      <a:lnTo>
                        <a:pt x="47" y="173"/>
                      </a:lnTo>
                      <a:lnTo>
                        <a:pt x="48" y="173"/>
                      </a:lnTo>
                      <a:lnTo>
                        <a:pt x="49" y="172"/>
                      </a:lnTo>
                      <a:lnTo>
                        <a:pt x="49" y="172"/>
                      </a:lnTo>
                      <a:lnTo>
                        <a:pt x="50" y="173"/>
                      </a:lnTo>
                      <a:lnTo>
                        <a:pt x="51" y="171"/>
                      </a:lnTo>
                      <a:lnTo>
                        <a:pt x="53" y="171"/>
                      </a:lnTo>
                      <a:lnTo>
                        <a:pt x="51" y="172"/>
                      </a:lnTo>
                      <a:lnTo>
                        <a:pt x="51" y="173"/>
                      </a:lnTo>
                      <a:lnTo>
                        <a:pt x="50" y="174"/>
                      </a:lnTo>
                      <a:lnTo>
                        <a:pt x="50" y="173"/>
                      </a:lnTo>
                      <a:lnTo>
                        <a:pt x="49" y="174"/>
                      </a:lnTo>
                      <a:lnTo>
                        <a:pt x="49" y="174"/>
                      </a:lnTo>
                      <a:lnTo>
                        <a:pt x="48" y="177"/>
                      </a:lnTo>
                      <a:lnTo>
                        <a:pt x="48" y="179"/>
                      </a:lnTo>
                      <a:lnTo>
                        <a:pt x="48" y="178"/>
                      </a:lnTo>
                      <a:lnTo>
                        <a:pt x="49" y="178"/>
                      </a:lnTo>
                      <a:lnTo>
                        <a:pt x="50" y="178"/>
                      </a:lnTo>
                      <a:lnTo>
                        <a:pt x="49" y="179"/>
                      </a:lnTo>
                      <a:lnTo>
                        <a:pt x="49" y="179"/>
                      </a:lnTo>
                      <a:lnTo>
                        <a:pt x="48" y="179"/>
                      </a:lnTo>
                      <a:lnTo>
                        <a:pt x="49" y="185"/>
                      </a:lnTo>
                      <a:lnTo>
                        <a:pt x="56" y="191"/>
                      </a:lnTo>
                      <a:lnTo>
                        <a:pt x="56" y="192"/>
                      </a:lnTo>
                      <a:lnTo>
                        <a:pt x="57" y="193"/>
                      </a:lnTo>
                      <a:lnTo>
                        <a:pt x="57" y="194"/>
                      </a:lnTo>
                      <a:lnTo>
                        <a:pt x="57" y="194"/>
                      </a:lnTo>
                      <a:lnTo>
                        <a:pt x="59" y="194"/>
                      </a:lnTo>
                      <a:lnTo>
                        <a:pt x="59" y="195"/>
                      </a:lnTo>
                      <a:lnTo>
                        <a:pt x="60" y="195"/>
                      </a:lnTo>
                      <a:lnTo>
                        <a:pt x="60" y="193"/>
                      </a:lnTo>
                      <a:lnTo>
                        <a:pt x="61" y="193"/>
                      </a:lnTo>
                      <a:lnTo>
                        <a:pt x="61" y="197"/>
                      </a:lnTo>
                      <a:lnTo>
                        <a:pt x="62" y="197"/>
                      </a:lnTo>
                      <a:lnTo>
                        <a:pt x="62" y="195"/>
                      </a:lnTo>
                      <a:lnTo>
                        <a:pt x="62" y="195"/>
                      </a:lnTo>
                      <a:lnTo>
                        <a:pt x="62" y="193"/>
                      </a:lnTo>
                      <a:lnTo>
                        <a:pt x="63" y="192"/>
                      </a:lnTo>
                      <a:lnTo>
                        <a:pt x="64" y="192"/>
                      </a:lnTo>
                      <a:lnTo>
                        <a:pt x="66" y="193"/>
                      </a:lnTo>
                      <a:lnTo>
                        <a:pt x="67" y="194"/>
                      </a:lnTo>
                      <a:lnTo>
                        <a:pt x="69" y="195"/>
                      </a:lnTo>
                      <a:lnTo>
                        <a:pt x="70" y="195"/>
                      </a:lnTo>
                      <a:lnTo>
                        <a:pt x="69" y="194"/>
                      </a:lnTo>
                      <a:lnTo>
                        <a:pt x="70" y="195"/>
                      </a:lnTo>
                      <a:lnTo>
                        <a:pt x="71" y="192"/>
                      </a:lnTo>
                      <a:lnTo>
                        <a:pt x="71" y="192"/>
                      </a:lnTo>
                      <a:lnTo>
                        <a:pt x="71" y="193"/>
                      </a:lnTo>
                      <a:lnTo>
                        <a:pt x="73" y="195"/>
                      </a:lnTo>
                      <a:lnTo>
                        <a:pt x="73" y="192"/>
                      </a:lnTo>
                      <a:lnTo>
                        <a:pt x="74" y="190"/>
                      </a:lnTo>
                      <a:lnTo>
                        <a:pt x="74" y="186"/>
                      </a:lnTo>
                      <a:lnTo>
                        <a:pt x="74" y="186"/>
                      </a:lnTo>
                      <a:lnTo>
                        <a:pt x="75" y="190"/>
                      </a:lnTo>
                      <a:lnTo>
                        <a:pt x="74" y="192"/>
                      </a:lnTo>
                      <a:lnTo>
                        <a:pt x="75" y="194"/>
                      </a:lnTo>
                      <a:lnTo>
                        <a:pt x="76" y="194"/>
                      </a:lnTo>
                      <a:lnTo>
                        <a:pt x="77" y="194"/>
                      </a:lnTo>
                      <a:lnTo>
                        <a:pt x="77" y="194"/>
                      </a:lnTo>
                      <a:lnTo>
                        <a:pt x="76" y="190"/>
                      </a:lnTo>
                      <a:lnTo>
                        <a:pt x="75" y="188"/>
                      </a:lnTo>
                      <a:lnTo>
                        <a:pt x="76" y="186"/>
                      </a:lnTo>
                      <a:lnTo>
                        <a:pt x="76" y="187"/>
                      </a:lnTo>
                      <a:lnTo>
                        <a:pt x="77" y="190"/>
                      </a:lnTo>
                      <a:lnTo>
                        <a:pt x="79" y="192"/>
                      </a:lnTo>
                      <a:lnTo>
                        <a:pt x="80" y="193"/>
                      </a:lnTo>
                      <a:lnTo>
                        <a:pt x="81" y="192"/>
                      </a:lnTo>
                      <a:lnTo>
                        <a:pt x="79" y="188"/>
                      </a:lnTo>
                      <a:lnTo>
                        <a:pt x="80" y="188"/>
                      </a:lnTo>
                      <a:lnTo>
                        <a:pt x="81" y="188"/>
                      </a:lnTo>
                      <a:lnTo>
                        <a:pt x="81" y="190"/>
                      </a:lnTo>
                      <a:lnTo>
                        <a:pt x="82" y="192"/>
                      </a:lnTo>
                      <a:lnTo>
                        <a:pt x="83" y="192"/>
                      </a:lnTo>
                      <a:lnTo>
                        <a:pt x="83" y="192"/>
                      </a:lnTo>
                      <a:lnTo>
                        <a:pt x="82" y="190"/>
                      </a:lnTo>
                      <a:lnTo>
                        <a:pt x="82" y="188"/>
                      </a:lnTo>
                      <a:lnTo>
                        <a:pt x="84" y="187"/>
                      </a:lnTo>
                      <a:lnTo>
                        <a:pt x="86" y="188"/>
                      </a:lnTo>
                      <a:lnTo>
                        <a:pt x="86" y="188"/>
                      </a:lnTo>
                      <a:lnTo>
                        <a:pt x="87" y="188"/>
                      </a:lnTo>
                      <a:lnTo>
                        <a:pt x="87" y="188"/>
                      </a:lnTo>
                      <a:lnTo>
                        <a:pt x="88" y="190"/>
                      </a:lnTo>
                      <a:lnTo>
                        <a:pt x="88" y="190"/>
                      </a:lnTo>
                      <a:lnTo>
                        <a:pt x="87" y="191"/>
                      </a:lnTo>
                      <a:lnTo>
                        <a:pt x="88" y="192"/>
                      </a:lnTo>
                      <a:lnTo>
                        <a:pt x="88" y="192"/>
                      </a:lnTo>
                      <a:lnTo>
                        <a:pt x="97" y="192"/>
                      </a:lnTo>
                      <a:lnTo>
                        <a:pt x="99" y="192"/>
                      </a:lnTo>
                      <a:lnTo>
                        <a:pt x="100" y="191"/>
                      </a:lnTo>
                      <a:lnTo>
                        <a:pt x="101" y="191"/>
                      </a:lnTo>
                      <a:lnTo>
                        <a:pt x="101" y="190"/>
                      </a:lnTo>
                      <a:lnTo>
                        <a:pt x="100" y="188"/>
                      </a:lnTo>
                      <a:lnTo>
                        <a:pt x="100" y="186"/>
                      </a:lnTo>
                      <a:lnTo>
                        <a:pt x="100" y="184"/>
                      </a:lnTo>
                      <a:lnTo>
                        <a:pt x="101" y="182"/>
                      </a:lnTo>
                      <a:lnTo>
                        <a:pt x="101" y="184"/>
                      </a:lnTo>
                      <a:lnTo>
                        <a:pt x="101" y="184"/>
                      </a:lnTo>
                      <a:lnTo>
                        <a:pt x="101" y="185"/>
                      </a:lnTo>
                      <a:lnTo>
                        <a:pt x="103" y="186"/>
                      </a:lnTo>
                      <a:lnTo>
                        <a:pt x="103" y="187"/>
                      </a:lnTo>
                      <a:lnTo>
                        <a:pt x="103" y="187"/>
                      </a:lnTo>
                      <a:lnTo>
                        <a:pt x="104" y="188"/>
                      </a:lnTo>
                      <a:lnTo>
                        <a:pt x="104" y="186"/>
                      </a:lnTo>
                      <a:lnTo>
                        <a:pt x="106" y="186"/>
                      </a:lnTo>
                      <a:lnTo>
                        <a:pt x="106" y="186"/>
                      </a:lnTo>
                      <a:lnTo>
                        <a:pt x="107" y="185"/>
                      </a:lnTo>
                      <a:lnTo>
                        <a:pt x="110" y="179"/>
                      </a:lnTo>
                      <a:lnTo>
                        <a:pt x="110" y="174"/>
                      </a:lnTo>
                      <a:lnTo>
                        <a:pt x="110" y="167"/>
                      </a:lnTo>
                      <a:lnTo>
                        <a:pt x="111" y="165"/>
                      </a:lnTo>
                      <a:lnTo>
                        <a:pt x="120" y="154"/>
                      </a:lnTo>
                      <a:lnTo>
                        <a:pt x="124" y="151"/>
                      </a:lnTo>
                      <a:lnTo>
                        <a:pt x="128" y="145"/>
                      </a:lnTo>
                      <a:lnTo>
                        <a:pt x="135" y="140"/>
                      </a:lnTo>
                      <a:lnTo>
                        <a:pt x="141" y="142"/>
                      </a:lnTo>
                      <a:lnTo>
                        <a:pt x="142" y="140"/>
                      </a:lnTo>
                      <a:lnTo>
                        <a:pt x="148" y="145"/>
                      </a:lnTo>
                      <a:lnTo>
                        <a:pt x="150" y="146"/>
                      </a:lnTo>
                      <a:lnTo>
                        <a:pt x="157" y="152"/>
                      </a:lnTo>
                      <a:lnTo>
                        <a:pt x="160" y="147"/>
                      </a:lnTo>
                      <a:lnTo>
                        <a:pt x="163" y="140"/>
                      </a:lnTo>
                      <a:lnTo>
                        <a:pt x="166" y="139"/>
                      </a:lnTo>
                      <a:lnTo>
                        <a:pt x="164" y="135"/>
                      </a:lnTo>
                      <a:lnTo>
                        <a:pt x="168" y="128"/>
                      </a:lnTo>
                      <a:lnTo>
                        <a:pt x="171" y="120"/>
                      </a:lnTo>
                      <a:lnTo>
                        <a:pt x="173" y="115"/>
                      </a:lnTo>
                      <a:lnTo>
                        <a:pt x="173" y="111"/>
                      </a:lnTo>
                      <a:lnTo>
                        <a:pt x="175" y="110"/>
                      </a:lnTo>
                      <a:lnTo>
                        <a:pt x="177" y="107"/>
                      </a:lnTo>
                      <a:lnTo>
                        <a:pt x="181" y="104"/>
                      </a:lnTo>
                      <a:lnTo>
                        <a:pt x="182" y="98"/>
                      </a:lnTo>
                      <a:lnTo>
                        <a:pt x="184" y="92"/>
                      </a:lnTo>
                      <a:lnTo>
                        <a:pt x="190" y="87"/>
                      </a:lnTo>
                      <a:lnTo>
                        <a:pt x="190" y="81"/>
                      </a:lnTo>
                      <a:lnTo>
                        <a:pt x="194" y="75"/>
                      </a:lnTo>
                      <a:lnTo>
                        <a:pt x="195" y="65"/>
                      </a:lnTo>
                      <a:lnTo>
                        <a:pt x="200" y="58"/>
                      </a:lnTo>
                      <a:lnTo>
                        <a:pt x="207" y="53"/>
                      </a:lnTo>
                      <a:lnTo>
                        <a:pt x="214" y="48"/>
                      </a:lnTo>
                      <a:lnTo>
                        <a:pt x="213" y="44"/>
                      </a:lnTo>
                      <a:lnTo>
                        <a:pt x="215" y="39"/>
                      </a:lnTo>
                      <a:lnTo>
                        <a:pt x="215" y="37"/>
                      </a:lnTo>
                      <a:lnTo>
                        <a:pt x="215" y="34"/>
                      </a:lnTo>
                      <a:lnTo>
                        <a:pt x="211" y="31"/>
                      </a:lnTo>
                      <a:lnTo>
                        <a:pt x="207" y="27"/>
                      </a:lnTo>
                      <a:lnTo>
                        <a:pt x="203" y="15"/>
                      </a:lnTo>
                      <a:lnTo>
                        <a:pt x="202" y="14"/>
                      </a:lnTo>
                      <a:lnTo>
                        <a:pt x="198" y="8"/>
                      </a:lnTo>
                      <a:lnTo>
                        <a:pt x="196" y="1"/>
                      </a:lnTo>
                      <a:lnTo>
                        <a:pt x="191" y="3"/>
                      </a:lnTo>
                      <a:lnTo>
                        <a:pt x="189" y="6"/>
                      </a:lnTo>
                      <a:lnTo>
                        <a:pt x="193" y="6"/>
                      </a:lnTo>
                      <a:lnTo>
                        <a:pt x="189" y="8"/>
                      </a:lnTo>
                      <a:lnTo>
                        <a:pt x="186" y="7"/>
                      </a:lnTo>
                      <a:lnTo>
                        <a:pt x="183" y="7"/>
                      </a:lnTo>
                      <a:lnTo>
                        <a:pt x="181" y="8"/>
                      </a:lnTo>
                      <a:lnTo>
                        <a:pt x="177" y="12"/>
                      </a:lnTo>
                      <a:lnTo>
                        <a:pt x="176" y="14"/>
                      </a:lnTo>
                      <a:lnTo>
                        <a:pt x="175" y="17"/>
                      </a:lnTo>
                      <a:lnTo>
                        <a:pt x="169" y="15"/>
                      </a:lnTo>
                      <a:lnTo>
                        <a:pt x="157" y="10"/>
                      </a:lnTo>
                      <a:lnTo>
                        <a:pt x="134" y="12"/>
                      </a:lnTo>
                      <a:lnTo>
                        <a:pt x="130" y="15"/>
                      </a:lnTo>
                      <a:lnTo>
                        <a:pt x="124" y="21"/>
                      </a:lnTo>
                      <a:lnTo>
                        <a:pt x="107" y="18"/>
                      </a:lnTo>
                      <a:lnTo>
                        <a:pt x="97" y="12"/>
                      </a:lnTo>
                      <a:lnTo>
                        <a:pt x="83" y="15"/>
                      </a:lnTo>
                      <a:lnTo>
                        <a:pt x="79" y="17"/>
                      </a:lnTo>
                      <a:lnTo>
                        <a:pt x="73" y="15"/>
                      </a:lnTo>
                      <a:lnTo>
                        <a:pt x="66" y="5"/>
                      </a:lnTo>
                      <a:lnTo>
                        <a:pt x="61" y="4"/>
                      </a:lnTo>
                      <a:lnTo>
                        <a:pt x="47" y="0"/>
                      </a:lnTo>
                      <a:lnTo>
                        <a:pt x="39" y="3"/>
                      </a:lnTo>
                      <a:lnTo>
                        <a:pt x="31" y="3"/>
                      </a:lnTo>
                      <a:lnTo>
                        <a:pt x="24" y="7"/>
                      </a:lnTo>
                      <a:lnTo>
                        <a:pt x="22" y="24"/>
                      </a:lnTo>
                      <a:lnTo>
                        <a:pt x="17" y="30"/>
                      </a:lnTo>
                      <a:lnTo>
                        <a:pt x="19" y="38"/>
                      </a:lnTo>
                      <a:lnTo>
                        <a:pt x="17" y="43"/>
                      </a:lnTo>
                      <a:lnTo>
                        <a:pt x="15" y="44"/>
                      </a:lnTo>
                      <a:lnTo>
                        <a:pt x="15" y="44"/>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87" name="Myanmar (Burma)">
                  <a:extLst>
                    <a:ext uri="{FF2B5EF4-FFF2-40B4-BE49-F238E27FC236}">
                      <a16:creationId xmlns:a16="http://schemas.microsoft.com/office/drawing/2014/main" id="{6BF57E16-4362-1048-9904-13F7F2E37259}"/>
                    </a:ext>
                  </a:extLst>
                </p:cNvPr>
                <p:cNvSpPr>
                  <a:spLocks/>
                </p:cNvSpPr>
                <p:nvPr/>
              </p:nvSpPr>
              <p:spPr bwMode="auto">
                <a:xfrm>
                  <a:off x="8753366" y="3132173"/>
                  <a:ext cx="231815" cy="555478"/>
                </a:xfrm>
                <a:custGeom>
                  <a:avLst/>
                  <a:gdLst>
                    <a:gd name="T0" fmla="*/ 1 w 159"/>
                    <a:gd name="T1" fmla="*/ 150 h 381"/>
                    <a:gd name="T2" fmla="*/ 13 w 159"/>
                    <a:gd name="T3" fmla="*/ 166 h 381"/>
                    <a:gd name="T4" fmla="*/ 16 w 159"/>
                    <a:gd name="T5" fmla="*/ 163 h 381"/>
                    <a:gd name="T6" fmla="*/ 19 w 159"/>
                    <a:gd name="T7" fmla="*/ 173 h 381"/>
                    <a:gd name="T8" fmla="*/ 22 w 159"/>
                    <a:gd name="T9" fmla="*/ 174 h 381"/>
                    <a:gd name="T10" fmla="*/ 30 w 159"/>
                    <a:gd name="T11" fmla="*/ 178 h 381"/>
                    <a:gd name="T12" fmla="*/ 33 w 159"/>
                    <a:gd name="T13" fmla="*/ 182 h 381"/>
                    <a:gd name="T14" fmla="*/ 29 w 159"/>
                    <a:gd name="T15" fmla="*/ 187 h 381"/>
                    <a:gd name="T16" fmla="*/ 38 w 159"/>
                    <a:gd name="T17" fmla="*/ 194 h 381"/>
                    <a:gd name="T18" fmla="*/ 40 w 159"/>
                    <a:gd name="T19" fmla="*/ 198 h 381"/>
                    <a:gd name="T20" fmla="*/ 47 w 159"/>
                    <a:gd name="T21" fmla="*/ 210 h 381"/>
                    <a:gd name="T22" fmla="*/ 54 w 159"/>
                    <a:gd name="T23" fmla="*/ 230 h 381"/>
                    <a:gd name="T24" fmla="*/ 50 w 159"/>
                    <a:gd name="T25" fmla="*/ 246 h 381"/>
                    <a:gd name="T26" fmla="*/ 55 w 159"/>
                    <a:gd name="T27" fmla="*/ 252 h 381"/>
                    <a:gd name="T28" fmla="*/ 58 w 159"/>
                    <a:gd name="T29" fmla="*/ 253 h 381"/>
                    <a:gd name="T30" fmla="*/ 58 w 159"/>
                    <a:gd name="T31" fmla="*/ 260 h 381"/>
                    <a:gd name="T32" fmla="*/ 62 w 159"/>
                    <a:gd name="T33" fmla="*/ 261 h 381"/>
                    <a:gd name="T34" fmla="*/ 67 w 159"/>
                    <a:gd name="T35" fmla="*/ 257 h 381"/>
                    <a:gd name="T36" fmla="*/ 70 w 159"/>
                    <a:gd name="T37" fmla="*/ 259 h 381"/>
                    <a:gd name="T38" fmla="*/ 81 w 159"/>
                    <a:gd name="T39" fmla="*/ 253 h 381"/>
                    <a:gd name="T40" fmla="*/ 86 w 159"/>
                    <a:gd name="T41" fmla="*/ 245 h 381"/>
                    <a:gd name="T42" fmla="*/ 95 w 159"/>
                    <a:gd name="T43" fmla="*/ 233 h 381"/>
                    <a:gd name="T44" fmla="*/ 101 w 159"/>
                    <a:gd name="T45" fmla="*/ 234 h 381"/>
                    <a:gd name="T46" fmla="*/ 108 w 159"/>
                    <a:gd name="T47" fmla="*/ 247 h 381"/>
                    <a:gd name="T48" fmla="*/ 114 w 159"/>
                    <a:gd name="T49" fmla="*/ 261 h 381"/>
                    <a:gd name="T50" fmla="*/ 119 w 159"/>
                    <a:gd name="T51" fmla="*/ 283 h 381"/>
                    <a:gd name="T52" fmla="*/ 122 w 159"/>
                    <a:gd name="T53" fmla="*/ 292 h 381"/>
                    <a:gd name="T54" fmla="*/ 126 w 159"/>
                    <a:gd name="T55" fmla="*/ 306 h 381"/>
                    <a:gd name="T56" fmla="*/ 128 w 159"/>
                    <a:gd name="T57" fmla="*/ 306 h 381"/>
                    <a:gd name="T58" fmla="*/ 135 w 159"/>
                    <a:gd name="T59" fmla="*/ 317 h 381"/>
                    <a:gd name="T60" fmla="*/ 139 w 159"/>
                    <a:gd name="T61" fmla="*/ 332 h 381"/>
                    <a:gd name="T62" fmla="*/ 140 w 159"/>
                    <a:gd name="T63" fmla="*/ 340 h 381"/>
                    <a:gd name="T64" fmla="*/ 143 w 159"/>
                    <a:gd name="T65" fmla="*/ 346 h 381"/>
                    <a:gd name="T66" fmla="*/ 141 w 159"/>
                    <a:gd name="T67" fmla="*/ 359 h 381"/>
                    <a:gd name="T68" fmla="*/ 138 w 159"/>
                    <a:gd name="T69" fmla="*/ 368 h 381"/>
                    <a:gd name="T70" fmla="*/ 143 w 159"/>
                    <a:gd name="T71" fmla="*/ 368 h 381"/>
                    <a:gd name="T72" fmla="*/ 153 w 159"/>
                    <a:gd name="T73" fmla="*/ 352 h 381"/>
                    <a:gd name="T74" fmla="*/ 153 w 159"/>
                    <a:gd name="T75" fmla="*/ 334 h 381"/>
                    <a:gd name="T76" fmla="*/ 146 w 159"/>
                    <a:gd name="T77" fmla="*/ 310 h 381"/>
                    <a:gd name="T78" fmla="*/ 134 w 159"/>
                    <a:gd name="T79" fmla="*/ 292 h 381"/>
                    <a:gd name="T80" fmla="*/ 127 w 159"/>
                    <a:gd name="T81" fmla="*/ 273 h 381"/>
                    <a:gd name="T82" fmla="*/ 130 w 159"/>
                    <a:gd name="T83" fmla="*/ 254 h 381"/>
                    <a:gd name="T84" fmla="*/ 127 w 159"/>
                    <a:gd name="T85" fmla="*/ 245 h 381"/>
                    <a:gd name="T86" fmla="*/ 118 w 159"/>
                    <a:gd name="T87" fmla="*/ 230 h 381"/>
                    <a:gd name="T88" fmla="*/ 106 w 159"/>
                    <a:gd name="T89" fmla="*/ 212 h 381"/>
                    <a:gd name="T90" fmla="*/ 108 w 159"/>
                    <a:gd name="T91" fmla="*/ 202 h 381"/>
                    <a:gd name="T92" fmla="*/ 109 w 159"/>
                    <a:gd name="T93" fmla="*/ 180 h 381"/>
                    <a:gd name="T94" fmla="*/ 125 w 159"/>
                    <a:gd name="T95" fmla="*/ 178 h 381"/>
                    <a:gd name="T96" fmla="*/ 141 w 159"/>
                    <a:gd name="T97" fmla="*/ 167 h 381"/>
                    <a:gd name="T98" fmla="*/ 150 w 159"/>
                    <a:gd name="T99" fmla="*/ 154 h 381"/>
                    <a:gd name="T100" fmla="*/ 140 w 159"/>
                    <a:gd name="T101" fmla="*/ 145 h 381"/>
                    <a:gd name="T102" fmla="*/ 122 w 159"/>
                    <a:gd name="T103" fmla="*/ 118 h 381"/>
                    <a:gd name="T104" fmla="*/ 107 w 159"/>
                    <a:gd name="T105" fmla="*/ 92 h 381"/>
                    <a:gd name="T106" fmla="*/ 88 w 159"/>
                    <a:gd name="T107" fmla="*/ 68 h 381"/>
                    <a:gd name="T108" fmla="*/ 96 w 159"/>
                    <a:gd name="T109" fmla="*/ 35 h 381"/>
                    <a:gd name="T110" fmla="*/ 70 w 159"/>
                    <a:gd name="T111" fmla="*/ 1 h 381"/>
                    <a:gd name="T112" fmla="*/ 61 w 159"/>
                    <a:gd name="T113" fmla="*/ 19 h 381"/>
                    <a:gd name="T114" fmla="*/ 42 w 159"/>
                    <a:gd name="T115" fmla="*/ 32 h 381"/>
                    <a:gd name="T116" fmla="*/ 32 w 159"/>
                    <a:gd name="T117" fmla="*/ 60 h 381"/>
                    <a:gd name="T118" fmla="*/ 28 w 159"/>
                    <a:gd name="T119" fmla="*/ 94 h 381"/>
                    <a:gd name="T120" fmla="*/ 14 w 159"/>
                    <a:gd name="T121" fmla="*/ 108 h 381"/>
                    <a:gd name="T122" fmla="*/ 8 w 159"/>
                    <a:gd name="T123" fmla="*/ 132 h 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59" h="381">
                      <a:moveTo>
                        <a:pt x="7" y="133"/>
                      </a:moveTo>
                      <a:lnTo>
                        <a:pt x="6" y="133"/>
                      </a:lnTo>
                      <a:lnTo>
                        <a:pt x="5" y="134"/>
                      </a:lnTo>
                      <a:lnTo>
                        <a:pt x="6" y="139"/>
                      </a:lnTo>
                      <a:lnTo>
                        <a:pt x="6" y="142"/>
                      </a:lnTo>
                      <a:lnTo>
                        <a:pt x="7" y="146"/>
                      </a:lnTo>
                      <a:lnTo>
                        <a:pt x="8" y="148"/>
                      </a:lnTo>
                      <a:lnTo>
                        <a:pt x="7" y="149"/>
                      </a:lnTo>
                      <a:lnTo>
                        <a:pt x="7" y="148"/>
                      </a:lnTo>
                      <a:lnTo>
                        <a:pt x="6" y="147"/>
                      </a:lnTo>
                      <a:lnTo>
                        <a:pt x="5" y="147"/>
                      </a:lnTo>
                      <a:lnTo>
                        <a:pt x="3" y="147"/>
                      </a:lnTo>
                      <a:lnTo>
                        <a:pt x="2" y="146"/>
                      </a:lnTo>
                      <a:lnTo>
                        <a:pt x="2" y="146"/>
                      </a:lnTo>
                      <a:lnTo>
                        <a:pt x="1" y="146"/>
                      </a:lnTo>
                      <a:lnTo>
                        <a:pt x="0" y="146"/>
                      </a:lnTo>
                      <a:lnTo>
                        <a:pt x="0" y="147"/>
                      </a:lnTo>
                      <a:lnTo>
                        <a:pt x="0" y="148"/>
                      </a:lnTo>
                      <a:lnTo>
                        <a:pt x="0" y="148"/>
                      </a:lnTo>
                      <a:lnTo>
                        <a:pt x="1" y="150"/>
                      </a:lnTo>
                      <a:lnTo>
                        <a:pt x="1" y="150"/>
                      </a:lnTo>
                      <a:lnTo>
                        <a:pt x="1" y="152"/>
                      </a:lnTo>
                      <a:lnTo>
                        <a:pt x="2" y="153"/>
                      </a:lnTo>
                      <a:lnTo>
                        <a:pt x="2" y="156"/>
                      </a:lnTo>
                      <a:lnTo>
                        <a:pt x="5" y="159"/>
                      </a:lnTo>
                      <a:lnTo>
                        <a:pt x="5" y="161"/>
                      </a:lnTo>
                      <a:lnTo>
                        <a:pt x="6" y="161"/>
                      </a:lnTo>
                      <a:lnTo>
                        <a:pt x="7" y="162"/>
                      </a:lnTo>
                      <a:lnTo>
                        <a:pt x="7" y="162"/>
                      </a:lnTo>
                      <a:lnTo>
                        <a:pt x="7" y="165"/>
                      </a:lnTo>
                      <a:lnTo>
                        <a:pt x="10" y="167"/>
                      </a:lnTo>
                      <a:lnTo>
                        <a:pt x="12" y="169"/>
                      </a:lnTo>
                      <a:lnTo>
                        <a:pt x="12" y="169"/>
                      </a:lnTo>
                      <a:lnTo>
                        <a:pt x="12" y="169"/>
                      </a:lnTo>
                      <a:lnTo>
                        <a:pt x="12" y="168"/>
                      </a:lnTo>
                      <a:lnTo>
                        <a:pt x="12" y="167"/>
                      </a:lnTo>
                      <a:lnTo>
                        <a:pt x="12" y="166"/>
                      </a:lnTo>
                      <a:lnTo>
                        <a:pt x="10" y="162"/>
                      </a:lnTo>
                      <a:lnTo>
                        <a:pt x="12" y="166"/>
                      </a:lnTo>
                      <a:lnTo>
                        <a:pt x="13" y="166"/>
                      </a:lnTo>
                      <a:lnTo>
                        <a:pt x="13" y="167"/>
                      </a:lnTo>
                      <a:lnTo>
                        <a:pt x="13" y="166"/>
                      </a:lnTo>
                      <a:lnTo>
                        <a:pt x="13" y="166"/>
                      </a:lnTo>
                      <a:lnTo>
                        <a:pt x="14" y="166"/>
                      </a:lnTo>
                      <a:lnTo>
                        <a:pt x="14" y="167"/>
                      </a:lnTo>
                      <a:lnTo>
                        <a:pt x="13" y="166"/>
                      </a:lnTo>
                      <a:lnTo>
                        <a:pt x="14" y="167"/>
                      </a:lnTo>
                      <a:lnTo>
                        <a:pt x="15" y="168"/>
                      </a:lnTo>
                      <a:lnTo>
                        <a:pt x="15" y="167"/>
                      </a:lnTo>
                      <a:lnTo>
                        <a:pt x="15" y="168"/>
                      </a:lnTo>
                      <a:lnTo>
                        <a:pt x="15" y="168"/>
                      </a:lnTo>
                      <a:lnTo>
                        <a:pt x="15" y="169"/>
                      </a:lnTo>
                      <a:lnTo>
                        <a:pt x="14" y="169"/>
                      </a:lnTo>
                      <a:lnTo>
                        <a:pt x="14" y="170"/>
                      </a:lnTo>
                      <a:lnTo>
                        <a:pt x="15" y="174"/>
                      </a:lnTo>
                      <a:lnTo>
                        <a:pt x="16" y="174"/>
                      </a:lnTo>
                      <a:lnTo>
                        <a:pt x="15" y="172"/>
                      </a:lnTo>
                      <a:lnTo>
                        <a:pt x="16" y="169"/>
                      </a:lnTo>
                      <a:lnTo>
                        <a:pt x="16" y="166"/>
                      </a:lnTo>
                      <a:lnTo>
                        <a:pt x="16" y="163"/>
                      </a:lnTo>
                      <a:lnTo>
                        <a:pt x="18" y="165"/>
                      </a:lnTo>
                      <a:lnTo>
                        <a:pt x="16" y="167"/>
                      </a:lnTo>
                      <a:lnTo>
                        <a:pt x="18" y="167"/>
                      </a:lnTo>
                      <a:lnTo>
                        <a:pt x="18" y="167"/>
                      </a:lnTo>
                      <a:lnTo>
                        <a:pt x="18" y="167"/>
                      </a:lnTo>
                      <a:lnTo>
                        <a:pt x="18" y="167"/>
                      </a:lnTo>
                      <a:lnTo>
                        <a:pt x="19" y="167"/>
                      </a:lnTo>
                      <a:lnTo>
                        <a:pt x="18" y="167"/>
                      </a:lnTo>
                      <a:lnTo>
                        <a:pt x="19" y="167"/>
                      </a:lnTo>
                      <a:lnTo>
                        <a:pt x="18" y="168"/>
                      </a:lnTo>
                      <a:lnTo>
                        <a:pt x="18" y="169"/>
                      </a:lnTo>
                      <a:lnTo>
                        <a:pt x="16" y="170"/>
                      </a:lnTo>
                      <a:lnTo>
                        <a:pt x="18" y="172"/>
                      </a:lnTo>
                      <a:lnTo>
                        <a:pt x="18" y="173"/>
                      </a:lnTo>
                      <a:lnTo>
                        <a:pt x="18" y="172"/>
                      </a:lnTo>
                      <a:lnTo>
                        <a:pt x="19" y="170"/>
                      </a:lnTo>
                      <a:lnTo>
                        <a:pt x="19" y="172"/>
                      </a:lnTo>
                      <a:lnTo>
                        <a:pt x="19" y="173"/>
                      </a:lnTo>
                      <a:lnTo>
                        <a:pt x="19" y="172"/>
                      </a:lnTo>
                      <a:lnTo>
                        <a:pt x="19" y="173"/>
                      </a:lnTo>
                      <a:lnTo>
                        <a:pt x="19" y="173"/>
                      </a:lnTo>
                      <a:lnTo>
                        <a:pt x="16" y="174"/>
                      </a:lnTo>
                      <a:lnTo>
                        <a:pt x="18" y="174"/>
                      </a:lnTo>
                      <a:lnTo>
                        <a:pt x="19" y="175"/>
                      </a:lnTo>
                      <a:lnTo>
                        <a:pt x="19" y="176"/>
                      </a:lnTo>
                      <a:lnTo>
                        <a:pt x="20" y="179"/>
                      </a:lnTo>
                      <a:lnTo>
                        <a:pt x="21" y="179"/>
                      </a:lnTo>
                      <a:lnTo>
                        <a:pt x="21" y="180"/>
                      </a:lnTo>
                      <a:lnTo>
                        <a:pt x="21" y="179"/>
                      </a:lnTo>
                      <a:lnTo>
                        <a:pt x="20" y="176"/>
                      </a:lnTo>
                      <a:lnTo>
                        <a:pt x="20" y="176"/>
                      </a:lnTo>
                      <a:lnTo>
                        <a:pt x="20" y="175"/>
                      </a:lnTo>
                      <a:lnTo>
                        <a:pt x="22" y="179"/>
                      </a:lnTo>
                      <a:lnTo>
                        <a:pt x="22" y="179"/>
                      </a:lnTo>
                      <a:lnTo>
                        <a:pt x="22" y="178"/>
                      </a:lnTo>
                      <a:lnTo>
                        <a:pt x="20" y="174"/>
                      </a:lnTo>
                      <a:lnTo>
                        <a:pt x="21" y="174"/>
                      </a:lnTo>
                      <a:lnTo>
                        <a:pt x="21" y="174"/>
                      </a:lnTo>
                      <a:lnTo>
                        <a:pt x="22" y="174"/>
                      </a:lnTo>
                      <a:lnTo>
                        <a:pt x="22" y="174"/>
                      </a:lnTo>
                      <a:lnTo>
                        <a:pt x="23" y="174"/>
                      </a:lnTo>
                      <a:lnTo>
                        <a:pt x="23" y="174"/>
                      </a:lnTo>
                      <a:lnTo>
                        <a:pt x="25" y="175"/>
                      </a:lnTo>
                      <a:lnTo>
                        <a:pt x="25" y="174"/>
                      </a:lnTo>
                      <a:lnTo>
                        <a:pt x="25" y="176"/>
                      </a:lnTo>
                      <a:lnTo>
                        <a:pt x="26" y="176"/>
                      </a:lnTo>
                      <a:lnTo>
                        <a:pt x="26" y="175"/>
                      </a:lnTo>
                      <a:lnTo>
                        <a:pt x="27" y="176"/>
                      </a:lnTo>
                      <a:lnTo>
                        <a:pt x="27" y="175"/>
                      </a:lnTo>
                      <a:lnTo>
                        <a:pt x="27" y="176"/>
                      </a:lnTo>
                      <a:lnTo>
                        <a:pt x="27" y="176"/>
                      </a:lnTo>
                      <a:lnTo>
                        <a:pt x="27" y="178"/>
                      </a:lnTo>
                      <a:lnTo>
                        <a:pt x="28" y="178"/>
                      </a:lnTo>
                      <a:lnTo>
                        <a:pt x="28" y="178"/>
                      </a:lnTo>
                      <a:lnTo>
                        <a:pt x="28" y="179"/>
                      </a:lnTo>
                      <a:lnTo>
                        <a:pt x="28" y="178"/>
                      </a:lnTo>
                      <a:lnTo>
                        <a:pt x="29" y="178"/>
                      </a:lnTo>
                      <a:lnTo>
                        <a:pt x="30" y="178"/>
                      </a:lnTo>
                      <a:lnTo>
                        <a:pt x="32" y="178"/>
                      </a:lnTo>
                      <a:lnTo>
                        <a:pt x="30" y="178"/>
                      </a:lnTo>
                      <a:lnTo>
                        <a:pt x="32" y="178"/>
                      </a:lnTo>
                      <a:lnTo>
                        <a:pt x="29" y="179"/>
                      </a:lnTo>
                      <a:lnTo>
                        <a:pt x="29" y="179"/>
                      </a:lnTo>
                      <a:lnTo>
                        <a:pt x="29" y="180"/>
                      </a:lnTo>
                      <a:lnTo>
                        <a:pt x="29" y="181"/>
                      </a:lnTo>
                      <a:lnTo>
                        <a:pt x="29" y="180"/>
                      </a:lnTo>
                      <a:lnTo>
                        <a:pt x="29" y="182"/>
                      </a:lnTo>
                      <a:lnTo>
                        <a:pt x="30" y="182"/>
                      </a:lnTo>
                      <a:lnTo>
                        <a:pt x="30" y="180"/>
                      </a:lnTo>
                      <a:lnTo>
                        <a:pt x="32" y="180"/>
                      </a:lnTo>
                      <a:lnTo>
                        <a:pt x="30" y="181"/>
                      </a:lnTo>
                      <a:lnTo>
                        <a:pt x="30" y="182"/>
                      </a:lnTo>
                      <a:lnTo>
                        <a:pt x="30" y="183"/>
                      </a:lnTo>
                      <a:lnTo>
                        <a:pt x="33" y="182"/>
                      </a:lnTo>
                      <a:lnTo>
                        <a:pt x="33" y="182"/>
                      </a:lnTo>
                      <a:lnTo>
                        <a:pt x="33" y="181"/>
                      </a:lnTo>
                      <a:lnTo>
                        <a:pt x="34" y="182"/>
                      </a:lnTo>
                      <a:lnTo>
                        <a:pt x="33" y="182"/>
                      </a:lnTo>
                      <a:lnTo>
                        <a:pt x="33" y="182"/>
                      </a:lnTo>
                      <a:lnTo>
                        <a:pt x="33" y="182"/>
                      </a:lnTo>
                      <a:lnTo>
                        <a:pt x="33" y="183"/>
                      </a:lnTo>
                      <a:lnTo>
                        <a:pt x="33" y="183"/>
                      </a:lnTo>
                      <a:lnTo>
                        <a:pt x="33" y="185"/>
                      </a:lnTo>
                      <a:lnTo>
                        <a:pt x="35" y="186"/>
                      </a:lnTo>
                      <a:lnTo>
                        <a:pt x="36" y="186"/>
                      </a:lnTo>
                      <a:lnTo>
                        <a:pt x="35" y="186"/>
                      </a:lnTo>
                      <a:lnTo>
                        <a:pt x="35" y="186"/>
                      </a:lnTo>
                      <a:lnTo>
                        <a:pt x="36" y="186"/>
                      </a:lnTo>
                      <a:lnTo>
                        <a:pt x="38" y="186"/>
                      </a:lnTo>
                      <a:lnTo>
                        <a:pt x="38" y="187"/>
                      </a:lnTo>
                      <a:lnTo>
                        <a:pt x="38" y="188"/>
                      </a:lnTo>
                      <a:lnTo>
                        <a:pt x="36" y="190"/>
                      </a:lnTo>
                      <a:lnTo>
                        <a:pt x="35" y="192"/>
                      </a:lnTo>
                      <a:lnTo>
                        <a:pt x="34" y="190"/>
                      </a:lnTo>
                      <a:lnTo>
                        <a:pt x="32" y="190"/>
                      </a:lnTo>
                      <a:lnTo>
                        <a:pt x="32" y="190"/>
                      </a:lnTo>
                      <a:lnTo>
                        <a:pt x="30" y="189"/>
                      </a:lnTo>
                      <a:lnTo>
                        <a:pt x="30" y="189"/>
                      </a:lnTo>
                      <a:lnTo>
                        <a:pt x="30" y="187"/>
                      </a:lnTo>
                      <a:lnTo>
                        <a:pt x="29" y="187"/>
                      </a:lnTo>
                      <a:lnTo>
                        <a:pt x="29" y="187"/>
                      </a:lnTo>
                      <a:lnTo>
                        <a:pt x="28" y="187"/>
                      </a:lnTo>
                      <a:lnTo>
                        <a:pt x="28" y="188"/>
                      </a:lnTo>
                      <a:lnTo>
                        <a:pt x="28" y="189"/>
                      </a:lnTo>
                      <a:lnTo>
                        <a:pt x="28" y="189"/>
                      </a:lnTo>
                      <a:lnTo>
                        <a:pt x="30" y="192"/>
                      </a:lnTo>
                      <a:lnTo>
                        <a:pt x="30" y="193"/>
                      </a:lnTo>
                      <a:lnTo>
                        <a:pt x="32" y="193"/>
                      </a:lnTo>
                      <a:lnTo>
                        <a:pt x="32" y="195"/>
                      </a:lnTo>
                      <a:lnTo>
                        <a:pt x="33" y="196"/>
                      </a:lnTo>
                      <a:lnTo>
                        <a:pt x="33" y="195"/>
                      </a:lnTo>
                      <a:lnTo>
                        <a:pt x="34" y="196"/>
                      </a:lnTo>
                      <a:lnTo>
                        <a:pt x="36" y="198"/>
                      </a:lnTo>
                      <a:lnTo>
                        <a:pt x="38" y="199"/>
                      </a:lnTo>
                      <a:lnTo>
                        <a:pt x="38" y="199"/>
                      </a:lnTo>
                      <a:lnTo>
                        <a:pt x="39" y="199"/>
                      </a:lnTo>
                      <a:lnTo>
                        <a:pt x="39" y="196"/>
                      </a:lnTo>
                      <a:lnTo>
                        <a:pt x="38" y="196"/>
                      </a:lnTo>
                      <a:lnTo>
                        <a:pt x="38" y="195"/>
                      </a:lnTo>
                      <a:lnTo>
                        <a:pt x="38" y="194"/>
                      </a:lnTo>
                      <a:lnTo>
                        <a:pt x="36" y="192"/>
                      </a:lnTo>
                      <a:lnTo>
                        <a:pt x="36" y="192"/>
                      </a:lnTo>
                      <a:lnTo>
                        <a:pt x="38" y="193"/>
                      </a:lnTo>
                      <a:lnTo>
                        <a:pt x="38" y="193"/>
                      </a:lnTo>
                      <a:lnTo>
                        <a:pt x="39" y="193"/>
                      </a:lnTo>
                      <a:lnTo>
                        <a:pt x="39" y="192"/>
                      </a:lnTo>
                      <a:lnTo>
                        <a:pt x="39" y="189"/>
                      </a:lnTo>
                      <a:lnTo>
                        <a:pt x="39" y="187"/>
                      </a:lnTo>
                      <a:lnTo>
                        <a:pt x="40" y="188"/>
                      </a:lnTo>
                      <a:lnTo>
                        <a:pt x="39" y="190"/>
                      </a:lnTo>
                      <a:lnTo>
                        <a:pt x="39" y="190"/>
                      </a:lnTo>
                      <a:lnTo>
                        <a:pt x="39" y="192"/>
                      </a:lnTo>
                      <a:lnTo>
                        <a:pt x="39" y="193"/>
                      </a:lnTo>
                      <a:lnTo>
                        <a:pt x="39" y="194"/>
                      </a:lnTo>
                      <a:lnTo>
                        <a:pt x="39" y="194"/>
                      </a:lnTo>
                      <a:lnTo>
                        <a:pt x="40" y="194"/>
                      </a:lnTo>
                      <a:lnTo>
                        <a:pt x="39" y="195"/>
                      </a:lnTo>
                      <a:lnTo>
                        <a:pt x="40" y="195"/>
                      </a:lnTo>
                      <a:lnTo>
                        <a:pt x="39" y="196"/>
                      </a:lnTo>
                      <a:lnTo>
                        <a:pt x="40" y="198"/>
                      </a:lnTo>
                      <a:lnTo>
                        <a:pt x="40" y="199"/>
                      </a:lnTo>
                      <a:lnTo>
                        <a:pt x="40" y="199"/>
                      </a:lnTo>
                      <a:lnTo>
                        <a:pt x="41" y="200"/>
                      </a:lnTo>
                      <a:lnTo>
                        <a:pt x="42" y="199"/>
                      </a:lnTo>
                      <a:lnTo>
                        <a:pt x="42" y="199"/>
                      </a:lnTo>
                      <a:lnTo>
                        <a:pt x="42" y="200"/>
                      </a:lnTo>
                      <a:lnTo>
                        <a:pt x="42" y="200"/>
                      </a:lnTo>
                      <a:lnTo>
                        <a:pt x="43" y="201"/>
                      </a:lnTo>
                      <a:lnTo>
                        <a:pt x="43" y="201"/>
                      </a:lnTo>
                      <a:lnTo>
                        <a:pt x="43" y="201"/>
                      </a:lnTo>
                      <a:lnTo>
                        <a:pt x="43" y="201"/>
                      </a:lnTo>
                      <a:lnTo>
                        <a:pt x="42" y="201"/>
                      </a:lnTo>
                      <a:lnTo>
                        <a:pt x="43" y="202"/>
                      </a:lnTo>
                      <a:lnTo>
                        <a:pt x="46" y="206"/>
                      </a:lnTo>
                      <a:lnTo>
                        <a:pt x="45" y="206"/>
                      </a:lnTo>
                      <a:lnTo>
                        <a:pt x="45" y="207"/>
                      </a:lnTo>
                      <a:lnTo>
                        <a:pt x="47" y="209"/>
                      </a:lnTo>
                      <a:lnTo>
                        <a:pt x="48" y="209"/>
                      </a:lnTo>
                      <a:lnTo>
                        <a:pt x="48" y="210"/>
                      </a:lnTo>
                      <a:lnTo>
                        <a:pt x="47" y="210"/>
                      </a:lnTo>
                      <a:lnTo>
                        <a:pt x="46" y="210"/>
                      </a:lnTo>
                      <a:lnTo>
                        <a:pt x="47" y="212"/>
                      </a:lnTo>
                      <a:lnTo>
                        <a:pt x="48" y="212"/>
                      </a:lnTo>
                      <a:lnTo>
                        <a:pt x="48" y="212"/>
                      </a:lnTo>
                      <a:lnTo>
                        <a:pt x="48" y="213"/>
                      </a:lnTo>
                      <a:lnTo>
                        <a:pt x="49" y="215"/>
                      </a:lnTo>
                      <a:lnTo>
                        <a:pt x="49" y="216"/>
                      </a:lnTo>
                      <a:lnTo>
                        <a:pt x="49" y="216"/>
                      </a:lnTo>
                      <a:lnTo>
                        <a:pt x="49" y="219"/>
                      </a:lnTo>
                      <a:lnTo>
                        <a:pt x="49" y="220"/>
                      </a:lnTo>
                      <a:lnTo>
                        <a:pt x="52" y="221"/>
                      </a:lnTo>
                      <a:lnTo>
                        <a:pt x="53" y="225"/>
                      </a:lnTo>
                      <a:lnTo>
                        <a:pt x="53" y="226"/>
                      </a:lnTo>
                      <a:lnTo>
                        <a:pt x="53" y="226"/>
                      </a:lnTo>
                      <a:lnTo>
                        <a:pt x="53" y="226"/>
                      </a:lnTo>
                      <a:lnTo>
                        <a:pt x="53" y="226"/>
                      </a:lnTo>
                      <a:lnTo>
                        <a:pt x="53" y="227"/>
                      </a:lnTo>
                      <a:lnTo>
                        <a:pt x="54" y="229"/>
                      </a:lnTo>
                      <a:lnTo>
                        <a:pt x="54" y="230"/>
                      </a:lnTo>
                      <a:lnTo>
                        <a:pt x="54" y="230"/>
                      </a:lnTo>
                      <a:lnTo>
                        <a:pt x="53" y="230"/>
                      </a:lnTo>
                      <a:lnTo>
                        <a:pt x="54" y="232"/>
                      </a:lnTo>
                      <a:lnTo>
                        <a:pt x="53" y="232"/>
                      </a:lnTo>
                      <a:lnTo>
                        <a:pt x="52" y="233"/>
                      </a:lnTo>
                      <a:lnTo>
                        <a:pt x="53" y="233"/>
                      </a:lnTo>
                      <a:lnTo>
                        <a:pt x="54" y="234"/>
                      </a:lnTo>
                      <a:lnTo>
                        <a:pt x="52" y="233"/>
                      </a:lnTo>
                      <a:lnTo>
                        <a:pt x="52" y="233"/>
                      </a:lnTo>
                      <a:lnTo>
                        <a:pt x="52" y="234"/>
                      </a:lnTo>
                      <a:lnTo>
                        <a:pt x="52" y="234"/>
                      </a:lnTo>
                      <a:lnTo>
                        <a:pt x="52" y="234"/>
                      </a:lnTo>
                      <a:lnTo>
                        <a:pt x="52" y="235"/>
                      </a:lnTo>
                      <a:lnTo>
                        <a:pt x="52" y="237"/>
                      </a:lnTo>
                      <a:lnTo>
                        <a:pt x="52" y="237"/>
                      </a:lnTo>
                      <a:lnTo>
                        <a:pt x="52" y="239"/>
                      </a:lnTo>
                      <a:lnTo>
                        <a:pt x="50" y="239"/>
                      </a:lnTo>
                      <a:lnTo>
                        <a:pt x="52" y="242"/>
                      </a:lnTo>
                      <a:lnTo>
                        <a:pt x="50" y="243"/>
                      </a:lnTo>
                      <a:lnTo>
                        <a:pt x="50" y="245"/>
                      </a:lnTo>
                      <a:lnTo>
                        <a:pt x="50" y="246"/>
                      </a:lnTo>
                      <a:lnTo>
                        <a:pt x="52" y="246"/>
                      </a:lnTo>
                      <a:lnTo>
                        <a:pt x="52" y="247"/>
                      </a:lnTo>
                      <a:lnTo>
                        <a:pt x="50" y="247"/>
                      </a:lnTo>
                      <a:lnTo>
                        <a:pt x="50" y="246"/>
                      </a:lnTo>
                      <a:lnTo>
                        <a:pt x="50" y="248"/>
                      </a:lnTo>
                      <a:lnTo>
                        <a:pt x="50" y="250"/>
                      </a:lnTo>
                      <a:lnTo>
                        <a:pt x="49" y="250"/>
                      </a:lnTo>
                      <a:lnTo>
                        <a:pt x="49" y="252"/>
                      </a:lnTo>
                      <a:lnTo>
                        <a:pt x="50" y="252"/>
                      </a:lnTo>
                      <a:lnTo>
                        <a:pt x="49" y="253"/>
                      </a:lnTo>
                      <a:lnTo>
                        <a:pt x="49" y="255"/>
                      </a:lnTo>
                      <a:lnTo>
                        <a:pt x="50" y="257"/>
                      </a:lnTo>
                      <a:lnTo>
                        <a:pt x="52" y="259"/>
                      </a:lnTo>
                      <a:lnTo>
                        <a:pt x="52" y="257"/>
                      </a:lnTo>
                      <a:lnTo>
                        <a:pt x="52" y="259"/>
                      </a:lnTo>
                      <a:lnTo>
                        <a:pt x="53" y="256"/>
                      </a:lnTo>
                      <a:lnTo>
                        <a:pt x="54" y="256"/>
                      </a:lnTo>
                      <a:lnTo>
                        <a:pt x="54" y="255"/>
                      </a:lnTo>
                      <a:lnTo>
                        <a:pt x="55" y="254"/>
                      </a:lnTo>
                      <a:lnTo>
                        <a:pt x="55" y="252"/>
                      </a:lnTo>
                      <a:lnTo>
                        <a:pt x="55" y="252"/>
                      </a:lnTo>
                      <a:lnTo>
                        <a:pt x="56" y="252"/>
                      </a:lnTo>
                      <a:lnTo>
                        <a:pt x="56" y="252"/>
                      </a:lnTo>
                      <a:lnTo>
                        <a:pt x="56" y="250"/>
                      </a:lnTo>
                      <a:lnTo>
                        <a:pt x="58" y="250"/>
                      </a:lnTo>
                      <a:lnTo>
                        <a:pt x="58" y="250"/>
                      </a:lnTo>
                      <a:lnTo>
                        <a:pt x="56" y="250"/>
                      </a:lnTo>
                      <a:lnTo>
                        <a:pt x="56" y="252"/>
                      </a:lnTo>
                      <a:lnTo>
                        <a:pt x="56" y="253"/>
                      </a:lnTo>
                      <a:lnTo>
                        <a:pt x="56" y="253"/>
                      </a:lnTo>
                      <a:lnTo>
                        <a:pt x="58" y="252"/>
                      </a:lnTo>
                      <a:lnTo>
                        <a:pt x="58" y="250"/>
                      </a:lnTo>
                      <a:lnTo>
                        <a:pt x="58" y="246"/>
                      </a:lnTo>
                      <a:lnTo>
                        <a:pt x="58" y="248"/>
                      </a:lnTo>
                      <a:lnTo>
                        <a:pt x="59" y="247"/>
                      </a:lnTo>
                      <a:lnTo>
                        <a:pt x="59" y="248"/>
                      </a:lnTo>
                      <a:lnTo>
                        <a:pt x="59" y="249"/>
                      </a:lnTo>
                      <a:lnTo>
                        <a:pt x="59" y="250"/>
                      </a:lnTo>
                      <a:lnTo>
                        <a:pt x="59" y="250"/>
                      </a:lnTo>
                      <a:lnTo>
                        <a:pt x="58" y="253"/>
                      </a:lnTo>
                      <a:lnTo>
                        <a:pt x="58" y="253"/>
                      </a:lnTo>
                      <a:lnTo>
                        <a:pt x="58" y="255"/>
                      </a:lnTo>
                      <a:lnTo>
                        <a:pt x="58" y="257"/>
                      </a:lnTo>
                      <a:lnTo>
                        <a:pt x="58" y="259"/>
                      </a:lnTo>
                      <a:lnTo>
                        <a:pt x="58" y="259"/>
                      </a:lnTo>
                      <a:lnTo>
                        <a:pt x="56" y="259"/>
                      </a:lnTo>
                      <a:lnTo>
                        <a:pt x="58" y="259"/>
                      </a:lnTo>
                      <a:lnTo>
                        <a:pt x="60" y="257"/>
                      </a:lnTo>
                      <a:lnTo>
                        <a:pt x="60" y="256"/>
                      </a:lnTo>
                      <a:lnTo>
                        <a:pt x="60" y="255"/>
                      </a:lnTo>
                      <a:lnTo>
                        <a:pt x="60" y="254"/>
                      </a:lnTo>
                      <a:lnTo>
                        <a:pt x="60" y="254"/>
                      </a:lnTo>
                      <a:lnTo>
                        <a:pt x="61" y="254"/>
                      </a:lnTo>
                      <a:lnTo>
                        <a:pt x="61" y="255"/>
                      </a:lnTo>
                      <a:lnTo>
                        <a:pt x="60" y="256"/>
                      </a:lnTo>
                      <a:lnTo>
                        <a:pt x="60" y="259"/>
                      </a:lnTo>
                      <a:lnTo>
                        <a:pt x="59" y="259"/>
                      </a:lnTo>
                      <a:lnTo>
                        <a:pt x="58" y="260"/>
                      </a:lnTo>
                      <a:lnTo>
                        <a:pt x="58" y="261"/>
                      </a:lnTo>
                      <a:lnTo>
                        <a:pt x="58" y="260"/>
                      </a:lnTo>
                      <a:lnTo>
                        <a:pt x="59" y="261"/>
                      </a:lnTo>
                      <a:lnTo>
                        <a:pt x="59" y="260"/>
                      </a:lnTo>
                      <a:lnTo>
                        <a:pt x="60" y="261"/>
                      </a:lnTo>
                      <a:lnTo>
                        <a:pt x="61" y="259"/>
                      </a:lnTo>
                      <a:lnTo>
                        <a:pt x="62" y="259"/>
                      </a:lnTo>
                      <a:lnTo>
                        <a:pt x="62" y="257"/>
                      </a:lnTo>
                      <a:lnTo>
                        <a:pt x="61" y="254"/>
                      </a:lnTo>
                      <a:lnTo>
                        <a:pt x="61" y="254"/>
                      </a:lnTo>
                      <a:lnTo>
                        <a:pt x="62" y="253"/>
                      </a:lnTo>
                      <a:lnTo>
                        <a:pt x="63" y="253"/>
                      </a:lnTo>
                      <a:lnTo>
                        <a:pt x="63" y="253"/>
                      </a:lnTo>
                      <a:lnTo>
                        <a:pt x="63" y="253"/>
                      </a:lnTo>
                      <a:lnTo>
                        <a:pt x="62" y="254"/>
                      </a:lnTo>
                      <a:lnTo>
                        <a:pt x="61" y="254"/>
                      </a:lnTo>
                      <a:lnTo>
                        <a:pt x="62" y="257"/>
                      </a:lnTo>
                      <a:lnTo>
                        <a:pt x="63" y="257"/>
                      </a:lnTo>
                      <a:lnTo>
                        <a:pt x="63" y="259"/>
                      </a:lnTo>
                      <a:lnTo>
                        <a:pt x="62" y="259"/>
                      </a:lnTo>
                      <a:lnTo>
                        <a:pt x="62" y="259"/>
                      </a:lnTo>
                      <a:lnTo>
                        <a:pt x="62" y="261"/>
                      </a:lnTo>
                      <a:lnTo>
                        <a:pt x="62" y="262"/>
                      </a:lnTo>
                      <a:lnTo>
                        <a:pt x="62" y="261"/>
                      </a:lnTo>
                      <a:lnTo>
                        <a:pt x="62" y="261"/>
                      </a:lnTo>
                      <a:lnTo>
                        <a:pt x="63" y="262"/>
                      </a:lnTo>
                      <a:lnTo>
                        <a:pt x="62" y="262"/>
                      </a:lnTo>
                      <a:lnTo>
                        <a:pt x="62" y="262"/>
                      </a:lnTo>
                      <a:lnTo>
                        <a:pt x="62" y="262"/>
                      </a:lnTo>
                      <a:lnTo>
                        <a:pt x="65" y="262"/>
                      </a:lnTo>
                      <a:lnTo>
                        <a:pt x="65" y="262"/>
                      </a:lnTo>
                      <a:lnTo>
                        <a:pt x="65" y="262"/>
                      </a:lnTo>
                      <a:lnTo>
                        <a:pt x="66" y="262"/>
                      </a:lnTo>
                      <a:lnTo>
                        <a:pt x="66" y="259"/>
                      </a:lnTo>
                      <a:lnTo>
                        <a:pt x="66" y="256"/>
                      </a:lnTo>
                      <a:lnTo>
                        <a:pt x="67" y="254"/>
                      </a:lnTo>
                      <a:lnTo>
                        <a:pt x="67" y="254"/>
                      </a:lnTo>
                      <a:lnTo>
                        <a:pt x="69" y="255"/>
                      </a:lnTo>
                      <a:lnTo>
                        <a:pt x="67" y="255"/>
                      </a:lnTo>
                      <a:lnTo>
                        <a:pt x="67" y="255"/>
                      </a:lnTo>
                      <a:lnTo>
                        <a:pt x="66" y="256"/>
                      </a:lnTo>
                      <a:lnTo>
                        <a:pt x="67" y="257"/>
                      </a:lnTo>
                      <a:lnTo>
                        <a:pt x="67" y="259"/>
                      </a:lnTo>
                      <a:lnTo>
                        <a:pt x="67" y="257"/>
                      </a:lnTo>
                      <a:lnTo>
                        <a:pt x="67" y="260"/>
                      </a:lnTo>
                      <a:lnTo>
                        <a:pt x="67" y="262"/>
                      </a:lnTo>
                      <a:lnTo>
                        <a:pt x="68" y="262"/>
                      </a:lnTo>
                      <a:lnTo>
                        <a:pt x="68" y="262"/>
                      </a:lnTo>
                      <a:lnTo>
                        <a:pt x="68" y="261"/>
                      </a:lnTo>
                      <a:lnTo>
                        <a:pt x="69" y="259"/>
                      </a:lnTo>
                      <a:lnTo>
                        <a:pt x="69" y="259"/>
                      </a:lnTo>
                      <a:lnTo>
                        <a:pt x="69" y="257"/>
                      </a:lnTo>
                      <a:lnTo>
                        <a:pt x="69" y="261"/>
                      </a:lnTo>
                      <a:lnTo>
                        <a:pt x="69" y="261"/>
                      </a:lnTo>
                      <a:lnTo>
                        <a:pt x="70" y="259"/>
                      </a:lnTo>
                      <a:lnTo>
                        <a:pt x="70" y="256"/>
                      </a:lnTo>
                      <a:lnTo>
                        <a:pt x="69" y="255"/>
                      </a:lnTo>
                      <a:lnTo>
                        <a:pt x="70" y="255"/>
                      </a:lnTo>
                      <a:lnTo>
                        <a:pt x="69" y="255"/>
                      </a:lnTo>
                      <a:lnTo>
                        <a:pt x="70" y="256"/>
                      </a:lnTo>
                      <a:lnTo>
                        <a:pt x="70" y="259"/>
                      </a:lnTo>
                      <a:lnTo>
                        <a:pt x="70" y="259"/>
                      </a:lnTo>
                      <a:lnTo>
                        <a:pt x="70" y="260"/>
                      </a:lnTo>
                      <a:lnTo>
                        <a:pt x="70" y="261"/>
                      </a:lnTo>
                      <a:lnTo>
                        <a:pt x="70" y="262"/>
                      </a:lnTo>
                      <a:lnTo>
                        <a:pt x="70" y="263"/>
                      </a:lnTo>
                      <a:lnTo>
                        <a:pt x="72" y="263"/>
                      </a:lnTo>
                      <a:lnTo>
                        <a:pt x="73" y="263"/>
                      </a:lnTo>
                      <a:lnTo>
                        <a:pt x="74" y="262"/>
                      </a:lnTo>
                      <a:lnTo>
                        <a:pt x="76" y="261"/>
                      </a:lnTo>
                      <a:lnTo>
                        <a:pt x="76" y="259"/>
                      </a:lnTo>
                      <a:lnTo>
                        <a:pt x="78" y="259"/>
                      </a:lnTo>
                      <a:lnTo>
                        <a:pt x="78" y="256"/>
                      </a:lnTo>
                      <a:lnTo>
                        <a:pt x="78" y="255"/>
                      </a:lnTo>
                      <a:lnTo>
                        <a:pt x="76" y="253"/>
                      </a:lnTo>
                      <a:lnTo>
                        <a:pt x="78" y="254"/>
                      </a:lnTo>
                      <a:lnTo>
                        <a:pt x="78" y="254"/>
                      </a:lnTo>
                      <a:lnTo>
                        <a:pt x="80" y="253"/>
                      </a:lnTo>
                      <a:lnTo>
                        <a:pt x="81" y="253"/>
                      </a:lnTo>
                      <a:lnTo>
                        <a:pt x="81" y="253"/>
                      </a:lnTo>
                      <a:lnTo>
                        <a:pt x="81" y="253"/>
                      </a:lnTo>
                      <a:lnTo>
                        <a:pt x="81" y="253"/>
                      </a:lnTo>
                      <a:lnTo>
                        <a:pt x="83" y="250"/>
                      </a:lnTo>
                      <a:lnTo>
                        <a:pt x="82" y="250"/>
                      </a:lnTo>
                      <a:lnTo>
                        <a:pt x="81" y="249"/>
                      </a:lnTo>
                      <a:lnTo>
                        <a:pt x="83" y="250"/>
                      </a:lnTo>
                      <a:lnTo>
                        <a:pt x="83" y="250"/>
                      </a:lnTo>
                      <a:lnTo>
                        <a:pt x="88" y="249"/>
                      </a:lnTo>
                      <a:lnTo>
                        <a:pt x="88" y="248"/>
                      </a:lnTo>
                      <a:lnTo>
                        <a:pt x="87" y="248"/>
                      </a:lnTo>
                      <a:lnTo>
                        <a:pt x="86" y="246"/>
                      </a:lnTo>
                      <a:lnTo>
                        <a:pt x="85" y="245"/>
                      </a:lnTo>
                      <a:lnTo>
                        <a:pt x="85" y="243"/>
                      </a:lnTo>
                      <a:lnTo>
                        <a:pt x="85" y="243"/>
                      </a:lnTo>
                      <a:lnTo>
                        <a:pt x="83" y="242"/>
                      </a:lnTo>
                      <a:lnTo>
                        <a:pt x="85" y="242"/>
                      </a:lnTo>
                      <a:lnTo>
                        <a:pt x="85" y="241"/>
                      </a:lnTo>
                      <a:lnTo>
                        <a:pt x="85" y="242"/>
                      </a:lnTo>
                      <a:lnTo>
                        <a:pt x="85" y="242"/>
                      </a:lnTo>
                      <a:lnTo>
                        <a:pt x="85" y="242"/>
                      </a:lnTo>
                      <a:lnTo>
                        <a:pt x="85" y="243"/>
                      </a:lnTo>
                      <a:lnTo>
                        <a:pt x="86" y="245"/>
                      </a:lnTo>
                      <a:lnTo>
                        <a:pt x="86" y="246"/>
                      </a:lnTo>
                      <a:lnTo>
                        <a:pt x="86" y="246"/>
                      </a:lnTo>
                      <a:lnTo>
                        <a:pt x="88" y="248"/>
                      </a:lnTo>
                      <a:lnTo>
                        <a:pt x="90" y="248"/>
                      </a:lnTo>
                      <a:lnTo>
                        <a:pt x="90" y="245"/>
                      </a:lnTo>
                      <a:lnTo>
                        <a:pt x="93" y="246"/>
                      </a:lnTo>
                      <a:lnTo>
                        <a:pt x="95" y="245"/>
                      </a:lnTo>
                      <a:lnTo>
                        <a:pt x="94" y="243"/>
                      </a:lnTo>
                      <a:lnTo>
                        <a:pt x="95" y="243"/>
                      </a:lnTo>
                      <a:lnTo>
                        <a:pt x="94" y="242"/>
                      </a:lnTo>
                      <a:lnTo>
                        <a:pt x="95" y="242"/>
                      </a:lnTo>
                      <a:lnTo>
                        <a:pt x="96" y="240"/>
                      </a:lnTo>
                      <a:lnTo>
                        <a:pt x="96" y="240"/>
                      </a:lnTo>
                      <a:lnTo>
                        <a:pt x="94" y="239"/>
                      </a:lnTo>
                      <a:lnTo>
                        <a:pt x="95" y="239"/>
                      </a:lnTo>
                      <a:lnTo>
                        <a:pt x="95" y="239"/>
                      </a:lnTo>
                      <a:lnTo>
                        <a:pt x="96" y="239"/>
                      </a:lnTo>
                      <a:lnTo>
                        <a:pt x="96" y="236"/>
                      </a:lnTo>
                      <a:lnTo>
                        <a:pt x="96" y="235"/>
                      </a:lnTo>
                      <a:lnTo>
                        <a:pt x="95" y="233"/>
                      </a:lnTo>
                      <a:lnTo>
                        <a:pt x="96" y="230"/>
                      </a:lnTo>
                      <a:lnTo>
                        <a:pt x="95" y="230"/>
                      </a:lnTo>
                      <a:lnTo>
                        <a:pt x="94" y="229"/>
                      </a:lnTo>
                      <a:lnTo>
                        <a:pt x="94" y="229"/>
                      </a:lnTo>
                      <a:lnTo>
                        <a:pt x="94" y="228"/>
                      </a:lnTo>
                      <a:lnTo>
                        <a:pt x="94" y="229"/>
                      </a:lnTo>
                      <a:lnTo>
                        <a:pt x="95" y="228"/>
                      </a:lnTo>
                      <a:lnTo>
                        <a:pt x="95" y="229"/>
                      </a:lnTo>
                      <a:lnTo>
                        <a:pt x="98" y="230"/>
                      </a:lnTo>
                      <a:lnTo>
                        <a:pt x="98" y="232"/>
                      </a:lnTo>
                      <a:lnTo>
                        <a:pt x="99" y="232"/>
                      </a:lnTo>
                      <a:lnTo>
                        <a:pt x="99" y="233"/>
                      </a:lnTo>
                      <a:lnTo>
                        <a:pt x="100" y="233"/>
                      </a:lnTo>
                      <a:lnTo>
                        <a:pt x="100" y="234"/>
                      </a:lnTo>
                      <a:lnTo>
                        <a:pt x="100" y="235"/>
                      </a:lnTo>
                      <a:lnTo>
                        <a:pt x="100" y="234"/>
                      </a:lnTo>
                      <a:lnTo>
                        <a:pt x="101" y="234"/>
                      </a:lnTo>
                      <a:lnTo>
                        <a:pt x="101" y="235"/>
                      </a:lnTo>
                      <a:lnTo>
                        <a:pt x="101" y="235"/>
                      </a:lnTo>
                      <a:lnTo>
                        <a:pt x="101" y="234"/>
                      </a:lnTo>
                      <a:lnTo>
                        <a:pt x="101" y="235"/>
                      </a:lnTo>
                      <a:lnTo>
                        <a:pt x="100" y="235"/>
                      </a:lnTo>
                      <a:lnTo>
                        <a:pt x="101" y="236"/>
                      </a:lnTo>
                      <a:lnTo>
                        <a:pt x="101" y="239"/>
                      </a:lnTo>
                      <a:lnTo>
                        <a:pt x="102" y="239"/>
                      </a:lnTo>
                      <a:lnTo>
                        <a:pt x="102" y="241"/>
                      </a:lnTo>
                      <a:lnTo>
                        <a:pt x="102" y="240"/>
                      </a:lnTo>
                      <a:lnTo>
                        <a:pt x="102" y="241"/>
                      </a:lnTo>
                      <a:lnTo>
                        <a:pt x="102" y="241"/>
                      </a:lnTo>
                      <a:lnTo>
                        <a:pt x="102" y="242"/>
                      </a:lnTo>
                      <a:lnTo>
                        <a:pt x="103" y="242"/>
                      </a:lnTo>
                      <a:lnTo>
                        <a:pt x="103" y="243"/>
                      </a:lnTo>
                      <a:lnTo>
                        <a:pt x="103" y="243"/>
                      </a:lnTo>
                      <a:lnTo>
                        <a:pt x="105" y="243"/>
                      </a:lnTo>
                      <a:lnTo>
                        <a:pt x="105" y="245"/>
                      </a:lnTo>
                      <a:lnTo>
                        <a:pt x="105" y="246"/>
                      </a:lnTo>
                      <a:lnTo>
                        <a:pt x="105" y="248"/>
                      </a:lnTo>
                      <a:lnTo>
                        <a:pt x="106" y="247"/>
                      </a:lnTo>
                      <a:lnTo>
                        <a:pt x="108" y="248"/>
                      </a:lnTo>
                      <a:lnTo>
                        <a:pt x="108" y="247"/>
                      </a:lnTo>
                      <a:lnTo>
                        <a:pt x="108" y="246"/>
                      </a:lnTo>
                      <a:lnTo>
                        <a:pt x="110" y="247"/>
                      </a:lnTo>
                      <a:lnTo>
                        <a:pt x="110" y="246"/>
                      </a:lnTo>
                      <a:lnTo>
                        <a:pt x="112" y="246"/>
                      </a:lnTo>
                      <a:lnTo>
                        <a:pt x="112" y="246"/>
                      </a:lnTo>
                      <a:lnTo>
                        <a:pt x="112" y="246"/>
                      </a:lnTo>
                      <a:lnTo>
                        <a:pt x="110" y="248"/>
                      </a:lnTo>
                      <a:lnTo>
                        <a:pt x="110" y="250"/>
                      </a:lnTo>
                      <a:lnTo>
                        <a:pt x="112" y="252"/>
                      </a:lnTo>
                      <a:lnTo>
                        <a:pt x="110" y="253"/>
                      </a:lnTo>
                      <a:lnTo>
                        <a:pt x="112" y="256"/>
                      </a:lnTo>
                      <a:lnTo>
                        <a:pt x="110" y="256"/>
                      </a:lnTo>
                      <a:lnTo>
                        <a:pt x="112" y="257"/>
                      </a:lnTo>
                      <a:lnTo>
                        <a:pt x="112" y="259"/>
                      </a:lnTo>
                      <a:lnTo>
                        <a:pt x="112" y="259"/>
                      </a:lnTo>
                      <a:lnTo>
                        <a:pt x="114" y="257"/>
                      </a:lnTo>
                      <a:lnTo>
                        <a:pt x="114" y="259"/>
                      </a:lnTo>
                      <a:lnTo>
                        <a:pt x="114" y="260"/>
                      </a:lnTo>
                      <a:lnTo>
                        <a:pt x="114" y="261"/>
                      </a:lnTo>
                      <a:lnTo>
                        <a:pt x="114" y="261"/>
                      </a:lnTo>
                      <a:lnTo>
                        <a:pt x="114" y="262"/>
                      </a:lnTo>
                      <a:lnTo>
                        <a:pt x="114" y="262"/>
                      </a:lnTo>
                      <a:lnTo>
                        <a:pt x="114" y="263"/>
                      </a:lnTo>
                      <a:lnTo>
                        <a:pt x="116" y="265"/>
                      </a:lnTo>
                      <a:lnTo>
                        <a:pt x="114" y="266"/>
                      </a:lnTo>
                      <a:lnTo>
                        <a:pt x="115" y="267"/>
                      </a:lnTo>
                      <a:lnTo>
                        <a:pt x="115" y="268"/>
                      </a:lnTo>
                      <a:lnTo>
                        <a:pt x="116" y="269"/>
                      </a:lnTo>
                      <a:lnTo>
                        <a:pt x="115" y="270"/>
                      </a:lnTo>
                      <a:lnTo>
                        <a:pt x="115" y="270"/>
                      </a:lnTo>
                      <a:lnTo>
                        <a:pt x="115" y="272"/>
                      </a:lnTo>
                      <a:lnTo>
                        <a:pt x="115" y="273"/>
                      </a:lnTo>
                      <a:lnTo>
                        <a:pt x="116" y="274"/>
                      </a:lnTo>
                      <a:lnTo>
                        <a:pt x="116" y="275"/>
                      </a:lnTo>
                      <a:lnTo>
                        <a:pt x="116" y="275"/>
                      </a:lnTo>
                      <a:lnTo>
                        <a:pt x="116" y="277"/>
                      </a:lnTo>
                      <a:lnTo>
                        <a:pt x="118" y="277"/>
                      </a:lnTo>
                      <a:lnTo>
                        <a:pt x="118" y="279"/>
                      </a:lnTo>
                      <a:lnTo>
                        <a:pt x="118" y="281"/>
                      </a:lnTo>
                      <a:lnTo>
                        <a:pt x="119" y="283"/>
                      </a:lnTo>
                      <a:lnTo>
                        <a:pt x="119" y="285"/>
                      </a:lnTo>
                      <a:lnTo>
                        <a:pt x="120" y="283"/>
                      </a:lnTo>
                      <a:lnTo>
                        <a:pt x="120" y="282"/>
                      </a:lnTo>
                      <a:lnTo>
                        <a:pt x="121" y="283"/>
                      </a:lnTo>
                      <a:lnTo>
                        <a:pt x="120" y="282"/>
                      </a:lnTo>
                      <a:lnTo>
                        <a:pt x="121" y="283"/>
                      </a:lnTo>
                      <a:lnTo>
                        <a:pt x="121" y="283"/>
                      </a:lnTo>
                      <a:lnTo>
                        <a:pt x="121" y="283"/>
                      </a:lnTo>
                      <a:lnTo>
                        <a:pt x="121" y="285"/>
                      </a:lnTo>
                      <a:lnTo>
                        <a:pt x="122" y="285"/>
                      </a:lnTo>
                      <a:lnTo>
                        <a:pt x="121" y="286"/>
                      </a:lnTo>
                      <a:lnTo>
                        <a:pt x="120" y="283"/>
                      </a:lnTo>
                      <a:lnTo>
                        <a:pt x="120" y="283"/>
                      </a:lnTo>
                      <a:lnTo>
                        <a:pt x="120" y="285"/>
                      </a:lnTo>
                      <a:lnTo>
                        <a:pt x="120" y="286"/>
                      </a:lnTo>
                      <a:lnTo>
                        <a:pt x="120" y="287"/>
                      </a:lnTo>
                      <a:lnTo>
                        <a:pt x="121" y="287"/>
                      </a:lnTo>
                      <a:lnTo>
                        <a:pt x="122" y="289"/>
                      </a:lnTo>
                      <a:lnTo>
                        <a:pt x="122" y="289"/>
                      </a:lnTo>
                      <a:lnTo>
                        <a:pt x="122" y="292"/>
                      </a:lnTo>
                      <a:lnTo>
                        <a:pt x="123" y="293"/>
                      </a:lnTo>
                      <a:lnTo>
                        <a:pt x="123" y="295"/>
                      </a:lnTo>
                      <a:lnTo>
                        <a:pt x="125" y="295"/>
                      </a:lnTo>
                      <a:lnTo>
                        <a:pt x="123" y="296"/>
                      </a:lnTo>
                      <a:lnTo>
                        <a:pt x="125" y="297"/>
                      </a:lnTo>
                      <a:lnTo>
                        <a:pt x="123" y="297"/>
                      </a:lnTo>
                      <a:lnTo>
                        <a:pt x="123" y="297"/>
                      </a:lnTo>
                      <a:lnTo>
                        <a:pt x="125" y="300"/>
                      </a:lnTo>
                      <a:lnTo>
                        <a:pt x="125" y="301"/>
                      </a:lnTo>
                      <a:lnTo>
                        <a:pt x="125" y="302"/>
                      </a:lnTo>
                      <a:lnTo>
                        <a:pt x="126" y="303"/>
                      </a:lnTo>
                      <a:lnTo>
                        <a:pt x="125" y="303"/>
                      </a:lnTo>
                      <a:lnTo>
                        <a:pt x="125" y="305"/>
                      </a:lnTo>
                      <a:lnTo>
                        <a:pt x="126" y="303"/>
                      </a:lnTo>
                      <a:lnTo>
                        <a:pt x="126" y="305"/>
                      </a:lnTo>
                      <a:lnTo>
                        <a:pt x="126" y="306"/>
                      </a:lnTo>
                      <a:lnTo>
                        <a:pt x="127" y="305"/>
                      </a:lnTo>
                      <a:lnTo>
                        <a:pt x="127" y="306"/>
                      </a:lnTo>
                      <a:lnTo>
                        <a:pt x="127" y="306"/>
                      </a:lnTo>
                      <a:lnTo>
                        <a:pt x="126" y="306"/>
                      </a:lnTo>
                      <a:lnTo>
                        <a:pt x="126" y="307"/>
                      </a:lnTo>
                      <a:lnTo>
                        <a:pt x="127" y="306"/>
                      </a:lnTo>
                      <a:lnTo>
                        <a:pt x="126" y="308"/>
                      </a:lnTo>
                      <a:lnTo>
                        <a:pt x="127" y="307"/>
                      </a:lnTo>
                      <a:lnTo>
                        <a:pt x="126" y="308"/>
                      </a:lnTo>
                      <a:lnTo>
                        <a:pt x="127" y="308"/>
                      </a:lnTo>
                      <a:lnTo>
                        <a:pt x="127" y="309"/>
                      </a:lnTo>
                      <a:lnTo>
                        <a:pt x="127" y="308"/>
                      </a:lnTo>
                      <a:lnTo>
                        <a:pt x="127" y="306"/>
                      </a:lnTo>
                      <a:lnTo>
                        <a:pt x="127" y="306"/>
                      </a:lnTo>
                      <a:lnTo>
                        <a:pt x="127" y="303"/>
                      </a:lnTo>
                      <a:lnTo>
                        <a:pt x="127" y="301"/>
                      </a:lnTo>
                      <a:lnTo>
                        <a:pt x="126" y="300"/>
                      </a:lnTo>
                      <a:lnTo>
                        <a:pt x="127" y="299"/>
                      </a:lnTo>
                      <a:lnTo>
                        <a:pt x="126" y="297"/>
                      </a:lnTo>
                      <a:lnTo>
                        <a:pt x="126" y="297"/>
                      </a:lnTo>
                      <a:lnTo>
                        <a:pt x="127" y="299"/>
                      </a:lnTo>
                      <a:lnTo>
                        <a:pt x="127" y="300"/>
                      </a:lnTo>
                      <a:lnTo>
                        <a:pt x="127" y="301"/>
                      </a:lnTo>
                      <a:lnTo>
                        <a:pt x="128" y="306"/>
                      </a:lnTo>
                      <a:lnTo>
                        <a:pt x="129" y="305"/>
                      </a:lnTo>
                      <a:lnTo>
                        <a:pt x="129" y="306"/>
                      </a:lnTo>
                      <a:lnTo>
                        <a:pt x="129" y="306"/>
                      </a:lnTo>
                      <a:lnTo>
                        <a:pt x="129" y="308"/>
                      </a:lnTo>
                      <a:lnTo>
                        <a:pt x="130" y="307"/>
                      </a:lnTo>
                      <a:lnTo>
                        <a:pt x="130" y="308"/>
                      </a:lnTo>
                      <a:lnTo>
                        <a:pt x="130" y="308"/>
                      </a:lnTo>
                      <a:lnTo>
                        <a:pt x="132" y="309"/>
                      </a:lnTo>
                      <a:lnTo>
                        <a:pt x="132" y="309"/>
                      </a:lnTo>
                      <a:lnTo>
                        <a:pt x="132" y="310"/>
                      </a:lnTo>
                      <a:lnTo>
                        <a:pt x="132" y="312"/>
                      </a:lnTo>
                      <a:lnTo>
                        <a:pt x="133" y="312"/>
                      </a:lnTo>
                      <a:lnTo>
                        <a:pt x="132" y="312"/>
                      </a:lnTo>
                      <a:lnTo>
                        <a:pt x="133" y="313"/>
                      </a:lnTo>
                      <a:lnTo>
                        <a:pt x="134" y="313"/>
                      </a:lnTo>
                      <a:lnTo>
                        <a:pt x="134" y="314"/>
                      </a:lnTo>
                      <a:lnTo>
                        <a:pt x="135" y="315"/>
                      </a:lnTo>
                      <a:lnTo>
                        <a:pt x="135" y="316"/>
                      </a:lnTo>
                      <a:lnTo>
                        <a:pt x="135" y="316"/>
                      </a:lnTo>
                      <a:lnTo>
                        <a:pt x="135" y="317"/>
                      </a:lnTo>
                      <a:lnTo>
                        <a:pt x="136" y="319"/>
                      </a:lnTo>
                      <a:lnTo>
                        <a:pt x="136" y="320"/>
                      </a:lnTo>
                      <a:lnTo>
                        <a:pt x="136" y="320"/>
                      </a:lnTo>
                      <a:lnTo>
                        <a:pt x="136" y="322"/>
                      </a:lnTo>
                      <a:lnTo>
                        <a:pt x="138" y="322"/>
                      </a:lnTo>
                      <a:lnTo>
                        <a:pt x="138" y="325"/>
                      </a:lnTo>
                      <a:lnTo>
                        <a:pt x="138" y="325"/>
                      </a:lnTo>
                      <a:lnTo>
                        <a:pt x="138" y="325"/>
                      </a:lnTo>
                      <a:lnTo>
                        <a:pt x="138" y="325"/>
                      </a:lnTo>
                      <a:lnTo>
                        <a:pt x="138" y="326"/>
                      </a:lnTo>
                      <a:lnTo>
                        <a:pt x="139" y="325"/>
                      </a:lnTo>
                      <a:lnTo>
                        <a:pt x="138" y="327"/>
                      </a:lnTo>
                      <a:lnTo>
                        <a:pt x="139" y="327"/>
                      </a:lnTo>
                      <a:lnTo>
                        <a:pt x="138" y="327"/>
                      </a:lnTo>
                      <a:lnTo>
                        <a:pt x="138" y="328"/>
                      </a:lnTo>
                      <a:lnTo>
                        <a:pt x="140" y="329"/>
                      </a:lnTo>
                      <a:lnTo>
                        <a:pt x="138" y="330"/>
                      </a:lnTo>
                      <a:lnTo>
                        <a:pt x="138" y="332"/>
                      </a:lnTo>
                      <a:lnTo>
                        <a:pt x="139" y="332"/>
                      </a:lnTo>
                      <a:lnTo>
                        <a:pt x="139" y="332"/>
                      </a:lnTo>
                      <a:lnTo>
                        <a:pt x="139" y="333"/>
                      </a:lnTo>
                      <a:lnTo>
                        <a:pt x="139" y="334"/>
                      </a:lnTo>
                      <a:lnTo>
                        <a:pt x="136" y="334"/>
                      </a:lnTo>
                      <a:lnTo>
                        <a:pt x="136" y="335"/>
                      </a:lnTo>
                      <a:lnTo>
                        <a:pt x="136" y="335"/>
                      </a:lnTo>
                      <a:lnTo>
                        <a:pt x="138" y="335"/>
                      </a:lnTo>
                      <a:lnTo>
                        <a:pt x="139" y="335"/>
                      </a:lnTo>
                      <a:lnTo>
                        <a:pt x="140" y="335"/>
                      </a:lnTo>
                      <a:lnTo>
                        <a:pt x="140" y="336"/>
                      </a:lnTo>
                      <a:lnTo>
                        <a:pt x="139" y="336"/>
                      </a:lnTo>
                      <a:lnTo>
                        <a:pt x="139" y="337"/>
                      </a:lnTo>
                      <a:lnTo>
                        <a:pt x="138" y="336"/>
                      </a:lnTo>
                      <a:lnTo>
                        <a:pt x="138" y="337"/>
                      </a:lnTo>
                      <a:lnTo>
                        <a:pt x="139" y="337"/>
                      </a:lnTo>
                      <a:lnTo>
                        <a:pt x="139" y="339"/>
                      </a:lnTo>
                      <a:lnTo>
                        <a:pt x="140" y="339"/>
                      </a:lnTo>
                      <a:lnTo>
                        <a:pt x="140" y="339"/>
                      </a:lnTo>
                      <a:lnTo>
                        <a:pt x="141" y="339"/>
                      </a:lnTo>
                      <a:lnTo>
                        <a:pt x="141" y="340"/>
                      </a:lnTo>
                      <a:lnTo>
                        <a:pt x="140" y="340"/>
                      </a:lnTo>
                      <a:lnTo>
                        <a:pt x="139" y="342"/>
                      </a:lnTo>
                      <a:lnTo>
                        <a:pt x="138" y="342"/>
                      </a:lnTo>
                      <a:lnTo>
                        <a:pt x="139" y="342"/>
                      </a:lnTo>
                      <a:lnTo>
                        <a:pt x="140" y="342"/>
                      </a:lnTo>
                      <a:lnTo>
                        <a:pt x="140" y="342"/>
                      </a:lnTo>
                      <a:lnTo>
                        <a:pt x="140" y="343"/>
                      </a:lnTo>
                      <a:lnTo>
                        <a:pt x="139" y="343"/>
                      </a:lnTo>
                      <a:lnTo>
                        <a:pt x="139" y="343"/>
                      </a:lnTo>
                      <a:lnTo>
                        <a:pt x="139" y="345"/>
                      </a:lnTo>
                      <a:lnTo>
                        <a:pt x="139" y="346"/>
                      </a:lnTo>
                      <a:lnTo>
                        <a:pt x="140" y="346"/>
                      </a:lnTo>
                      <a:lnTo>
                        <a:pt x="141" y="346"/>
                      </a:lnTo>
                      <a:lnTo>
                        <a:pt x="141" y="346"/>
                      </a:lnTo>
                      <a:lnTo>
                        <a:pt x="141" y="345"/>
                      </a:lnTo>
                      <a:lnTo>
                        <a:pt x="142" y="343"/>
                      </a:lnTo>
                      <a:lnTo>
                        <a:pt x="142" y="343"/>
                      </a:lnTo>
                      <a:lnTo>
                        <a:pt x="142" y="343"/>
                      </a:lnTo>
                      <a:lnTo>
                        <a:pt x="142" y="345"/>
                      </a:lnTo>
                      <a:lnTo>
                        <a:pt x="142" y="346"/>
                      </a:lnTo>
                      <a:lnTo>
                        <a:pt x="143" y="346"/>
                      </a:lnTo>
                      <a:lnTo>
                        <a:pt x="143" y="346"/>
                      </a:lnTo>
                      <a:lnTo>
                        <a:pt x="142" y="347"/>
                      </a:lnTo>
                      <a:lnTo>
                        <a:pt x="142" y="346"/>
                      </a:lnTo>
                      <a:lnTo>
                        <a:pt x="141" y="346"/>
                      </a:lnTo>
                      <a:lnTo>
                        <a:pt x="141" y="348"/>
                      </a:lnTo>
                      <a:lnTo>
                        <a:pt x="141" y="349"/>
                      </a:lnTo>
                      <a:lnTo>
                        <a:pt x="141" y="350"/>
                      </a:lnTo>
                      <a:lnTo>
                        <a:pt x="142" y="352"/>
                      </a:lnTo>
                      <a:lnTo>
                        <a:pt x="141" y="352"/>
                      </a:lnTo>
                      <a:lnTo>
                        <a:pt x="141" y="353"/>
                      </a:lnTo>
                      <a:lnTo>
                        <a:pt x="142" y="353"/>
                      </a:lnTo>
                      <a:lnTo>
                        <a:pt x="142" y="353"/>
                      </a:lnTo>
                      <a:lnTo>
                        <a:pt x="142" y="354"/>
                      </a:lnTo>
                      <a:lnTo>
                        <a:pt x="142" y="354"/>
                      </a:lnTo>
                      <a:lnTo>
                        <a:pt x="142" y="356"/>
                      </a:lnTo>
                      <a:lnTo>
                        <a:pt x="142" y="356"/>
                      </a:lnTo>
                      <a:lnTo>
                        <a:pt x="141" y="359"/>
                      </a:lnTo>
                      <a:lnTo>
                        <a:pt x="141" y="359"/>
                      </a:lnTo>
                      <a:lnTo>
                        <a:pt x="141" y="359"/>
                      </a:lnTo>
                      <a:lnTo>
                        <a:pt x="141" y="359"/>
                      </a:lnTo>
                      <a:lnTo>
                        <a:pt x="141" y="359"/>
                      </a:lnTo>
                      <a:lnTo>
                        <a:pt x="142" y="360"/>
                      </a:lnTo>
                      <a:lnTo>
                        <a:pt x="142" y="361"/>
                      </a:lnTo>
                      <a:lnTo>
                        <a:pt x="141" y="361"/>
                      </a:lnTo>
                      <a:lnTo>
                        <a:pt x="142" y="361"/>
                      </a:lnTo>
                      <a:lnTo>
                        <a:pt x="142" y="362"/>
                      </a:lnTo>
                      <a:lnTo>
                        <a:pt x="141" y="362"/>
                      </a:lnTo>
                      <a:lnTo>
                        <a:pt x="140" y="362"/>
                      </a:lnTo>
                      <a:lnTo>
                        <a:pt x="140" y="362"/>
                      </a:lnTo>
                      <a:lnTo>
                        <a:pt x="140" y="363"/>
                      </a:lnTo>
                      <a:lnTo>
                        <a:pt x="141" y="363"/>
                      </a:lnTo>
                      <a:lnTo>
                        <a:pt x="140" y="364"/>
                      </a:lnTo>
                      <a:lnTo>
                        <a:pt x="141" y="364"/>
                      </a:lnTo>
                      <a:lnTo>
                        <a:pt x="140" y="364"/>
                      </a:lnTo>
                      <a:lnTo>
                        <a:pt x="140" y="366"/>
                      </a:lnTo>
                      <a:lnTo>
                        <a:pt x="139" y="366"/>
                      </a:lnTo>
                      <a:lnTo>
                        <a:pt x="139" y="366"/>
                      </a:lnTo>
                      <a:lnTo>
                        <a:pt x="138" y="367"/>
                      </a:lnTo>
                      <a:lnTo>
                        <a:pt x="138" y="366"/>
                      </a:lnTo>
                      <a:lnTo>
                        <a:pt x="138" y="368"/>
                      </a:lnTo>
                      <a:lnTo>
                        <a:pt x="139" y="369"/>
                      </a:lnTo>
                      <a:lnTo>
                        <a:pt x="139" y="372"/>
                      </a:lnTo>
                      <a:lnTo>
                        <a:pt x="140" y="373"/>
                      </a:lnTo>
                      <a:lnTo>
                        <a:pt x="139" y="375"/>
                      </a:lnTo>
                      <a:lnTo>
                        <a:pt x="140" y="376"/>
                      </a:lnTo>
                      <a:lnTo>
                        <a:pt x="139" y="377"/>
                      </a:lnTo>
                      <a:lnTo>
                        <a:pt x="140" y="377"/>
                      </a:lnTo>
                      <a:lnTo>
                        <a:pt x="140" y="380"/>
                      </a:lnTo>
                      <a:lnTo>
                        <a:pt x="140" y="380"/>
                      </a:lnTo>
                      <a:lnTo>
                        <a:pt x="140" y="381"/>
                      </a:lnTo>
                      <a:lnTo>
                        <a:pt x="141" y="381"/>
                      </a:lnTo>
                      <a:lnTo>
                        <a:pt x="141" y="381"/>
                      </a:lnTo>
                      <a:lnTo>
                        <a:pt x="142" y="380"/>
                      </a:lnTo>
                      <a:lnTo>
                        <a:pt x="142" y="376"/>
                      </a:lnTo>
                      <a:lnTo>
                        <a:pt x="143" y="373"/>
                      </a:lnTo>
                      <a:lnTo>
                        <a:pt x="143" y="373"/>
                      </a:lnTo>
                      <a:lnTo>
                        <a:pt x="145" y="372"/>
                      </a:lnTo>
                      <a:lnTo>
                        <a:pt x="145" y="370"/>
                      </a:lnTo>
                      <a:lnTo>
                        <a:pt x="145" y="369"/>
                      </a:lnTo>
                      <a:lnTo>
                        <a:pt x="143" y="368"/>
                      </a:lnTo>
                      <a:lnTo>
                        <a:pt x="143" y="367"/>
                      </a:lnTo>
                      <a:lnTo>
                        <a:pt x="146" y="364"/>
                      </a:lnTo>
                      <a:lnTo>
                        <a:pt x="146" y="364"/>
                      </a:lnTo>
                      <a:lnTo>
                        <a:pt x="146" y="364"/>
                      </a:lnTo>
                      <a:lnTo>
                        <a:pt x="146" y="364"/>
                      </a:lnTo>
                      <a:lnTo>
                        <a:pt x="147" y="364"/>
                      </a:lnTo>
                      <a:lnTo>
                        <a:pt x="147" y="363"/>
                      </a:lnTo>
                      <a:lnTo>
                        <a:pt x="147" y="362"/>
                      </a:lnTo>
                      <a:lnTo>
                        <a:pt x="147" y="361"/>
                      </a:lnTo>
                      <a:lnTo>
                        <a:pt x="148" y="362"/>
                      </a:lnTo>
                      <a:lnTo>
                        <a:pt x="148" y="361"/>
                      </a:lnTo>
                      <a:lnTo>
                        <a:pt x="148" y="361"/>
                      </a:lnTo>
                      <a:lnTo>
                        <a:pt x="149" y="360"/>
                      </a:lnTo>
                      <a:lnTo>
                        <a:pt x="149" y="359"/>
                      </a:lnTo>
                      <a:lnTo>
                        <a:pt x="152" y="359"/>
                      </a:lnTo>
                      <a:lnTo>
                        <a:pt x="152" y="355"/>
                      </a:lnTo>
                      <a:lnTo>
                        <a:pt x="152" y="354"/>
                      </a:lnTo>
                      <a:lnTo>
                        <a:pt x="152" y="354"/>
                      </a:lnTo>
                      <a:lnTo>
                        <a:pt x="153" y="353"/>
                      </a:lnTo>
                      <a:lnTo>
                        <a:pt x="153" y="352"/>
                      </a:lnTo>
                      <a:lnTo>
                        <a:pt x="154" y="350"/>
                      </a:lnTo>
                      <a:lnTo>
                        <a:pt x="155" y="350"/>
                      </a:lnTo>
                      <a:lnTo>
                        <a:pt x="155" y="348"/>
                      </a:lnTo>
                      <a:lnTo>
                        <a:pt x="155" y="347"/>
                      </a:lnTo>
                      <a:lnTo>
                        <a:pt x="156" y="347"/>
                      </a:lnTo>
                      <a:lnTo>
                        <a:pt x="157" y="346"/>
                      </a:lnTo>
                      <a:lnTo>
                        <a:pt x="157" y="346"/>
                      </a:lnTo>
                      <a:lnTo>
                        <a:pt x="157" y="343"/>
                      </a:lnTo>
                      <a:lnTo>
                        <a:pt x="156" y="343"/>
                      </a:lnTo>
                      <a:lnTo>
                        <a:pt x="156" y="342"/>
                      </a:lnTo>
                      <a:lnTo>
                        <a:pt x="156" y="340"/>
                      </a:lnTo>
                      <a:lnTo>
                        <a:pt x="156" y="340"/>
                      </a:lnTo>
                      <a:lnTo>
                        <a:pt x="155" y="339"/>
                      </a:lnTo>
                      <a:lnTo>
                        <a:pt x="155" y="339"/>
                      </a:lnTo>
                      <a:lnTo>
                        <a:pt x="155" y="336"/>
                      </a:lnTo>
                      <a:lnTo>
                        <a:pt x="154" y="336"/>
                      </a:lnTo>
                      <a:lnTo>
                        <a:pt x="154" y="336"/>
                      </a:lnTo>
                      <a:lnTo>
                        <a:pt x="154" y="335"/>
                      </a:lnTo>
                      <a:lnTo>
                        <a:pt x="154" y="334"/>
                      </a:lnTo>
                      <a:lnTo>
                        <a:pt x="153" y="334"/>
                      </a:lnTo>
                      <a:lnTo>
                        <a:pt x="152" y="332"/>
                      </a:lnTo>
                      <a:lnTo>
                        <a:pt x="152" y="330"/>
                      </a:lnTo>
                      <a:lnTo>
                        <a:pt x="152" y="329"/>
                      </a:lnTo>
                      <a:lnTo>
                        <a:pt x="152" y="327"/>
                      </a:lnTo>
                      <a:lnTo>
                        <a:pt x="150" y="327"/>
                      </a:lnTo>
                      <a:lnTo>
                        <a:pt x="150" y="327"/>
                      </a:lnTo>
                      <a:lnTo>
                        <a:pt x="149" y="327"/>
                      </a:lnTo>
                      <a:lnTo>
                        <a:pt x="149" y="325"/>
                      </a:lnTo>
                      <a:lnTo>
                        <a:pt x="148" y="325"/>
                      </a:lnTo>
                      <a:lnTo>
                        <a:pt x="148" y="322"/>
                      </a:lnTo>
                      <a:lnTo>
                        <a:pt x="147" y="322"/>
                      </a:lnTo>
                      <a:lnTo>
                        <a:pt x="147" y="320"/>
                      </a:lnTo>
                      <a:lnTo>
                        <a:pt x="146" y="320"/>
                      </a:lnTo>
                      <a:lnTo>
                        <a:pt x="145" y="317"/>
                      </a:lnTo>
                      <a:lnTo>
                        <a:pt x="145" y="316"/>
                      </a:lnTo>
                      <a:lnTo>
                        <a:pt x="145" y="315"/>
                      </a:lnTo>
                      <a:lnTo>
                        <a:pt x="147" y="315"/>
                      </a:lnTo>
                      <a:lnTo>
                        <a:pt x="146" y="313"/>
                      </a:lnTo>
                      <a:lnTo>
                        <a:pt x="146" y="313"/>
                      </a:lnTo>
                      <a:lnTo>
                        <a:pt x="146" y="310"/>
                      </a:lnTo>
                      <a:lnTo>
                        <a:pt x="146" y="309"/>
                      </a:lnTo>
                      <a:lnTo>
                        <a:pt x="145" y="308"/>
                      </a:lnTo>
                      <a:lnTo>
                        <a:pt x="145" y="308"/>
                      </a:lnTo>
                      <a:lnTo>
                        <a:pt x="145" y="306"/>
                      </a:lnTo>
                      <a:lnTo>
                        <a:pt x="145" y="305"/>
                      </a:lnTo>
                      <a:lnTo>
                        <a:pt x="145" y="303"/>
                      </a:lnTo>
                      <a:lnTo>
                        <a:pt x="143" y="303"/>
                      </a:lnTo>
                      <a:lnTo>
                        <a:pt x="143" y="302"/>
                      </a:lnTo>
                      <a:lnTo>
                        <a:pt x="143" y="301"/>
                      </a:lnTo>
                      <a:lnTo>
                        <a:pt x="142" y="300"/>
                      </a:lnTo>
                      <a:lnTo>
                        <a:pt x="141" y="297"/>
                      </a:lnTo>
                      <a:lnTo>
                        <a:pt x="141" y="297"/>
                      </a:lnTo>
                      <a:lnTo>
                        <a:pt x="141" y="297"/>
                      </a:lnTo>
                      <a:lnTo>
                        <a:pt x="139" y="296"/>
                      </a:lnTo>
                      <a:lnTo>
                        <a:pt x="139" y="296"/>
                      </a:lnTo>
                      <a:lnTo>
                        <a:pt x="136" y="294"/>
                      </a:lnTo>
                      <a:lnTo>
                        <a:pt x="136" y="293"/>
                      </a:lnTo>
                      <a:lnTo>
                        <a:pt x="135" y="293"/>
                      </a:lnTo>
                      <a:lnTo>
                        <a:pt x="134" y="292"/>
                      </a:lnTo>
                      <a:lnTo>
                        <a:pt x="134" y="292"/>
                      </a:lnTo>
                      <a:lnTo>
                        <a:pt x="133" y="290"/>
                      </a:lnTo>
                      <a:lnTo>
                        <a:pt x="132" y="287"/>
                      </a:lnTo>
                      <a:lnTo>
                        <a:pt x="130" y="287"/>
                      </a:lnTo>
                      <a:lnTo>
                        <a:pt x="130" y="287"/>
                      </a:lnTo>
                      <a:lnTo>
                        <a:pt x="129" y="286"/>
                      </a:lnTo>
                      <a:lnTo>
                        <a:pt x="127" y="283"/>
                      </a:lnTo>
                      <a:lnTo>
                        <a:pt x="127" y="283"/>
                      </a:lnTo>
                      <a:lnTo>
                        <a:pt x="126" y="282"/>
                      </a:lnTo>
                      <a:lnTo>
                        <a:pt x="126" y="281"/>
                      </a:lnTo>
                      <a:lnTo>
                        <a:pt x="126" y="281"/>
                      </a:lnTo>
                      <a:lnTo>
                        <a:pt x="125" y="280"/>
                      </a:lnTo>
                      <a:lnTo>
                        <a:pt x="125" y="277"/>
                      </a:lnTo>
                      <a:lnTo>
                        <a:pt x="125" y="277"/>
                      </a:lnTo>
                      <a:lnTo>
                        <a:pt x="123" y="276"/>
                      </a:lnTo>
                      <a:lnTo>
                        <a:pt x="125" y="275"/>
                      </a:lnTo>
                      <a:lnTo>
                        <a:pt x="123" y="274"/>
                      </a:lnTo>
                      <a:lnTo>
                        <a:pt x="125" y="273"/>
                      </a:lnTo>
                      <a:lnTo>
                        <a:pt x="126" y="272"/>
                      </a:lnTo>
                      <a:lnTo>
                        <a:pt x="127" y="272"/>
                      </a:lnTo>
                      <a:lnTo>
                        <a:pt x="127" y="273"/>
                      </a:lnTo>
                      <a:lnTo>
                        <a:pt x="127" y="272"/>
                      </a:lnTo>
                      <a:lnTo>
                        <a:pt x="127" y="270"/>
                      </a:lnTo>
                      <a:lnTo>
                        <a:pt x="128" y="270"/>
                      </a:lnTo>
                      <a:lnTo>
                        <a:pt x="129" y="270"/>
                      </a:lnTo>
                      <a:lnTo>
                        <a:pt x="130" y="270"/>
                      </a:lnTo>
                      <a:lnTo>
                        <a:pt x="130" y="272"/>
                      </a:lnTo>
                      <a:lnTo>
                        <a:pt x="130" y="270"/>
                      </a:lnTo>
                      <a:lnTo>
                        <a:pt x="132" y="268"/>
                      </a:lnTo>
                      <a:lnTo>
                        <a:pt x="129" y="266"/>
                      </a:lnTo>
                      <a:lnTo>
                        <a:pt x="130" y="265"/>
                      </a:lnTo>
                      <a:lnTo>
                        <a:pt x="129" y="263"/>
                      </a:lnTo>
                      <a:lnTo>
                        <a:pt x="130" y="261"/>
                      </a:lnTo>
                      <a:lnTo>
                        <a:pt x="129" y="259"/>
                      </a:lnTo>
                      <a:lnTo>
                        <a:pt x="129" y="259"/>
                      </a:lnTo>
                      <a:lnTo>
                        <a:pt x="129" y="257"/>
                      </a:lnTo>
                      <a:lnTo>
                        <a:pt x="128" y="256"/>
                      </a:lnTo>
                      <a:lnTo>
                        <a:pt x="130" y="256"/>
                      </a:lnTo>
                      <a:lnTo>
                        <a:pt x="130" y="255"/>
                      </a:lnTo>
                      <a:lnTo>
                        <a:pt x="130" y="255"/>
                      </a:lnTo>
                      <a:lnTo>
                        <a:pt x="130" y="254"/>
                      </a:lnTo>
                      <a:lnTo>
                        <a:pt x="133" y="255"/>
                      </a:lnTo>
                      <a:lnTo>
                        <a:pt x="133" y="254"/>
                      </a:lnTo>
                      <a:lnTo>
                        <a:pt x="134" y="253"/>
                      </a:lnTo>
                      <a:lnTo>
                        <a:pt x="134" y="252"/>
                      </a:lnTo>
                      <a:lnTo>
                        <a:pt x="134" y="250"/>
                      </a:lnTo>
                      <a:lnTo>
                        <a:pt x="134" y="249"/>
                      </a:lnTo>
                      <a:lnTo>
                        <a:pt x="133" y="249"/>
                      </a:lnTo>
                      <a:lnTo>
                        <a:pt x="133" y="248"/>
                      </a:lnTo>
                      <a:lnTo>
                        <a:pt x="133" y="248"/>
                      </a:lnTo>
                      <a:lnTo>
                        <a:pt x="132" y="249"/>
                      </a:lnTo>
                      <a:lnTo>
                        <a:pt x="130" y="250"/>
                      </a:lnTo>
                      <a:lnTo>
                        <a:pt x="132" y="252"/>
                      </a:lnTo>
                      <a:lnTo>
                        <a:pt x="130" y="252"/>
                      </a:lnTo>
                      <a:lnTo>
                        <a:pt x="130" y="249"/>
                      </a:lnTo>
                      <a:lnTo>
                        <a:pt x="129" y="249"/>
                      </a:lnTo>
                      <a:lnTo>
                        <a:pt x="129" y="248"/>
                      </a:lnTo>
                      <a:lnTo>
                        <a:pt x="128" y="246"/>
                      </a:lnTo>
                      <a:lnTo>
                        <a:pt x="128" y="246"/>
                      </a:lnTo>
                      <a:lnTo>
                        <a:pt x="127" y="245"/>
                      </a:lnTo>
                      <a:lnTo>
                        <a:pt x="127" y="245"/>
                      </a:lnTo>
                      <a:lnTo>
                        <a:pt x="126" y="243"/>
                      </a:lnTo>
                      <a:lnTo>
                        <a:pt x="125" y="243"/>
                      </a:lnTo>
                      <a:lnTo>
                        <a:pt x="126" y="242"/>
                      </a:lnTo>
                      <a:lnTo>
                        <a:pt x="126" y="242"/>
                      </a:lnTo>
                      <a:lnTo>
                        <a:pt x="127" y="242"/>
                      </a:lnTo>
                      <a:lnTo>
                        <a:pt x="126" y="240"/>
                      </a:lnTo>
                      <a:lnTo>
                        <a:pt x="126" y="240"/>
                      </a:lnTo>
                      <a:lnTo>
                        <a:pt x="126" y="240"/>
                      </a:lnTo>
                      <a:lnTo>
                        <a:pt x="126" y="239"/>
                      </a:lnTo>
                      <a:lnTo>
                        <a:pt x="126" y="239"/>
                      </a:lnTo>
                      <a:lnTo>
                        <a:pt x="126" y="239"/>
                      </a:lnTo>
                      <a:lnTo>
                        <a:pt x="123" y="237"/>
                      </a:lnTo>
                      <a:lnTo>
                        <a:pt x="123" y="236"/>
                      </a:lnTo>
                      <a:lnTo>
                        <a:pt x="123" y="235"/>
                      </a:lnTo>
                      <a:lnTo>
                        <a:pt x="121" y="235"/>
                      </a:lnTo>
                      <a:lnTo>
                        <a:pt x="121" y="235"/>
                      </a:lnTo>
                      <a:lnTo>
                        <a:pt x="121" y="235"/>
                      </a:lnTo>
                      <a:lnTo>
                        <a:pt x="121" y="234"/>
                      </a:lnTo>
                      <a:lnTo>
                        <a:pt x="120" y="233"/>
                      </a:lnTo>
                      <a:lnTo>
                        <a:pt x="118" y="230"/>
                      </a:lnTo>
                      <a:lnTo>
                        <a:pt x="116" y="229"/>
                      </a:lnTo>
                      <a:lnTo>
                        <a:pt x="115" y="229"/>
                      </a:lnTo>
                      <a:lnTo>
                        <a:pt x="115" y="228"/>
                      </a:lnTo>
                      <a:lnTo>
                        <a:pt x="115" y="228"/>
                      </a:lnTo>
                      <a:lnTo>
                        <a:pt x="115" y="227"/>
                      </a:lnTo>
                      <a:lnTo>
                        <a:pt x="113" y="226"/>
                      </a:lnTo>
                      <a:lnTo>
                        <a:pt x="110" y="223"/>
                      </a:lnTo>
                      <a:lnTo>
                        <a:pt x="109" y="221"/>
                      </a:lnTo>
                      <a:lnTo>
                        <a:pt x="108" y="220"/>
                      </a:lnTo>
                      <a:lnTo>
                        <a:pt x="108" y="219"/>
                      </a:lnTo>
                      <a:lnTo>
                        <a:pt x="108" y="217"/>
                      </a:lnTo>
                      <a:lnTo>
                        <a:pt x="108" y="217"/>
                      </a:lnTo>
                      <a:lnTo>
                        <a:pt x="108" y="217"/>
                      </a:lnTo>
                      <a:lnTo>
                        <a:pt x="108" y="215"/>
                      </a:lnTo>
                      <a:lnTo>
                        <a:pt x="107" y="215"/>
                      </a:lnTo>
                      <a:lnTo>
                        <a:pt x="108" y="215"/>
                      </a:lnTo>
                      <a:lnTo>
                        <a:pt x="107" y="214"/>
                      </a:lnTo>
                      <a:lnTo>
                        <a:pt x="107" y="213"/>
                      </a:lnTo>
                      <a:lnTo>
                        <a:pt x="106" y="212"/>
                      </a:lnTo>
                      <a:lnTo>
                        <a:pt x="106" y="212"/>
                      </a:lnTo>
                      <a:lnTo>
                        <a:pt x="106" y="210"/>
                      </a:lnTo>
                      <a:lnTo>
                        <a:pt x="106" y="210"/>
                      </a:lnTo>
                      <a:lnTo>
                        <a:pt x="106" y="210"/>
                      </a:lnTo>
                      <a:lnTo>
                        <a:pt x="105" y="210"/>
                      </a:lnTo>
                      <a:lnTo>
                        <a:pt x="105" y="210"/>
                      </a:lnTo>
                      <a:lnTo>
                        <a:pt x="105" y="210"/>
                      </a:lnTo>
                      <a:lnTo>
                        <a:pt x="102" y="210"/>
                      </a:lnTo>
                      <a:lnTo>
                        <a:pt x="102" y="210"/>
                      </a:lnTo>
                      <a:lnTo>
                        <a:pt x="101" y="208"/>
                      </a:lnTo>
                      <a:lnTo>
                        <a:pt x="100" y="205"/>
                      </a:lnTo>
                      <a:lnTo>
                        <a:pt x="100" y="205"/>
                      </a:lnTo>
                      <a:lnTo>
                        <a:pt x="100" y="205"/>
                      </a:lnTo>
                      <a:lnTo>
                        <a:pt x="101" y="205"/>
                      </a:lnTo>
                      <a:lnTo>
                        <a:pt x="101" y="207"/>
                      </a:lnTo>
                      <a:lnTo>
                        <a:pt x="103" y="207"/>
                      </a:lnTo>
                      <a:lnTo>
                        <a:pt x="105" y="206"/>
                      </a:lnTo>
                      <a:lnTo>
                        <a:pt x="105" y="205"/>
                      </a:lnTo>
                      <a:lnTo>
                        <a:pt x="106" y="205"/>
                      </a:lnTo>
                      <a:lnTo>
                        <a:pt x="107" y="205"/>
                      </a:lnTo>
                      <a:lnTo>
                        <a:pt x="108" y="202"/>
                      </a:lnTo>
                      <a:lnTo>
                        <a:pt x="107" y="201"/>
                      </a:lnTo>
                      <a:lnTo>
                        <a:pt x="106" y="199"/>
                      </a:lnTo>
                      <a:lnTo>
                        <a:pt x="105" y="198"/>
                      </a:lnTo>
                      <a:lnTo>
                        <a:pt x="106" y="196"/>
                      </a:lnTo>
                      <a:lnTo>
                        <a:pt x="105" y="195"/>
                      </a:lnTo>
                      <a:lnTo>
                        <a:pt x="107" y="194"/>
                      </a:lnTo>
                      <a:lnTo>
                        <a:pt x="106" y="192"/>
                      </a:lnTo>
                      <a:lnTo>
                        <a:pt x="106" y="190"/>
                      </a:lnTo>
                      <a:lnTo>
                        <a:pt x="106" y="190"/>
                      </a:lnTo>
                      <a:lnTo>
                        <a:pt x="105" y="187"/>
                      </a:lnTo>
                      <a:lnTo>
                        <a:pt x="106" y="186"/>
                      </a:lnTo>
                      <a:lnTo>
                        <a:pt x="106" y="186"/>
                      </a:lnTo>
                      <a:lnTo>
                        <a:pt x="106" y="185"/>
                      </a:lnTo>
                      <a:lnTo>
                        <a:pt x="107" y="185"/>
                      </a:lnTo>
                      <a:lnTo>
                        <a:pt x="108" y="183"/>
                      </a:lnTo>
                      <a:lnTo>
                        <a:pt x="108" y="183"/>
                      </a:lnTo>
                      <a:lnTo>
                        <a:pt x="108" y="182"/>
                      </a:lnTo>
                      <a:lnTo>
                        <a:pt x="108" y="182"/>
                      </a:lnTo>
                      <a:lnTo>
                        <a:pt x="108" y="180"/>
                      </a:lnTo>
                      <a:lnTo>
                        <a:pt x="109" y="180"/>
                      </a:lnTo>
                      <a:lnTo>
                        <a:pt x="109" y="180"/>
                      </a:lnTo>
                      <a:lnTo>
                        <a:pt x="109" y="180"/>
                      </a:lnTo>
                      <a:lnTo>
                        <a:pt x="112" y="181"/>
                      </a:lnTo>
                      <a:lnTo>
                        <a:pt x="112" y="182"/>
                      </a:lnTo>
                      <a:lnTo>
                        <a:pt x="112" y="182"/>
                      </a:lnTo>
                      <a:lnTo>
                        <a:pt x="113" y="182"/>
                      </a:lnTo>
                      <a:lnTo>
                        <a:pt x="113" y="182"/>
                      </a:lnTo>
                      <a:lnTo>
                        <a:pt x="116" y="182"/>
                      </a:lnTo>
                      <a:lnTo>
                        <a:pt x="118" y="182"/>
                      </a:lnTo>
                      <a:lnTo>
                        <a:pt x="119" y="182"/>
                      </a:lnTo>
                      <a:lnTo>
                        <a:pt x="119" y="182"/>
                      </a:lnTo>
                      <a:lnTo>
                        <a:pt x="119" y="182"/>
                      </a:lnTo>
                      <a:lnTo>
                        <a:pt x="120" y="181"/>
                      </a:lnTo>
                      <a:lnTo>
                        <a:pt x="122" y="180"/>
                      </a:lnTo>
                      <a:lnTo>
                        <a:pt x="122" y="179"/>
                      </a:lnTo>
                      <a:lnTo>
                        <a:pt x="125" y="180"/>
                      </a:lnTo>
                      <a:lnTo>
                        <a:pt x="125" y="180"/>
                      </a:lnTo>
                      <a:lnTo>
                        <a:pt x="125" y="180"/>
                      </a:lnTo>
                      <a:lnTo>
                        <a:pt x="126" y="179"/>
                      </a:lnTo>
                      <a:lnTo>
                        <a:pt x="125" y="178"/>
                      </a:lnTo>
                      <a:lnTo>
                        <a:pt x="126" y="178"/>
                      </a:lnTo>
                      <a:lnTo>
                        <a:pt x="126" y="176"/>
                      </a:lnTo>
                      <a:lnTo>
                        <a:pt x="126" y="174"/>
                      </a:lnTo>
                      <a:lnTo>
                        <a:pt x="126" y="174"/>
                      </a:lnTo>
                      <a:lnTo>
                        <a:pt x="127" y="173"/>
                      </a:lnTo>
                      <a:lnTo>
                        <a:pt x="129" y="174"/>
                      </a:lnTo>
                      <a:lnTo>
                        <a:pt x="130" y="174"/>
                      </a:lnTo>
                      <a:lnTo>
                        <a:pt x="133" y="174"/>
                      </a:lnTo>
                      <a:lnTo>
                        <a:pt x="134" y="173"/>
                      </a:lnTo>
                      <a:lnTo>
                        <a:pt x="134" y="173"/>
                      </a:lnTo>
                      <a:lnTo>
                        <a:pt x="134" y="172"/>
                      </a:lnTo>
                      <a:lnTo>
                        <a:pt x="133" y="170"/>
                      </a:lnTo>
                      <a:lnTo>
                        <a:pt x="133" y="168"/>
                      </a:lnTo>
                      <a:lnTo>
                        <a:pt x="132" y="167"/>
                      </a:lnTo>
                      <a:lnTo>
                        <a:pt x="133" y="168"/>
                      </a:lnTo>
                      <a:lnTo>
                        <a:pt x="136" y="168"/>
                      </a:lnTo>
                      <a:lnTo>
                        <a:pt x="136" y="168"/>
                      </a:lnTo>
                      <a:lnTo>
                        <a:pt x="138" y="168"/>
                      </a:lnTo>
                      <a:lnTo>
                        <a:pt x="139" y="167"/>
                      </a:lnTo>
                      <a:lnTo>
                        <a:pt x="141" y="167"/>
                      </a:lnTo>
                      <a:lnTo>
                        <a:pt x="141" y="167"/>
                      </a:lnTo>
                      <a:lnTo>
                        <a:pt x="142" y="167"/>
                      </a:lnTo>
                      <a:lnTo>
                        <a:pt x="142" y="168"/>
                      </a:lnTo>
                      <a:lnTo>
                        <a:pt x="143" y="168"/>
                      </a:lnTo>
                      <a:lnTo>
                        <a:pt x="143" y="167"/>
                      </a:lnTo>
                      <a:lnTo>
                        <a:pt x="143" y="162"/>
                      </a:lnTo>
                      <a:lnTo>
                        <a:pt x="145" y="160"/>
                      </a:lnTo>
                      <a:lnTo>
                        <a:pt x="147" y="159"/>
                      </a:lnTo>
                      <a:lnTo>
                        <a:pt x="146" y="159"/>
                      </a:lnTo>
                      <a:lnTo>
                        <a:pt x="149" y="159"/>
                      </a:lnTo>
                      <a:lnTo>
                        <a:pt x="150" y="159"/>
                      </a:lnTo>
                      <a:lnTo>
                        <a:pt x="152" y="158"/>
                      </a:lnTo>
                      <a:lnTo>
                        <a:pt x="152" y="158"/>
                      </a:lnTo>
                      <a:lnTo>
                        <a:pt x="150" y="158"/>
                      </a:lnTo>
                      <a:lnTo>
                        <a:pt x="149" y="158"/>
                      </a:lnTo>
                      <a:lnTo>
                        <a:pt x="149" y="158"/>
                      </a:lnTo>
                      <a:lnTo>
                        <a:pt x="149" y="156"/>
                      </a:lnTo>
                      <a:lnTo>
                        <a:pt x="149" y="155"/>
                      </a:lnTo>
                      <a:lnTo>
                        <a:pt x="149" y="154"/>
                      </a:lnTo>
                      <a:lnTo>
                        <a:pt x="150" y="154"/>
                      </a:lnTo>
                      <a:lnTo>
                        <a:pt x="152" y="152"/>
                      </a:lnTo>
                      <a:lnTo>
                        <a:pt x="152" y="150"/>
                      </a:lnTo>
                      <a:lnTo>
                        <a:pt x="152" y="148"/>
                      </a:lnTo>
                      <a:lnTo>
                        <a:pt x="153" y="148"/>
                      </a:lnTo>
                      <a:lnTo>
                        <a:pt x="154" y="148"/>
                      </a:lnTo>
                      <a:lnTo>
                        <a:pt x="154" y="147"/>
                      </a:lnTo>
                      <a:lnTo>
                        <a:pt x="155" y="146"/>
                      </a:lnTo>
                      <a:lnTo>
                        <a:pt x="157" y="145"/>
                      </a:lnTo>
                      <a:lnTo>
                        <a:pt x="159" y="142"/>
                      </a:lnTo>
                      <a:lnTo>
                        <a:pt x="157" y="139"/>
                      </a:lnTo>
                      <a:lnTo>
                        <a:pt x="153" y="141"/>
                      </a:lnTo>
                      <a:lnTo>
                        <a:pt x="150" y="143"/>
                      </a:lnTo>
                      <a:lnTo>
                        <a:pt x="149" y="145"/>
                      </a:lnTo>
                      <a:lnTo>
                        <a:pt x="148" y="146"/>
                      </a:lnTo>
                      <a:lnTo>
                        <a:pt x="147" y="145"/>
                      </a:lnTo>
                      <a:lnTo>
                        <a:pt x="145" y="143"/>
                      </a:lnTo>
                      <a:lnTo>
                        <a:pt x="143" y="143"/>
                      </a:lnTo>
                      <a:lnTo>
                        <a:pt x="142" y="146"/>
                      </a:lnTo>
                      <a:lnTo>
                        <a:pt x="140" y="146"/>
                      </a:lnTo>
                      <a:lnTo>
                        <a:pt x="140" y="145"/>
                      </a:lnTo>
                      <a:lnTo>
                        <a:pt x="139" y="145"/>
                      </a:lnTo>
                      <a:lnTo>
                        <a:pt x="139" y="142"/>
                      </a:lnTo>
                      <a:lnTo>
                        <a:pt x="140" y="142"/>
                      </a:lnTo>
                      <a:lnTo>
                        <a:pt x="139" y="141"/>
                      </a:lnTo>
                      <a:lnTo>
                        <a:pt x="135" y="138"/>
                      </a:lnTo>
                      <a:lnTo>
                        <a:pt x="136" y="133"/>
                      </a:lnTo>
                      <a:lnTo>
                        <a:pt x="135" y="133"/>
                      </a:lnTo>
                      <a:lnTo>
                        <a:pt x="134" y="132"/>
                      </a:lnTo>
                      <a:lnTo>
                        <a:pt x="134" y="133"/>
                      </a:lnTo>
                      <a:lnTo>
                        <a:pt x="133" y="133"/>
                      </a:lnTo>
                      <a:lnTo>
                        <a:pt x="132" y="132"/>
                      </a:lnTo>
                      <a:lnTo>
                        <a:pt x="129" y="132"/>
                      </a:lnTo>
                      <a:lnTo>
                        <a:pt x="128" y="132"/>
                      </a:lnTo>
                      <a:lnTo>
                        <a:pt x="127" y="132"/>
                      </a:lnTo>
                      <a:lnTo>
                        <a:pt x="120" y="130"/>
                      </a:lnTo>
                      <a:lnTo>
                        <a:pt x="122" y="129"/>
                      </a:lnTo>
                      <a:lnTo>
                        <a:pt x="123" y="128"/>
                      </a:lnTo>
                      <a:lnTo>
                        <a:pt x="122" y="126"/>
                      </a:lnTo>
                      <a:lnTo>
                        <a:pt x="123" y="125"/>
                      </a:lnTo>
                      <a:lnTo>
                        <a:pt x="122" y="118"/>
                      </a:lnTo>
                      <a:lnTo>
                        <a:pt x="122" y="114"/>
                      </a:lnTo>
                      <a:lnTo>
                        <a:pt x="126" y="115"/>
                      </a:lnTo>
                      <a:lnTo>
                        <a:pt x="125" y="114"/>
                      </a:lnTo>
                      <a:lnTo>
                        <a:pt x="125" y="112"/>
                      </a:lnTo>
                      <a:lnTo>
                        <a:pt x="120" y="112"/>
                      </a:lnTo>
                      <a:lnTo>
                        <a:pt x="120" y="113"/>
                      </a:lnTo>
                      <a:lnTo>
                        <a:pt x="118" y="113"/>
                      </a:lnTo>
                      <a:lnTo>
                        <a:pt x="116" y="110"/>
                      </a:lnTo>
                      <a:lnTo>
                        <a:pt x="113" y="110"/>
                      </a:lnTo>
                      <a:lnTo>
                        <a:pt x="113" y="107"/>
                      </a:lnTo>
                      <a:lnTo>
                        <a:pt x="112" y="105"/>
                      </a:lnTo>
                      <a:lnTo>
                        <a:pt x="110" y="105"/>
                      </a:lnTo>
                      <a:lnTo>
                        <a:pt x="109" y="101"/>
                      </a:lnTo>
                      <a:lnTo>
                        <a:pt x="109" y="99"/>
                      </a:lnTo>
                      <a:lnTo>
                        <a:pt x="109" y="98"/>
                      </a:lnTo>
                      <a:lnTo>
                        <a:pt x="106" y="94"/>
                      </a:lnTo>
                      <a:lnTo>
                        <a:pt x="108" y="93"/>
                      </a:lnTo>
                      <a:lnTo>
                        <a:pt x="110" y="90"/>
                      </a:lnTo>
                      <a:lnTo>
                        <a:pt x="109" y="90"/>
                      </a:lnTo>
                      <a:lnTo>
                        <a:pt x="107" y="92"/>
                      </a:lnTo>
                      <a:lnTo>
                        <a:pt x="105" y="92"/>
                      </a:lnTo>
                      <a:lnTo>
                        <a:pt x="102" y="92"/>
                      </a:lnTo>
                      <a:lnTo>
                        <a:pt x="99" y="90"/>
                      </a:lnTo>
                      <a:lnTo>
                        <a:pt x="96" y="92"/>
                      </a:lnTo>
                      <a:lnTo>
                        <a:pt x="94" y="92"/>
                      </a:lnTo>
                      <a:lnTo>
                        <a:pt x="93" y="93"/>
                      </a:lnTo>
                      <a:lnTo>
                        <a:pt x="92" y="94"/>
                      </a:lnTo>
                      <a:lnTo>
                        <a:pt x="89" y="96"/>
                      </a:lnTo>
                      <a:lnTo>
                        <a:pt x="88" y="95"/>
                      </a:lnTo>
                      <a:lnTo>
                        <a:pt x="87" y="94"/>
                      </a:lnTo>
                      <a:lnTo>
                        <a:pt x="89" y="92"/>
                      </a:lnTo>
                      <a:lnTo>
                        <a:pt x="88" y="86"/>
                      </a:lnTo>
                      <a:lnTo>
                        <a:pt x="87" y="85"/>
                      </a:lnTo>
                      <a:lnTo>
                        <a:pt x="85" y="85"/>
                      </a:lnTo>
                      <a:lnTo>
                        <a:pt x="83" y="78"/>
                      </a:lnTo>
                      <a:lnTo>
                        <a:pt x="85" y="76"/>
                      </a:lnTo>
                      <a:lnTo>
                        <a:pt x="88" y="75"/>
                      </a:lnTo>
                      <a:lnTo>
                        <a:pt x="87" y="74"/>
                      </a:lnTo>
                      <a:lnTo>
                        <a:pt x="87" y="67"/>
                      </a:lnTo>
                      <a:lnTo>
                        <a:pt x="88" y="68"/>
                      </a:lnTo>
                      <a:lnTo>
                        <a:pt x="90" y="66"/>
                      </a:lnTo>
                      <a:lnTo>
                        <a:pt x="92" y="63"/>
                      </a:lnTo>
                      <a:lnTo>
                        <a:pt x="90" y="60"/>
                      </a:lnTo>
                      <a:lnTo>
                        <a:pt x="94" y="61"/>
                      </a:lnTo>
                      <a:lnTo>
                        <a:pt x="95" y="61"/>
                      </a:lnTo>
                      <a:lnTo>
                        <a:pt x="96" y="59"/>
                      </a:lnTo>
                      <a:lnTo>
                        <a:pt x="96" y="58"/>
                      </a:lnTo>
                      <a:lnTo>
                        <a:pt x="100" y="58"/>
                      </a:lnTo>
                      <a:lnTo>
                        <a:pt x="101" y="56"/>
                      </a:lnTo>
                      <a:lnTo>
                        <a:pt x="100" y="54"/>
                      </a:lnTo>
                      <a:lnTo>
                        <a:pt x="99" y="53"/>
                      </a:lnTo>
                      <a:lnTo>
                        <a:pt x="98" y="51"/>
                      </a:lnTo>
                      <a:lnTo>
                        <a:pt x="100" y="52"/>
                      </a:lnTo>
                      <a:lnTo>
                        <a:pt x="99" y="48"/>
                      </a:lnTo>
                      <a:lnTo>
                        <a:pt x="100" y="46"/>
                      </a:lnTo>
                      <a:lnTo>
                        <a:pt x="99" y="41"/>
                      </a:lnTo>
                      <a:lnTo>
                        <a:pt x="100" y="41"/>
                      </a:lnTo>
                      <a:lnTo>
                        <a:pt x="99" y="40"/>
                      </a:lnTo>
                      <a:lnTo>
                        <a:pt x="99" y="38"/>
                      </a:lnTo>
                      <a:lnTo>
                        <a:pt x="96" y="35"/>
                      </a:lnTo>
                      <a:lnTo>
                        <a:pt x="96" y="33"/>
                      </a:lnTo>
                      <a:lnTo>
                        <a:pt x="94" y="32"/>
                      </a:lnTo>
                      <a:lnTo>
                        <a:pt x="96" y="27"/>
                      </a:lnTo>
                      <a:lnTo>
                        <a:pt x="94" y="27"/>
                      </a:lnTo>
                      <a:lnTo>
                        <a:pt x="93" y="22"/>
                      </a:lnTo>
                      <a:lnTo>
                        <a:pt x="87" y="20"/>
                      </a:lnTo>
                      <a:lnTo>
                        <a:pt x="86" y="22"/>
                      </a:lnTo>
                      <a:lnTo>
                        <a:pt x="82" y="16"/>
                      </a:lnTo>
                      <a:lnTo>
                        <a:pt x="79" y="13"/>
                      </a:lnTo>
                      <a:lnTo>
                        <a:pt x="81" y="13"/>
                      </a:lnTo>
                      <a:lnTo>
                        <a:pt x="81" y="12"/>
                      </a:lnTo>
                      <a:lnTo>
                        <a:pt x="81" y="9"/>
                      </a:lnTo>
                      <a:lnTo>
                        <a:pt x="80" y="8"/>
                      </a:lnTo>
                      <a:lnTo>
                        <a:pt x="79" y="7"/>
                      </a:lnTo>
                      <a:lnTo>
                        <a:pt x="78" y="6"/>
                      </a:lnTo>
                      <a:lnTo>
                        <a:pt x="76" y="5"/>
                      </a:lnTo>
                      <a:lnTo>
                        <a:pt x="74" y="3"/>
                      </a:lnTo>
                      <a:lnTo>
                        <a:pt x="72" y="5"/>
                      </a:lnTo>
                      <a:lnTo>
                        <a:pt x="72" y="2"/>
                      </a:lnTo>
                      <a:lnTo>
                        <a:pt x="70" y="1"/>
                      </a:lnTo>
                      <a:lnTo>
                        <a:pt x="69" y="0"/>
                      </a:lnTo>
                      <a:lnTo>
                        <a:pt x="68" y="1"/>
                      </a:lnTo>
                      <a:lnTo>
                        <a:pt x="67" y="0"/>
                      </a:lnTo>
                      <a:lnTo>
                        <a:pt x="67" y="0"/>
                      </a:lnTo>
                      <a:lnTo>
                        <a:pt x="67" y="0"/>
                      </a:lnTo>
                      <a:lnTo>
                        <a:pt x="67" y="3"/>
                      </a:lnTo>
                      <a:lnTo>
                        <a:pt x="66" y="3"/>
                      </a:lnTo>
                      <a:lnTo>
                        <a:pt x="66" y="5"/>
                      </a:lnTo>
                      <a:lnTo>
                        <a:pt x="66" y="6"/>
                      </a:lnTo>
                      <a:lnTo>
                        <a:pt x="66" y="8"/>
                      </a:lnTo>
                      <a:lnTo>
                        <a:pt x="65" y="11"/>
                      </a:lnTo>
                      <a:lnTo>
                        <a:pt x="66" y="13"/>
                      </a:lnTo>
                      <a:lnTo>
                        <a:pt x="65" y="13"/>
                      </a:lnTo>
                      <a:lnTo>
                        <a:pt x="63" y="15"/>
                      </a:lnTo>
                      <a:lnTo>
                        <a:pt x="63" y="15"/>
                      </a:lnTo>
                      <a:lnTo>
                        <a:pt x="62" y="16"/>
                      </a:lnTo>
                      <a:lnTo>
                        <a:pt x="62" y="18"/>
                      </a:lnTo>
                      <a:lnTo>
                        <a:pt x="62" y="18"/>
                      </a:lnTo>
                      <a:lnTo>
                        <a:pt x="61" y="18"/>
                      </a:lnTo>
                      <a:lnTo>
                        <a:pt x="61" y="19"/>
                      </a:lnTo>
                      <a:lnTo>
                        <a:pt x="60" y="21"/>
                      </a:lnTo>
                      <a:lnTo>
                        <a:pt x="61" y="22"/>
                      </a:lnTo>
                      <a:lnTo>
                        <a:pt x="62" y="23"/>
                      </a:lnTo>
                      <a:lnTo>
                        <a:pt x="63" y="25"/>
                      </a:lnTo>
                      <a:lnTo>
                        <a:pt x="65" y="26"/>
                      </a:lnTo>
                      <a:lnTo>
                        <a:pt x="67" y="27"/>
                      </a:lnTo>
                      <a:lnTo>
                        <a:pt x="68" y="28"/>
                      </a:lnTo>
                      <a:lnTo>
                        <a:pt x="67" y="29"/>
                      </a:lnTo>
                      <a:lnTo>
                        <a:pt x="63" y="28"/>
                      </a:lnTo>
                      <a:lnTo>
                        <a:pt x="60" y="27"/>
                      </a:lnTo>
                      <a:lnTo>
                        <a:pt x="61" y="26"/>
                      </a:lnTo>
                      <a:lnTo>
                        <a:pt x="59" y="25"/>
                      </a:lnTo>
                      <a:lnTo>
                        <a:pt x="58" y="25"/>
                      </a:lnTo>
                      <a:lnTo>
                        <a:pt x="56" y="25"/>
                      </a:lnTo>
                      <a:lnTo>
                        <a:pt x="55" y="26"/>
                      </a:lnTo>
                      <a:lnTo>
                        <a:pt x="53" y="26"/>
                      </a:lnTo>
                      <a:lnTo>
                        <a:pt x="49" y="26"/>
                      </a:lnTo>
                      <a:lnTo>
                        <a:pt x="48" y="28"/>
                      </a:lnTo>
                      <a:lnTo>
                        <a:pt x="46" y="31"/>
                      </a:lnTo>
                      <a:lnTo>
                        <a:pt x="42" y="32"/>
                      </a:lnTo>
                      <a:lnTo>
                        <a:pt x="43" y="34"/>
                      </a:lnTo>
                      <a:lnTo>
                        <a:pt x="42" y="34"/>
                      </a:lnTo>
                      <a:lnTo>
                        <a:pt x="41" y="35"/>
                      </a:lnTo>
                      <a:lnTo>
                        <a:pt x="39" y="35"/>
                      </a:lnTo>
                      <a:lnTo>
                        <a:pt x="38" y="38"/>
                      </a:lnTo>
                      <a:lnTo>
                        <a:pt x="35" y="39"/>
                      </a:lnTo>
                      <a:lnTo>
                        <a:pt x="34" y="39"/>
                      </a:lnTo>
                      <a:lnTo>
                        <a:pt x="34" y="40"/>
                      </a:lnTo>
                      <a:lnTo>
                        <a:pt x="33" y="42"/>
                      </a:lnTo>
                      <a:lnTo>
                        <a:pt x="34" y="43"/>
                      </a:lnTo>
                      <a:lnTo>
                        <a:pt x="33" y="45"/>
                      </a:lnTo>
                      <a:lnTo>
                        <a:pt x="34" y="47"/>
                      </a:lnTo>
                      <a:lnTo>
                        <a:pt x="35" y="47"/>
                      </a:lnTo>
                      <a:lnTo>
                        <a:pt x="35" y="48"/>
                      </a:lnTo>
                      <a:lnTo>
                        <a:pt x="36" y="52"/>
                      </a:lnTo>
                      <a:lnTo>
                        <a:pt x="35" y="54"/>
                      </a:lnTo>
                      <a:lnTo>
                        <a:pt x="35" y="56"/>
                      </a:lnTo>
                      <a:lnTo>
                        <a:pt x="34" y="58"/>
                      </a:lnTo>
                      <a:lnTo>
                        <a:pt x="34" y="60"/>
                      </a:lnTo>
                      <a:lnTo>
                        <a:pt x="32" y="60"/>
                      </a:lnTo>
                      <a:lnTo>
                        <a:pt x="32" y="62"/>
                      </a:lnTo>
                      <a:lnTo>
                        <a:pt x="29" y="63"/>
                      </a:lnTo>
                      <a:lnTo>
                        <a:pt x="29" y="65"/>
                      </a:lnTo>
                      <a:lnTo>
                        <a:pt x="28" y="66"/>
                      </a:lnTo>
                      <a:lnTo>
                        <a:pt x="29" y="68"/>
                      </a:lnTo>
                      <a:lnTo>
                        <a:pt x="33" y="69"/>
                      </a:lnTo>
                      <a:lnTo>
                        <a:pt x="33" y="73"/>
                      </a:lnTo>
                      <a:lnTo>
                        <a:pt x="32" y="74"/>
                      </a:lnTo>
                      <a:lnTo>
                        <a:pt x="30" y="75"/>
                      </a:lnTo>
                      <a:lnTo>
                        <a:pt x="32" y="78"/>
                      </a:lnTo>
                      <a:lnTo>
                        <a:pt x="29" y="78"/>
                      </a:lnTo>
                      <a:lnTo>
                        <a:pt x="29" y="80"/>
                      </a:lnTo>
                      <a:lnTo>
                        <a:pt x="29" y="81"/>
                      </a:lnTo>
                      <a:lnTo>
                        <a:pt x="29" y="83"/>
                      </a:lnTo>
                      <a:lnTo>
                        <a:pt x="28" y="85"/>
                      </a:lnTo>
                      <a:lnTo>
                        <a:pt x="28" y="86"/>
                      </a:lnTo>
                      <a:lnTo>
                        <a:pt x="27" y="88"/>
                      </a:lnTo>
                      <a:lnTo>
                        <a:pt x="28" y="90"/>
                      </a:lnTo>
                      <a:lnTo>
                        <a:pt x="27" y="93"/>
                      </a:lnTo>
                      <a:lnTo>
                        <a:pt x="28" y="94"/>
                      </a:lnTo>
                      <a:lnTo>
                        <a:pt x="28" y="96"/>
                      </a:lnTo>
                      <a:lnTo>
                        <a:pt x="26" y="96"/>
                      </a:lnTo>
                      <a:lnTo>
                        <a:pt x="23" y="95"/>
                      </a:lnTo>
                      <a:lnTo>
                        <a:pt x="20" y="94"/>
                      </a:lnTo>
                      <a:lnTo>
                        <a:pt x="19" y="94"/>
                      </a:lnTo>
                      <a:lnTo>
                        <a:pt x="18" y="94"/>
                      </a:lnTo>
                      <a:lnTo>
                        <a:pt x="16" y="93"/>
                      </a:lnTo>
                      <a:lnTo>
                        <a:pt x="15" y="93"/>
                      </a:lnTo>
                      <a:lnTo>
                        <a:pt x="14" y="92"/>
                      </a:lnTo>
                      <a:lnTo>
                        <a:pt x="13" y="90"/>
                      </a:lnTo>
                      <a:lnTo>
                        <a:pt x="12" y="89"/>
                      </a:lnTo>
                      <a:lnTo>
                        <a:pt x="10" y="90"/>
                      </a:lnTo>
                      <a:lnTo>
                        <a:pt x="12" y="93"/>
                      </a:lnTo>
                      <a:lnTo>
                        <a:pt x="13" y="94"/>
                      </a:lnTo>
                      <a:lnTo>
                        <a:pt x="13" y="96"/>
                      </a:lnTo>
                      <a:lnTo>
                        <a:pt x="14" y="99"/>
                      </a:lnTo>
                      <a:lnTo>
                        <a:pt x="14" y="100"/>
                      </a:lnTo>
                      <a:lnTo>
                        <a:pt x="14" y="102"/>
                      </a:lnTo>
                      <a:lnTo>
                        <a:pt x="14" y="105"/>
                      </a:lnTo>
                      <a:lnTo>
                        <a:pt x="14" y="108"/>
                      </a:lnTo>
                      <a:lnTo>
                        <a:pt x="15" y="109"/>
                      </a:lnTo>
                      <a:lnTo>
                        <a:pt x="15" y="110"/>
                      </a:lnTo>
                      <a:lnTo>
                        <a:pt x="15" y="112"/>
                      </a:lnTo>
                      <a:lnTo>
                        <a:pt x="14" y="113"/>
                      </a:lnTo>
                      <a:lnTo>
                        <a:pt x="12" y="112"/>
                      </a:lnTo>
                      <a:lnTo>
                        <a:pt x="10" y="112"/>
                      </a:lnTo>
                      <a:lnTo>
                        <a:pt x="10" y="112"/>
                      </a:lnTo>
                      <a:lnTo>
                        <a:pt x="10" y="113"/>
                      </a:lnTo>
                      <a:lnTo>
                        <a:pt x="12" y="114"/>
                      </a:lnTo>
                      <a:lnTo>
                        <a:pt x="12" y="115"/>
                      </a:lnTo>
                      <a:lnTo>
                        <a:pt x="13" y="121"/>
                      </a:lnTo>
                      <a:lnTo>
                        <a:pt x="12" y="123"/>
                      </a:lnTo>
                      <a:lnTo>
                        <a:pt x="10" y="126"/>
                      </a:lnTo>
                      <a:lnTo>
                        <a:pt x="13" y="125"/>
                      </a:lnTo>
                      <a:lnTo>
                        <a:pt x="14" y="128"/>
                      </a:lnTo>
                      <a:lnTo>
                        <a:pt x="14" y="129"/>
                      </a:lnTo>
                      <a:lnTo>
                        <a:pt x="13" y="130"/>
                      </a:lnTo>
                      <a:lnTo>
                        <a:pt x="13" y="132"/>
                      </a:lnTo>
                      <a:lnTo>
                        <a:pt x="10" y="133"/>
                      </a:lnTo>
                      <a:lnTo>
                        <a:pt x="8" y="132"/>
                      </a:lnTo>
                      <a:lnTo>
                        <a:pt x="7" y="130"/>
                      </a:lnTo>
                      <a:lnTo>
                        <a:pt x="7" y="133"/>
                      </a:lnTo>
                      <a:lnTo>
                        <a:pt x="7" y="133"/>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88" name="Montenegro">
                  <a:extLst>
                    <a:ext uri="{FF2B5EF4-FFF2-40B4-BE49-F238E27FC236}">
                      <a16:creationId xmlns:a16="http://schemas.microsoft.com/office/drawing/2014/main" id="{13E51D11-648D-B744-8B11-BB26511ADCB5}"/>
                    </a:ext>
                  </a:extLst>
                </p:cNvPr>
                <p:cNvSpPr>
                  <a:spLocks/>
                </p:cNvSpPr>
                <p:nvPr/>
              </p:nvSpPr>
              <p:spPr bwMode="auto">
                <a:xfrm>
                  <a:off x="6807005" y="2681667"/>
                  <a:ext cx="39364" cy="52486"/>
                </a:xfrm>
                <a:custGeom>
                  <a:avLst/>
                  <a:gdLst>
                    <a:gd name="T0" fmla="*/ 26 w 27"/>
                    <a:gd name="T1" fmla="*/ 22 h 36"/>
                    <a:gd name="T2" fmla="*/ 22 w 27"/>
                    <a:gd name="T3" fmla="*/ 23 h 36"/>
                    <a:gd name="T4" fmla="*/ 21 w 27"/>
                    <a:gd name="T5" fmla="*/ 20 h 36"/>
                    <a:gd name="T6" fmla="*/ 19 w 27"/>
                    <a:gd name="T7" fmla="*/ 21 h 36"/>
                    <a:gd name="T8" fmla="*/ 18 w 27"/>
                    <a:gd name="T9" fmla="*/ 22 h 36"/>
                    <a:gd name="T10" fmla="*/ 16 w 27"/>
                    <a:gd name="T11" fmla="*/ 26 h 36"/>
                    <a:gd name="T12" fmla="*/ 16 w 27"/>
                    <a:gd name="T13" fmla="*/ 30 h 36"/>
                    <a:gd name="T14" fmla="*/ 15 w 27"/>
                    <a:gd name="T15" fmla="*/ 35 h 36"/>
                    <a:gd name="T16" fmla="*/ 14 w 27"/>
                    <a:gd name="T17" fmla="*/ 35 h 36"/>
                    <a:gd name="T18" fmla="*/ 14 w 27"/>
                    <a:gd name="T19" fmla="*/ 34 h 36"/>
                    <a:gd name="T20" fmla="*/ 13 w 27"/>
                    <a:gd name="T21" fmla="*/ 33 h 36"/>
                    <a:gd name="T22" fmla="*/ 12 w 27"/>
                    <a:gd name="T23" fmla="*/ 31 h 36"/>
                    <a:gd name="T24" fmla="*/ 9 w 27"/>
                    <a:gd name="T25" fmla="*/ 30 h 36"/>
                    <a:gd name="T26" fmla="*/ 9 w 27"/>
                    <a:gd name="T27" fmla="*/ 30 h 36"/>
                    <a:gd name="T28" fmla="*/ 7 w 27"/>
                    <a:gd name="T29" fmla="*/ 28 h 36"/>
                    <a:gd name="T30" fmla="*/ 6 w 27"/>
                    <a:gd name="T31" fmla="*/ 28 h 36"/>
                    <a:gd name="T32" fmla="*/ 3 w 27"/>
                    <a:gd name="T33" fmla="*/ 27 h 36"/>
                    <a:gd name="T34" fmla="*/ 2 w 27"/>
                    <a:gd name="T35" fmla="*/ 26 h 36"/>
                    <a:gd name="T36" fmla="*/ 2 w 27"/>
                    <a:gd name="T37" fmla="*/ 24 h 36"/>
                    <a:gd name="T38" fmla="*/ 3 w 27"/>
                    <a:gd name="T39" fmla="*/ 24 h 36"/>
                    <a:gd name="T40" fmla="*/ 2 w 27"/>
                    <a:gd name="T41" fmla="*/ 24 h 36"/>
                    <a:gd name="T42" fmla="*/ 1 w 27"/>
                    <a:gd name="T43" fmla="*/ 24 h 36"/>
                    <a:gd name="T44" fmla="*/ 1 w 27"/>
                    <a:gd name="T45" fmla="*/ 20 h 36"/>
                    <a:gd name="T46" fmla="*/ 1 w 27"/>
                    <a:gd name="T47" fmla="*/ 15 h 36"/>
                    <a:gd name="T48" fmla="*/ 3 w 27"/>
                    <a:gd name="T49" fmla="*/ 7 h 36"/>
                    <a:gd name="T50" fmla="*/ 5 w 27"/>
                    <a:gd name="T51" fmla="*/ 2 h 36"/>
                    <a:gd name="T52" fmla="*/ 7 w 27"/>
                    <a:gd name="T53" fmla="*/ 0 h 36"/>
                    <a:gd name="T54" fmla="*/ 8 w 27"/>
                    <a:gd name="T55" fmla="*/ 2 h 36"/>
                    <a:gd name="T56" fmla="*/ 11 w 27"/>
                    <a:gd name="T57" fmla="*/ 4 h 36"/>
                    <a:gd name="T58" fmla="*/ 12 w 27"/>
                    <a:gd name="T59" fmla="*/ 6 h 36"/>
                    <a:gd name="T60" fmla="*/ 14 w 27"/>
                    <a:gd name="T61" fmla="*/ 7 h 36"/>
                    <a:gd name="T62" fmla="*/ 16 w 27"/>
                    <a:gd name="T63" fmla="*/ 8 h 36"/>
                    <a:gd name="T64" fmla="*/ 19 w 27"/>
                    <a:gd name="T65" fmla="*/ 9 h 36"/>
                    <a:gd name="T66" fmla="*/ 21 w 27"/>
                    <a:gd name="T67" fmla="*/ 10 h 36"/>
                    <a:gd name="T68" fmla="*/ 21 w 27"/>
                    <a:gd name="T69" fmla="*/ 13 h 36"/>
                    <a:gd name="T70" fmla="*/ 23 w 27"/>
                    <a:gd name="T71" fmla="*/ 14 h 36"/>
                    <a:gd name="T72" fmla="*/ 26 w 27"/>
                    <a:gd name="T73" fmla="*/ 15 h 36"/>
                    <a:gd name="T74" fmla="*/ 27 w 27"/>
                    <a:gd name="T75" fmla="*/ 16 h 36"/>
                    <a:gd name="T76" fmla="*/ 27 w 27"/>
                    <a:gd name="T77" fmla="*/ 17 h 36"/>
                    <a:gd name="T78" fmla="*/ 26 w 27"/>
                    <a:gd name="T79" fmla="*/ 18 h 36"/>
                    <a:gd name="T80" fmla="*/ 25 w 27"/>
                    <a:gd name="T81" fmla="*/ 17 h 36"/>
                    <a:gd name="T82" fmla="*/ 23 w 27"/>
                    <a:gd name="T83" fmla="*/ 20 h 36"/>
                    <a:gd name="T84" fmla="*/ 26 w 27"/>
                    <a:gd name="T85" fmla="*/ 21 h 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27" h="36">
                      <a:moveTo>
                        <a:pt x="26" y="21"/>
                      </a:moveTo>
                      <a:lnTo>
                        <a:pt x="25" y="21"/>
                      </a:lnTo>
                      <a:lnTo>
                        <a:pt x="26" y="22"/>
                      </a:lnTo>
                      <a:lnTo>
                        <a:pt x="25" y="22"/>
                      </a:lnTo>
                      <a:lnTo>
                        <a:pt x="23" y="23"/>
                      </a:lnTo>
                      <a:lnTo>
                        <a:pt x="22" y="23"/>
                      </a:lnTo>
                      <a:lnTo>
                        <a:pt x="21" y="22"/>
                      </a:lnTo>
                      <a:lnTo>
                        <a:pt x="21" y="21"/>
                      </a:lnTo>
                      <a:lnTo>
                        <a:pt x="21" y="20"/>
                      </a:lnTo>
                      <a:lnTo>
                        <a:pt x="21" y="20"/>
                      </a:lnTo>
                      <a:lnTo>
                        <a:pt x="19" y="20"/>
                      </a:lnTo>
                      <a:lnTo>
                        <a:pt x="19" y="21"/>
                      </a:lnTo>
                      <a:lnTo>
                        <a:pt x="18" y="21"/>
                      </a:lnTo>
                      <a:lnTo>
                        <a:pt x="18" y="21"/>
                      </a:lnTo>
                      <a:lnTo>
                        <a:pt x="18" y="22"/>
                      </a:lnTo>
                      <a:lnTo>
                        <a:pt x="18" y="23"/>
                      </a:lnTo>
                      <a:lnTo>
                        <a:pt x="16" y="24"/>
                      </a:lnTo>
                      <a:lnTo>
                        <a:pt x="16" y="26"/>
                      </a:lnTo>
                      <a:lnTo>
                        <a:pt x="15" y="27"/>
                      </a:lnTo>
                      <a:lnTo>
                        <a:pt x="14" y="29"/>
                      </a:lnTo>
                      <a:lnTo>
                        <a:pt x="16" y="30"/>
                      </a:lnTo>
                      <a:lnTo>
                        <a:pt x="15" y="31"/>
                      </a:lnTo>
                      <a:lnTo>
                        <a:pt x="16" y="34"/>
                      </a:lnTo>
                      <a:lnTo>
                        <a:pt x="15" y="35"/>
                      </a:lnTo>
                      <a:lnTo>
                        <a:pt x="16" y="36"/>
                      </a:lnTo>
                      <a:lnTo>
                        <a:pt x="15" y="36"/>
                      </a:lnTo>
                      <a:lnTo>
                        <a:pt x="14" y="35"/>
                      </a:lnTo>
                      <a:lnTo>
                        <a:pt x="14" y="35"/>
                      </a:lnTo>
                      <a:lnTo>
                        <a:pt x="14" y="35"/>
                      </a:lnTo>
                      <a:lnTo>
                        <a:pt x="14" y="34"/>
                      </a:lnTo>
                      <a:lnTo>
                        <a:pt x="13" y="35"/>
                      </a:lnTo>
                      <a:lnTo>
                        <a:pt x="13" y="34"/>
                      </a:lnTo>
                      <a:lnTo>
                        <a:pt x="13" y="33"/>
                      </a:lnTo>
                      <a:lnTo>
                        <a:pt x="13" y="33"/>
                      </a:lnTo>
                      <a:lnTo>
                        <a:pt x="13" y="31"/>
                      </a:lnTo>
                      <a:lnTo>
                        <a:pt x="12" y="31"/>
                      </a:lnTo>
                      <a:lnTo>
                        <a:pt x="12" y="31"/>
                      </a:lnTo>
                      <a:lnTo>
                        <a:pt x="11" y="31"/>
                      </a:lnTo>
                      <a:lnTo>
                        <a:pt x="9" y="30"/>
                      </a:lnTo>
                      <a:lnTo>
                        <a:pt x="11" y="30"/>
                      </a:lnTo>
                      <a:lnTo>
                        <a:pt x="11" y="30"/>
                      </a:lnTo>
                      <a:lnTo>
                        <a:pt x="9" y="30"/>
                      </a:lnTo>
                      <a:lnTo>
                        <a:pt x="9" y="30"/>
                      </a:lnTo>
                      <a:lnTo>
                        <a:pt x="9" y="29"/>
                      </a:lnTo>
                      <a:lnTo>
                        <a:pt x="7" y="28"/>
                      </a:lnTo>
                      <a:lnTo>
                        <a:pt x="7" y="28"/>
                      </a:lnTo>
                      <a:lnTo>
                        <a:pt x="7" y="27"/>
                      </a:lnTo>
                      <a:lnTo>
                        <a:pt x="6" y="28"/>
                      </a:lnTo>
                      <a:lnTo>
                        <a:pt x="5" y="27"/>
                      </a:lnTo>
                      <a:lnTo>
                        <a:pt x="5" y="27"/>
                      </a:lnTo>
                      <a:lnTo>
                        <a:pt x="3" y="27"/>
                      </a:lnTo>
                      <a:lnTo>
                        <a:pt x="3" y="26"/>
                      </a:lnTo>
                      <a:lnTo>
                        <a:pt x="3" y="26"/>
                      </a:lnTo>
                      <a:lnTo>
                        <a:pt x="2" y="26"/>
                      </a:lnTo>
                      <a:lnTo>
                        <a:pt x="2" y="26"/>
                      </a:lnTo>
                      <a:lnTo>
                        <a:pt x="2" y="24"/>
                      </a:lnTo>
                      <a:lnTo>
                        <a:pt x="2" y="24"/>
                      </a:lnTo>
                      <a:lnTo>
                        <a:pt x="2" y="24"/>
                      </a:lnTo>
                      <a:lnTo>
                        <a:pt x="2" y="24"/>
                      </a:lnTo>
                      <a:lnTo>
                        <a:pt x="3" y="24"/>
                      </a:lnTo>
                      <a:lnTo>
                        <a:pt x="3" y="23"/>
                      </a:lnTo>
                      <a:lnTo>
                        <a:pt x="2" y="23"/>
                      </a:lnTo>
                      <a:lnTo>
                        <a:pt x="2" y="24"/>
                      </a:lnTo>
                      <a:lnTo>
                        <a:pt x="1" y="23"/>
                      </a:lnTo>
                      <a:lnTo>
                        <a:pt x="1" y="24"/>
                      </a:lnTo>
                      <a:lnTo>
                        <a:pt x="1" y="24"/>
                      </a:lnTo>
                      <a:lnTo>
                        <a:pt x="0" y="23"/>
                      </a:lnTo>
                      <a:lnTo>
                        <a:pt x="0" y="21"/>
                      </a:lnTo>
                      <a:lnTo>
                        <a:pt x="1" y="20"/>
                      </a:lnTo>
                      <a:lnTo>
                        <a:pt x="2" y="18"/>
                      </a:lnTo>
                      <a:lnTo>
                        <a:pt x="2" y="16"/>
                      </a:lnTo>
                      <a:lnTo>
                        <a:pt x="1" y="15"/>
                      </a:lnTo>
                      <a:lnTo>
                        <a:pt x="0" y="11"/>
                      </a:lnTo>
                      <a:lnTo>
                        <a:pt x="1" y="9"/>
                      </a:lnTo>
                      <a:lnTo>
                        <a:pt x="3" y="7"/>
                      </a:lnTo>
                      <a:lnTo>
                        <a:pt x="5" y="7"/>
                      </a:lnTo>
                      <a:lnTo>
                        <a:pt x="6" y="6"/>
                      </a:lnTo>
                      <a:lnTo>
                        <a:pt x="5" y="2"/>
                      </a:lnTo>
                      <a:lnTo>
                        <a:pt x="6" y="0"/>
                      </a:lnTo>
                      <a:lnTo>
                        <a:pt x="7" y="0"/>
                      </a:lnTo>
                      <a:lnTo>
                        <a:pt x="7" y="0"/>
                      </a:lnTo>
                      <a:lnTo>
                        <a:pt x="8" y="1"/>
                      </a:lnTo>
                      <a:lnTo>
                        <a:pt x="8" y="1"/>
                      </a:lnTo>
                      <a:lnTo>
                        <a:pt x="8" y="2"/>
                      </a:lnTo>
                      <a:lnTo>
                        <a:pt x="9" y="3"/>
                      </a:lnTo>
                      <a:lnTo>
                        <a:pt x="11" y="3"/>
                      </a:lnTo>
                      <a:lnTo>
                        <a:pt x="11" y="4"/>
                      </a:lnTo>
                      <a:lnTo>
                        <a:pt x="12" y="4"/>
                      </a:lnTo>
                      <a:lnTo>
                        <a:pt x="12" y="4"/>
                      </a:lnTo>
                      <a:lnTo>
                        <a:pt x="12" y="6"/>
                      </a:lnTo>
                      <a:lnTo>
                        <a:pt x="13" y="7"/>
                      </a:lnTo>
                      <a:lnTo>
                        <a:pt x="13" y="7"/>
                      </a:lnTo>
                      <a:lnTo>
                        <a:pt x="14" y="7"/>
                      </a:lnTo>
                      <a:lnTo>
                        <a:pt x="14" y="8"/>
                      </a:lnTo>
                      <a:lnTo>
                        <a:pt x="15" y="8"/>
                      </a:lnTo>
                      <a:lnTo>
                        <a:pt x="16" y="8"/>
                      </a:lnTo>
                      <a:lnTo>
                        <a:pt x="18" y="8"/>
                      </a:lnTo>
                      <a:lnTo>
                        <a:pt x="18" y="8"/>
                      </a:lnTo>
                      <a:lnTo>
                        <a:pt x="19" y="9"/>
                      </a:lnTo>
                      <a:lnTo>
                        <a:pt x="19" y="9"/>
                      </a:lnTo>
                      <a:lnTo>
                        <a:pt x="20" y="9"/>
                      </a:lnTo>
                      <a:lnTo>
                        <a:pt x="21" y="10"/>
                      </a:lnTo>
                      <a:lnTo>
                        <a:pt x="21" y="11"/>
                      </a:lnTo>
                      <a:lnTo>
                        <a:pt x="21" y="13"/>
                      </a:lnTo>
                      <a:lnTo>
                        <a:pt x="21" y="13"/>
                      </a:lnTo>
                      <a:lnTo>
                        <a:pt x="22" y="13"/>
                      </a:lnTo>
                      <a:lnTo>
                        <a:pt x="22" y="14"/>
                      </a:lnTo>
                      <a:lnTo>
                        <a:pt x="23" y="14"/>
                      </a:lnTo>
                      <a:lnTo>
                        <a:pt x="25" y="14"/>
                      </a:lnTo>
                      <a:lnTo>
                        <a:pt x="25" y="15"/>
                      </a:lnTo>
                      <a:lnTo>
                        <a:pt x="26" y="15"/>
                      </a:lnTo>
                      <a:lnTo>
                        <a:pt x="26" y="15"/>
                      </a:lnTo>
                      <a:lnTo>
                        <a:pt x="27" y="15"/>
                      </a:lnTo>
                      <a:lnTo>
                        <a:pt x="27" y="16"/>
                      </a:lnTo>
                      <a:lnTo>
                        <a:pt x="27" y="16"/>
                      </a:lnTo>
                      <a:lnTo>
                        <a:pt x="27" y="17"/>
                      </a:lnTo>
                      <a:lnTo>
                        <a:pt x="27" y="17"/>
                      </a:lnTo>
                      <a:lnTo>
                        <a:pt x="27" y="18"/>
                      </a:lnTo>
                      <a:lnTo>
                        <a:pt x="27" y="18"/>
                      </a:lnTo>
                      <a:lnTo>
                        <a:pt x="26" y="18"/>
                      </a:lnTo>
                      <a:lnTo>
                        <a:pt x="26" y="18"/>
                      </a:lnTo>
                      <a:lnTo>
                        <a:pt x="25" y="18"/>
                      </a:lnTo>
                      <a:lnTo>
                        <a:pt x="25" y="17"/>
                      </a:lnTo>
                      <a:lnTo>
                        <a:pt x="23" y="18"/>
                      </a:lnTo>
                      <a:lnTo>
                        <a:pt x="23" y="18"/>
                      </a:lnTo>
                      <a:lnTo>
                        <a:pt x="23" y="20"/>
                      </a:lnTo>
                      <a:lnTo>
                        <a:pt x="25" y="20"/>
                      </a:lnTo>
                      <a:lnTo>
                        <a:pt x="25" y="21"/>
                      </a:lnTo>
                      <a:lnTo>
                        <a:pt x="26" y="21"/>
                      </a:lnTo>
                      <a:lnTo>
                        <a:pt x="26" y="21"/>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89" name="Mexico">
                  <a:extLst>
                    <a:ext uri="{FF2B5EF4-FFF2-40B4-BE49-F238E27FC236}">
                      <a16:creationId xmlns:a16="http://schemas.microsoft.com/office/drawing/2014/main" id="{85F5C4BB-CC4B-A645-9909-066C7D55FB8E}"/>
                    </a:ext>
                  </a:extLst>
                </p:cNvPr>
                <p:cNvSpPr>
                  <a:spLocks/>
                </p:cNvSpPr>
                <p:nvPr/>
              </p:nvSpPr>
              <p:spPr bwMode="auto">
                <a:xfrm>
                  <a:off x="3412900" y="3008248"/>
                  <a:ext cx="701274" cy="543814"/>
                </a:xfrm>
                <a:custGeom>
                  <a:avLst/>
                  <a:gdLst>
                    <a:gd name="T0" fmla="*/ 180 w 481"/>
                    <a:gd name="T1" fmla="*/ 20 h 373"/>
                    <a:gd name="T2" fmla="*/ 203 w 481"/>
                    <a:gd name="T3" fmla="*/ 51 h 373"/>
                    <a:gd name="T4" fmla="*/ 238 w 481"/>
                    <a:gd name="T5" fmla="*/ 60 h 373"/>
                    <a:gd name="T6" fmla="*/ 279 w 481"/>
                    <a:gd name="T7" fmla="*/ 106 h 373"/>
                    <a:gd name="T8" fmla="*/ 305 w 481"/>
                    <a:gd name="T9" fmla="*/ 137 h 373"/>
                    <a:gd name="T10" fmla="*/ 296 w 481"/>
                    <a:gd name="T11" fmla="*/ 175 h 373"/>
                    <a:gd name="T12" fmla="*/ 294 w 481"/>
                    <a:gd name="T13" fmla="*/ 246 h 373"/>
                    <a:gd name="T14" fmla="*/ 308 w 481"/>
                    <a:gd name="T15" fmla="*/ 268 h 373"/>
                    <a:gd name="T16" fmla="*/ 314 w 481"/>
                    <a:gd name="T17" fmla="*/ 288 h 373"/>
                    <a:gd name="T18" fmla="*/ 331 w 481"/>
                    <a:gd name="T19" fmla="*/ 292 h 373"/>
                    <a:gd name="T20" fmla="*/ 346 w 481"/>
                    <a:gd name="T21" fmla="*/ 299 h 373"/>
                    <a:gd name="T22" fmla="*/ 377 w 481"/>
                    <a:gd name="T23" fmla="*/ 290 h 373"/>
                    <a:gd name="T24" fmla="*/ 393 w 481"/>
                    <a:gd name="T25" fmla="*/ 286 h 373"/>
                    <a:gd name="T26" fmla="*/ 410 w 481"/>
                    <a:gd name="T27" fmla="*/ 266 h 373"/>
                    <a:gd name="T28" fmla="*/ 419 w 481"/>
                    <a:gd name="T29" fmla="*/ 239 h 373"/>
                    <a:gd name="T30" fmla="*/ 447 w 481"/>
                    <a:gd name="T31" fmla="*/ 232 h 373"/>
                    <a:gd name="T32" fmla="*/ 468 w 481"/>
                    <a:gd name="T33" fmla="*/ 233 h 373"/>
                    <a:gd name="T34" fmla="*/ 481 w 481"/>
                    <a:gd name="T35" fmla="*/ 238 h 373"/>
                    <a:gd name="T36" fmla="*/ 466 w 481"/>
                    <a:gd name="T37" fmla="*/ 259 h 373"/>
                    <a:gd name="T38" fmla="*/ 463 w 481"/>
                    <a:gd name="T39" fmla="*/ 273 h 373"/>
                    <a:gd name="T40" fmla="*/ 460 w 481"/>
                    <a:gd name="T41" fmla="*/ 284 h 373"/>
                    <a:gd name="T42" fmla="*/ 452 w 481"/>
                    <a:gd name="T43" fmla="*/ 288 h 373"/>
                    <a:gd name="T44" fmla="*/ 440 w 481"/>
                    <a:gd name="T45" fmla="*/ 295 h 373"/>
                    <a:gd name="T46" fmla="*/ 431 w 481"/>
                    <a:gd name="T47" fmla="*/ 302 h 373"/>
                    <a:gd name="T48" fmla="*/ 394 w 481"/>
                    <a:gd name="T49" fmla="*/ 325 h 373"/>
                    <a:gd name="T50" fmla="*/ 404 w 481"/>
                    <a:gd name="T51" fmla="*/ 337 h 373"/>
                    <a:gd name="T52" fmla="*/ 367 w 481"/>
                    <a:gd name="T53" fmla="*/ 367 h 373"/>
                    <a:gd name="T54" fmla="*/ 331 w 481"/>
                    <a:gd name="T55" fmla="*/ 338 h 373"/>
                    <a:gd name="T56" fmla="*/ 320 w 481"/>
                    <a:gd name="T57" fmla="*/ 335 h 373"/>
                    <a:gd name="T58" fmla="*/ 270 w 481"/>
                    <a:gd name="T59" fmla="*/ 344 h 373"/>
                    <a:gd name="T60" fmla="*/ 210 w 481"/>
                    <a:gd name="T61" fmla="*/ 314 h 373"/>
                    <a:gd name="T62" fmla="*/ 167 w 481"/>
                    <a:gd name="T63" fmla="*/ 284 h 373"/>
                    <a:gd name="T64" fmla="*/ 138 w 481"/>
                    <a:gd name="T65" fmla="*/ 254 h 373"/>
                    <a:gd name="T66" fmla="*/ 151 w 481"/>
                    <a:gd name="T67" fmla="*/ 228 h 373"/>
                    <a:gd name="T68" fmla="*/ 132 w 481"/>
                    <a:gd name="T69" fmla="*/ 181 h 373"/>
                    <a:gd name="T70" fmla="*/ 116 w 481"/>
                    <a:gd name="T71" fmla="*/ 166 h 373"/>
                    <a:gd name="T72" fmla="*/ 114 w 481"/>
                    <a:gd name="T73" fmla="*/ 154 h 373"/>
                    <a:gd name="T74" fmla="*/ 106 w 481"/>
                    <a:gd name="T75" fmla="*/ 147 h 373"/>
                    <a:gd name="T76" fmla="*/ 96 w 481"/>
                    <a:gd name="T77" fmla="*/ 139 h 373"/>
                    <a:gd name="T78" fmla="*/ 93 w 481"/>
                    <a:gd name="T79" fmla="*/ 123 h 373"/>
                    <a:gd name="T80" fmla="*/ 80 w 481"/>
                    <a:gd name="T81" fmla="*/ 100 h 373"/>
                    <a:gd name="T82" fmla="*/ 64 w 481"/>
                    <a:gd name="T83" fmla="*/ 66 h 373"/>
                    <a:gd name="T84" fmla="*/ 53 w 481"/>
                    <a:gd name="T85" fmla="*/ 28 h 373"/>
                    <a:gd name="T86" fmla="*/ 33 w 481"/>
                    <a:gd name="T87" fmla="*/ 16 h 373"/>
                    <a:gd name="T88" fmla="*/ 33 w 481"/>
                    <a:gd name="T89" fmla="*/ 40 h 373"/>
                    <a:gd name="T90" fmla="*/ 43 w 481"/>
                    <a:gd name="T91" fmla="*/ 80 h 373"/>
                    <a:gd name="T92" fmla="*/ 53 w 481"/>
                    <a:gd name="T93" fmla="*/ 113 h 373"/>
                    <a:gd name="T94" fmla="*/ 63 w 481"/>
                    <a:gd name="T95" fmla="*/ 126 h 373"/>
                    <a:gd name="T96" fmla="*/ 69 w 481"/>
                    <a:gd name="T97" fmla="*/ 170 h 373"/>
                    <a:gd name="T98" fmla="*/ 83 w 481"/>
                    <a:gd name="T99" fmla="*/ 185 h 373"/>
                    <a:gd name="T100" fmla="*/ 73 w 481"/>
                    <a:gd name="T101" fmla="*/ 193 h 373"/>
                    <a:gd name="T102" fmla="*/ 46 w 481"/>
                    <a:gd name="T103" fmla="*/ 168 h 373"/>
                    <a:gd name="T104" fmla="*/ 44 w 481"/>
                    <a:gd name="T105" fmla="*/ 164 h 373"/>
                    <a:gd name="T106" fmla="*/ 45 w 481"/>
                    <a:gd name="T107" fmla="*/ 132 h 373"/>
                    <a:gd name="T108" fmla="*/ 27 w 481"/>
                    <a:gd name="T109" fmla="*/ 123 h 373"/>
                    <a:gd name="T110" fmla="*/ 7 w 481"/>
                    <a:gd name="T111" fmla="*/ 103 h 373"/>
                    <a:gd name="T112" fmla="*/ 19 w 481"/>
                    <a:gd name="T113" fmla="*/ 99 h 373"/>
                    <a:gd name="T114" fmla="*/ 21 w 481"/>
                    <a:gd name="T115" fmla="*/ 100 h 373"/>
                    <a:gd name="T116" fmla="*/ 18 w 481"/>
                    <a:gd name="T117" fmla="*/ 70 h 373"/>
                    <a:gd name="T118" fmla="*/ 6 w 481"/>
                    <a:gd name="T119" fmla="*/ 43 h 373"/>
                    <a:gd name="T120" fmla="*/ 4 w 481"/>
                    <a:gd name="T121" fmla="*/ 25 h 373"/>
                    <a:gd name="T122" fmla="*/ 1 w 481"/>
                    <a:gd name="T123" fmla="*/ 3 h 3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481" h="373">
                      <a:moveTo>
                        <a:pt x="1" y="3"/>
                      </a:moveTo>
                      <a:lnTo>
                        <a:pt x="44" y="0"/>
                      </a:lnTo>
                      <a:lnTo>
                        <a:pt x="41" y="6"/>
                      </a:lnTo>
                      <a:lnTo>
                        <a:pt x="67" y="16"/>
                      </a:lnTo>
                      <a:lnTo>
                        <a:pt x="98" y="28"/>
                      </a:lnTo>
                      <a:lnTo>
                        <a:pt x="147" y="28"/>
                      </a:lnTo>
                      <a:lnTo>
                        <a:pt x="151" y="19"/>
                      </a:lnTo>
                      <a:lnTo>
                        <a:pt x="179" y="19"/>
                      </a:lnTo>
                      <a:lnTo>
                        <a:pt x="180" y="20"/>
                      </a:lnTo>
                      <a:lnTo>
                        <a:pt x="183" y="20"/>
                      </a:lnTo>
                      <a:lnTo>
                        <a:pt x="183" y="25"/>
                      </a:lnTo>
                      <a:lnTo>
                        <a:pt x="186" y="27"/>
                      </a:lnTo>
                      <a:lnTo>
                        <a:pt x="189" y="30"/>
                      </a:lnTo>
                      <a:lnTo>
                        <a:pt x="189" y="32"/>
                      </a:lnTo>
                      <a:lnTo>
                        <a:pt x="192" y="34"/>
                      </a:lnTo>
                      <a:lnTo>
                        <a:pt x="196" y="39"/>
                      </a:lnTo>
                      <a:lnTo>
                        <a:pt x="200" y="43"/>
                      </a:lnTo>
                      <a:lnTo>
                        <a:pt x="203" y="51"/>
                      </a:lnTo>
                      <a:lnTo>
                        <a:pt x="203" y="53"/>
                      </a:lnTo>
                      <a:lnTo>
                        <a:pt x="200" y="57"/>
                      </a:lnTo>
                      <a:lnTo>
                        <a:pt x="201" y="63"/>
                      </a:lnTo>
                      <a:lnTo>
                        <a:pt x="208" y="70"/>
                      </a:lnTo>
                      <a:lnTo>
                        <a:pt x="218" y="76"/>
                      </a:lnTo>
                      <a:lnTo>
                        <a:pt x="221" y="77"/>
                      </a:lnTo>
                      <a:lnTo>
                        <a:pt x="228" y="72"/>
                      </a:lnTo>
                      <a:lnTo>
                        <a:pt x="234" y="60"/>
                      </a:lnTo>
                      <a:lnTo>
                        <a:pt x="238" y="60"/>
                      </a:lnTo>
                      <a:lnTo>
                        <a:pt x="241" y="58"/>
                      </a:lnTo>
                      <a:lnTo>
                        <a:pt x="245" y="59"/>
                      </a:lnTo>
                      <a:lnTo>
                        <a:pt x="257" y="60"/>
                      </a:lnTo>
                      <a:lnTo>
                        <a:pt x="259" y="66"/>
                      </a:lnTo>
                      <a:lnTo>
                        <a:pt x="266" y="73"/>
                      </a:lnTo>
                      <a:lnTo>
                        <a:pt x="268" y="91"/>
                      </a:lnTo>
                      <a:lnTo>
                        <a:pt x="272" y="93"/>
                      </a:lnTo>
                      <a:lnTo>
                        <a:pt x="276" y="104"/>
                      </a:lnTo>
                      <a:lnTo>
                        <a:pt x="279" y="106"/>
                      </a:lnTo>
                      <a:lnTo>
                        <a:pt x="277" y="117"/>
                      </a:lnTo>
                      <a:lnTo>
                        <a:pt x="280" y="120"/>
                      </a:lnTo>
                      <a:lnTo>
                        <a:pt x="280" y="130"/>
                      </a:lnTo>
                      <a:lnTo>
                        <a:pt x="285" y="131"/>
                      </a:lnTo>
                      <a:lnTo>
                        <a:pt x="288" y="132"/>
                      </a:lnTo>
                      <a:lnTo>
                        <a:pt x="292" y="133"/>
                      </a:lnTo>
                      <a:lnTo>
                        <a:pt x="294" y="137"/>
                      </a:lnTo>
                      <a:lnTo>
                        <a:pt x="300" y="137"/>
                      </a:lnTo>
                      <a:lnTo>
                        <a:pt x="305" y="137"/>
                      </a:lnTo>
                      <a:lnTo>
                        <a:pt x="305" y="140"/>
                      </a:lnTo>
                      <a:lnTo>
                        <a:pt x="308" y="141"/>
                      </a:lnTo>
                      <a:lnTo>
                        <a:pt x="310" y="140"/>
                      </a:lnTo>
                      <a:lnTo>
                        <a:pt x="311" y="139"/>
                      </a:lnTo>
                      <a:lnTo>
                        <a:pt x="313" y="139"/>
                      </a:lnTo>
                      <a:lnTo>
                        <a:pt x="313" y="143"/>
                      </a:lnTo>
                      <a:lnTo>
                        <a:pt x="310" y="150"/>
                      </a:lnTo>
                      <a:lnTo>
                        <a:pt x="301" y="157"/>
                      </a:lnTo>
                      <a:lnTo>
                        <a:pt x="296" y="175"/>
                      </a:lnTo>
                      <a:lnTo>
                        <a:pt x="294" y="184"/>
                      </a:lnTo>
                      <a:lnTo>
                        <a:pt x="292" y="201"/>
                      </a:lnTo>
                      <a:lnTo>
                        <a:pt x="288" y="207"/>
                      </a:lnTo>
                      <a:lnTo>
                        <a:pt x="288" y="220"/>
                      </a:lnTo>
                      <a:lnTo>
                        <a:pt x="288" y="224"/>
                      </a:lnTo>
                      <a:lnTo>
                        <a:pt x="288" y="226"/>
                      </a:lnTo>
                      <a:lnTo>
                        <a:pt x="291" y="232"/>
                      </a:lnTo>
                      <a:lnTo>
                        <a:pt x="296" y="241"/>
                      </a:lnTo>
                      <a:lnTo>
                        <a:pt x="294" y="246"/>
                      </a:lnTo>
                      <a:lnTo>
                        <a:pt x="294" y="246"/>
                      </a:lnTo>
                      <a:lnTo>
                        <a:pt x="297" y="248"/>
                      </a:lnTo>
                      <a:lnTo>
                        <a:pt x="299" y="251"/>
                      </a:lnTo>
                      <a:lnTo>
                        <a:pt x="299" y="253"/>
                      </a:lnTo>
                      <a:lnTo>
                        <a:pt x="300" y="255"/>
                      </a:lnTo>
                      <a:lnTo>
                        <a:pt x="304" y="259"/>
                      </a:lnTo>
                      <a:lnTo>
                        <a:pt x="305" y="264"/>
                      </a:lnTo>
                      <a:lnTo>
                        <a:pt x="308" y="266"/>
                      </a:lnTo>
                      <a:lnTo>
                        <a:pt x="308" y="268"/>
                      </a:lnTo>
                      <a:lnTo>
                        <a:pt x="307" y="273"/>
                      </a:lnTo>
                      <a:lnTo>
                        <a:pt x="311" y="278"/>
                      </a:lnTo>
                      <a:lnTo>
                        <a:pt x="310" y="280"/>
                      </a:lnTo>
                      <a:lnTo>
                        <a:pt x="311" y="283"/>
                      </a:lnTo>
                      <a:lnTo>
                        <a:pt x="313" y="286"/>
                      </a:lnTo>
                      <a:lnTo>
                        <a:pt x="311" y="285"/>
                      </a:lnTo>
                      <a:lnTo>
                        <a:pt x="312" y="286"/>
                      </a:lnTo>
                      <a:lnTo>
                        <a:pt x="312" y="287"/>
                      </a:lnTo>
                      <a:lnTo>
                        <a:pt x="314" y="288"/>
                      </a:lnTo>
                      <a:lnTo>
                        <a:pt x="317" y="288"/>
                      </a:lnTo>
                      <a:lnTo>
                        <a:pt x="316" y="286"/>
                      </a:lnTo>
                      <a:lnTo>
                        <a:pt x="318" y="286"/>
                      </a:lnTo>
                      <a:lnTo>
                        <a:pt x="320" y="287"/>
                      </a:lnTo>
                      <a:lnTo>
                        <a:pt x="321" y="291"/>
                      </a:lnTo>
                      <a:lnTo>
                        <a:pt x="324" y="287"/>
                      </a:lnTo>
                      <a:lnTo>
                        <a:pt x="325" y="290"/>
                      </a:lnTo>
                      <a:lnTo>
                        <a:pt x="326" y="291"/>
                      </a:lnTo>
                      <a:lnTo>
                        <a:pt x="331" y="292"/>
                      </a:lnTo>
                      <a:lnTo>
                        <a:pt x="330" y="294"/>
                      </a:lnTo>
                      <a:lnTo>
                        <a:pt x="333" y="294"/>
                      </a:lnTo>
                      <a:lnTo>
                        <a:pt x="334" y="299"/>
                      </a:lnTo>
                      <a:lnTo>
                        <a:pt x="337" y="299"/>
                      </a:lnTo>
                      <a:lnTo>
                        <a:pt x="338" y="299"/>
                      </a:lnTo>
                      <a:lnTo>
                        <a:pt x="338" y="297"/>
                      </a:lnTo>
                      <a:lnTo>
                        <a:pt x="341" y="298"/>
                      </a:lnTo>
                      <a:lnTo>
                        <a:pt x="344" y="298"/>
                      </a:lnTo>
                      <a:lnTo>
                        <a:pt x="346" y="299"/>
                      </a:lnTo>
                      <a:lnTo>
                        <a:pt x="347" y="297"/>
                      </a:lnTo>
                      <a:lnTo>
                        <a:pt x="352" y="295"/>
                      </a:lnTo>
                      <a:lnTo>
                        <a:pt x="352" y="293"/>
                      </a:lnTo>
                      <a:lnTo>
                        <a:pt x="357" y="294"/>
                      </a:lnTo>
                      <a:lnTo>
                        <a:pt x="359" y="293"/>
                      </a:lnTo>
                      <a:lnTo>
                        <a:pt x="364" y="294"/>
                      </a:lnTo>
                      <a:lnTo>
                        <a:pt x="368" y="292"/>
                      </a:lnTo>
                      <a:lnTo>
                        <a:pt x="370" y="290"/>
                      </a:lnTo>
                      <a:lnTo>
                        <a:pt x="377" y="290"/>
                      </a:lnTo>
                      <a:lnTo>
                        <a:pt x="381" y="287"/>
                      </a:lnTo>
                      <a:lnTo>
                        <a:pt x="383" y="290"/>
                      </a:lnTo>
                      <a:lnTo>
                        <a:pt x="379" y="291"/>
                      </a:lnTo>
                      <a:lnTo>
                        <a:pt x="381" y="291"/>
                      </a:lnTo>
                      <a:lnTo>
                        <a:pt x="384" y="292"/>
                      </a:lnTo>
                      <a:lnTo>
                        <a:pt x="390" y="293"/>
                      </a:lnTo>
                      <a:lnTo>
                        <a:pt x="390" y="292"/>
                      </a:lnTo>
                      <a:lnTo>
                        <a:pt x="396" y="288"/>
                      </a:lnTo>
                      <a:lnTo>
                        <a:pt x="393" y="286"/>
                      </a:lnTo>
                      <a:lnTo>
                        <a:pt x="392" y="287"/>
                      </a:lnTo>
                      <a:lnTo>
                        <a:pt x="392" y="285"/>
                      </a:lnTo>
                      <a:lnTo>
                        <a:pt x="394" y="283"/>
                      </a:lnTo>
                      <a:lnTo>
                        <a:pt x="400" y="281"/>
                      </a:lnTo>
                      <a:lnTo>
                        <a:pt x="404" y="278"/>
                      </a:lnTo>
                      <a:lnTo>
                        <a:pt x="405" y="274"/>
                      </a:lnTo>
                      <a:lnTo>
                        <a:pt x="408" y="271"/>
                      </a:lnTo>
                      <a:lnTo>
                        <a:pt x="408" y="271"/>
                      </a:lnTo>
                      <a:lnTo>
                        <a:pt x="410" y="266"/>
                      </a:lnTo>
                      <a:lnTo>
                        <a:pt x="411" y="265"/>
                      </a:lnTo>
                      <a:lnTo>
                        <a:pt x="412" y="261"/>
                      </a:lnTo>
                      <a:lnTo>
                        <a:pt x="414" y="259"/>
                      </a:lnTo>
                      <a:lnTo>
                        <a:pt x="414" y="254"/>
                      </a:lnTo>
                      <a:lnTo>
                        <a:pt x="413" y="251"/>
                      </a:lnTo>
                      <a:lnTo>
                        <a:pt x="414" y="247"/>
                      </a:lnTo>
                      <a:lnTo>
                        <a:pt x="418" y="243"/>
                      </a:lnTo>
                      <a:lnTo>
                        <a:pt x="417" y="240"/>
                      </a:lnTo>
                      <a:lnTo>
                        <a:pt x="419" y="239"/>
                      </a:lnTo>
                      <a:lnTo>
                        <a:pt x="424" y="237"/>
                      </a:lnTo>
                      <a:lnTo>
                        <a:pt x="427" y="235"/>
                      </a:lnTo>
                      <a:lnTo>
                        <a:pt x="430" y="234"/>
                      </a:lnTo>
                      <a:lnTo>
                        <a:pt x="434" y="234"/>
                      </a:lnTo>
                      <a:lnTo>
                        <a:pt x="438" y="234"/>
                      </a:lnTo>
                      <a:lnTo>
                        <a:pt x="441" y="234"/>
                      </a:lnTo>
                      <a:lnTo>
                        <a:pt x="440" y="232"/>
                      </a:lnTo>
                      <a:lnTo>
                        <a:pt x="443" y="232"/>
                      </a:lnTo>
                      <a:lnTo>
                        <a:pt x="447" y="232"/>
                      </a:lnTo>
                      <a:lnTo>
                        <a:pt x="450" y="230"/>
                      </a:lnTo>
                      <a:lnTo>
                        <a:pt x="454" y="228"/>
                      </a:lnTo>
                      <a:lnTo>
                        <a:pt x="455" y="227"/>
                      </a:lnTo>
                      <a:lnTo>
                        <a:pt x="458" y="228"/>
                      </a:lnTo>
                      <a:lnTo>
                        <a:pt x="460" y="227"/>
                      </a:lnTo>
                      <a:lnTo>
                        <a:pt x="461" y="228"/>
                      </a:lnTo>
                      <a:lnTo>
                        <a:pt x="465" y="231"/>
                      </a:lnTo>
                      <a:lnTo>
                        <a:pt x="466" y="230"/>
                      </a:lnTo>
                      <a:lnTo>
                        <a:pt x="468" y="233"/>
                      </a:lnTo>
                      <a:lnTo>
                        <a:pt x="473" y="232"/>
                      </a:lnTo>
                      <a:lnTo>
                        <a:pt x="475" y="230"/>
                      </a:lnTo>
                      <a:lnTo>
                        <a:pt x="471" y="231"/>
                      </a:lnTo>
                      <a:lnTo>
                        <a:pt x="472" y="228"/>
                      </a:lnTo>
                      <a:lnTo>
                        <a:pt x="478" y="228"/>
                      </a:lnTo>
                      <a:lnTo>
                        <a:pt x="479" y="232"/>
                      </a:lnTo>
                      <a:lnTo>
                        <a:pt x="481" y="232"/>
                      </a:lnTo>
                      <a:lnTo>
                        <a:pt x="480" y="237"/>
                      </a:lnTo>
                      <a:lnTo>
                        <a:pt x="481" y="238"/>
                      </a:lnTo>
                      <a:lnTo>
                        <a:pt x="479" y="241"/>
                      </a:lnTo>
                      <a:lnTo>
                        <a:pt x="479" y="244"/>
                      </a:lnTo>
                      <a:lnTo>
                        <a:pt x="475" y="248"/>
                      </a:lnTo>
                      <a:lnTo>
                        <a:pt x="474" y="250"/>
                      </a:lnTo>
                      <a:lnTo>
                        <a:pt x="472" y="251"/>
                      </a:lnTo>
                      <a:lnTo>
                        <a:pt x="470" y="253"/>
                      </a:lnTo>
                      <a:lnTo>
                        <a:pt x="468" y="255"/>
                      </a:lnTo>
                      <a:lnTo>
                        <a:pt x="466" y="257"/>
                      </a:lnTo>
                      <a:lnTo>
                        <a:pt x="466" y="259"/>
                      </a:lnTo>
                      <a:lnTo>
                        <a:pt x="465" y="261"/>
                      </a:lnTo>
                      <a:lnTo>
                        <a:pt x="466" y="264"/>
                      </a:lnTo>
                      <a:lnTo>
                        <a:pt x="464" y="265"/>
                      </a:lnTo>
                      <a:lnTo>
                        <a:pt x="461" y="267"/>
                      </a:lnTo>
                      <a:lnTo>
                        <a:pt x="459" y="268"/>
                      </a:lnTo>
                      <a:lnTo>
                        <a:pt x="461" y="271"/>
                      </a:lnTo>
                      <a:lnTo>
                        <a:pt x="465" y="270"/>
                      </a:lnTo>
                      <a:lnTo>
                        <a:pt x="464" y="273"/>
                      </a:lnTo>
                      <a:lnTo>
                        <a:pt x="463" y="273"/>
                      </a:lnTo>
                      <a:lnTo>
                        <a:pt x="461" y="273"/>
                      </a:lnTo>
                      <a:lnTo>
                        <a:pt x="460" y="274"/>
                      </a:lnTo>
                      <a:lnTo>
                        <a:pt x="459" y="277"/>
                      </a:lnTo>
                      <a:lnTo>
                        <a:pt x="460" y="277"/>
                      </a:lnTo>
                      <a:lnTo>
                        <a:pt x="461" y="275"/>
                      </a:lnTo>
                      <a:lnTo>
                        <a:pt x="464" y="275"/>
                      </a:lnTo>
                      <a:lnTo>
                        <a:pt x="460" y="280"/>
                      </a:lnTo>
                      <a:lnTo>
                        <a:pt x="463" y="281"/>
                      </a:lnTo>
                      <a:lnTo>
                        <a:pt x="460" y="284"/>
                      </a:lnTo>
                      <a:lnTo>
                        <a:pt x="459" y="287"/>
                      </a:lnTo>
                      <a:lnTo>
                        <a:pt x="457" y="288"/>
                      </a:lnTo>
                      <a:lnTo>
                        <a:pt x="458" y="292"/>
                      </a:lnTo>
                      <a:lnTo>
                        <a:pt x="455" y="293"/>
                      </a:lnTo>
                      <a:lnTo>
                        <a:pt x="454" y="295"/>
                      </a:lnTo>
                      <a:lnTo>
                        <a:pt x="453" y="298"/>
                      </a:lnTo>
                      <a:lnTo>
                        <a:pt x="453" y="293"/>
                      </a:lnTo>
                      <a:lnTo>
                        <a:pt x="451" y="291"/>
                      </a:lnTo>
                      <a:lnTo>
                        <a:pt x="452" y="288"/>
                      </a:lnTo>
                      <a:lnTo>
                        <a:pt x="453" y="286"/>
                      </a:lnTo>
                      <a:lnTo>
                        <a:pt x="452" y="285"/>
                      </a:lnTo>
                      <a:lnTo>
                        <a:pt x="448" y="287"/>
                      </a:lnTo>
                      <a:lnTo>
                        <a:pt x="446" y="293"/>
                      </a:lnTo>
                      <a:lnTo>
                        <a:pt x="446" y="292"/>
                      </a:lnTo>
                      <a:lnTo>
                        <a:pt x="444" y="292"/>
                      </a:lnTo>
                      <a:lnTo>
                        <a:pt x="444" y="292"/>
                      </a:lnTo>
                      <a:lnTo>
                        <a:pt x="443" y="292"/>
                      </a:lnTo>
                      <a:lnTo>
                        <a:pt x="440" y="295"/>
                      </a:lnTo>
                      <a:lnTo>
                        <a:pt x="440" y="297"/>
                      </a:lnTo>
                      <a:lnTo>
                        <a:pt x="438" y="298"/>
                      </a:lnTo>
                      <a:lnTo>
                        <a:pt x="437" y="300"/>
                      </a:lnTo>
                      <a:lnTo>
                        <a:pt x="435" y="304"/>
                      </a:lnTo>
                      <a:lnTo>
                        <a:pt x="434" y="304"/>
                      </a:lnTo>
                      <a:lnTo>
                        <a:pt x="434" y="304"/>
                      </a:lnTo>
                      <a:lnTo>
                        <a:pt x="432" y="302"/>
                      </a:lnTo>
                      <a:lnTo>
                        <a:pt x="432" y="302"/>
                      </a:lnTo>
                      <a:lnTo>
                        <a:pt x="431" y="302"/>
                      </a:lnTo>
                      <a:lnTo>
                        <a:pt x="430" y="302"/>
                      </a:lnTo>
                      <a:lnTo>
                        <a:pt x="428" y="306"/>
                      </a:lnTo>
                      <a:lnTo>
                        <a:pt x="397" y="306"/>
                      </a:lnTo>
                      <a:lnTo>
                        <a:pt x="396" y="318"/>
                      </a:lnTo>
                      <a:lnTo>
                        <a:pt x="387" y="317"/>
                      </a:lnTo>
                      <a:lnTo>
                        <a:pt x="387" y="318"/>
                      </a:lnTo>
                      <a:lnTo>
                        <a:pt x="390" y="319"/>
                      </a:lnTo>
                      <a:lnTo>
                        <a:pt x="392" y="324"/>
                      </a:lnTo>
                      <a:lnTo>
                        <a:pt x="394" y="325"/>
                      </a:lnTo>
                      <a:lnTo>
                        <a:pt x="396" y="327"/>
                      </a:lnTo>
                      <a:lnTo>
                        <a:pt x="398" y="326"/>
                      </a:lnTo>
                      <a:lnTo>
                        <a:pt x="400" y="330"/>
                      </a:lnTo>
                      <a:lnTo>
                        <a:pt x="400" y="330"/>
                      </a:lnTo>
                      <a:lnTo>
                        <a:pt x="400" y="330"/>
                      </a:lnTo>
                      <a:lnTo>
                        <a:pt x="399" y="332"/>
                      </a:lnTo>
                      <a:lnTo>
                        <a:pt x="400" y="333"/>
                      </a:lnTo>
                      <a:lnTo>
                        <a:pt x="404" y="334"/>
                      </a:lnTo>
                      <a:lnTo>
                        <a:pt x="404" y="337"/>
                      </a:lnTo>
                      <a:lnTo>
                        <a:pt x="403" y="338"/>
                      </a:lnTo>
                      <a:lnTo>
                        <a:pt x="404" y="340"/>
                      </a:lnTo>
                      <a:lnTo>
                        <a:pt x="403" y="341"/>
                      </a:lnTo>
                      <a:lnTo>
                        <a:pt x="388" y="341"/>
                      </a:lnTo>
                      <a:lnTo>
                        <a:pt x="379" y="341"/>
                      </a:lnTo>
                      <a:lnTo>
                        <a:pt x="368" y="358"/>
                      </a:lnTo>
                      <a:lnTo>
                        <a:pt x="371" y="362"/>
                      </a:lnTo>
                      <a:lnTo>
                        <a:pt x="370" y="364"/>
                      </a:lnTo>
                      <a:lnTo>
                        <a:pt x="367" y="367"/>
                      </a:lnTo>
                      <a:lnTo>
                        <a:pt x="368" y="370"/>
                      </a:lnTo>
                      <a:lnTo>
                        <a:pt x="368" y="371"/>
                      </a:lnTo>
                      <a:lnTo>
                        <a:pt x="366" y="373"/>
                      </a:lnTo>
                      <a:lnTo>
                        <a:pt x="358" y="362"/>
                      </a:lnTo>
                      <a:lnTo>
                        <a:pt x="345" y="347"/>
                      </a:lnTo>
                      <a:lnTo>
                        <a:pt x="339" y="341"/>
                      </a:lnTo>
                      <a:lnTo>
                        <a:pt x="333" y="338"/>
                      </a:lnTo>
                      <a:lnTo>
                        <a:pt x="332" y="337"/>
                      </a:lnTo>
                      <a:lnTo>
                        <a:pt x="331" y="338"/>
                      </a:lnTo>
                      <a:lnTo>
                        <a:pt x="331" y="339"/>
                      </a:lnTo>
                      <a:lnTo>
                        <a:pt x="338" y="344"/>
                      </a:lnTo>
                      <a:lnTo>
                        <a:pt x="331" y="340"/>
                      </a:lnTo>
                      <a:lnTo>
                        <a:pt x="325" y="339"/>
                      </a:lnTo>
                      <a:lnTo>
                        <a:pt x="328" y="337"/>
                      </a:lnTo>
                      <a:lnTo>
                        <a:pt x="325" y="338"/>
                      </a:lnTo>
                      <a:lnTo>
                        <a:pt x="323" y="337"/>
                      </a:lnTo>
                      <a:lnTo>
                        <a:pt x="324" y="334"/>
                      </a:lnTo>
                      <a:lnTo>
                        <a:pt x="320" y="335"/>
                      </a:lnTo>
                      <a:lnTo>
                        <a:pt x="319" y="338"/>
                      </a:lnTo>
                      <a:lnTo>
                        <a:pt x="324" y="339"/>
                      </a:lnTo>
                      <a:lnTo>
                        <a:pt x="318" y="339"/>
                      </a:lnTo>
                      <a:lnTo>
                        <a:pt x="314" y="341"/>
                      </a:lnTo>
                      <a:lnTo>
                        <a:pt x="304" y="350"/>
                      </a:lnTo>
                      <a:lnTo>
                        <a:pt x="296" y="350"/>
                      </a:lnTo>
                      <a:lnTo>
                        <a:pt x="290" y="350"/>
                      </a:lnTo>
                      <a:lnTo>
                        <a:pt x="279" y="346"/>
                      </a:lnTo>
                      <a:lnTo>
                        <a:pt x="270" y="344"/>
                      </a:lnTo>
                      <a:lnTo>
                        <a:pt x="266" y="339"/>
                      </a:lnTo>
                      <a:lnTo>
                        <a:pt x="257" y="337"/>
                      </a:lnTo>
                      <a:lnTo>
                        <a:pt x="253" y="332"/>
                      </a:lnTo>
                      <a:lnTo>
                        <a:pt x="248" y="330"/>
                      </a:lnTo>
                      <a:lnTo>
                        <a:pt x="238" y="328"/>
                      </a:lnTo>
                      <a:lnTo>
                        <a:pt x="230" y="326"/>
                      </a:lnTo>
                      <a:lnTo>
                        <a:pt x="220" y="319"/>
                      </a:lnTo>
                      <a:lnTo>
                        <a:pt x="214" y="317"/>
                      </a:lnTo>
                      <a:lnTo>
                        <a:pt x="210" y="314"/>
                      </a:lnTo>
                      <a:lnTo>
                        <a:pt x="207" y="313"/>
                      </a:lnTo>
                      <a:lnTo>
                        <a:pt x="204" y="311"/>
                      </a:lnTo>
                      <a:lnTo>
                        <a:pt x="206" y="308"/>
                      </a:lnTo>
                      <a:lnTo>
                        <a:pt x="204" y="304"/>
                      </a:lnTo>
                      <a:lnTo>
                        <a:pt x="201" y="302"/>
                      </a:lnTo>
                      <a:lnTo>
                        <a:pt x="197" y="304"/>
                      </a:lnTo>
                      <a:lnTo>
                        <a:pt x="177" y="297"/>
                      </a:lnTo>
                      <a:lnTo>
                        <a:pt x="171" y="292"/>
                      </a:lnTo>
                      <a:lnTo>
                        <a:pt x="167" y="284"/>
                      </a:lnTo>
                      <a:lnTo>
                        <a:pt x="156" y="279"/>
                      </a:lnTo>
                      <a:lnTo>
                        <a:pt x="151" y="274"/>
                      </a:lnTo>
                      <a:lnTo>
                        <a:pt x="149" y="274"/>
                      </a:lnTo>
                      <a:lnTo>
                        <a:pt x="145" y="271"/>
                      </a:lnTo>
                      <a:lnTo>
                        <a:pt x="146" y="266"/>
                      </a:lnTo>
                      <a:lnTo>
                        <a:pt x="146" y="261"/>
                      </a:lnTo>
                      <a:lnTo>
                        <a:pt x="143" y="259"/>
                      </a:lnTo>
                      <a:lnTo>
                        <a:pt x="140" y="258"/>
                      </a:lnTo>
                      <a:lnTo>
                        <a:pt x="138" y="254"/>
                      </a:lnTo>
                      <a:lnTo>
                        <a:pt x="141" y="253"/>
                      </a:lnTo>
                      <a:lnTo>
                        <a:pt x="146" y="252"/>
                      </a:lnTo>
                      <a:lnTo>
                        <a:pt x="150" y="253"/>
                      </a:lnTo>
                      <a:lnTo>
                        <a:pt x="150" y="250"/>
                      </a:lnTo>
                      <a:lnTo>
                        <a:pt x="150" y="245"/>
                      </a:lnTo>
                      <a:lnTo>
                        <a:pt x="145" y="245"/>
                      </a:lnTo>
                      <a:lnTo>
                        <a:pt x="152" y="239"/>
                      </a:lnTo>
                      <a:lnTo>
                        <a:pt x="154" y="231"/>
                      </a:lnTo>
                      <a:lnTo>
                        <a:pt x="151" y="228"/>
                      </a:lnTo>
                      <a:lnTo>
                        <a:pt x="149" y="220"/>
                      </a:lnTo>
                      <a:lnTo>
                        <a:pt x="149" y="214"/>
                      </a:lnTo>
                      <a:lnTo>
                        <a:pt x="149" y="208"/>
                      </a:lnTo>
                      <a:lnTo>
                        <a:pt x="146" y="204"/>
                      </a:lnTo>
                      <a:lnTo>
                        <a:pt x="140" y="200"/>
                      </a:lnTo>
                      <a:lnTo>
                        <a:pt x="138" y="195"/>
                      </a:lnTo>
                      <a:lnTo>
                        <a:pt x="138" y="192"/>
                      </a:lnTo>
                      <a:lnTo>
                        <a:pt x="133" y="184"/>
                      </a:lnTo>
                      <a:lnTo>
                        <a:pt x="132" y="181"/>
                      </a:lnTo>
                      <a:lnTo>
                        <a:pt x="130" y="178"/>
                      </a:lnTo>
                      <a:lnTo>
                        <a:pt x="129" y="175"/>
                      </a:lnTo>
                      <a:lnTo>
                        <a:pt x="125" y="174"/>
                      </a:lnTo>
                      <a:lnTo>
                        <a:pt x="119" y="170"/>
                      </a:lnTo>
                      <a:lnTo>
                        <a:pt x="124" y="172"/>
                      </a:lnTo>
                      <a:lnTo>
                        <a:pt x="126" y="171"/>
                      </a:lnTo>
                      <a:lnTo>
                        <a:pt x="124" y="168"/>
                      </a:lnTo>
                      <a:lnTo>
                        <a:pt x="121" y="170"/>
                      </a:lnTo>
                      <a:lnTo>
                        <a:pt x="116" y="166"/>
                      </a:lnTo>
                      <a:lnTo>
                        <a:pt x="117" y="163"/>
                      </a:lnTo>
                      <a:lnTo>
                        <a:pt x="118" y="159"/>
                      </a:lnTo>
                      <a:lnTo>
                        <a:pt x="114" y="161"/>
                      </a:lnTo>
                      <a:lnTo>
                        <a:pt x="111" y="155"/>
                      </a:lnTo>
                      <a:lnTo>
                        <a:pt x="112" y="154"/>
                      </a:lnTo>
                      <a:lnTo>
                        <a:pt x="112" y="157"/>
                      </a:lnTo>
                      <a:lnTo>
                        <a:pt x="116" y="159"/>
                      </a:lnTo>
                      <a:lnTo>
                        <a:pt x="117" y="157"/>
                      </a:lnTo>
                      <a:lnTo>
                        <a:pt x="114" y="154"/>
                      </a:lnTo>
                      <a:lnTo>
                        <a:pt x="116" y="152"/>
                      </a:lnTo>
                      <a:lnTo>
                        <a:pt x="113" y="151"/>
                      </a:lnTo>
                      <a:lnTo>
                        <a:pt x="112" y="152"/>
                      </a:lnTo>
                      <a:lnTo>
                        <a:pt x="109" y="153"/>
                      </a:lnTo>
                      <a:lnTo>
                        <a:pt x="109" y="150"/>
                      </a:lnTo>
                      <a:lnTo>
                        <a:pt x="106" y="151"/>
                      </a:lnTo>
                      <a:lnTo>
                        <a:pt x="105" y="151"/>
                      </a:lnTo>
                      <a:lnTo>
                        <a:pt x="107" y="148"/>
                      </a:lnTo>
                      <a:lnTo>
                        <a:pt x="106" y="147"/>
                      </a:lnTo>
                      <a:lnTo>
                        <a:pt x="103" y="150"/>
                      </a:lnTo>
                      <a:lnTo>
                        <a:pt x="100" y="147"/>
                      </a:lnTo>
                      <a:lnTo>
                        <a:pt x="103" y="147"/>
                      </a:lnTo>
                      <a:lnTo>
                        <a:pt x="104" y="146"/>
                      </a:lnTo>
                      <a:lnTo>
                        <a:pt x="101" y="146"/>
                      </a:lnTo>
                      <a:lnTo>
                        <a:pt x="99" y="147"/>
                      </a:lnTo>
                      <a:lnTo>
                        <a:pt x="96" y="145"/>
                      </a:lnTo>
                      <a:lnTo>
                        <a:pt x="96" y="144"/>
                      </a:lnTo>
                      <a:lnTo>
                        <a:pt x="96" y="139"/>
                      </a:lnTo>
                      <a:lnTo>
                        <a:pt x="97" y="137"/>
                      </a:lnTo>
                      <a:lnTo>
                        <a:pt x="99" y="134"/>
                      </a:lnTo>
                      <a:lnTo>
                        <a:pt x="101" y="132"/>
                      </a:lnTo>
                      <a:lnTo>
                        <a:pt x="104" y="133"/>
                      </a:lnTo>
                      <a:lnTo>
                        <a:pt x="104" y="130"/>
                      </a:lnTo>
                      <a:lnTo>
                        <a:pt x="101" y="131"/>
                      </a:lnTo>
                      <a:lnTo>
                        <a:pt x="99" y="121"/>
                      </a:lnTo>
                      <a:lnTo>
                        <a:pt x="98" y="124"/>
                      </a:lnTo>
                      <a:lnTo>
                        <a:pt x="93" y="123"/>
                      </a:lnTo>
                      <a:lnTo>
                        <a:pt x="93" y="117"/>
                      </a:lnTo>
                      <a:lnTo>
                        <a:pt x="93" y="116"/>
                      </a:lnTo>
                      <a:lnTo>
                        <a:pt x="89" y="111"/>
                      </a:lnTo>
                      <a:lnTo>
                        <a:pt x="84" y="111"/>
                      </a:lnTo>
                      <a:lnTo>
                        <a:pt x="83" y="107"/>
                      </a:lnTo>
                      <a:lnTo>
                        <a:pt x="84" y="104"/>
                      </a:lnTo>
                      <a:lnTo>
                        <a:pt x="87" y="99"/>
                      </a:lnTo>
                      <a:lnTo>
                        <a:pt x="81" y="99"/>
                      </a:lnTo>
                      <a:lnTo>
                        <a:pt x="80" y="100"/>
                      </a:lnTo>
                      <a:lnTo>
                        <a:pt x="77" y="98"/>
                      </a:lnTo>
                      <a:lnTo>
                        <a:pt x="73" y="88"/>
                      </a:lnTo>
                      <a:lnTo>
                        <a:pt x="70" y="87"/>
                      </a:lnTo>
                      <a:lnTo>
                        <a:pt x="66" y="81"/>
                      </a:lnTo>
                      <a:lnTo>
                        <a:pt x="69" y="80"/>
                      </a:lnTo>
                      <a:lnTo>
                        <a:pt x="64" y="77"/>
                      </a:lnTo>
                      <a:lnTo>
                        <a:pt x="65" y="70"/>
                      </a:lnTo>
                      <a:lnTo>
                        <a:pt x="63" y="68"/>
                      </a:lnTo>
                      <a:lnTo>
                        <a:pt x="64" y="66"/>
                      </a:lnTo>
                      <a:lnTo>
                        <a:pt x="59" y="56"/>
                      </a:lnTo>
                      <a:lnTo>
                        <a:pt x="61" y="51"/>
                      </a:lnTo>
                      <a:lnTo>
                        <a:pt x="61" y="44"/>
                      </a:lnTo>
                      <a:lnTo>
                        <a:pt x="58" y="41"/>
                      </a:lnTo>
                      <a:lnTo>
                        <a:pt x="63" y="37"/>
                      </a:lnTo>
                      <a:lnTo>
                        <a:pt x="63" y="33"/>
                      </a:lnTo>
                      <a:lnTo>
                        <a:pt x="63" y="31"/>
                      </a:lnTo>
                      <a:lnTo>
                        <a:pt x="56" y="31"/>
                      </a:lnTo>
                      <a:lnTo>
                        <a:pt x="53" y="28"/>
                      </a:lnTo>
                      <a:lnTo>
                        <a:pt x="54" y="25"/>
                      </a:lnTo>
                      <a:lnTo>
                        <a:pt x="52" y="23"/>
                      </a:lnTo>
                      <a:lnTo>
                        <a:pt x="50" y="21"/>
                      </a:lnTo>
                      <a:lnTo>
                        <a:pt x="49" y="25"/>
                      </a:lnTo>
                      <a:lnTo>
                        <a:pt x="45" y="25"/>
                      </a:lnTo>
                      <a:lnTo>
                        <a:pt x="41" y="19"/>
                      </a:lnTo>
                      <a:lnTo>
                        <a:pt x="38" y="19"/>
                      </a:lnTo>
                      <a:lnTo>
                        <a:pt x="34" y="16"/>
                      </a:lnTo>
                      <a:lnTo>
                        <a:pt x="33" y="16"/>
                      </a:lnTo>
                      <a:lnTo>
                        <a:pt x="34" y="19"/>
                      </a:lnTo>
                      <a:lnTo>
                        <a:pt x="36" y="21"/>
                      </a:lnTo>
                      <a:lnTo>
                        <a:pt x="34" y="26"/>
                      </a:lnTo>
                      <a:lnTo>
                        <a:pt x="32" y="28"/>
                      </a:lnTo>
                      <a:lnTo>
                        <a:pt x="31" y="30"/>
                      </a:lnTo>
                      <a:lnTo>
                        <a:pt x="31" y="32"/>
                      </a:lnTo>
                      <a:lnTo>
                        <a:pt x="31" y="34"/>
                      </a:lnTo>
                      <a:lnTo>
                        <a:pt x="32" y="37"/>
                      </a:lnTo>
                      <a:lnTo>
                        <a:pt x="33" y="40"/>
                      </a:lnTo>
                      <a:lnTo>
                        <a:pt x="31" y="45"/>
                      </a:lnTo>
                      <a:lnTo>
                        <a:pt x="27" y="52"/>
                      </a:lnTo>
                      <a:lnTo>
                        <a:pt x="31" y="60"/>
                      </a:lnTo>
                      <a:lnTo>
                        <a:pt x="34" y="60"/>
                      </a:lnTo>
                      <a:lnTo>
                        <a:pt x="39" y="66"/>
                      </a:lnTo>
                      <a:lnTo>
                        <a:pt x="40" y="71"/>
                      </a:lnTo>
                      <a:lnTo>
                        <a:pt x="40" y="79"/>
                      </a:lnTo>
                      <a:lnTo>
                        <a:pt x="43" y="77"/>
                      </a:lnTo>
                      <a:lnTo>
                        <a:pt x="43" y="80"/>
                      </a:lnTo>
                      <a:lnTo>
                        <a:pt x="45" y="80"/>
                      </a:lnTo>
                      <a:lnTo>
                        <a:pt x="45" y="87"/>
                      </a:lnTo>
                      <a:lnTo>
                        <a:pt x="49" y="87"/>
                      </a:lnTo>
                      <a:lnTo>
                        <a:pt x="49" y="93"/>
                      </a:lnTo>
                      <a:lnTo>
                        <a:pt x="50" y="97"/>
                      </a:lnTo>
                      <a:lnTo>
                        <a:pt x="47" y="100"/>
                      </a:lnTo>
                      <a:lnTo>
                        <a:pt x="50" y="105"/>
                      </a:lnTo>
                      <a:lnTo>
                        <a:pt x="53" y="107"/>
                      </a:lnTo>
                      <a:lnTo>
                        <a:pt x="53" y="113"/>
                      </a:lnTo>
                      <a:lnTo>
                        <a:pt x="56" y="116"/>
                      </a:lnTo>
                      <a:lnTo>
                        <a:pt x="57" y="120"/>
                      </a:lnTo>
                      <a:lnTo>
                        <a:pt x="57" y="123"/>
                      </a:lnTo>
                      <a:lnTo>
                        <a:pt x="58" y="126"/>
                      </a:lnTo>
                      <a:lnTo>
                        <a:pt x="60" y="126"/>
                      </a:lnTo>
                      <a:lnTo>
                        <a:pt x="58" y="119"/>
                      </a:lnTo>
                      <a:lnTo>
                        <a:pt x="60" y="120"/>
                      </a:lnTo>
                      <a:lnTo>
                        <a:pt x="63" y="123"/>
                      </a:lnTo>
                      <a:lnTo>
                        <a:pt x="63" y="126"/>
                      </a:lnTo>
                      <a:lnTo>
                        <a:pt x="65" y="132"/>
                      </a:lnTo>
                      <a:lnTo>
                        <a:pt x="63" y="143"/>
                      </a:lnTo>
                      <a:lnTo>
                        <a:pt x="65" y="147"/>
                      </a:lnTo>
                      <a:lnTo>
                        <a:pt x="67" y="148"/>
                      </a:lnTo>
                      <a:lnTo>
                        <a:pt x="66" y="155"/>
                      </a:lnTo>
                      <a:lnTo>
                        <a:pt x="69" y="158"/>
                      </a:lnTo>
                      <a:lnTo>
                        <a:pt x="70" y="164"/>
                      </a:lnTo>
                      <a:lnTo>
                        <a:pt x="67" y="167"/>
                      </a:lnTo>
                      <a:lnTo>
                        <a:pt x="69" y="170"/>
                      </a:lnTo>
                      <a:lnTo>
                        <a:pt x="69" y="173"/>
                      </a:lnTo>
                      <a:lnTo>
                        <a:pt x="71" y="175"/>
                      </a:lnTo>
                      <a:lnTo>
                        <a:pt x="73" y="175"/>
                      </a:lnTo>
                      <a:lnTo>
                        <a:pt x="76" y="172"/>
                      </a:lnTo>
                      <a:lnTo>
                        <a:pt x="78" y="173"/>
                      </a:lnTo>
                      <a:lnTo>
                        <a:pt x="81" y="179"/>
                      </a:lnTo>
                      <a:lnTo>
                        <a:pt x="81" y="180"/>
                      </a:lnTo>
                      <a:lnTo>
                        <a:pt x="84" y="181"/>
                      </a:lnTo>
                      <a:lnTo>
                        <a:pt x="83" y="185"/>
                      </a:lnTo>
                      <a:lnTo>
                        <a:pt x="86" y="187"/>
                      </a:lnTo>
                      <a:lnTo>
                        <a:pt x="87" y="191"/>
                      </a:lnTo>
                      <a:lnTo>
                        <a:pt x="85" y="194"/>
                      </a:lnTo>
                      <a:lnTo>
                        <a:pt x="84" y="198"/>
                      </a:lnTo>
                      <a:lnTo>
                        <a:pt x="80" y="199"/>
                      </a:lnTo>
                      <a:lnTo>
                        <a:pt x="80" y="200"/>
                      </a:lnTo>
                      <a:lnTo>
                        <a:pt x="76" y="203"/>
                      </a:lnTo>
                      <a:lnTo>
                        <a:pt x="73" y="201"/>
                      </a:lnTo>
                      <a:lnTo>
                        <a:pt x="73" y="193"/>
                      </a:lnTo>
                      <a:lnTo>
                        <a:pt x="71" y="187"/>
                      </a:lnTo>
                      <a:lnTo>
                        <a:pt x="66" y="186"/>
                      </a:lnTo>
                      <a:lnTo>
                        <a:pt x="61" y="177"/>
                      </a:lnTo>
                      <a:lnTo>
                        <a:pt x="54" y="175"/>
                      </a:lnTo>
                      <a:lnTo>
                        <a:pt x="53" y="174"/>
                      </a:lnTo>
                      <a:lnTo>
                        <a:pt x="51" y="173"/>
                      </a:lnTo>
                      <a:lnTo>
                        <a:pt x="50" y="170"/>
                      </a:lnTo>
                      <a:lnTo>
                        <a:pt x="47" y="170"/>
                      </a:lnTo>
                      <a:lnTo>
                        <a:pt x="46" y="168"/>
                      </a:lnTo>
                      <a:lnTo>
                        <a:pt x="49" y="167"/>
                      </a:lnTo>
                      <a:lnTo>
                        <a:pt x="51" y="168"/>
                      </a:lnTo>
                      <a:lnTo>
                        <a:pt x="52" y="171"/>
                      </a:lnTo>
                      <a:lnTo>
                        <a:pt x="56" y="171"/>
                      </a:lnTo>
                      <a:lnTo>
                        <a:pt x="54" y="168"/>
                      </a:lnTo>
                      <a:lnTo>
                        <a:pt x="50" y="166"/>
                      </a:lnTo>
                      <a:lnTo>
                        <a:pt x="49" y="165"/>
                      </a:lnTo>
                      <a:lnTo>
                        <a:pt x="47" y="165"/>
                      </a:lnTo>
                      <a:lnTo>
                        <a:pt x="44" y="164"/>
                      </a:lnTo>
                      <a:lnTo>
                        <a:pt x="44" y="163"/>
                      </a:lnTo>
                      <a:lnTo>
                        <a:pt x="45" y="163"/>
                      </a:lnTo>
                      <a:lnTo>
                        <a:pt x="46" y="161"/>
                      </a:lnTo>
                      <a:lnTo>
                        <a:pt x="47" y="158"/>
                      </a:lnTo>
                      <a:lnTo>
                        <a:pt x="46" y="154"/>
                      </a:lnTo>
                      <a:lnTo>
                        <a:pt x="49" y="150"/>
                      </a:lnTo>
                      <a:lnTo>
                        <a:pt x="49" y="144"/>
                      </a:lnTo>
                      <a:lnTo>
                        <a:pt x="49" y="138"/>
                      </a:lnTo>
                      <a:lnTo>
                        <a:pt x="45" y="132"/>
                      </a:lnTo>
                      <a:lnTo>
                        <a:pt x="41" y="131"/>
                      </a:lnTo>
                      <a:lnTo>
                        <a:pt x="38" y="126"/>
                      </a:lnTo>
                      <a:lnTo>
                        <a:pt x="33" y="126"/>
                      </a:lnTo>
                      <a:lnTo>
                        <a:pt x="33" y="123"/>
                      </a:lnTo>
                      <a:lnTo>
                        <a:pt x="36" y="120"/>
                      </a:lnTo>
                      <a:lnTo>
                        <a:pt x="36" y="118"/>
                      </a:lnTo>
                      <a:lnTo>
                        <a:pt x="32" y="120"/>
                      </a:lnTo>
                      <a:lnTo>
                        <a:pt x="31" y="120"/>
                      </a:lnTo>
                      <a:lnTo>
                        <a:pt x="27" y="123"/>
                      </a:lnTo>
                      <a:lnTo>
                        <a:pt x="25" y="120"/>
                      </a:lnTo>
                      <a:lnTo>
                        <a:pt x="24" y="118"/>
                      </a:lnTo>
                      <a:lnTo>
                        <a:pt x="21" y="117"/>
                      </a:lnTo>
                      <a:lnTo>
                        <a:pt x="19" y="117"/>
                      </a:lnTo>
                      <a:lnTo>
                        <a:pt x="14" y="113"/>
                      </a:lnTo>
                      <a:lnTo>
                        <a:pt x="14" y="112"/>
                      </a:lnTo>
                      <a:lnTo>
                        <a:pt x="14" y="108"/>
                      </a:lnTo>
                      <a:lnTo>
                        <a:pt x="10" y="105"/>
                      </a:lnTo>
                      <a:lnTo>
                        <a:pt x="7" y="103"/>
                      </a:lnTo>
                      <a:lnTo>
                        <a:pt x="7" y="100"/>
                      </a:lnTo>
                      <a:lnTo>
                        <a:pt x="7" y="99"/>
                      </a:lnTo>
                      <a:lnTo>
                        <a:pt x="10" y="99"/>
                      </a:lnTo>
                      <a:lnTo>
                        <a:pt x="14" y="101"/>
                      </a:lnTo>
                      <a:lnTo>
                        <a:pt x="17" y="101"/>
                      </a:lnTo>
                      <a:lnTo>
                        <a:pt x="18" y="101"/>
                      </a:lnTo>
                      <a:lnTo>
                        <a:pt x="19" y="99"/>
                      </a:lnTo>
                      <a:lnTo>
                        <a:pt x="20" y="99"/>
                      </a:lnTo>
                      <a:lnTo>
                        <a:pt x="19" y="99"/>
                      </a:lnTo>
                      <a:lnTo>
                        <a:pt x="20" y="100"/>
                      </a:lnTo>
                      <a:lnTo>
                        <a:pt x="20" y="101"/>
                      </a:lnTo>
                      <a:lnTo>
                        <a:pt x="20" y="101"/>
                      </a:lnTo>
                      <a:lnTo>
                        <a:pt x="20" y="103"/>
                      </a:lnTo>
                      <a:lnTo>
                        <a:pt x="21" y="101"/>
                      </a:lnTo>
                      <a:lnTo>
                        <a:pt x="24" y="103"/>
                      </a:lnTo>
                      <a:lnTo>
                        <a:pt x="25" y="103"/>
                      </a:lnTo>
                      <a:lnTo>
                        <a:pt x="25" y="101"/>
                      </a:lnTo>
                      <a:lnTo>
                        <a:pt x="21" y="100"/>
                      </a:lnTo>
                      <a:lnTo>
                        <a:pt x="20" y="99"/>
                      </a:lnTo>
                      <a:lnTo>
                        <a:pt x="21" y="98"/>
                      </a:lnTo>
                      <a:lnTo>
                        <a:pt x="24" y="97"/>
                      </a:lnTo>
                      <a:lnTo>
                        <a:pt x="27" y="90"/>
                      </a:lnTo>
                      <a:lnTo>
                        <a:pt x="29" y="86"/>
                      </a:lnTo>
                      <a:lnTo>
                        <a:pt x="27" y="83"/>
                      </a:lnTo>
                      <a:lnTo>
                        <a:pt x="26" y="78"/>
                      </a:lnTo>
                      <a:lnTo>
                        <a:pt x="24" y="73"/>
                      </a:lnTo>
                      <a:lnTo>
                        <a:pt x="18" y="70"/>
                      </a:lnTo>
                      <a:lnTo>
                        <a:pt x="18" y="68"/>
                      </a:lnTo>
                      <a:lnTo>
                        <a:pt x="16" y="65"/>
                      </a:lnTo>
                      <a:lnTo>
                        <a:pt x="13" y="63"/>
                      </a:lnTo>
                      <a:lnTo>
                        <a:pt x="7" y="60"/>
                      </a:lnTo>
                      <a:lnTo>
                        <a:pt x="6" y="57"/>
                      </a:lnTo>
                      <a:lnTo>
                        <a:pt x="9" y="52"/>
                      </a:lnTo>
                      <a:lnTo>
                        <a:pt x="9" y="48"/>
                      </a:lnTo>
                      <a:lnTo>
                        <a:pt x="7" y="45"/>
                      </a:lnTo>
                      <a:lnTo>
                        <a:pt x="6" y="43"/>
                      </a:lnTo>
                      <a:lnTo>
                        <a:pt x="6" y="40"/>
                      </a:lnTo>
                      <a:lnTo>
                        <a:pt x="7" y="39"/>
                      </a:lnTo>
                      <a:lnTo>
                        <a:pt x="6" y="39"/>
                      </a:lnTo>
                      <a:lnTo>
                        <a:pt x="5" y="37"/>
                      </a:lnTo>
                      <a:lnTo>
                        <a:pt x="4" y="36"/>
                      </a:lnTo>
                      <a:lnTo>
                        <a:pt x="6" y="33"/>
                      </a:lnTo>
                      <a:lnTo>
                        <a:pt x="6" y="31"/>
                      </a:lnTo>
                      <a:lnTo>
                        <a:pt x="5" y="28"/>
                      </a:lnTo>
                      <a:lnTo>
                        <a:pt x="4" y="25"/>
                      </a:lnTo>
                      <a:lnTo>
                        <a:pt x="1" y="24"/>
                      </a:lnTo>
                      <a:lnTo>
                        <a:pt x="4" y="21"/>
                      </a:lnTo>
                      <a:lnTo>
                        <a:pt x="5" y="18"/>
                      </a:lnTo>
                      <a:lnTo>
                        <a:pt x="3" y="17"/>
                      </a:lnTo>
                      <a:lnTo>
                        <a:pt x="3" y="14"/>
                      </a:lnTo>
                      <a:lnTo>
                        <a:pt x="0" y="10"/>
                      </a:lnTo>
                      <a:lnTo>
                        <a:pt x="1" y="6"/>
                      </a:lnTo>
                      <a:lnTo>
                        <a:pt x="1" y="3"/>
                      </a:lnTo>
                      <a:lnTo>
                        <a:pt x="1" y="3"/>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grpSp>
              <p:nvGrpSpPr>
                <p:cNvPr id="390" name="Malaysia">
                  <a:extLst>
                    <a:ext uri="{FF2B5EF4-FFF2-40B4-BE49-F238E27FC236}">
                      <a16:creationId xmlns:a16="http://schemas.microsoft.com/office/drawing/2014/main" id="{FE12A2ED-095D-FA42-93DF-B39C71955B70}"/>
                    </a:ext>
                  </a:extLst>
                </p:cNvPr>
                <p:cNvGrpSpPr/>
                <p:nvPr/>
              </p:nvGrpSpPr>
              <p:grpSpPr>
                <a:xfrm>
                  <a:off x="8999760" y="3762008"/>
                  <a:ext cx="516113" cy="196823"/>
                  <a:chOff x="7940176" y="4086459"/>
                  <a:chExt cx="569156" cy="217051"/>
                </a:xfrm>
                <a:grpFill/>
              </p:grpSpPr>
              <p:sp>
                <p:nvSpPr>
                  <p:cNvPr id="527" name="Freeform 172">
                    <a:extLst>
                      <a:ext uri="{FF2B5EF4-FFF2-40B4-BE49-F238E27FC236}">
                        <a16:creationId xmlns:a16="http://schemas.microsoft.com/office/drawing/2014/main" id="{10621075-6FEA-CC4D-B73E-26717BDE8445}"/>
                      </a:ext>
                    </a:extLst>
                  </p:cNvPr>
                  <p:cNvSpPr>
                    <a:spLocks noEditPoints="1"/>
                  </p:cNvSpPr>
                  <p:nvPr/>
                </p:nvSpPr>
                <p:spPr bwMode="auto">
                  <a:xfrm>
                    <a:off x="7940176" y="4086459"/>
                    <a:ext cx="569156" cy="217051"/>
                  </a:xfrm>
                  <a:custGeom>
                    <a:avLst/>
                    <a:gdLst>
                      <a:gd name="T0" fmla="*/ 283 w 354"/>
                      <a:gd name="T1" fmla="*/ 63 h 135"/>
                      <a:gd name="T2" fmla="*/ 283 w 354"/>
                      <a:gd name="T3" fmla="*/ 52 h 135"/>
                      <a:gd name="T4" fmla="*/ 284 w 354"/>
                      <a:gd name="T5" fmla="*/ 41 h 135"/>
                      <a:gd name="T6" fmla="*/ 293 w 354"/>
                      <a:gd name="T7" fmla="*/ 28 h 135"/>
                      <a:gd name="T8" fmla="*/ 303 w 354"/>
                      <a:gd name="T9" fmla="*/ 15 h 135"/>
                      <a:gd name="T10" fmla="*/ 310 w 354"/>
                      <a:gd name="T11" fmla="*/ 2 h 135"/>
                      <a:gd name="T12" fmla="*/ 312 w 354"/>
                      <a:gd name="T13" fmla="*/ 15 h 135"/>
                      <a:gd name="T14" fmla="*/ 323 w 354"/>
                      <a:gd name="T15" fmla="*/ 22 h 135"/>
                      <a:gd name="T16" fmla="*/ 321 w 354"/>
                      <a:gd name="T17" fmla="*/ 32 h 135"/>
                      <a:gd name="T18" fmla="*/ 333 w 354"/>
                      <a:gd name="T19" fmla="*/ 34 h 135"/>
                      <a:gd name="T20" fmla="*/ 334 w 354"/>
                      <a:gd name="T21" fmla="*/ 34 h 135"/>
                      <a:gd name="T22" fmla="*/ 341 w 354"/>
                      <a:gd name="T23" fmla="*/ 40 h 135"/>
                      <a:gd name="T24" fmla="*/ 348 w 354"/>
                      <a:gd name="T25" fmla="*/ 42 h 135"/>
                      <a:gd name="T26" fmla="*/ 353 w 354"/>
                      <a:gd name="T27" fmla="*/ 41 h 135"/>
                      <a:gd name="T28" fmla="*/ 340 w 354"/>
                      <a:gd name="T29" fmla="*/ 51 h 135"/>
                      <a:gd name="T30" fmla="*/ 334 w 354"/>
                      <a:gd name="T31" fmla="*/ 54 h 135"/>
                      <a:gd name="T32" fmla="*/ 340 w 354"/>
                      <a:gd name="T33" fmla="*/ 60 h 135"/>
                      <a:gd name="T34" fmla="*/ 331 w 354"/>
                      <a:gd name="T35" fmla="*/ 65 h 135"/>
                      <a:gd name="T36" fmla="*/ 321 w 354"/>
                      <a:gd name="T37" fmla="*/ 67 h 135"/>
                      <a:gd name="T38" fmla="*/ 306 w 354"/>
                      <a:gd name="T39" fmla="*/ 63 h 135"/>
                      <a:gd name="T40" fmla="*/ 301 w 354"/>
                      <a:gd name="T41" fmla="*/ 63 h 135"/>
                      <a:gd name="T42" fmla="*/ 292 w 354"/>
                      <a:gd name="T43" fmla="*/ 64 h 135"/>
                      <a:gd name="T44" fmla="*/ 287 w 354"/>
                      <a:gd name="T45" fmla="*/ 82 h 135"/>
                      <a:gd name="T46" fmla="*/ 279 w 354"/>
                      <a:gd name="T47" fmla="*/ 92 h 135"/>
                      <a:gd name="T48" fmla="*/ 279 w 354"/>
                      <a:gd name="T49" fmla="*/ 99 h 135"/>
                      <a:gd name="T50" fmla="*/ 275 w 354"/>
                      <a:gd name="T51" fmla="*/ 104 h 135"/>
                      <a:gd name="T52" fmla="*/ 274 w 354"/>
                      <a:gd name="T53" fmla="*/ 110 h 135"/>
                      <a:gd name="T54" fmla="*/ 268 w 354"/>
                      <a:gd name="T55" fmla="*/ 123 h 135"/>
                      <a:gd name="T56" fmla="*/ 257 w 354"/>
                      <a:gd name="T57" fmla="*/ 123 h 135"/>
                      <a:gd name="T58" fmla="*/ 241 w 354"/>
                      <a:gd name="T59" fmla="*/ 123 h 135"/>
                      <a:gd name="T60" fmla="*/ 227 w 354"/>
                      <a:gd name="T61" fmla="*/ 122 h 135"/>
                      <a:gd name="T62" fmla="*/ 218 w 354"/>
                      <a:gd name="T63" fmla="*/ 132 h 135"/>
                      <a:gd name="T64" fmla="*/ 207 w 354"/>
                      <a:gd name="T65" fmla="*/ 130 h 135"/>
                      <a:gd name="T66" fmla="*/ 193 w 354"/>
                      <a:gd name="T67" fmla="*/ 134 h 135"/>
                      <a:gd name="T68" fmla="*/ 183 w 354"/>
                      <a:gd name="T69" fmla="*/ 123 h 135"/>
                      <a:gd name="T70" fmla="*/ 179 w 354"/>
                      <a:gd name="T71" fmla="*/ 110 h 135"/>
                      <a:gd name="T72" fmla="*/ 188 w 354"/>
                      <a:gd name="T73" fmla="*/ 117 h 135"/>
                      <a:gd name="T74" fmla="*/ 192 w 354"/>
                      <a:gd name="T75" fmla="*/ 117 h 135"/>
                      <a:gd name="T76" fmla="*/ 199 w 354"/>
                      <a:gd name="T77" fmla="*/ 121 h 135"/>
                      <a:gd name="T78" fmla="*/ 206 w 354"/>
                      <a:gd name="T79" fmla="*/ 124 h 135"/>
                      <a:gd name="T80" fmla="*/ 206 w 354"/>
                      <a:gd name="T81" fmla="*/ 124 h 135"/>
                      <a:gd name="T82" fmla="*/ 206 w 354"/>
                      <a:gd name="T83" fmla="*/ 118 h 135"/>
                      <a:gd name="T84" fmla="*/ 206 w 354"/>
                      <a:gd name="T85" fmla="*/ 109 h 135"/>
                      <a:gd name="T86" fmla="*/ 207 w 354"/>
                      <a:gd name="T87" fmla="*/ 103 h 135"/>
                      <a:gd name="T88" fmla="*/ 213 w 354"/>
                      <a:gd name="T89" fmla="*/ 102 h 135"/>
                      <a:gd name="T90" fmla="*/ 220 w 354"/>
                      <a:gd name="T91" fmla="*/ 94 h 135"/>
                      <a:gd name="T92" fmla="*/ 248 w 354"/>
                      <a:gd name="T93" fmla="*/ 75 h 135"/>
                      <a:gd name="T94" fmla="*/ 258 w 354"/>
                      <a:gd name="T95" fmla="*/ 58 h 135"/>
                      <a:gd name="T96" fmla="*/ 264 w 354"/>
                      <a:gd name="T97" fmla="*/ 64 h 135"/>
                      <a:gd name="T98" fmla="*/ 272 w 354"/>
                      <a:gd name="T99" fmla="*/ 68 h 135"/>
                      <a:gd name="T100" fmla="*/ 273 w 354"/>
                      <a:gd name="T101" fmla="*/ 62 h 135"/>
                      <a:gd name="T102" fmla="*/ 277 w 354"/>
                      <a:gd name="T103" fmla="*/ 52 h 135"/>
                      <a:gd name="T104" fmla="*/ 0 w 354"/>
                      <a:gd name="T105" fmla="*/ 24 h 135"/>
                      <a:gd name="T106" fmla="*/ 1 w 354"/>
                      <a:gd name="T107" fmla="*/ 23 h 135"/>
                      <a:gd name="T108" fmla="*/ 1 w 354"/>
                      <a:gd name="T109" fmla="*/ 25 h 135"/>
                      <a:gd name="T110" fmla="*/ 320 w 354"/>
                      <a:gd name="T111" fmla="*/ 7 h 135"/>
                      <a:gd name="T112" fmla="*/ 320 w 354"/>
                      <a:gd name="T113" fmla="*/ 10 h 135"/>
                      <a:gd name="T114" fmla="*/ 1 w 354"/>
                      <a:gd name="T115" fmla="*/ 43 h 135"/>
                      <a:gd name="T116" fmla="*/ 8 w 354"/>
                      <a:gd name="T117" fmla="*/ 48 h 135"/>
                      <a:gd name="T118" fmla="*/ 4 w 354"/>
                      <a:gd name="T119" fmla="*/ 47 h 13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4" h="135">
                        <a:moveTo>
                          <a:pt x="277" y="54"/>
                        </a:moveTo>
                        <a:lnTo>
                          <a:pt x="277" y="57"/>
                        </a:lnTo>
                        <a:lnTo>
                          <a:pt x="278" y="62"/>
                        </a:lnTo>
                        <a:lnTo>
                          <a:pt x="283" y="64"/>
                        </a:lnTo>
                        <a:lnTo>
                          <a:pt x="283" y="63"/>
                        </a:lnTo>
                        <a:lnTo>
                          <a:pt x="281" y="60"/>
                        </a:lnTo>
                        <a:lnTo>
                          <a:pt x="280" y="56"/>
                        </a:lnTo>
                        <a:lnTo>
                          <a:pt x="279" y="51"/>
                        </a:lnTo>
                        <a:lnTo>
                          <a:pt x="280" y="50"/>
                        </a:lnTo>
                        <a:lnTo>
                          <a:pt x="283" y="52"/>
                        </a:lnTo>
                        <a:lnTo>
                          <a:pt x="283" y="51"/>
                        </a:lnTo>
                        <a:lnTo>
                          <a:pt x="284" y="49"/>
                        </a:lnTo>
                        <a:lnTo>
                          <a:pt x="280" y="47"/>
                        </a:lnTo>
                        <a:lnTo>
                          <a:pt x="280" y="43"/>
                        </a:lnTo>
                        <a:lnTo>
                          <a:pt x="284" y="41"/>
                        </a:lnTo>
                        <a:lnTo>
                          <a:pt x="286" y="38"/>
                        </a:lnTo>
                        <a:lnTo>
                          <a:pt x="288" y="36"/>
                        </a:lnTo>
                        <a:lnTo>
                          <a:pt x="288" y="32"/>
                        </a:lnTo>
                        <a:lnTo>
                          <a:pt x="293" y="31"/>
                        </a:lnTo>
                        <a:lnTo>
                          <a:pt x="293" y="28"/>
                        </a:lnTo>
                        <a:lnTo>
                          <a:pt x="294" y="22"/>
                        </a:lnTo>
                        <a:lnTo>
                          <a:pt x="299" y="21"/>
                        </a:lnTo>
                        <a:lnTo>
                          <a:pt x="298" y="21"/>
                        </a:lnTo>
                        <a:lnTo>
                          <a:pt x="301" y="17"/>
                        </a:lnTo>
                        <a:lnTo>
                          <a:pt x="303" y="15"/>
                        </a:lnTo>
                        <a:lnTo>
                          <a:pt x="306" y="8"/>
                        </a:lnTo>
                        <a:lnTo>
                          <a:pt x="307" y="8"/>
                        </a:lnTo>
                        <a:lnTo>
                          <a:pt x="308" y="7"/>
                        </a:lnTo>
                        <a:lnTo>
                          <a:pt x="307" y="4"/>
                        </a:lnTo>
                        <a:lnTo>
                          <a:pt x="310" y="2"/>
                        </a:lnTo>
                        <a:lnTo>
                          <a:pt x="311" y="0"/>
                        </a:lnTo>
                        <a:lnTo>
                          <a:pt x="312" y="3"/>
                        </a:lnTo>
                        <a:lnTo>
                          <a:pt x="312" y="7"/>
                        </a:lnTo>
                        <a:lnTo>
                          <a:pt x="311" y="9"/>
                        </a:lnTo>
                        <a:lnTo>
                          <a:pt x="312" y="15"/>
                        </a:lnTo>
                        <a:lnTo>
                          <a:pt x="314" y="12"/>
                        </a:lnTo>
                        <a:lnTo>
                          <a:pt x="317" y="14"/>
                        </a:lnTo>
                        <a:lnTo>
                          <a:pt x="318" y="17"/>
                        </a:lnTo>
                        <a:lnTo>
                          <a:pt x="320" y="20"/>
                        </a:lnTo>
                        <a:lnTo>
                          <a:pt x="323" y="22"/>
                        </a:lnTo>
                        <a:lnTo>
                          <a:pt x="323" y="27"/>
                        </a:lnTo>
                        <a:lnTo>
                          <a:pt x="320" y="28"/>
                        </a:lnTo>
                        <a:lnTo>
                          <a:pt x="321" y="28"/>
                        </a:lnTo>
                        <a:lnTo>
                          <a:pt x="320" y="30"/>
                        </a:lnTo>
                        <a:lnTo>
                          <a:pt x="321" y="32"/>
                        </a:lnTo>
                        <a:lnTo>
                          <a:pt x="330" y="30"/>
                        </a:lnTo>
                        <a:lnTo>
                          <a:pt x="330" y="29"/>
                        </a:lnTo>
                        <a:lnTo>
                          <a:pt x="332" y="28"/>
                        </a:lnTo>
                        <a:lnTo>
                          <a:pt x="333" y="32"/>
                        </a:lnTo>
                        <a:lnTo>
                          <a:pt x="333" y="34"/>
                        </a:lnTo>
                        <a:lnTo>
                          <a:pt x="330" y="34"/>
                        </a:lnTo>
                        <a:lnTo>
                          <a:pt x="330" y="34"/>
                        </a:lnTo>
                        <a:lnTo>
                          <a:pt x="331" y="36"/>
                        </a:lnTo>
                        <a:lnTo>
                          <a:pt x="334" y="36"/>
                        </a:lnTo>
                        <a:lnTo>
                          <a:pt x="334" y="34"/>
                        </a:lnTo>
                        <a:lnTo>
                          <a:pt x="338" y="34"/>
                        </a:lnTo>
                        <a:lnTo>
                          <a:pt x="340" y="35"/>
                        </a:lnTo>
                        <a:lnTo>
                          <a:pt x="343" y="36"/>
                        </a:lnTo>
                        <a:lnTo>
                          <a:pt x="341" y="37"/>
                        </a:lnTo>
                        <a:lnTo>
                          <a:pt x="341" y="40"/>
                        </a:lnTo>
                        <a:lnTo>
                          <a:pt x="343" y="37"/>
                        </a:lnTo>
                        <a:lnTo>
                          <a:pt x="343" y="37"/>
                        </a:lnTo>
                        <a:lnTo>
                          <a:pt x="346" y="40"/>
                        </a:lnTo>
                        <a:lnTo>
                          <a:pt x="348" y="41"/>
                        </a:lnTo>
                        <a:lnTo>
                          <a:pt x="348" y="42"/>
                        </a:lnTo>
                        <a:lnTo>
                          <a:pt x="348" y="42"/>
                        </a:lnTo>
                        <a:lnTo>
                          <a:pt x="348" y="41"/>
                        </a:lnTo>
                        <a:lnTo>
                          <a:pt x="350" y="41"/>
                        </a:lnTo>
                        <a:lnTo>
                          <a:pt x="352" y="41"/>
                        </a:lnTo>
                        <a:lnTo>
                          <a:pt x="353" y="41"/>
                        </a:lnTo>
                        <a:lnTo>
                          <a:pt x="354" y="43"/>
                        </a:lnTo>
                        <a:lnTo>
                          <a:pt x="354" y="45"/>
                        </a:lnTo>
                        <a:lnTo>
                          <a:pt x="353" y="48"/>
                        </a:lnTo>
                        <a:lnTo>
                          <a:pt x="348" y="49"/>
                        </a:lnTo>
                        <a:lnTo>
                          <a:pt x="340" y="51"/>
                        </a:lnTo>
                        <a:lnTo>
                          <a:pt x="339" y="50"/>
                        </a:lnTo>
                        <a:lnTo>
                          <a:pt x="338" y="49"/>
                        </a:lnTo>
                        <a:lnTo>
                          <a:pt x="334" y="50"/>
                        </a:lnTo>
                        <a:lnTo>
                          <a:pt x="333" y="52"/>
                        </a:lnTo>
                        <a:lnTo>
                          <a:pt x="334" y="54"/>
                        </a:lnTo>
                        <a:lnTo>
                          <a:pt x="339" y="58"/>
                        </a:lnTo>
                        <a:lnTo>
                          <a:pt x="339" y="58"/>
                        </a:lnTo>
                        <a:lnTo>
                          <a:pt x="340" y="58"/>
                        </a:lnTo>
                        <a:lnTo>
                          <a:pt x="339" y="60"/>
                        </a:lnTo>
                        <a:lnTo>
                          <a:pt x="340" y="60"/>
                        </a:lnTo>
                        <a:lnTo>
                          <a:pt x="343" y="60"/>
                        </a:lnTo>
                        <a:lnTo>
                          <a:pt x="343" y="62"/>
                        </a:lnTo>
                        <a:lnTo>
                          <a:pt x="341" y="63"/>
                        </a:lnTo>
                        <a:lnTo>
                          <a:pt x="339" y="63"/>
                        </a:lnTo>
                        <a:lnTo>
                          <a:pt x="331" y="65"/>
                        </a:lnTo>
                        <a:lnTo>
                          <a:pt x="325" y="62"/>
                        </a:lnTo>
                        <a:lnTo>
                          <a:pt x="324" y="63"/>
                        </a:lnTo>
                        <a:lnTo>
                          <a:pt x="325" y="64"/>
                        </a:lnTo>
                        <a:lnTo>
                          <a:pt x="324" y="67"/>
                        </a:lnTo>
                        <a:lnTo>
                          <a:pt x="321" y="67"/>
                        </a:lnTo>
                        <a:lnTo>
                          <a:pt x="317" y="63"/>
                        </a:lnTo>
                        <a:lnTo>
                          <a:pt x="310" y="63"/>
                        </a:lnTo>
                        <a:lnTo>
                          <a:pt x="308" y="63"/>
                        </a:lnTo>
                        <a:lnTo>
                          <a:pt x="307" y="63"/>
                        </a:lnTo>
                        <a:lnTo>
                          <a:pt x="306" y="63"/>
                        </a:lnTo>
                        <a:lnTo>
                          <a:pt x="305" y="62"/>
                        </a:lnTo>
                        <a:lnTo>
                          <a:pt x="304" y="63"/>
                        </a:lnTo>
                        <a:lnTo>
                          <a:pt x="304" y="64"/>
                        </a:lnTo>
                        <a:lnTo>
                          <a:pt x="303" y="64"/>
                        </a:lnTo>
                        <a:lnTo>
                          <a:pt x="301" y="63"/>
                        </a:lnTo>
                        <a:lnTo>
                          <a:pt x="298" y="63"/>
                        </a:lnTo>
                        <a:lnTo>
                          <a:pt x="295" y="64"/>
                        </a:lnTo>
                        <a:lnTo>
                          <a:pt x="292" y="63"/>
                        </a:lnTo>
                        <a:lnTo>
                          <a:pt x="292" y="63"/>
                        </a:lnTo>
                        <a:lnTo>
                          <a:pt x="292" y="64"/>
                        </a:lnTo>
                        <a:lnTo>
                          <a:pt x="290" y="65"/>
                        </a:lnTo>
                        <a:lnTo>
                          <a:pt x="287" y="72"/>
                        </a:lnTo>
                        <a:lnTo>
                          <a:pt x="287" y="74"/>
                        </a:lnTo>
                        <a:lnTo>
                          <a:pt x="287" y="78"/>
                        </a:lnTo>
                        <a:lnTo>
                          <a:pt x="287" y="82"/>
                        </a:lnTo>
                        <a:lnTo>
                          <a:pt x="287" y="82"/>
                        </a:lnTo>
                        <a:lnTo>
                          <a:pt x="285" y="90"/>
                        </a:lnTo>
                        <a:lnTo>
                          <a:pt x="283" y="91"/>
                        </a:lnTo>
                        <a:lnTo>
                          <a:pt x="281" y="90"/>
                        </a:lnTo>
                        <a:lnTo>
                          <a:pt x="279" y="92"/>
                        </a:lnTo>
                        <a:lnTo>
                          <a:pt x="279" y="94"/>
                        </a:lnTo>
                        <a:lnTo>
                          <a:pt x="279" y="96"/>
                        </a:lnTo>
                        <a:lnTo>
                          <a:pt x="278" y="98"/>
                        </a:lnTo>
                        <a:lnTo>
                          <a:pt x="278" y="99"/>
                        </a:lnTo>
                        <a:lnTo>
                          <a:pt x="279" y="99"/>
                        </a:lnTo>
                        <a:lnTo>
                          <a:pt x="280" y="101"/>
                        </a:lnTo>
                        <a:lnTo>
                          <a:pt x="280" y="102"/>
                        </a:lnTo>
                        <a:lnTo>
                          <a:pt x="279" y="102"/>
                        </a:lnTo>
                        <a:lnTo>
                          <a:pt x="278" y="103"/>
                        </a:lnTo>
                        <a:lnTo>
                          <a:pt x="275" y="104"/>
                        </a:lnTo>
                        <a:lnTo>
                          <a:pt x="275" y="105"/>
                        </a:lnTo>
                        <a:lnTo>
                          <a:pt x="273" y="107"/>
                        </a:lnTo>
                        <a:lnTo>
                          <a:pt x="272" y="108"/>
                        </a:lnTo>
                        <a:lnTo>
                          <a:pt x="273" y="111"/>
                        </a:lnTo>
                        <a:lnTo>
                          <a:pt x="274" y="110"/>
                        </a:lnTo>
                        <a:lnTo>
                          <a:pt x="273" y="114"/>
                        </a:lnTo>
                        <a:lnTo>
                          <a:pt x="271" y="115"/>
                        </a:lnTo>
                        <a:lnTo>
                          <a:pt x="271" y="116"/>
                        </a:lnTo>
                        <a:lnTo>
                          <a:pt x="270" y="118"/>
                        </a:lnTo>
                        <a:lnTo>
                          <a:pt x="268" y="123"/>
                        </a:lnTo>
                        <a:lnTo>
                          <a:pt x="268" y="123"/>
                        </a:lnTo>
                        <a:lnTo>
                          <a:pt x="265" y="122"/>
                        </a:lnTo>
                        <a:lnTo>
                          <a:pt x="261" y="123"/>
                        </a:lnTo>
                        <a:lnTo>
                          <a:pt x="260" y="122"/>
                        </a:lnTo>
                        <a:lnTo>
                          <a:pt x="257" y="123"/>
                        </a:lnTo>
                        <a:lnTo>
                          <a:pt x="254" y="125"/>
                        </a:lnTo>
                        <a:lnTo>
                          <a:pt x="252" y="127"/>
                        </a:lnTo>
                        <a:lnTo>
                          <a:pt x="250" y="125"/>
                        </a:lnTo>
                        <a:lnTo>
                          <a:pt x="247" y="125"/>
                        </a:lnTo>
                        <a:lnTo>
                          <a:pt x="241" y="123"/>
                        </a:lnTo>
                        <a:lnTo>
                          <a:pt x="239" y="123"/>
                        </a:lnTo>
                        <a:lnTo>
                          <a:pt x="240" y="122"/>
                        </a:lnTo>
                        <a:lnTo>
                          <a:pt x="240" y="121"/>
                        </a:lnTo>
                        <a:lnTo>
                          <a:pt x="231" y="121"/>
                        </a:lnTo>
                        <a:lnTo>
                          <a:pt x="227" y="122"/>
                        </a:lnTo>
                        <a:lnTo>
                          <a:pt x="225" y="123"/>
                        </a:lnTo>
                        <a:lnTo>
                          <a:pt x="224" y="129"/>
                        </a:lnTo>
                        <a:lnTo>
                          <a:pt x="220" y="129"/>
                        </a:lnTo>
                        <a:lnTo>
                          <a:pt x="219" y="131"/>
                        </a:lnTo>
                        <a:lnTo>
                          <a:pt x="218" y="132"/>
                        </a:lnTo>
                        <a:lnTo>
                          <a:pt x="215" y="131"/>
                        </a:lnTo>
                        <a:lnTo>
                          <a:pt x="213" y="132"/>
                        </a:lnTo>
                        <a:lnTo>
                          <a:pt x="212" y="131"/>
                        </a:lnTo>
                        <a:lnTo>
                          <a:pt x="211" y="131"/>
                        </a:lnTo>
                        <a:lnTo>
                          <a:pt x="207" y="130"/>
                        </a:lnTo>
                        <a:lnTo>
                          <a:pt x="201" y="131"/>
                        </a:lnTo>
                        <a:lnTo>
                          <a:pt x="200" y="132"/>
                        </a:lnTo>
                        <a:lnTo>
                          <a:pt x="196" y="135"/>
                        </a:lnTo>
                        <a:lnTo>
                          <a:pt x="194" y="135"/>
                        </a:lnTo>
                        <a:lnTo>
                          <a:pt x="193" y="134"/>
                        </a:lnTo>
                        <a:lnTo>
                          <a:pt x="192" y="132"/>
                        </a:lnTo>
                        <a:lnTo>
                          <a:pt x="190" y="129"/>
                        </a:lnTo>
                        <a:lnTo>
                          <a:pt x="186" y="128"/>
                        </a:lnTo>
                        <a:lnTo>
                          <a:pt x="184" y="123"/>
                        </a:lnTo>
                        <a:lnTo>
                          <a:pt x="183" y="123"/>
                        </a:lnTo>
                        <a:lnTo>
                          <a:pt x="179" y="119"/>
                        </a:lnTo>
                        <a:lnTo>
                          <a:pt x="179" y="116"/>
                        </a:lnTo>
                        <a:lnTo>
                          <a:pt x="178" y="116"/>
                        </a:lnTo>
                        <a:lnTo>
                          <a:pt x="177" y="115"/>
                        </a:lnTo>
                        <a:lnTo>
                          <a:pt x="179" y="110"/>
                        </a:lnTo>
                        <a:lnTo>
                          <a:pt x="179" y="112"/>
                        </a:lnTo>
                        <a:lnTo>
                          <a:pt x="179" y="115"/>
                        </a:lnTo>
                        <a:lnTo>
                          <a:pt x="183" y="116"/>
                        </a:lnTo>
                        <a:lnTo>
                          <a:pt x="184" y="117"/>
                        </a:lnTo>
                        <a:lnTo>
                          <a:pt x="188" y="117"/>
                        </a:lnTo>
                        <a:lnTo>
                          <a:pt x="191" y="118"/>
                        </a:lnTo>
                        <a:lnTo>
                          <a:pt x="191" y="116"/>
                        </a:lnTo>
                        <a:lnTo>
                          <a:pt x="191" y="116"/>
                        </a:lnTo>
                        <a:lnTo>
                          <a:pt x="192" y="117"/>
                        </a:lnTo>
                        <a:lnTo>
                          <a:pt x="192" y="117"/>
                        </a:lnTo>
                        <a:lnTo>
                          <a:pt x="194" y="117"/>
                        </a:lnTo>
                        <a:lnTo>
                          <a:pt x="194" y="117"/>
                        </a:lnTo>
                        <a:lnTo>
                          <a:pt x="193" y="119"/>
                        </a:lnTo>
                        <a:lnTo>
                          <a:pt x="198" y="121"/>
                        </a:lnTo>
                        <a:lnTo>
                          <a:pt x="199" y="121"/>
                        </a:lnTo>
                        <a:lnTo>
                          <a:pt x="198" y="123"/>
                        </a:lnTo>
                        <a:lnTo>
                          <a:pt x="199" y="122"/>
                        </a:lnTo>
                        <a:lnTo>
                          <a:pt x="199" y="121"/>
                        </a:lnTo>
                        <a:lnTo>
                          <a:pt x="200" y="121"/>
                        </a:lnTo>
                        <a:lnTo>
                          <a:pt x="206" y="124"/>
                        </a:lnTo>
                        <a:lnTo>
                          <a:pt x="207" y="124"/>
                        </a:lnTo>
                        <a:lnTo>
                          <a:pt x="208" y="125"/>
                        </a:lnTo>
                        <a:lnTo>
                          <a:pt x="211" y="124"/>
                        </a:lnTo>
                        <a:lnTo>
                          <a:pt x="208" y="123"/>
                        </a:lnTo>
                        <a:lnTo>
                          <a:pt x="206" y="124"/>
                        </a:lnTo>
                        <a:lnTo>
                          <a:pt x="204" y="122"/>
                        </a:lnTo>
                        <a:lnTo>
                          <a:pt x="204" y="121"/>
                        </a:lnTo>
                        <a:lnTo>
                          <a:pt x="204" y="118"/>
                        </a:lnTo>
                        <a:lnTo>
                          <a:pt x="205" y="117"/>
                        </a:lnTo>
                        <a:lnTo>
                          <a:pt x="206" y="118"/>
                        </a:lnTo>
                        <a:lnTo>
                          <a:pt x="205" y="116"/>
                        </a:lnTo>
                        <a:lnTo>
                          <a:pt x="207" y="109"/>
                        </a:lnTo>
                        <a:lnTo>
                          <a:pt x="210" y="109"/>
                        </a:lnTo>
                        <a:lnTo>
                          <a:pt x="210" y="108"/>
                        </a:lnTo>
                        <a:lnTo>
                          <a:pt x="206" y="109"/>
                        </a:lnTo>
                        <a:lnTo>
                          <a:pt x="206" y="108"/>
                        </a:lnTo>
                        <a:lnTo>
                          <a:pt x="207" y="107"/>
                        </a:lnTo>
                        <a:lnTo>
                          <a:pt x="207" y="107"/>
                        </a:lnTo>
                        <a:lnTo>
                          <a:pt x="206" y="107"/>
                        </a:lnTo>
                        <a:lnTo>
                          <a:pt x="207" y="103"/>
                        </a:lnTo>
                        <a:lnTo>
                          <a:pt x="207" y="103"/>
                        </a:lnTo>
                        <a:lnTo>
                          <a:pt x="210" y="104"/>
                        </a:lnTo>
                        <a:lnTo>
                          <a:pt x="212" y="104"/>
                        </a:lnTo>
                        <a:lnTo>
                          <a:pt x="211" y="102"/>
                        </a:lnTo>
                        <a:lnTo>
                          <a:pt x="213" y="102"/>
                        </a:lnTo>
                        <a:lnTo>
                          <a:pt x="212" y="101"/>
                        </a:lnTo>
                        <a:lnTo>
                          <a:pt x="211" y="99"/>
                        </a:lnTo>
                        <a:lnTo>
                          <a:pt x="212" y="97"/>
                        </a:lnTo>
                        <a:lnTo>
                          <a:pt x="215" y="94"/>
                        </a:lnTo>
                        <a:lnTo>
                          <a:pt x="220" y="94"/>
                        </a:lnTo>
                        <a:lnTo>
                          <a:pt x="227" y="91"/>
                        </a:lnTo>
                        <a:lnTo>
                          <a:pt x="238" y="89"/>
                        </a:lnTo>
                        <a:lnTo>
                          <a:pt x="240" y="88"/>
                        </a:lnTo>
                        <a:lnTo>
                          <a:pt x="243" y="83"/>
                        </a:lnTo>
                        <a:lnTo>
                          <a:pt x="248" y="75"/>
                        </a:lnTo>
                        <a:lnTo>
                          <a:pt x="253" y="70"/>
                        </a:lnTo>
                        <a:lnTo>
                          <a:pt x="254" y="67"/>
                        </a:lnTo>
                        <a:lnTo>
                          <a:pt x="258" y="64"/>
                        </a:lnTo>
                        <a:lnTo>
                          <a:pt x="258" y="61"/>
                        </a:lnTo>
                        <a:lnTo>
                          <a:pt x="258" y="58"/>
                        </a:lnTo>
                        <a:lnTo>
                          <a:pt x="258" y="58"/>
                        </a:lnTo>
                        <a:lnTo>
                          <a:pt x="260" y="58"/>
                        </a:lnTo>
                        <a:lnTo>
                          <a:pt x="263" y="60"/>
                        </a:lnTo>
                        <a:lnTo>
                          <a:pt x="264" y="63"/>
                        </a:lnTo>
                        <a:lnTo>
                          <a:pt x="264" y="64"/>
                        </a:lnTo>
                        <a:lnTo>
                          <a:pt x="265" y="65"/>
                        </a:lnTo>
                        <a:lnTo>
                          <a:pt x="266" y="64"/>
                        </a:lnTo>
                        <a:lnTo>
                          <a:pt x="270" y="70"/>
                        </a:lnTo>
                        <a:lnTo>
                          <a:pt x="271" y="70"/>
                        </a:lnTo>
                        <a:lnTo>
                          <a:pt x="272" y="68"/>
                        </a:lnTo>
                        <a:lnTo>
                          <a:pt x="273" y="64"/>
                        </a:lnTo>
                        <a:lnTo>
                          <a:pt x="273" y="64"/>
                        </a:lnTo>
                        <a:lnTo>
                          <a:pt x="274" y="63"/>
                        </a:lnTo>
                        <a:lnTo>
                          <a:pt x="274" y="62"/>
                        </a:lnTo>
                        <a:lnTo>
                          <a:pt x="273" y="62"/>
                        </a:lnTo>
                        <a:lnTo>
                          <a:pt x="272" y="56"/>
                        </a:lnTo>
                        <a:lnTo>
                          <a:pt x="273" y="54"/>
                        </a:lnTo>
                        <a:lnTo>
                          <a:pt x="275" y="54"/>
                        </a:lnTo>
                        <a:lnTo>
                          <a:pt x="277" y="52"/>
                        </a:lnTo>
                        <a:lnTo>
                          <a:pt x="277" y="52"/>
                        </a:lnTo>
                        <a:lnTo>
                          <a:pt x="277" y="54"/>
                        </a:lnTo>
                        <a:lnTo>
                          <a:pt x="277" y="54"/>
                        </a:lnTo>
                        <a:lnTo>
                          <a:pt x="277" y="54"/>
                        </a:lnTo>
                        <a:close/>
                        <a:moveTo>
                          <a:pt x="0" y="24"/>
                        </a:moveTo>
                        <a:lnTo>
                          <a:pt x="0" y="24"/>
                        </a:lnTo>
                        <a:lnTo>
                          <a:pt x="0" y="23"/>
                        </a:lnTo>
                        <a:lnTo>
                          <a:pt x="0" y="23"/>
                        </a:lnTo>
                        <a:lnTo>
                          <a:pt x="0" y="23"/>
                        </a:lnTo>
                        <a:lnTo>
                          <a:pt x="1" y="23"/>
                        </a:lnTo>
                        <a:lnTo>
                          <a:pt x="1" y="23"/>
                        </a:lnTo>
                        <a:lnTo>
                          <a:pt x="3" y="24"/>
                        </a:lnTo>
                        <a:lnTo>
                          <a:pt x="1" y="24"/>
                        </a:lnTo>
                        <a:lnTo>
                          <a:pt x="3" y="25"/>
                        </a:lnTo>
                        <a:lnTo>
                          <a:pt x="1" y="25"/>
                        </a:lnTo>
                        <a:lnTo>
                          <a:pt x="1" y="25"/>
                        </a:lnTo>
                        <a:lnTo>
                          <a:pt x="0" y="24"/>
                        </a:lnTo>
                        <a:lnTo>
                          <a:pt x="0" y="24"/>
                        </a:lnTo>
                        <a:close/>
                        <a:moveTo>
                          <a:pt x="320" y="10"/>
                        </a:moveTo>
                        <a:lnTo>
                          <a:pt x="319" y="9"/>
                        </a:lnTo>
                        <a:lnTo>
                          <a:pt x="320" y="7"/>
                        </a:lnTo>
                        <a:lnTo>
                          <a:pt x="323" y="5"/>
                        </a:lnTo>
                        <a:lnTo>
                          <a:pt x="324" y="5"/>
                        </a:lnTo>
                        <a:lnTo>
                          <a:pt x="323" y="8"/>
                        </a:lnTo>
                        <a:lnTo>
                          <a:pt x="323" y="9"/>
                        </a:lnTo>
                        <a:lnTo>
                          <a:pt x="320" y="10"/>
                        </a:lnTo>
                        <a:lnTo>
                          <a:pt x="320" y="10"/>
                        </a:lnTo>
                        <a:close/>
                        <a:moveTo>
                          <a:pt x="4" y="47"/>
                        </a:moveTo>
                        <a:lnTo>
                          <a:pt x="3" y="45"/>
                        </a:lnTo>
                        <a:lnTo>
                          <a:pt x="3" y="44"/>
                        </a:lnTo>
                        <a:lnTo>
                          <a:pt x="1" y="43"/>
                        </a:lnTo>
                        <a:lnTo>
                          <a:pt x="4" y="42"/>
                        </a:lnTo>
                        <a:lnTo>
                          <a:pt x="6" y="42"/>
                        </a:lnTo>
                        <a:lnTo>
                          <a:pt x="8" y="44"/>
                        </a:lnTo>
                        <a:lnTo>
                          <a:pt x="10" y="45"/>
                        </a:lnTo>
                        <a:lnTo>
                          <a:pt x="8" y="48"/>
                        </a:lnTo>
                        <a:lnTo>
                          <a:pt x="10" y="49"/>
                        </a:lnTo>
                        <a:lnTo>
                          <a:pt x="8" y="49"/>
                        </a:lnTo>
                        <a:lnTo>
                          <a:pt x="6" y="49"/>
                        </a:lnTo>
                        <a:lnTo>
                          <a:pt x="4" y="47"/>
                        </a:lnTo>
                        <a:lnTo>
                          <a:pt x="4" y="47"/>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528" name="Freeform 296">
                    <a:extLst>
                      <a:ext uri="{FF2B5EF4-FFF2-40B4-BE49-F238E27FC236}">
                        <a16:creationId xmlns:a16="http://schemas.microsoft.com/office/drawing/2014/main" id="{7C558B6B-AA01-DF4F-A01F-DB7B7E0FC922}"/>
                      </a:ext>
                    </a:extLst>
                  </p:cNvPr>
                  <p:cNvSpPr>
                    <a:spLocks/>
                  </p:cNvSpPr>
                  <p:nvPr/>
                </p:nvSpPr>
                <p:spPr bwMode="auto">
                  <a:xfrm>
                    <a:off x="7946609" y="4112183"/>
                    <a:ext cx="128623" cy="175250"/>
                  </a:xfrm>
                  <a:custGeom>
                    <a:avLst/>
                    <a:gdLst>
                      <a:gd name="T0" fmla="*/ 1 w 80"/>
                      <a:gd name="T1" fmla="*/ 4 h 109"/>
                      <a:gd name="T2" fmla="*/ 4 w 80"/>
                      <a:gd name="T3" fmla="*/ 4 h 109"/>
                      <a:gd name="T4" fmla="*/ 14 w 80"/>
                      <a:gd name="T5" fmla="*/ 9 h 109"/>
                      <a:gd name="T6" fmla="*/ 19 w 80"/>
                      <a:gd name="T7" fmla="*/ 9 h 109"/>
                      <a:gd name="T8" fmla="*/ 19 w 80"/>
                      <a:gd name="T9" fmla="*/ 14 h 109"/>
                      <a:gd name="T10" fmla="*/ 17 w 80"/>
                      <a:gd name="T11" fmla="*/ 20 h 109"/>
                      <a:gd name="T12" fmla="*/ 22 w 80"/>
                      <a:gd name="T13" fmla="*/ 20 h 109"/>
                      <a:gd name="T14" fmla="*/ 26 w 80"/>
                      <a:gd name="T15" fmla="*/ 19 h 109"/>
                      <a:gd name="T16" fmla="*/ 29 w 80"/>
                      <a:gd name="T17" fmla="*/ 19 h 109"/>
                      <a:gd name="T18" fmla="*/ 30 w 80"/>
                      <a:gd name="T19" fmla="*/ 20 h 109"/>
                      <a:gd name="T20" fmla="*/ 33 w 80"/>
                      <a:gd name="T21" fmla="*/ 19 h 109"/>
                      <a:gd name="T22" fmla="*/ 40 w 80"/>
                      <a:gd name="T23" fmla="*/ 11 h 109"/>
                      <a:gd name="T24" fmla="*/ 43 w 80"/>
                      <a:gd name="T25" fmla="*/ 13 h 109"/>
                      <a:gd name="T26" fmla="*/ 46 w 80"/>
                      <a:gd name="T27" fmla="*/ 18 h 109"/>
                      <a:gd name="T28" fmla="*/ 49 w 80"/>
                      <a:gd name="T29" fmla="*/ 20 h 109"/>
                      <a:gd name="T30" fmla="*/ 55 w 80"/>
                      <a:gd name="T31" fmla="*/ 25 h 109"/>
                      <a:gd name="T32" fmla="*/ 57 w 80"/>
                      <a:gd name="T33" fmla="*/ 29 h 109"/>
                      <a:gd name="T34" fmla="*/ 60 w 80"/>
                      <a:gd name="T35" fmla="*/ 34 h 109"/>
                      <a:gd name="T36" fmla="*/ 62 w 80"/>
                      <a:gd name="T37" fmla="*/ 39 h 109"/>
                      <a:gd name="T38" fmla="*/ 63 w 80"/>
                      <a:gd name="T39" fmla="*/ 45 h 109"/>
                      <a:gd name="T40" fmla="*/ 63 w 80"/>
                      <a:gd name="T41" fmla="*/ 52 h 109"/>
                      <a:gd name="T42" fmla="*/ 62 w 80"/>
                      <a:gd name="T43" fmla="*/ 58 h 109"/>
                      <a:gd name="T44" fmla="*/ 62 w 80"/>
                      <a:gd name="T45" fmla="*/ 62 h 109"/>
                      <a:gd name="T46" fmla="*/ 66 w 80"/>
                      <a:gd name="T47" fmla="*/ 67 h 109"/>
                      <a:gd name="T48" fmla="*/ 64 w 80"/>
                      <a:gd name="T49" fmla="*/ 72 h 109"/>
                      <a:gd name="T50" fmla="*/ 64 w 80"/>
                      <a:gd name="T51" fmla="*/ 76 h 109"/>
                      <a:gd name="T52" fmla="*/ 64 w 80"/>
                      <a:gd name="T53" fmla="*/ 78 h 109"/>
                      <a:gd name="T54" fmla="*/ 66 w 80"/>
                      <a:gd name="T55" fmla="*/ 81 h 109"/>
                      <a:gd name="T56" fmla="*/ 69 w 80"/>
                      <a:gd name="T57" fmla="*/ 83 h 109"/>
                      <a:gd name="T58" fmla="*/ 73 w 80"/>
                      <a:gd name="T59" fmla="*/ 87 h 109"/>
                      <a:gd name="T60" fmla="*/ 75 w 80"/>
                      <a:gd name="T61" fmla="*/ 91 h 109"/>
                      <a:gd name="T62" fmla="*/ 76 w 80"/>
                      <a:gd name="T63" fmla="*/ 95 h 109"/>
                      <a:gd name="T64" fmla="*/ 76 w 80"/>
                      <a:gd name="T65" fmla="*/ 99 h 109"/>
                      <a:gd name="T66" fmla="*/ 79 w 80"/>
                      <a:gd name="T67" fmla="*/ 103 h 109"/>
                      <a:gd name="T68" fmla="*/ 80 w 80"/>
                      <a:gd name="T69" fmla="*/ 108 h 109"/>
                      <a:gd name="T70" fmla="*/ 75 w 80"/>
                      <a:gd name="T71" fmla="*/ 107 h 109"/>
                      <a:gd name="T72" fmla="*/ 74 w 80"/>
                      <a:gd name="T73" fmla="*/ 105 h 109"/>
                      <a:gd name="T74" fmla="*/ 73 w 80"/>
                      <a:gd name="T75" fmla="*/ 106 h 109"/>
                      <a:gd name="T76" fmla="*/ 68 w 80"/>
                      <a:gd name="T77" fmla="*/ 106 h 109"/>
                      <a:gd name="T78" fmla="*/ 66 w 80"/>
                      <a:gd name="T79" fmla="*/ 109 h 109"/>
                      <a:gd name="T80" fmla="*/ 62 w 80"/>
                      <a:gd name="T81" fmla="*/ 107 h 109"/>
                      <a:gd name="T82" fmla="*/ 59 w 80"/>
                      <a:gd name="T83" fmla="*/ 105 h 109"/>
                      <a:gd name="T84" fmla="*/ 54 w 80"/>
                      <a:gd name="T85" fmla="*/ 102 h 109"/>
                      <a:gd name="T86" fmla="*/ 50 w 80"/>
                      <a:gd name="T87" fmla="*/ 100 h 109"/>
                      <a:gd name="T88" fmla="*/ 48 w 80"/>
                      <a:gd name="T89" fmla="*/ 96 h 109"/>
                      <a:gd name="T90" fmla="*/ 44 w 80"/>
                      <a:gd name="T91" fmla="*/ 94 h 109"/>
                      <a:gd name="T92" fmla="*/ 40 w 80"/>
                      <a:gd name="T93" fmla="*/ 91 h 109"/>
                      <a:gd name="T94" fmla="*/ 37 w 80"/>
                      <a:gd name="T95" fmla="*/ 89 h 109"/>
                      <a:gd name="T96" fmla="*/ 30 w 80"/>
                      <a:gd name="T97" fmla="*/ 86 h 109"/>
                      <a:gd name="T98" fmla="*/ 27 w 80"/>
                      <a:gd name="T99" fmla="*/ 82 h 109"/>
                      <a:gd name="T100" fmla="*/ 23 w 80"/>
                      <a:gd name="T101" fmla="*/ 78 h 109"/>
                      <a:gd name="T102" fmla="*/ 23 w 80"/>
                      <a:gd name="T103" fmla="*/ 69 h 109"/>
                      <a:gd name="T104" fmla="*/ 14 w 80"/>
                      <a:gd name="T105" fmla="*/ 59 h 109"/>
                      <a:gd name="T106" fmla="*/ 14 w 80"/>
                      <a:gd name="T107" fmla="*/ 55 h 109"/>
                      <a:gd name="T108" fmla="*/ 12 w 80"/>
                      <a:gd name="T109" fmla="*/ 52 h 109"/>
                      <a:gd name="T110" fmla="*/ 10 w 80"/>
                      <a:gd name="T111" fmla="*/ 44 h 109"/>
                      <a:gd name="T112" fmla="*/ 12 w 80"/>
                      <a:gd name="T113" fmla="*/ 40 h 109"/>
                      <a:gd name="T114" fmla="*/ 7 w 80"/>
                      <a:gd name="T115" fmla="*/ 36 h 109"/>
                      <a:gd name="T116" fmla="*/ 6 w 80"/>
                      <a:gd name="T117" fmla="*/ 21 h 109"/>
                      <a:gd name="T118" fmla="*/ 0 w 80"/>
                      <a:gd name="T119" fmla="*/ 7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80" h="109">
                        <a:moveTo>
                          <a:pt x="0" y="7"/>
                        </a:moveTo>
                        <a:lnTo>
                          <a:pt x="1" y="5"/>
                        </a:lnTo>
                        <a:lnTo>
                          <a:pt x="1" y="5"/>
                        </a:lnTo>
                        <a:lnTo>
                          <a:pt x="1" y="4"/>
                        </a:lnTo>
                        <a:lnTo>
                          <a:pt x="1" y="1"/>
                        </a:lnTo>
                        <a:lnTo>
                          <a:pt x="2" y="0"/>
                        </a:lnTo>
                        <a:lnTo>
                          <a:pt x="3" y="1"/>
                        </a:lnTo>
                        <a:lnTo>
                          <a:pt x="4" y="4"/>
                        </a:lnTo>
                        <a:lnTo>
                          <a:pt x="10" y="6"/>
                        </a:lnTo>
                        <a:lnTo>
                          <a:pt x="12" y="5"/>
                        </a:lnTo>
                        <a:lnTo>
                          <a:pt x="14" y="8"/>
                        </a:lnTo>
                        <a:lnTo>
                          <a:pt x="14" y="9"/>
                        </a:lnTo>
                        <a:lnTo>
                          <a:pt x="14" y="9"/>
                        </a:lnTo>
                        <a:lnTo>
                          <a:pt x="15" y="9"/>
                        </a:lnTo>
                        <a:lnTo>
                          <a:pt x="16" y="9"/>
                        </a:lnTo>
                        <a:lnTo>
                          <a:pt x="19" y="9"/>
                        </a:lnTo>
                        <a:lnTo>
                          <a:pt x="19" y="12"/>
                        </a:lnTo>
                        <a:lnTo>
                          <a:pt x="17" y="12"/>
                        </a:lnTo>
                        <a:lnTo>
                          <a:pt x="19" y="13"/>
                        </a:lnTo>
                        <a:lnTo>
                          <a:pt x="19" y="14"/>
                        </a:lnTo>
                        <a:lnTo>
                          <a:pt x="17" y="16"/>
                        </a:lnTo>
                        <a:lnTo>
                          <a:pt x="16" y="20"/>
                        </a:lnTo>
                        <a:lnTo>
                          <a:pt x="17" y="20"/>
                        </a:lnTo>
                        <a:lnTo>
                          <a:pt x="17" y="20"/>
                        </a:lnTo>
                        <a:lnTo>
                          <a:pt x="20" y="22"/>
                        </a:lnTo>
                        <a:lnTo>
                          <a:pt x="21" y="21"/>
                        </a:lnTo>
                        <a:lnTo>
                          <a:pt x="21" y="21"/>
                        </a:lnTo>
                        <a:lnTo>
                          <a:pt x="22" y="20"/>
                        </a:lnTo>
                        <a:lnTo>
                          <a:pt x="22" y="19"/>
                        </a:lnTo>
                        <a:lnTo>
                          <a:pt x="23" y="19"/>
                        </a:lnTo>
                        <a:lnTo>
                          <a:pt x="24" y="19"/>
                        </a:lnTo>
                        <a:lnTo>
                          <a:pt x="26" y="19"/>
                        </a:lnTo>
                        <a:lnTo>
                          <a:pt x="27" y="16"/>
                        </a:lnTo>
                        <a:lnTo>
                          <a:pt x="28" y="18"/>
                        </a:lnTo>
                        <a:lnTo>
                          <a:pt x="28" y="19"/>
                        </a:lnTo>
                        <a:lnTo>
                          <a:pt x="29" y="19"/>
                        </a:lnTo>
                        <a:lnTo>
                          <a:pt x="29" y="19"/>
                        </a:lnTo>
                        <a:lnTo>
                          <a:pt x="29" y="19"/>
                        </a:lnTo>
                        <a:lnTo>
                          <a:pt x="29" y="19"/>
                        </a:lnTo>
                        <a:lnTo>
                          <a:pt x="30" y="20"/>
                        </a:lnTo>
                        <a:lnTo>
                          <a:pt x="32" y="20"/>
                        </a:lnTo>
                        <a:lnTo>
                          <a:pt x="33" y="20"/>
                        </a:lnTo>
                        <a:lnTo>
                          <a:pt x="33" y="20"/>
                        </a:lnTo>
                        <a:lnTo>
                          <a:pt x="33" y="19"/>
                        </a:lnTo>
                        <a:lnTo>
                          <a:pt x="34" y="19"/>
                        </a:lnTo>
                        <a:lnTo>
                          <a:pt x="34" y="15"/>
                        </a:lnTo>
                        <a:lnTo>
                          <a:pt x="36" y="13"/>
                        </a:lnTo>
                        <a:lnTo>
                          <a:pt x="40" y="11"/>
                        </a:lnTo>
                        <a:lnTo>
                          <a:pt x="41" y="11"/>
                        </a:lnTo>
                        <a:lnTo>
                          <a:pt x="42" y="12"/>
                        </a:lnTo>
                        <a:lnTo>
                          <a:pt x="43" y="12"/>
                        </a:lnTo>
                        <a:lnTo>
                          <a:pt x="43" y="13"/>
                        </a:lnTo>
                        <a:lnTo>
                          <a:pt x="43" y="14"/>
                        </a:lnTo>
                        <a:lnTo>
                          <a:pt x="43" y="14"/>
                        </a:lnTo>
                        <a:lnTo>
                          <a:pt x="43" y="16"/>
                        </a:lnTo>
                        <a:lnTo>
                          <a:pt x="46" y="18"/>
                        </a:lnTo>
                        <a:lnTo>
                          <a:pt x="47" y="19"/>
                        </a:lnTo>
                        <a:lnTo>
                          <a:pt x="47" y="20"/>
                        </a:lnTo>
                        <a:lnTo>
                          <a:pt x="48" y="20"/>
                        </a:lnTo>
                        <a:lnTo>
                          <a:pt x="49" y="20"/>
                        </a:lnTo>
                        <a:lnTo>
                          <a:pt x="49" y="21"/>
                        </a:lnTo>
                        <a:lnTo>
                          <a:pt x="50" y="24"/>
                        </a:lnTo>
                        <a:lnTo>
                          <a:pt x="53" y="25"/>
                        </a:lnTo>
                        <a:lnTo>
                          <a:pt x="55" y="25"/>
                        </a:lnTo>
                        <a:lnTo>
                          <a:pt x="55" y="26"/>
                        </a:lnTo>
                        <a:lnTo>
                          <a:pt x="56" y="27"/>
                        </a:lnTo>
                        <a:lnTo>
                          <a:pt x="57" y="28"/>
                        </a:lnTo>
                        <a:lnTo>
                          <a:pt x="57" y="29"/>
                        </a:lnTo>
                        <a:lnTo>
                          <a:pt x="57" y="31"/>
                        </a:lnTo>
                        <a:lnTo>
                          <a:pt x="59" y="32"/>
                        </a:lnTo>
                        <a:lnTo>
                          <a:pt x="59" y="33"/>
                        </a:lnTo>
                        <a:lnTo>
                          <a:pt x="60" y="34"/>
                        </a:lnTo>
                        <a:lnTo>
                          <a:pt x="61" y="34"/>
                        </a:lnTo>
                        <a:lnTo>
                          <a:pt x="61" y="36"/>
                        </a:lnTo>
                        <a:lnTo>
                          <a:pt x="61" y="38"/>
                        </a:lnTo>
                        <a:lnTo>
                          <a:pt x="62" y="39"/>
                        </a:lnTo>
                        <a:lnTo>
                          <a:pt x="63" y="41"/>
                        </a:lnTo>
                        <a:lnTo>
                          <a:pt x="63" y="42"/>
                        </a:lnTo>
                        <a:lnTo>
                          <a:pt x="63" y="44"/>
                        </a:lnTo>
                        <a:lnTo>
                          <a:pt x="63" y="45"/>
                        </a:lnTo>
                        <a:lnTo>
                          <a:pt x="63" y="46"/>
                        </a:lnTo>
                        <a:lnTo>
                          <a:pt x="62" y="48"/>
                        </a:lnTo>
                        <a:lnTo>
                          <a:pt x="63" y="49"/>
                        </a:lnTo>
                        <a:lnTo>
                          <a:pt x="63" y="52"/>
                        </a:lnTo>
                        <a:lnTo>
                          <a:pt x="63" y="52"/>
                        </a:lnTo>
                        <a:lnTo>
                          <a:pt x="63" y="54"/>
                        </a:lnTo>
                        <a:lnTo>
                          <a:pt x="62" y="56"/>
                        </a:lnTo>
                        <a:lnTo>
                          <a:pt x="62" y="58"/>
                        </a:lnTo>
                        <a:lnTo>
                          <a:pt x="62" y="59"/>
                        </a:lnTo>
                        <a:lnTo>
                          <a:pt x="62" y="60"/>
                        </a:lnTo>
                        <a:lnTo>
                          <a:pt x="62" y="62"/>
                        </a:lnTo>
                        <a:lnTo>
                          <a:pt x="62" y="62"/>
                        </a:lnTo>
                        <a:lnTo>
                          <a:pt x="62" y="63"/>
                        </a:lnTo>
                        <a:lnTo>
                          <a:pt x="63" y="65"/>
                        </a:lnTo>
                        <a:lnTo>
                          <a:pt x="64" y="66"/>
                        </a:lnTo>
                        <a:lnTo>
                          <a:pt x="66" y="67"/>
                        </a:lnTo>
                        <a:lnTo>
                          <a:pt x="64" y="68"/>
                        </a:lnTo>
                        <a:lnTo>
                          <a:pt x="64" y="69"/>
                        </a:lnTo>
                        <a:lnTo>
                          <a:pt x="64" y="71"/>
                        </a:lnTo>
                        <a:lnTo>
                          <a:pt x="64" y="72"/>
                        </a:lnTo>
                        <a:lnTo>
                          <a:pt x="64" y="74"/>
                        </a:lnTo>
                        <a:lnTo>
                          <a:pt x="64" y="74"/>
                        </a:lnTo>
                        <a:lnTo>
                          <a:pt x="64" y="75"/>
                        </a:lnTo>
                        <a:lnTo>
                          <a:pt x="64" y="76"/>
                        </a:lnTo>
                        <a:lnTo>
                          <a:pt x="64" y="76"/>
                        </a:lnTo>
                        <a:lnTo>
                          <a:pt x="64" y="78"/>
                        </a:lnTo>
                        <a:lnTo>
                          <a:pt x="63" y="78"/>
                        </a:lnTo>
                        <a:lnTo>
                          <a:pt x="64" y="78"/>
                        </a:lnTo>
                        <a:lnTo>
                          <a:pt x="64" y="79"/>
                        </a:lnTo>
                        <a:lnTo>
                          <a:pt x="66" y="80"/>
                        </a:lnTo>
                        <a:lnTo>
                          <a:pt x="67" y="80"/>
                        </a:lnTo>
                        <a:lnTo>
                          <a:pt x="66" y="81"/>
                        </a:lnTo>
                        <a:lnTo>
                          <a:pt x="67" y="81"/>
                        </a:lnTo>
                        <a:lnTo>
                          <a:pt x="68" y="82"/>
                        </a:lnTo>
                        <a:lnTo>
                          <a:pt x="69" y="82"/>
                        </a:lnTo>
                        <a:lnTo>
                          <a:pt x="69" y="83"/>
                        </a:lnTo>
                        <a:lnTo>
                          <a:pt x="70" y="83"/>
                        </a:lnTo>
                        <a:lnTo>
                          <a:pt x="70" y="85"/>
                        </a:lnTo>
                        <a:lnTo>
                          <a:pt x="72" y="86"/>
                        </a:lnTo>
                        <a:lnTo>
                          <a:pt x="73" y="87"/>
                        </a:lnTo>
                        <a:lnTo>
                          <a:pt x="72" y="88"/>
                        </a:lnTo>
                        <a:lnTo>
                          <a:pt x="73" y="89"/>
                        </a:lnTo>
                        <a:lnTo>
                          <a:pt x="74" y="91"/>
                        </a:lnTo>
                        <a:lnTo>
                          <a:pt x="75" y="91"/>
                        </a:lnTo>
                        <a:lnTo>
                          <a:pt x="74" y="92"/>
                        </a:lnTo>
                        <a:lnTo>
                          <a:pt x="75" y="94"/>
                        </a:lnTo>
                        <a:lnTo>
                          <a:pt x="76" y="94"/>
                        </a:lnTo>
                        <a:lnTo>
                          <a:pt x="76" y="95"/>
                        </a:lnTo>
                        <a:lnTo>
                          <a:pt x="76" y="96"/>
                        </a:lnTo>
                        <a:lnTo>
                          <a:pt x="75" y="98"/>
                        </a:lnTo>
                        <a:lnTo>
                          <a:pt x="76" y="98"/>
                        </a:lnTo>
                        <a:lnTo>
                          <a:pt x="76" y="99"/>
                        </a:lnTo>
                        <a:lnTo>
                          <a:pt x="77" y="99"/>
                        </a:lnTo>
                        <a:lnTo>
                          <a:pt x="79" y="101"/>
                        </a:lnTo>
                        <a:lnTo>
                          <a:pt x="79" y="102"/>
                        </a:lnTo>
                        <a:lnTo>
                          <a:pt x="79" y="103"/>
                        </a:lnTo>
                        <a:lnTo>
                          <a:pt x="80" y="105"/>
                        </a:lnTo>
                        <a:lnTo>
                          <a:pt x="79" y="106"/>
                        </a:lnTo>
                        <a:lnTo>
                          <a:pt x="79" y="107"/>
                        </a:lnTo>
                        <a:lnTo>
                          <a:pt x="80" y="108"/>
                        </a:lnTo>
                        <a:lnTo>
                          <a:pt x="79" y="108"/>
                        </a:lnTo>
                        <a:lnTo>
                          <a:pt x="79" y="108"/>
                        </a:lnTo>
                        <a:lnTo>
                          <a:pt x="76" y="108"/>
                        </a:lnTo>
                        <a:lnTo>
                          <a:pt x="75" y="107"/>
                        </a:lnTo>
                        <a:lnTo>
                          <a:pt x="74" y="106"/>
                        </a:lnTo>
                        <a:lnTo>
                          <a:pt x="75" y="105"/>
                        </a:lnTo>
                        <a:lnTo>
                          <a:pt x="75" y="103"/>
                        </a:lnTo>
                        <a:lnTo>
                          <a:pt x="74" y="105"/>
                        </a:lnTo>
                        <a:lnTo>
                          <a:pt x="73" y="102"/>
                        </a:lnTo>
                        <a:lnTo>
                          <a:pt x="72" y="102"/>
                        </a:lnTo>
                        <a:lnTo>
                          <a:pt x="73" y="103"/>
                        </a:lnTo>
                        <a:lnTo>
                          <a:pt x="73" y="106"/>
                        </a:lnTo>
                        <a:lnTo>
                          <a:pt x="73" y="106"/>
                        </a:lnTo>
                        <a:lnTo>
                          <a:pt x="72" y="106"/>
                        </a:lnTo>
                        <a:lnTo>
                          <a:pt x="69" y="106"/>
                        </a:lnTo>
                        <a:lnTo>
                          <a:pt x="68" y="106"/>
                        </a:lnTo>
                        <a:lnTo>
                          <a:pt x="68" y="107"/>
                        </a:lnTo>
                        <a:lnTo>
                          <a:pt x="67" y="107"/>
                        </a:lnTo>
                        <a:lnTo>
                          <a:pt x="67" y="108"/>
                        </a:lnTo>
                        <a:lnTo>
                          <a:pt x="66" y="109"/>
                        </a:lnTo>
                        <a:lnTo>
                          <a:pt x="64" y="109"/>
                        </a:lnTo>
                        <a:lnTo>
                          <a:pt x="63" y="108"/>
                        </a:lnTo>
                        <a:lnTo>
                          <a:pt x="62" y="108"/>
                        </a:lnTo>
                        <a:lnTo>
                          <a:pt x="62" y="107"/>
                        </a:lnTo>
                        <a:lnTo>
                          <a:pt x="61" y="106"/>
                        </a:lnTo>
                        <a:lnTo>
                          <a:pt x="60" y="106"/>
                        </a:lnTo>
                        <a:lnTo>
                          <a:pt x="60" y="106"/>
                        </a:lnTo>
                        <a:lnTo>
                          <a:pt x="59" y="105"/>
                        </a:lnTo>
                        <a:lnTo>
                          <a:pt x="56" y="105"/>
                        </a:lnTo>
                        <a:lnTo>
                          <a:pt x="56" y="103"/>
                        </a:lnTo>
                        <a:lnTo>
                          <a:pt x="55" y="102"/>
                        </a:lnTo>
                        <a:lnTo>
                          <a:pt x="54" y="102"/>
                        </a:lnTo>
                        <a:lnTo>
                          <a:pt x="54" y="101"/>
                        </a:lnTo>
                        <a:lnTo>
                          <a:pt x="53" y="101"/>
                        </a:lnTo>
                        <a:lnTo>
                          <a:pt x="52" y="100"/>
                        </a:lnTo>
                        <a:lnTo>
                          <a:pt x="50" y="100"/>
                        </a:lnTo>
                        <a:lnTo>
                          <a:pt x="50" y="99"/>
                        </a:lnTo>
                        <a:lnTo>
                          <a:pt x="50" y="98"/>
                        </a:lnTo>
                        <a:lnTo>
                          <a:pt x="49" y="98"/>
                        </a:lnTo>
                        <a:lnTo>
                          <a:pt x="48" y="96"/>
                        </a:lnTo>
                        <a:lnTo>
                          <a:pt x="48" y="95"/>
                        </a:lnTo>
                        <a:lnTo>
                          <a:pt x="46" y="94"/>
                        </a:lnTo>
                        <a:lnTo>
                          <a:pt x="46" y="94"/>
                        </a:lnTo>
                        <a:lnTo>
                          <a:pt x="44" y="94"/>
                        </a:lnTo>
                        <a:lnTo>
                          <a:pt x="43" y="93"/>
                        </a:lnTo>
                        <a:lnTo>
                          <a:pt x="42" y="93"/>
                        </a:lnTo>
                        <a:lnTo>
                          <a:pt x="41" y="92"/>
                        </a:lnTo>
                        <a:lnTo>
                          <a:pt x="40" y="91"/>
                        </a:lnTo>
                        <a:lnTo>
                          <a:pt x="40" y="91"/>
                        </a:lnTo>
                        <a:lnTo>
                          <a:pt x="39" y="91"/>
                        </a:lnTo>
                        <a:lnTo>
                          <a:pt x="39" y="89"/>
                        </a:lnTo>
                        <a:lnTo>
                          <a:pt x="37" y="89"/>
                        </a:lnTo>
                        <a:lnTo>
                          <a:pt x="36" y="88"/>
                        </a:lnTo>
                        <a:lnTo>
                          <a:pt x="34" y="87"/>
                        </a:lnTo>
                        <a:lnTo>
                          <a:pt x="32" y="86"/>
                        </a:lnTo>
                        <a:lnTo>
                          <a:pt x="30" y="86"/>
                        </a:lnTo>
                        <a:lnTo>
                          <a:pt x="29" y="85"/>
                        </a:lnTo>
                        <a:lnTo>
                          <a:pt x="29" y="82"/>
                        </a:lnTo>
                        <a:lnTo>
                          <a:pt x="28" y="83"/>
                        </a:lnTo>
                        <a:lnTo>
                          <a:pt x="27" y="82"/>
                        </a:lnTo>
                        <a:lnTo>
                          <a:pt x="27" y="81"/>
                        </a:lnTo>
                        <a:lnTo>
                          <a:pt x="26" y="79"/>
                        </a:lnTo>
                        <a:lnTo>
                          <a:pt x="23" y="79"/>
                        </a:lnTo>
                        <a:lnTo>
                          <a:pt x="23" y="78"/>
                        </a:lnTo>
                        <a:lnTo>
                          <a:pt x="26" y="75"/>
                        </a:lnTo>
                        <a:lnTo>
                          <a:pt x="26" y="74"/>
                        </a:lnTo>
                        <a:lnTo>
                          <a:pt x="23" y="69"/>
                        </a:lnTo>
                        <a:lnTo>
                          <a:pt x="23" y="69"/>
                        </a:lnTo>
                        <a:lnTo>
                          <a:pt x="19" y="62"/>
                        </a:lnTo>
                        <a:lnTo>
                          <a:pt x="15" y="60"/>
                        </a:lnTo>
                        <a:lnTo>
                          <a:pt x="15" y="59"/>
                        </a:lnTo>
                        <a:lnTo>
                          <a:pt x="14" y="59"/>
                        </a:lnTo>
                        <a:lnTo>
                          <a:pt x="13" y="58"/>
                        </a:lnTo>
                        <a:lnTo>
                          <a:pt x="13" y="56"/>
                        </a:lnTo>
                        <a:lnTo>
                          <a:pt x="13" y="55"/>
                        </a:lnTo>
                        <a:lnTo>
                          <a:pt x="14" y="55"/>
                        </a:lnTo>
                        <a:lnTo>
                          <a:pt x="15" y="55"/>
                        </a:lnTo>
                        <a:lnTo>
                          <a:pt x="14" y="55"/>
                        </a:lnTo>
                        <a:lnTo>
                          <a:pt x="14" y="53"/>
                        </a:lnTo>
                        <a:lnTo>
                          <a:pt x="12" y="52"/>
                        </a:lnTo>
                        <a:lnTo>
                          <a:pt x="10" y="49"/>
                        </a:lnTo>
                        <a:lnTo>
                          <a:pt x="12" y="45"/>
                        </a:lnTo>
                        <a:lnTo>
                          <a:pt x="10" y="44"/>
                        </a:lnTo>
                        <a:lnTo>
                          <a:pt x="10" y="44"/>
                        </a:lnTo>
                        <a:lnTo>
                          <a:pt x="12" y="42"/>
                        </a:lnTo>
                        <a:lnTo>
                          <a:pt x="10" y="42"/>
                        </a:lnTo>
                        <a:lnTo>
                          <a:pt x="10" y="40"/>
                        </a:lnTo>
                        <a:lnTo>
                          <a:pt x="12" y="40"/>
                        </a:lnTo>
                        <a:lnTo>
                          <a:pt x="10" y="40"/>
                        </a:lnTo>
                        <a:lnTo>
                          <a:pt x="9" y="38"/>
                        </a:lnTo>
                        <a:lnTo>
                          <a:pt x="9" y="36"/>
                        </a:lnTo>
                        <a:lnTo>
                          <a:pt x="7" y="36"/>
                        </a:lnTo>
                        <a:lnTo>
                          <a:pt x="6" y="34"/>
                        </a:lnTo>
                        <a:lnTo>
                          <a:pt x="7" y="32"/>
                        </a:lnTo>
                        <a:lnTo>
                          <a:pt x="6" y="22"/>
                        </a:lnTo>
                        <a:lnTo>
                          <a:pt x="6" y="21"/>
                        </a:lnTo>
                        <a:lnTo>
                          <a:pt x="6" y="15"/>
                        </a:lnTo>
                        <a:lnTo>
                          <a:pt x="3" y="12"/>
                        </a:lnTo>
                        <a:lnTo>
                          <a:pt x="1" y="9"/>
                        </a:lnTo>
                        <a:lnTo>
                          <a:pt x="0" y="7"/>
                        </a:lnTo>
                        <a:lnTo>
                          <a:pt x="0" y="7"/>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grpSp>
            <p:sp>
              <p:nvSpPr>
                <p:cNvPr id="391" name="Lithuania">
                  <a:extLst>
                    <a:ext uri="{FF2B5EF4-FFF2-40B4-BE49-F238E27FC236}">
                      <a16:creationId xmlns:a16="http://schemas.microsoft.com/office/drawing/2014/main" id="{EF1E3B77-75C3-494E-9D18-DF1C6BE0DE4C}"/>
                    </a:ext>
                  </a:extLst>
                </p:cNvPr>
                <p:cNvSpPr>
                  <a:spLocks/>
                </p:cNvSpPr>
                <p:nvPr/>
              </p:nvSpPr>
              <p:spPr bwMode="auto">
                <a:xfrm>
                  <a:off x="6818668" y="2308433"/>
                  <a:ext cx="126842" cy="65608"/>
                </a:xfrm>
                <a:custGeom>
                  <a:avLst/>
                  <a:gdLst>
                    <a:gd name="T0" fmla="*/ 0 w 87"/>
                    <a:gd name="T1" fmla="*/ 2 h 45"/>
                    <a:gd name="T2" fmla="*/ 1 w 87"/>
                    <a:gd name="T3" fmla="*/ 5 h 45"/>
                    <a:gd name="T4" fmla="*/ 0 w 87"/>
                    <a:gd name="T5" fmla="*/ 8 h 45"/>
                    <a:gd name="T6" fmla="*/ 0 w 87"/>
                    <a:gd name="T7" fmla="*/ 9 h 45"/>
                    <a:gd name="T8" fmla="*/ 0 w 87"/>
                    <a:gd name="T9" fmla="*/ 10 h 45"/>
                    <a:gd name="T10" fmla="*/ 1 w 87"/>
                    <a:gd name="T11" fmla="*/ 12 h 45"/>
                    <a:gd name="T12" fmla="*/ 1 w 87"/>
                    <a:gd name="T13" fmla="*/ 11 h 45"/>
                    <a:gd name="T14" fmla="*/ 3 w 87"/>
                    <a:gd name="T15" fmla="*/ 13 h 45"/>
                    <a:gd name="T16" fmla="*/ 4 w 87"/>
                    <a:gd name="T17" fmla="*/ 16 h 45"/>
                    <a:gd name="T18" fmla="*/ 4 w 87"/>
                    <a:gd name="T19" fmla="*/ 18 h 45"/>
                    <a:gd name="T20" fmla="*/ 6 w 87"/>
                    <a:gd name="T21" fmla="*/ 19 h 45"/>
                    <a:gd name="T22" fmla="*/ 6 w 87"/>
                    <a:gd name="T23" fmla="*/ 22 h 45"/>
                    <a:gd name="T24" fmla="*/ 6 w 87"/>
                    <a:gd name="T25" fmla="*/ 24 h 45"/>
                    <a:gd name="T26" fmla="*/ 6 w 87"/>
                    <a:gd name="T27" fmla="*/ 25 h 45"/>
                    <a:gd name="T28" fmla="*/ 6 w 87"/>
                    <a:gd name="T29" fmla="*/ 28 h 45"/>
                    <a:gd name="T30" fmla="*/ 10 w 87"/>
                    <a:gd name="T31" fmla="*/ 28 h 45"/>
                    <a:gd name="T32" fmla="*/ 18 w 87"/>
                    <a:gd name="T33" fmla="*/ 28 h 45"/>
                    <a:gd name="T34" fmla="*/ 25 w 87"/>
                    <a:gd name="T35" fmla="*/ 28 h 45"/>
                    <a:gd name="T36" fmla="*/ 27 w 87"/>
                    <a:gd name="T37" fmla="*/ 28 h 45"/>
                    <a:gd name="T38" fmla="*/ 30 w 87"/>
                    <a:gd name="T39" fmla="*/ 29 h 45"/>
                    <a:gd name="T40" fmla="*/ 31 w 87"/>
                    <a:gd name="T41" fmla="*/ 31 h 45"/>
                    <a:gd name="T42" fmla="*/ 35 w 87"/>
                    <a:gd name="T43" fmla="*/ 37 h 45"/>
                    <a:gd name="T44" fmla="*/ 35 w 87"/>
                    <a:gd name="T45" fmla="*/ 43 h 45"/>
                    <a:gd name="T46" fmla="*/ 63 w 87"/>
                    <a:gd name="T47" fmla="*/ 43 h 45"/>
                    <a:gd name="T48" fmla="*/ 74 w 87"/>
                    <a:gd name="T49" fmla="*/ 39 h 45"/>
                    <a:gd name="T50" fmla="*/ 81 w 87"/>
                    <a:gd name="T51" fmla="*/ 28 h 45"/>
                    <a:gd name="T52" fmla="*/ 86 w 87"/>
                    <a:gd name="T53" fmla="*/ 25 h 45"/>
                    <a:gd name="T54" fmla="*/ 81 w 87"/>
                    <a:gd name="T55" fmla="*/ 19 h 45"/>
                    <a:gd name="T56" fmla="*/ 74 w 87"/>
                    <a:gd name="T57" fmla="*/ 11 h 45"/>
                    <a:gd name="T58" fmla="*/ 63 w 87"/>
                    <a:gd name="T59" fmla="*/ 6 h 45"/>
                    <a:gd name="T60" fmla="*/ 51 w 87"/>
                    <a:gd name="T61" fmla="*/ 4 h 45"/>
                    <a:gd name="T62" fmla="*/ 30 w 87"/>
                    <a:gd name="T63" fmla="*/ 4 h 45"/>
                    <a:gd name="T64" fmla="*/ 23 w 87"/>
                    <a:gd name="T65" fmla="*/ 2 h 45"/>
                    <a:gd name="T66" fmla="*/ 11 w 87"/>
                    <a:gd name="T67" fmla="*/ 2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87" h="45">
                      <a:moveTo>
                        <a:pt x="11" y="2"/>
                      </a:moveTo>
                      <a:lnTo>
                        <a:pt x="0" y="2"/>
                      </a:lnTo>
                      <a:lnTo>
                        <a:pt x="1" y="4"/>
                      </a:lnTo>
                      <a:lnTo>
                        <a:pt x="1" y="5"/>
                      </a:lnTo>
                      <a:lnTo>
                        <a:pt x="0" y="6"/>
                      </a:lnTo>
                      <a:lnTo>
                        <a:pt x="0" y="8"/>
                      </a:lnTo>
                      <a:lnTo>
                        <a:pt x="0" y="9"/>
                      </a:lnTo>
                      <a:lnTo>
                        <a:pt x="0" y="9"/>
                      </a:lnTo>
                      <a:lnTo>
                        <a:pt x="0" y="10"/>
                      </a:lnTo>
                      <a:lnTo>
                        <a:pt x="0" y="10"/>
                      </a:lnTo>
                      <a:lnTo>
                        <a:pt x="0" y="11"/>
                      </a:lnTo>
                      <a:lnTo>
                        <a:pt x="1" y="12"/>
                      </a:lnTo>
                      <a:lnTo>
                        <a:pt x="1" y="11"/>
                      </a:lnTo>
                      <a:lnTo>
                        <a:pt x="1" y="11"/>
                      </a:lnTo>
                      <a:lnTo>
                        <a:pt x="3" y="12"/>
                      </a:lnTo>
                      <a:lnTo>
                        <a:pt x="3" y="13"/>
                      </a:lnTo>
                      <a:lnTo>
                        <a:pt x="4" y="15"/>
                      </a:lnTo>
                      <a:lnTo>
                        <a:pt x="4" y="16"/>
                      </a:lnTo>
                      <a:lnTo>
                        <a:pt x="4" y="17"/>
                      </a:lnTo>
                      <a:lnTo>
                        <a:pt x="4" y="18"/>
                      </a:lnTo>
                      <a:lnTo>
                        <a:pt x="5" y="18"/>
                      </a:lnTo>
                      <a:lnTo>
                        <a:pt x="6" y="19"/>
                      </a:lnTo>
                      <a:lnTo>
                        <a:pt x="6" y="20"/>
                      </a:lnTo>
                      <a:lnTo>
                        <a:pt x="6" y="22"/>
                      </a:lnTo>
                      <a:lnTo>
                        <a:pt x="6" y="23"/>
                      </a:lnTo>
                      <a:lnTo>
                        <a:pt x="6" y="24"/>
                      </a:lnTo>
                      <a:lnTo>
                        <a:pt x="5" y="25"/>
                      </a:lnTo>
                      <a:lnTo>
                        <a:pt x="6" y="25"/>
                      </a:lnTo>
                      <a:lnTo>
                        <a:pt x="7" y="26"/>
                      </a:lnTo>
                      <a:lnTo>
                        <a:pt x="6" y="28"/>
                      </a:lnTo>
                      <a:lnTo>
                        <a:pt x="6" y="29"/>
                      </a:lnTo>
                      <a:lnTo>
                        <a:pt x="10" y="28"/>
                      </a:lnTo>
                      <a:lnTo>
                        <a:pt x="14" y="26"/>
                      </a:lnTo>
                      <a:lnTo>
                        <a:pt x="18" y="28"/>
                      </a:lnTo>
                      <a:lnTo>
                        <a:pt x="23" y="28"/>
                      </a:lnTo>
                      <a:lnTo>
                        <a:pt x="25" y="28"/>
                      </a:lnTo>
                      <a:lnTo>
                        <a:pt x="27" y="29"/>
                      </a:lnTo>
                      <a:lnTo>
                        <a:pt x="27" y="28"/>
                      </a:lnTo>
                      <a:lnTo>
                        <a:pt x="28" y="28"/>
                      </a:lnTo>
                      <a:lnTo>
                        <a:pt x="30" y="29"/>
                      </a:lnTo>
                      <a:lnTo>
                        <a:pt x="32" y="31"/>
                      </a:lnTo>
                      <a:lnTo>
                        <a:pt x="31" y="31"/>
                      </a:lnTo>
                      <a:lnTo>
                        <a:pt x="33" y="35"/>
                      </a:lnTo>
                      <a:lnTo>
                        <a:pt x="35" y="37"/>
                      </a:lnTo>
                      <a:lnTo>
                        <a:pt x="35" y="39"/>
                      </a:lnTo>
                      <a:lnTo>
                        <a:pt x="35" y="43"/>
                      </a:lnTo>
                      <a:lnTo>
                        <a:pt x="46" y="45"/>
                      </a:lnTo>
                      <a:lnTo>
                        <a:pt x="63" y="43"/>
                      </a:lnTo>
                      <a:lnTo>
                        <a:pt x="72" y="43"/>
                      </a:lnTo>
                      <a:lnTo>
                        <a:pt x="74" y="39"/>
                      </a:lnTo>
                      <a:lnTo>
                        <a:pt x="77" y="31"/>
                      </a:lnTo>
                      <a:lnTo>
                        <a:pt x="81" y="28"/>
                      </a:lnTo>
                      <a:lnTo>
                        <a:pt x="83" y="25"/>
                      </a:lnTo>
                      <a:lnTo>
                        <a:pt x="86" y="25"/>
                      </a:lnTo>
                      <a:lnTo>
                        <a:pt x="87" y="23"/>
                      </a:lnTo>
                      <a:lnTo>
                        <a:pt x="81" y="19"/>
                      </a:lnTo>
                      <a:lnTo>
                        <a:pt x="84" y="16"/>
                      </a:lnTo>
                      <a:lnTo>
                        <a:pt x="74" y="11"/>
                      </a:lnTo>
                      <a:lnTo>
                        <a:pt x="67" y="6"/>
                      </a:lnTo>
                      <a:lnTo>
                        <a:pt x="63" y="6"/>
                      </a:lnTo>
                      <a:lnTo>
                        <a:pt x="54" y="0"/>
                      </a:lnTo>
                      <a:lnTo>
                        <a:pt x="51" y="4"/>
                      </a:lnTo>
                      <a:lnTo>
                        <a:pt x="38" y="2"/>
                      </a:lnTo>
                      <a:lnTo>
                        <a:pt x="30" y="4"/>
                      </a:lnTo>
                      <a:lnTo>
                        <a:pt x="27" y="2"/>
                      </a:lnTo>
                      <a:lnTo>
                        <a:pt x="23" y="2"/>
                      </a:lnTo>
                      <a:lnTo>
                        <a:pt x="17" y="2"/>
                      </a:lnTo>
                      <a:lnTo>
                        <a:pt x="11" y="2"/>
                      </a:lnTo>
                      <a:lnTo>
                        <a:pt x="11" y="2"/>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92" name="Latvia">
                  <a:extLst>
                    <a:ext uri="{FF2B5EF4-FFF2-40B4-BE49-F238E27FC236}">
                      <a16:creationId xmlns:a16="http://schemas.microsoft.com/office/drawing/2014/main" id="{2501A3C7-4B1C-D54A-B48F-FBE0D1F6DC40}"/>
                    </a:ext>
                  </a:extLst>
                </p:cNvPr>
                <p:cNvSpPr>
                  <a:spLocks/>
                </p:cNvSpPr>
                <p:nvPr/>
              </p:nvSpPr>
              <p:spPr bwMode="auto">
                <a:xfrm>
                  <a:off x="6817210" y="2264694"/>
                  <a:ext cx="161832" cy="67065"/>
                </a:xfrm>
                <a:custGeom>
                  <a:avLst/>
                  <a:gdLst>
                    <a:gd name="T0" fmla="*/ 78 w 111"/>
                    <a:gd name="T1" fmla="*/ 8 h 46"/>
                    <a:gd name="T2" fmla="*/ 98 w 111"/>
                    <a:gd name="T3" fmla="*/ 15 h 46"/>
                    <a:gd name="T4" fmla="*/ 111 w 111"/>
                    <a:gd name="T5" fmla="*/ 39 h 46"/>
                    <a:gd name="T6" fmla="*/ 98 w 111"/>
                    <a:gd name="T7" fmla="*/ 42 h 46"/>
                    <a:gd name="T8" fmla="*/ 85 w 111"/>
                    <a:gd name="T9" fmla="*/ 46 h 46"/>
                    <a:gd name="T10" fmla="*/ 68 w 111"/>
                    <a:gd name="T11" fmla="*/ 36 h 46"/>
                    <a:gd name="T12" fmla="*/ 55 w 111"/>
                    <a:gd name="T13" fmla="*/ 30 h 46"/>
                    <a:gd name="T14" fmla="*/ 39 w 111"/>
                    <a:gd name="T15" fmla="*/ 32 h 46"/>
                    <a:gd name="T16" fmla="*/ 28 w 111"/>
                    <a:gd name="T17" fmla="*/ 32 h 46"/>
                    <a:gd name="T18" fmla="*/ 18 w 111"/>
                    <a:gd name="T19" fmla="*/ 32 h 46"/>
                    <a:gd name="T20" fmla="*/ 1 w 111"/>
                    <a:gd name="T21" fmla="*/ 32 h 46"/>
                    <a:gd name="T22" fmla="*/ 1 w 111"/>
                    <a:gd name="T23" fmla="*/ 30 h 46"/>
                    <a:gd name="T24" fmla="*/ 1 w 111"/>
                    <a:gd name="T25" fmla="*/ 28 h 46"/>
                    <a:gd name="T26" fmla="*/ 1 w 111"/>
                    <a:gd name="T27" fmla="*/ 27 h 46"/>
                    <a:gd name="T28" fmla="*/ 2 w 111"/>
                    <a:gd name="T29" fmla="*/ 25 h 46"/>
                    <a:gd name="T30" fmla="*/ 5 w 111"/>
                    <a:gd name="T31" fmla="*/ 21 h 46"/>
                    <a:gd name="T32" fmla="*/ 6 w 111"/>
                    <a:gd name="T33" fmla="*/ 19 h 46"/>
                    <a:gd name="T34" fmla="*/ 5 w 111"/>
                    <a:gd name="T35" fmla="*/ 16 h 46"/>
                    <a:gd name="T36" fmla="*/ 5 w 111"/>
                    <a:gd name="T37" fmla="*/ 15 h 46"/>
                    <a:gd name="T38" fmla="*/ 5 w 111"/>
                    <a:gd name="T39" fmla="*/ 14 h 46"/>
                    <a:gd name="T40" fmla="*/ 7 w 111"/>
                    <a:gd name="T41" fmla="*/ 13 h 46"/>
                    <a:gd name="T42" fmla="*/ 8 w 111"/>
                    <a:gd name="T43" fmla="*/ 12 h 46"/>
                    <a:gd name="T44" fmla="*/ 8 w 111"/>
                    <a:gd name="T45" fmla="*/ 12 h 46"/>
                    <a:gd name="T46" fmla="*/ 9 w 111"/>
                    <a:gd name="T47" fmla="*/ 12 h 46"/>
                    <a:gd name="T48" fmla="*/ 11 w 111"/>
                    <a:gd name="T49" fmla="*/ 8 h 46"/>
                    <a:gd name="T50" fmla="*/ 14 w 111"/>
                    <a:gd name="T51" fmla="*/ 9 h 46"/>
                    <a:gd name="T52" fmla="*/ 16 w 111"/>
                    <a:gd name="T53" fmla="*/ 8 h 46"/>
                    <a:gd name="T54" fmla="*/ 19 w 111"/>
                    <a:gd name="T55" fmla="*/ 9 h 46"/>
                    <a:gd name="T56" fmla="*/ 22 w 111"/>
                    <a:gd name="T57" fmla="*/ 7 h 46"/>
                    <a:gd name="T58" fmla="*/ 25 w 111"/>
                    <a:gd name="T59" fmla="*/ 6 h 46"/>
                    <a:gd name="T60" fmla="*/ 25 w 111"/>
                    <a:gd name="T61" fmla="*/ 8 h 46"/>
                    <a:gd name="T62" fmla="*/ 25 w 111"/>
                    <a:gd name="T63" fmla="*/ 10 h 46"/>
                    <a:gd name="T64" fmla="*/ 27 w 111"/>
                    <a:gd name="T65" fmla="*/ 13 h 46"/>
                    <a:gd name="T66" fmla="*/ 28 w 111"/>
                    <a:gd name="T67" fmla="*/ 14 h 46"/>
                    <a:gd name="T68" fmla="*/ 29 w 111"/>
                    <a:gd name="T69" fmla="*/ 15 h 46"/>
                    <a:gd name="T70" fmla="*/ 31 w 111"/>
                    <a:gd name="T71" fmla="*/ 16 h 46"/>
                    <a:gd name="T72" fmla="*/ 31 w 111"/>
                    <a:gd name="T73" fmla="*/ 16 h 46"/>
                    <a:gd name="T74" fmla="*/ 32 w 111"/>
                    <a:gd name="T75" fmla="*/ 18 h 46"/>
                    <a:gd name="T76" fmla="*/ 34 w 111"/>
                    <a:gd name="T77" fmla="*/ 18 h 46"/>
                    <a:gd name="T78" fmla="*/ 35 w 111"/>
                    <a:gd name="T79" fmla="*/ 20 h 46"/>
                    <a:gd name="T80" fmla="*/ 39 w 111"/>
                    <a:gd name="T81" fmla="*/ 20 h 46"/>
                    <a:gd name="T82" fmla="*/ 42 w 111"/>
                    <a:gd name="T83" fmla="*/ 19 h 46"/>
                    <a:gd name="T84" fmla="*/ 44 w 111"/>
                    <a:gd name="T85" fmla="*/ 20 h 46"/>
                    <a:gd name="T86" fmla="*/ 46 w 111"/>
                    <a:gd name="T87" fmla="*/ 19 h 46"/>
                    <a:gd name="T88" fmla="*/ 47 w 111"/>
                    <a:gd name="T89" fmla="*/ 16 h 46"/>
                    <a:gd name="T90" fmla="*/ 48 w 111"/>
                    <a:gd name="T91" fmla="*/ 15 h 46"/>
                    <a:gd name="T92" fmla="*/ 49 w 111"/>
                    <a:gd name="T93" fmla="*/ 15 h 46"/>
                    <a:gd name="T94" fmla="*/ 49 w 111"/>
                    <a:gd name="T95" fmla="*/ 12 h 46"/>
                    <a:gd name="T96" fmla="*/ 48 w 111"/>
                    <a:gd name="T97" fmla="*/ 8 h 46"/>
                    <a:gd name="T98" fmla="*/ 46 w 111"/>
                    <a:gd name="T99" fmla="*/ 8 h 46"/>
                    <a:gd name="T100" fmla="*/ 46 w 111"/>
                    <a:gd name="T101" fmla="*/ 7 h 46"/>
                    <a:gd name="T102" fmla="*/ 48 w 111"/>
                    <a:gd name="T103" fmla="*/ 6 h 46"/>
                    <a:gd name="T104" fmla="*/ 47 w 111"/>
                    <a:gd name="T105" fmla="*/ 3 h 46"/>
                    <a:gd name="T106" fmla="*/ 59 w 111"/>
                    <a:gd name="T107"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11" h="46">
                      <a:moveTo>
                        <a:pt x="59" y="0"/>
                      </a:moveTo>
                      <a:lnTo>
                        <a:pt x="78" y="8"/>
                      </a:lnTo>
                      <a:lnTo>
                        <a:pt x="89" y="7"/>
                      </a:lnTo>
                      <a:lnTo>
                        <a:pt x="98" y="15"/>
                      </a:lnTo>
                      <a:lnTo>
                        <a:pt x="96" y="18"/>
                      </a:lnTo>
                      <a:lnTo>
                        <a:pt x="111" y="39"/>
                      </a:lnTo>
                      <a:lnTo>
                        <a:pt x="102" y="39"/>
                      </a:lnTo>
                      <a:lnTo>
                        <a:pt x="98" y="42"/>
                      </a:lnTo>
                      <a:lnTo>
                        <a:pt x="92" y="42"/>
                      </a:lnTo>
                      <a:lnTo>
                        <a:pt x="85" y="46"/>
                      </a:lnTo>
                      <a:lnTo>
                        <a:pt x="75" y="41"/>
                      </a:lnTo>
                      <a:lnTo>
                        <a:pt x="68" y="36"/>
                      </a:lnTo>
                      <a:lnTo>
                        <a:pt x="64" y="36"/>
                      </a:lnTo>
                      <a:lnTo>
                        <a:pt x="55" y="30"/>
                      </a:lnTo>
                      <a:lnTo>
                        <a:pt x="52" y="34"/>
                      </a:lnTo>
                      <a:lnTo>
                        <a:pt x="39" y="32"/>
                      </a:lnTo>
                      <a:lnTo>
                        <a:pt x="31" y="34"/>
                      </a:lnTo>
                      <a:lnTo>
                        <a:pt x="28" y="32"/>
                      </a:lnTo>
                      <a:lnTo>
                        <a:pt x="24" y="32"/>
                      </a:lnTo>
                      <a:lnTo>
                        <a:pt x="18" y="32"/>
                      </a:lnTo>
                      <a:lnTo>
                        <a:pt x="12" y="32"/>
                      </a:lnTo>
                      <a:lnTo>
                        <a:pt x="1" y="32"/>
                      </a:lnTo>
                      <a:lnTo>
                        <a:pt x="0" y="32"/>
                      </a:lnTo>
                      <a:lnTo>
                        <a:pt x="1" y="30"/>
                      </a:lnTo>
                      <a:lnTo>
                        <a:pt x="1" y="28"/>
                      </a:lnTo>
                      <a:lnTo>
                        <a:pt x="1" y="28"/>
                      </a:lnTo>
                      <a:lnTo>
                        <a:pt x="1" y="27"/>
                      </a:lnTo>
                      <a:lnTo>
                        <a:pt x="1" y="27"/>
                      </a:lnTo>
                      <a:lnTo>
                        <a:pt x="1" y="25"/>
                      </a:lnTo>
                      <a:lnTo>
                        <a:pt x="2" y="25"/>
                      </a:lnTo>
                      <a:lnTo>
                        <a:pt x="4" y="22"/>
                      </a:lnTo>
                      <a:lnTo>
                        <a:pt x="5" y="21"/>
                      </a:lnTo>
                      <a:lnTo>
                        <a:pt x="5" y="20"/>
                      </a:lnTo>
                      <a:lnTo>
                        <a:pt x="6" y="19"/>
                      </a:lnTo>
                      <a:lnTo>
                        <a:pt x="6" y="18"/>
                      </a:lnTo>
                      <a:lnTo>
                        <a:pt x="5" y="16"/>
                      </a:lnTo>
                      <a:lnTo>
                        <a:pt x="5" y="15"/>
                      </a:lnTo>
                      <a:lnTo>
                        <a:pt x="5" y="15"/>
                      </a:lnTo>
                      <a:lnTo>
                        <a:pt x="5" y="15"/>
                      </a:lnTo>
                      <a:lnTo>
                        <a:pt x="5" y="14"/>
                      </a:lnTo>
                      <a:lnTo>
                        <a:pt x="5" y="14"/>
                      </a:lnTo>
                      <a:lnTo>
                        <a:pt x="7" y="13"/>
                      </a:lnTo>
                      <a:lnTo>
                        <a:pt x="7" y="13"/>
                      </a:lnTo>
                      <a:lnTo>
                        <a:pt x="8" y="12"/>
                      </a:lnTo>
                      <a:lnTo>
                        <a:pt x="9" y="13"/>
                      </a:lnTo>
                      <a:lnTo>
                        <a:pt x="8" y="12"/>
                      </a:lnTo>
                      <a:lnTo>
                        <a:pt x="9" y="12"/>
                      </a:lnTo>
                      <a:lnTo>
                        <a:pt x="9" y="12"/>
                      </a:lnTo>
                      <a:lnTo>
                        <a:pt x="11" y="10"/>
                      </a:lnTo>
                      <a:lnTo>
                        <a:pt x="11" y="8"/>
                      </a:lnTo>
                      <a:lnTo>
                        <a:pt x="12" y="9"/>
                      </a:lnTo>
                      <a:lnTo>
                        <a:pt x="14" y="9"/>
                      </a:lnTo>
                      <a:lnTo>
                        <a:pt x="14" y="9"/>
                      </a:lnTo>
                      <a:lnTo>
                        <a:pt x="16" y="8"/>
                      </a:lnTo>
                      <a:lnTo>
                        <a:pt x="18" y="8"/>
                      </a:lnTo>
                      <a:lnTo>
                        <a:pt x="19" y="9"/>
                      </a:lnTo>
                      <a:lnTo>
                        <a:pt x="21" y="8"/>
                      </a:lnTo>
                      <a:lnTo>
                        <a:pt x="22" y="7"/>
                      </a:lnTo>
                      <a:lnTo>
                        <a:pt x="22" y="6"/>
                      </a:lnTo>
                      <a:lnTo>
                        <a:pt x="25" y="6"/>
                      </a:lnTo>
                      <a:lnTo>
                        <a:pt x="25" y="7"/>
                      </a:lnTo>
                      <a:lnTo>
                        <a:pt x="25" y="8"/>
                      </a:lnTo>
                      <a:lnTo>
                        <a:pt x="26" y="9"/>
                      </a:lnTo>
                      <a:lnTo>
                        <a:pt x="25" y="10"/>
                      </a:lnTo>
                      <a:lnTo>
                        <a:pt x="26" y="12"/>
                      </a:lnTo>
                      <a:lnTo>
                        <a:pt x="27" y="13"/>
                      </a:lnTo>
                      <a:lnTo>
                        <a:pt x="29" y="14"/>
                      </a:lnTo>
                      <a:lnTo>
                        <a:pt x="28" y="14"/>
                      </a:lnTo>
                      <a:lnTo>
                        <a:pt x="28" y="15"/>
                      </a:lnTo>
                      <a:lnTo>
                        <a:pt x="29" y="15"/>
                      </a:lnTo>
                      <a:lnTo>
                        <a:pt x="31" y="15"/>
                      </a:lnTo>
                      <a:lnTo>
                        <a:pt x="31" y="16"/>
                      </a:lnTo>
                      <a:lnTo>
                        <a:pt x="32" y="16"/>
                      </a:lnTo>
                      <a:lnTo>
                        <a:pt x="31" y="16"/>
                      </a:lnTo>
                      <a:lnTo>
                        <a:pt x="31" y="18"/>
                      </a:lnTo>
                      <a:lnTo>
                        <a:pt x="32" y="18"/>
                      </a:lnTo>
                      <a:lnTo>
                        <a:pt x="33" y="16"/>
                      </a:lnTo>
                      <a:lnTo>
                        <a:pt x="34" y="18"/>
                      </a:lnTo>
                      <a:lnTo>
                        <a:pt x="36" y="18"/>
                      </a:lnTo>
                      <a:lnTo>
                        <a:pt x="35" y="20"/>
                      </a:lnTo>
                      <a:lnTo>
                        <a:pt x="38" y="20"/>
                      </a:lnTo>
                      <a:lnTo>
                        <a:pt x="39" y="20"/>
                      </a:lnTo>
                      <a:lnTo>
                        <a:pt x="40" y="20"/>
                      </a:lnTo>
                      <a:lnTo>
                        <a:pt x="42" y="19"/>
                      </a:lnTo>
                      <a:lnTo>
                        <a:pt x="44" y="21"/>
                      </a:lnTo>
                      <a:lnTo>
                        <a:pt x="44" y="20"/>
                      </a:lnTo>
                      <a:lnTo>
                        <a:pt x="45" y="20"/>
                      </a:lnTo>
                      <a:lnTo>
                        <a:pt x="46" y="19"/>
                      </a:lnTo>
                      <a:lnTo>
                        <a:pt x="46" y="18"/>
                      </a:lnTo>
                      <a:lnTo>
                        <a:pt x="47" y="16"/>
                      </a:lnTo>
                      <a:lnTo>
                        <a:pt x="48" y="16"/>
                      </a:lnTo>
                      <a:lnTo>
                        <a:pt x="48" y="15"/>
                      </a:lnTo>
                      <a:lnTo>
                        <a:pt x="49" y="16"/>
                      </a:lnTo>
                      <a:lnTo>
                        <a:pt x="49" y="15"/>
                      </a:lnTo>
                      <a:lnTo>
                        <a:pt x="51" y="14"/>
                      </a:lnTo>
                      <a:lnTo>
                        <a:pt x="49" y="12"/>
                      </a:lnTo>
                      <a:lnTo>
                        <a:pt x="48" y="10"/>
                      </a:lnTo>
                      <a:lnTo>
                        <a:pt x="48" y="8"/>
                      </a:lnTo>
                      <a:lnTo>
                        <a:pt x="47" y="8"/>
                      </a:lnTo>
                      <a:lnTo>
                        <a:pt x="46" y="8"/>
                      </a:lnTo>
                      <a:lnTo>
                        <a:pt x="45" y="7"/>
                      </a:lnTo>
                      <a:lnTo>
                        <a:pt x="46" y="7"/>
                      </a:lnTo>
                      <a:lnTo>
                        <a:pt x="47" y="7"/>
                      </a:lnTo>
                      <a:lnTo>
                        <a:pt x="48" y="6"/>
                      </a:lnTo>
                      <a:lnTo>
                        <a:pt x="48" y="5"/>
                      </a:lnTo>
                      <a:lnTo>
                        <a:pt x="47" y="3"/>
                      </a:lnTo>
                      <a:lnTo>
                        <a:pt x="48" y="2"/>
                      </a:lnTo>
                      <a:lnTo>
                        <a:pt x="59" y="0"/>
                      </a:lnTo>
                      <a:lnTo>
                        <a:pt x="59" y="0"/>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93" name="Kosovo">
                  <a:extLst>
                    <a:ext uri="{FF2B5EF4-FFF2-40B4-BE49-F238E27FC236}">
                      <a16:creationId xmlns:a16="http://schemas.microsoft.com/office/drawing/2014/main" id="{A804EF9D-14B7-8745-8E99-1D99AD530BB8}"/>
                    </a:ext>
                  </a:extLst>
                </p:cNvPr>
                <p:cNvSpPr>
                  <a:spLocks/>
                </p:cNvSpPr>
                <p:nvPr/>
              </p:nvSpPr>
              <p:spPr bwMode="auto">
                <a:xfrm>
                  <a:off x="6840537" y="2690415"/>
                  <a:ext cx="51028" cy="40823"/>
                </a:xfrm>
                <a:custGeom>
                  <a:avLst/>
                  <a:gdLst>
                    <a:gd name="T0" fmla="*/ 12 w 35"/>
                    <a:gd name="T1" fmla="*/ 27 h 28"/>
                    <a:gd name="T2" fmla="*/ 10 w 35"/>
                    <a:gd name="T3" fmla="*/ 21 h 28"/>
                    <a:gd name="T4" fmla="*/ 5 w 35"/>
                    <a:gd name="T5" fmla="*/ 16 h 28"/>
                    <a:gd name="T6" fmla="*/ 0 w 35"/>
                    <a:gd name="T7" fmla="*/ 12 h 28"/>
                    <a:gd name="T8" fmla="*/ 4 w 35"/>
                    <a:gd name="T9" fmla="*/ 12 h 28"/>
                    <a:gd name="T10" fmla="*/ 4 w 35"/>
                    <a:gd name="T11" fmla="*/ 10 h 28"/>
                    <a:gd name="T12" fmla="*/ 6 w 35"/>
                    <a:gd name="T13" fmla="*/ 10 h 28"/>
                    <a:gd name="T14" fmla="*/ 8 w 35"/>
                    <a:gd name="T15" fmla="*/ 9 h 28"/>
                    <a:gd name="T16" fmla="*/ 9 w 35"/>
                    <a:gd name="T17" fmla="*/ 9 h 28"/>
                    <a:gd name="T18" fmla="*/ 11 w 35"/>
                    <a:gd name="T19" fmla="*/ 8 h 28"/>
                    <a:gd name="T20" fmla="*/ 12 w 35"/>
                    <a:gd name="T21" fmla="*/ 8 h 28"/>
                    <a:gd name="T22" fmla="*/ 11 w 35"/>
                    <a:gd name="T23" fmla="*/ 7 h 28"/>
                    <a:gd name="T24" fmla="*/ 12 w 35"/>
                    <a:gd name="T25" fmla="*/ 5 h 28"/>
                    <a:gd name="T26" fmla="*/ 13 w 35"/>
                    <a:gd name="T27" fmla="*/ 4 h 28"/>
                    <a:gd name="T28" fmla="*/ 15 w 35"/>
                    <a:gd name="T29" fmla="*/ 4 h 28"/>
                    <a:gd name="T30" fmla="*/ 15 w 35"/>
                    <a:gd name="T31" fmla="*/ 4 h 28"/>
                    <a:gd name="T32" fmla="*/ 15 w 35"/>
                    <a:gd name="T33" fmla="*/ 3 h 28"/>
                    <a:gd name="T34" fmla="*/ 15 w 35"/>
                    <a:gd name="T35" fmla="*/ 2 h 28"/>
                    <a:gd name="T36" fmla="*/ 13 w 35"/>
                    <a:gd name="T37" fmla="*/ 2 h 28"/>
                    <a:gd name="T38" fmla="*/ 15 w 35"/>
                    <a:gd name="T39" fmla="*/ 1 h 28"/>
                    <a:gd name="T40" fmla="*/ 16 w 35"/>
                    <a:gd name="T41" fmla="*/ 1 h 28"/>
                    <a:gd name="T42" fmla="*/ 17 w 35"/>
                    <a:gd name="T43" fmla="*/ 0 h 28"/>
                    <a:gd name="T44" fmla="*/ 18 w 35"/>
                    <a:gd name="T45" fmla="*/ 0 h 28"/>
                    <a:gd name="T46" fmla="*/ 19 w 35"/>
                    <a:gd name="T47" fmla="*/ 0 h 28"/>
                    <a:gd name="T48" fmla="*/ 19 w 35"/>
                    <a:gd name="T49" fmla="*/ 1 h 28"/>
                    <a:gd name="T50" fmla="*/ 18 w 35"/>
                    <a:gd name="T51" fmla="*/ 2 h 28"/>
                    <a:gd name="T52" fmla="*/ 19 w 35"/>
                    <a:gd name="T53" fmla="*/ 2 h 28"/>
                    <a:gd name="T54" fmla="*/ 20 w 35"/>
                    <a:gd name="T55" fmla="*/ 2 h 28"/>
                    <a:gd name="T56" fmla="*/ 22 w 35"/>
                    <a:gd name="T57" fmla="*/ 2 h 28"/>
                    <a:gd name="T58" fmla="*/ 23 w 35"/>
                    <a:gd name="T59" fmla="*/ 3 h 28"/>
                    <a:gd name="T60" fmla="*/ 24 w 35"/>
                    <a:gd name="T61" fmla="*/ 3 h 28"/>
                    <a:gd name="T62" fmla="*/ 24 w 35"/>
                    <a:gd name="T63" fmla="*/ 5 h 28"/>
                    <a:gd name="T64" fmla="*/ 24 w 35"/>
                    <a:gd name="T65" fmla="*/ 5 h 28"/>
                    <a:gd name="T66" fmla="*/ 26 w 35"/>
                    <a:gd name="T67" fmla="*/ 5 h 28"/>
                    <a:gd name="T68" fmla="*/ 26 w 35"/>
                    <a:gd name="T69" fmla="*/ 7 h 28"/>
                    <a:gd name="T70" fmla="*/ 26 w 35"/>
                    <a:gd name="T71" fmla="*/ 7 h 28"/>
                    <a:gd name="T72" fmla="*/ 29 w 35"/>
                    <a:gd name="T73" fmla="*/ 7 h 28"/>
                    <a:gd name="T74" fmla="*/ 29 w 35"/>
                    <a:gd name="T75" fmla="*/ 8 h 28"/>
                    <a:gd name="T76" fmla="*/ 29 w 35"/>
                    <a:gd name="T77" fmla="*/ 9 h 28"/>
                    <a:gd name="T78" fmla="*/ 30 w 35"/>
                    <a:gd name="T79" fmla="*/ 10 h 28"/>
                    <a:gd name="T80" fmla="*/ 31 w 35"/>
                    <a:gd name="T81" fmla="*/ 10 h 28"/>
                    <a:gd name="T82" fmla="*/ 32 w 35"/>
                    <a:gd name="T83" fmla="*/ 10 h 28"/>
                    <a:gd name="T84" fmla="*/ 33 w 35"/>
                    <a:gd name="T85" fmla="*/ 11 h 28"/>
                    <a:gd name="T86" fmla="*/ 35 w 35"/>
                    <a:gd name="T87" fmla="*/ 11 h 28"/>
                    <a:gd name="T88" fmla="*/ 33 w 35"/>
                    <a:gd name="T89" fmla="*/ 12 h 28"/>
                    <a:gd name="T90" fmla="*/ 33 w 35"/>
                    <a:gd name="T91" fmla="*/ 14 h 28"/>
                    <a:gd name="T92" fmla="*/ 33 w 35"/>
                    <a:gd name="T93" fmla="*/ 16 h 28"/>
                    <a:gd name="T94" fmla="*/ 32 w 35"/>
                    <a:gd name="T95" fmla="*/ 20 h 28"/>
                    <a:gd name="T96" fmla="*/ 31 w 35"/>
                    <a:gd name="T97" fmla="*/ 21 h 28"/>
                    <a:gd name="T98" fmla="*/ 26 w 35"/>
                    <a:gd name="T99" fmla="*/ 21 h 28"/>
                    <a:gd name="T100" fmla="*/ 26 w 35"/>
                    <a:gd name="T101" fmla="*/ 22 h 28"/>
                    <a:gd name="T102" fmla="*/ 24 w 35"/>
                    <a:gd name="T103" fmla="*/ 24 h 28"/>
                    <a:gd name="T104" fmla="*/ 23 w 35"/>
                    <a:gd name="T105" fmla="*/ 27 h 28"/>
                    <a:gd name="T106" fmla="*/ 20 w 35"/>
                    <a:gd name="T107" fmla="*/ 24 h 28"/>
                    <a:gd name="T108" fmla="*/ 17 w 35"/>
                    <a:gd name="T109" fmla="*/ 24 h 28"/>
                    <a:gd name="T110" fmla="*/ 16 w 35"/>
                    <a:gd name="T111" fmla="*/ 27 h 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5" h="28">
                      <a:moveTo>
                        <a:pt x="16" y="27"/>
                      </a:moveTo>
                      <a:lnTo>
                        <a:pt x="15" y="28"/>
                      </a:lnTo>
                      <a:lnTo>
                        <a:pt x="15" y="28"/>
                      </a:lnTo>
                      <a:lnTo>
                        <a:pt x="13" y="28"/>
                      </a:lnTo>
                      <a:lnTo>
                        <a:pt x="13" y="28"/>
                      </a:lnTo>
                      <a:lnTo>
                        <a:pt x="12" y="27"/>
                      </a:lnTo>
                      <a:lnTo>
                        <a:pt x="13" y="27"/>
                      </a:lnTo>
                      <a:lnTo>
                        <a:pt x="12" y="25"/>
                      </a:lnTo>
                      <a:lnTo>
                        <a:pt x="12" y="24"/>
                      </a:lnTo>
                      <a:lnTo>
                        <a:pt x="11" y="23"/>
                      </a:lnTo>
                      <a:lnTo>
                        <a:pt x="11" y="22"/>
                      </a:lnTo>
                      <a:lnTo>
                        <a:pt x="10" y="21"/>
                      </a:lnTo>
                      <a:lnTo>
                        <a:pt x="9" y="21"/>
                      </a:lnTo>
                      <a:lnTo>
                        <a:pt x="6" y="21"/>
                      </a:lnTo>
                      <a:lnTo>
                        <a:pt x="6" y="20"/>
                      </a:lnTo>
                      <a:lnTo>
                        <a:pt x="5" y="18"/>
                      </a:lnTo>
                      <a:lnTo>
                        <a:pt x="5" y="17"/>
                      </a:lnTo>
                      <a:lnTo>
                        <a:pt x="5" y="16"/>
                      </a:lnTo>
                      <a:lnTo>
                        <a:pt x="3" y="15"/>
                      </a:lnTo>
                      <a:lnTo>
                        <a:pt x="3" y="15"/>
                      </a:lnTo>
                      <a:lnTo>
                        <a:pt x="2" y="15"/>
                      </a:lnTo>
                      <a:lnTo>
                        <a:pt x="2" y="14"/>
                      </a:lnTo>
                      <a:lnTo>
                        <a:pt x="0" y="14"/>
                      </a:lnTo>
                      <a:lnTo>
                        <a:pt x="0" y="12"/>
                      </a:lnTo>
                      <a:lnTo>
                        <a:pt x="0" y="12"/>
                      </a:lnTo>
                      <a:lnTo>
                        <a:pt x="2" y="11"/>
                      </a:lnTo>
                      <a:lnTo>
                        <a:pt x="2" y="12"/>
                      </a:lnTo>
                      <a:lnTo>
                        <a:pt x="3" y="12"/>
                      </a:lnTo>
                      <a:lnTo>
                        <a:pt x="3" y="12"/>
                      </a:lnTo>
                      <a:lnTo>
                        <a:pt x="4" y="12"/>
                      </a:lnTo>
                      <a:lnTo>
                        <a:pt x="4" y="12"/>
                      </a:lnTo>
                      <a:lnTo>
                        <a:pt x="4" y="11"/>
                      </a:lnTo>
                      <a:lnTo>
                        <a:pt x="4" y="11"/>
                      </a:lnTo>
                      <a:lnTo>
                        <a:pt x="4" y="10"/>
                      </a:lnTo>
                      <a:lnTo>
                        <a:pt x="4" y="10"/>
                      </a:lnTo>
                      <a:lnTo>
                        <a:pt x="4" y="10"/>
                      </a:lnTo>
                      <a:lnTo>
                        <a:pt x="5" y="10"/>
                      </a:lnTo>
                      <a:lnTo>
                        <a:pt x="5" y="10"/>
                      </a:lnTo>
                      <a:lnTo>
                        <a:pt x="5" y="10"/>
                      </a:lnTo>
                      <a:lnTo>
                        <a:pt x="6" y="10"/>
                      </a:lnTo>
                      <a:lnTo>
                        <a:pt x="6" y="10"/>
                      </a:lnTo>
                      <a:lnTo>
                        <a:pt x="6" y="10"/>
                      </a:lnTo>
                      <a:lnTo>
                        <a:pt x="8" y="10"/>
                      </a:lnTo>
                      <a:lnTo>
                        <a:pt x="8" y="10"/>
                      </a:lnTo>
                      <a:lnTo>
                        <a:pt x="8" y="10"/>
                      </a:lnTo>
                      <a:lnTo>
                        <a:pt x="8" y="10"/>
                      </a:lnTo>
                      <a:lnTo>
                        <a:pt x="8" y="10"/>
                      </a:lnTo>
                      <a:lnTo>
                        <a:pt x="8" y="9"/>
                      </a:lnTo>
                      <a:lnTo>
                        <a:pt x="8" y="9"/>
                      </a:lnTo>
                      <a:lnTo>
                        <a:pt x="8" y="9"/>
                      </a:lnTo>
                      <a:lnTo>
                        <a:pt x="9" y="9"/>
                      </a:lnTo>
                      <a:lnTo>
                        <a:pt x="9" y="9"/>
                      </a:lnTo>
                      <a:lnTo>
                        <a:pt x="9" y="9"/>
                      </a:lnTo>
                      <a:lnTo>
                        <a:pt x="9" y="9"/>
                      </a:lnTo>
                      <a:lnTo>
                        <a:pt x="10" y="8"/>
                      </a:lnTo>
                      <a:lnTo>
                        <a:pt x="10" y="8"/>
                      </a:lnTo>
                      <a:lnTo>
                        <a:pt x="10" y="8"/>
                      </a:lnTo>
                      <a:lnTo>
                        <a:pt x="10" y="8"/>
                      </a:lnTo>
                      <a:lnTo>
                        <a:pt x="11" y="8"/>
                      </a:lnTo>
                      <a:lnTo>
                        <a:pt x="11" y="8"/>
                      </a:lnTo>
                      <a:lnTo>
                        <a:pt x="11" y="8"/>
                      </a:lnTo>
                      <a:lnTo>
                        <a:pt x="11" y="8"/>
                      </a:lnTo>
                      <a:lnTo>
                        <a:pt x="11" y="8"/>
                      </a:lnTo>
                      <a:lnTo>
                        <a:pt x="12" y="8"/>
                      </a:lnTo>
                      <a:lnTo>
                        <a:pt x="12" y="8"/>
                      </a:lnTo>
                      <a:lnTo>
                        <a:pt x="12" y="8"/>
                      </a:lnTo>
                      <a:lnTo>
                        <a:pt x="12" y="8"/>
                      </a:lnTo>
                      <a:lnTo>
                        <a:pt x="12" y="8"/>
                      </a:lnTo>
                      <a:lnTo>
                        <a:pt x="12" y="8"/>
                      </a:lnTo>
                      <a:lnTo>
                        <a:pt x="11" y="7"/>
                      </a:lnTo>
                      <a:lnTo>
                        <a:pt x="11" y="7"/>
                      </a:lnTo>
                      <a:lnTo>
                        <a:pt x="11" y="7"/>
                      </a:lnTo>
                      <a:lnTo>
                        <a:pt x="11" y="7"/>
                      </a:lnTo>
                      <a:lnTo>
                        <a:pt x="12" y="5"/>
                      </a:lnTo>
                      <a:lnTo>
                        <a:pt x="12" y="5"/>
                      </a:lnTo>
                      <a:lnTo>
                        <a:pt x="12" y="5"/>
                      </a:lnTo>
                      <a:lnTo>
                        <a:pt x="12" y="5"/>
                      </a:lnTo>
                      <a:lnTo>
                        <a:pt x="12" y="5"/>
                      </a:lnTo>
                      <a:lnTo>
                        <a:pt x="12" y="5"/>
                      </a:lnTo>
                      <a:lnTo>
                        <a:pt x="13" y="5"/>
                      </a:lnTo>
                      <a:lnTo>
                        <a:pt x="13" y="5"/>
                      </a:lnTo>
                      <a:lnTo>
                        <a:pt x="13" y="4"/>
                      </a:lnTo>
                      <a:lnTo>
                        <a:pt x="13" y="4"/>
                      </a:lnTo>
                      <a:lnTo>
                        <a:pt x="13" y="4"/>
                      </a:lnTo>
                      <a:lnTo>
                        <a:pt x="13" y="4"/>
                      </a:lnTo>
                      <a:lnTo>
                        <a:pt x="13" y="5"/>
                      </a:lnTo>
                      <a:lnTo>
                        <a:pt x="15" y="5"/>
                      </a:lnTo>
                      <a:lnTo>
                        <a:pt x="15" y="5"/>
                      </a:lnTo>
                      <a:lnTo>
                        <a:pt x="15" y="4"/>
                      </a:lnTo>
                      <a:lnTo>
                        <a:pt x="15" y="4"/>
                      </a:lnTo>
                      <a:lnTo>
                        <a:pt x="15" y="5"/>
                      </a:lnTo>
                      <a:lnTo>
                        <a:pt x="15" y="4"/>
                      </a:lnTo>
                      <a:lnTo>
                        <a:pt x="15" y="4"/>
                      </a:lnTo>
                      <a:lnTo>
                        <a:pt x="15" y="4"/>
                      </a:lnTo>
                      <a:lnTo>
                        <a:pt x="15" y="4"/>
                      </a:lnTo>
                      <a:lnTo>
                        <a:pt x="15" y="4"/>
                      </a:lnTo>
                      <a:lnTo>
                        <a:pt x="15" y="3"/>
                      </a:lnTo>
                      <a:lnTo>
                        <a:pt x="15" y="3"/>
                      </a:lnTo>
                      <a:lnTo>
                        <a:pt x="15" y="3"/>
                      </a:lnTo>
                      <a:lnTo>
                        <a:pt x="15" y="3"/>
                      </a:lnTo>
                      <a:lnTo>
                        <a:pt x="15" y="3"/>
                      </a:lnTo>
                      <a:lnTo>
                        <a:pt x="15" y="3"/>
                      </a:lnTo>
                      <a:lnTo>
                        <a:pt x="15" y="3"/>
                      </a:lnTo>
                      <a:lnTo>
                        <a:pt x="15" y="3"/>
                      </a:lnTo>
                      <a:lnTo>
                        <a:pt x="15" y="2"/>
                      </a:lnTo>
                      <a:lnTo>
                        <a:pt x="15" y="2"/>
                      </a:lnTo>
                      <a:lnTo>
                        <a:pt x="15" y="2"/>
                      </a:lnTo>
                      <a:lnTo>
                        <a:pt x="15" y="2"/>
                      </a:lnTo>
                      <a:lnTo>
                        <a:pt x="15" y="2"/>
                      </a:lnTo>
                      <a:lnTo>
                        <a:pt x="13" y="2"/>
                      </a:lnTo>
                      <a:lnTo>
                        <a:pt x="13" y="2"/>
                      </a:lnTo>
                      <a:lnTo>
                        <a:pt x="13" y="2"/>
                      </a:lnTo>
                      <a:lnTo>
                        <a:pt x="13" y="2"/>
                      </a:lnTo>
                      <a:lnTo>
                        <a:pt x="13" y="2"/>
                      </a:lnTo>
                      <a:lnTo>
                        <a:pt x="13" y="1"/>
                      </a:lnTo>
                      <a:lnTo>
                        <a:pt x="13" y="1"/>
                      </a:lnTo>
                      <a:lnTo>
                        <a:pt x="13" y="1"/>
                      </a:lnTo>
                      <a:lnTo>
                        <a:pt x="15" y="1"/>
                      </a:lnTo>
                      <a:lnTo>
                        <a:pt x="15" y="1"/>
                      </a:lnTo>
                      <a:lnTo>
                        <a:pt x="15" y="1"/>
                      </a:lnTo>
                      <a:lnTo>
                        <a:pt x="15" y="1"/>
                      </a:lnTo>
                      <a:lnTo>
                        <a:pt x="15" y="1"/>
                      </a:lnTo>
                      <a:lnTo>
                        <a:pt x="16" y="1"/>
                      </a:lnTo>
                      <a:lnTo>
                        <a:pt x="16" y="1"/>
                      </a:lnTo>
                      <a:lnTo>
                        <a:pt x="16" y="1"/>
                      </a:lnTo>
                      <a:lnTo>
                        <a:pt x="16" y="1"/>
                      </a:lnTo>
                      <a:lnTo>
                        <a:pt x="16" y="1"/>
                      </a:lnTo>
                      <a:lnTo>
                        <a:pt x="16" y="1"/>
                      </a:lnTo>
                      <a:lnTo>
                        <a:pt x="16" y="0"/>
                      </a:lnTo>
                      <a:lnTo>
                        <a:pt x="16" y="0"/>
                      </a:lnTo>
                      <a:lnTo>
                        <a:pt x="16" y="0"/>
                      </a:lnTo>
                      <a:lnTo>
                        <a:pt x="17" y="0"/>
                      </a:lnTo>
                      <a:lnTo>
                        <a:pt x="17" y="0"/>
                      </a:lnTo>
                      <a:lnTo>
                        <a:pt x="17" y="0"/>
                      </a:lnTo>
                      <a:lnTo>
                        <a:pt x="17" y="0"/>
                      </a:lnTo>
                      <a:lnTo>
                        <a:pt x="17" y="0"/>
                      </a:lnTo>
                      <a:lnTo>
                        <a:pt x="18" y="0"/>
                      </a:lnTo>
                      <a:lnTo>
                        <a:pt x="18" y="0"/>
                      </a:lnTo>
                      <a:lnTo>
                        <a:pt x="18" y="0"/>
                      </a:lnTo>
                      <a:lnTo>
                        <a:pt x="18" y="0"/>
                      </a:lnTo>
                      <a:lnTo>
                        <a:pt x="18" y="0"/>
                      </a:lnTo>
                      <a:lnTo>
                        <a:pt x="18" y="0"/>
                      </a:lnTo>
                      <a:lnTo>
                        <a:pt x="18" y="0"/>
                      </a:lnTo>
                      <a:lnTo>
                        <a:pt x="19" y="0"/>
                      </a:lnTo>
                      <a:lnTo>
                        <a:pt x="19" y="0"/>
                      </a:lnTo>
                      <a:lnTo>
                        <a:pt x="19" y="1"/>
                      </a:lnTo>
                      <a:lnTo>
                        <a:pt x="19" y="1"/>
                      </a:lnTo>
                      <a:lnTo>
                        <a:pt x="19" y="1"/>
                      </a:lnTo>
                      <a:lnTo>
                        <a:pt x="19" y="1"/>
                      </a:lnTo>
                      <a:lnTo>
                        <a:pt x="19" y="1"/>
                      </a:lnTo>
                      <a:lnTo>
                        <a:pt x="19" y="1"/>
                      </a:lnTo>
                      <a:lnTo>
                        <a:pt x="18" y="2"/>
                      </a:lnTo>
                      <a:lnTo>
                        <a:pt x="18" y="2"/>
                      </a:lnTo>
                      <a:lnTo>
                        <a:pt x="18" y="2"/>
                      </a:lnTo>
                      <a:lnTo>
                        <a:pt x="18" y="2"/>
                      </a:lnTo>
                      <a:lnTo>
                        <a:pt x="18" y="2"/>
                      </a:lnTo>
                      <a:lnTo>
                        <a:pt x="18" y="2"/>
                      </a:lnTo>
                      <a:lnTo>
                        <a:pt x="18" y="2"/>
                      </a:lnTo>
                      <a:lnTo>
                        <a:pt x="18" y="2"/>
                      </a:lnTo>
                      <a:lnTo>
                        <a:pt x="18" y="2"/>
                      </a:lnTo>
                      <a:lnTo>
                        <a:pt x="18" y="2"/>
                      </a:lnTo>
                      <a:lnTo>
                        <a:pt x="19" y="2"/>
                      </a:lnTo>
                      <a:lnTo>
                        <a:pt x="19" y="2"/>
                      </a:lnTo>
                      <a:lnTo>
                        <a:pt x="20" y="2"/>
                      </a:lnTo>
                      <a:lnTo>
                        <a:pt x="20" y="2"/>
                      </a:lnTo>
                      <a:lnTo>
                        <a:pt x="20" y="2"/>
                      </a:lnTo>
                      <a:lnTo>
                        <a:pt x="20" y="2"/>
                      </a:lnTo>
                      <a:lnTo>
                        <a:pt x="20" y="2"/>
                      </a:lnTo>
                      <a:lnTo>
                        <a:pt x="20" y="2"/>
                      </a:lnTo>
                      <a:lnTo>
                        <a:pt x="22" y="2"/>
                      </a:lnTo>
                      <a:lnTo>
                        <a:pt x="22" y="2"/>
                      </a:lnTo>
                      <a:lnTo>
                        <a:pt x="22" y="2"/>
                      </a:lnTo>
                      <a:lnTo>
                        <a:pt x="22" y="2"/>
                      </a:lnTo>
                      <a:lnTo>
                        <a:pt x="22" y="2"/>
                      </a:lnTo>
                      <a:lnTo>
                        <a:pt x="23" y="2"/>
                      </a:lnTo>
                      <a:lnTo>
                        <a:pt x="23" y="2"/>
                      </a:lnTo>
                      <a:lnTo>
                        <a:pt x="23" y="2"/>
                      </a:lnTo>
                      <a:lnTo>
                        <a:pt x="23" y="3"/>
                      </a:lnTo>
                      <a:lnTo>
                        <a:pt x="23" y="3"/>
                      </a:lnTo>
                      <a:lnTo>
                        <a:pt x="23" y="3"/>
                      </a:lnTo>
                      <a:lnTo>
                        <a:pt x="23" y="3"/>
                      </a:lnTo>
                      <a:lnTo>
                        <a:pt x="23" y="3"/>
                      </a:lnTo>
                      <a:lnTo>
                        <a:pt x="23" y="3"/>
                      </a:lnTo>
                      <a:lnTo>
                        <a:pt x="24" y="3"/>
                      </a:lnTo>
                      <a:lnTo>
                        <a:pt x="24" y="3"/>
                      </a:lnTo>
                      <a:lnTo>
                        <a:pt x="24" y="3"/>
                      </a:lnTo>
                      <a:lnTo>
                        <a:pt x="24" y="3"/>
                      </a:lnTo>
                      <a:lnTo>
                        <a:pt x="24" y="4"/>
                      </a:lnTo>
                      <a:lnTo>
                        <a:pt x="24" y="4"/>
                      </a:lnTo>
                      <a:lnTo>
                        <a:pt x="24" y="4"/>
                      </a:lnTo>
                      <a:lnTo>
                        <a:pt x="24" y="5"/>
                      </a:lnTo>
                      <a:lnTo>
                        <a:pt x="24" y="5"/>
                      </a:lnTo>
                      <a:lnTo>
                        <a:pt x="24" y="5"/>
                      </a:lnTo>
                      <a:lnTo>
                        <a:pt x="24" y="5"/>
                      </a:lnTo>
                      <a:lnTo>
                        <a:pt x="24" y="5"/>
                      </a:lnTo>
                      <a:lnTo>
                        <a:pt x="24" y="5"/>
                      </a:lnTo>
                      <a:lnTo>
                        <a:pt x="24" y="5"/>
                      </a:lnTo>
                      <a:lnTo>
                        <a:pt x="24" y="5"/>
                      </a:lnTo>
                      <a:lnTo>
                        <a:pt x="25" y="5"/>
                      </a:lnTo>
                      <a:lnTo>
                        <a:pt x="25" y="4"/>
                      </a:lnTo>
                      <a:lnTo>
                        <a:pt x="25" y="4"/>
                      </a:lnTo>
                      <a:lnTo>
                        <a:pt x="25" y="4"/>
                      </a:lnTo>
                      <a:lnTo>
                        <a:pt x="25" y="4"/>
                      </a:lnTo>
                      <a:lnTo>
                        <a:pt x="26" y="5"/>
                      </a:lnTo>
                      <a:lnTo>
                        <a:pt x="26" y="5"/>
                      </a:lnTo>
                      <a:lnTo>
                        <a:pt x="26" y="5"/>
                      </a:lnTo>
                      <a:lnTo>
                        <a:pt x="26" y="5"/>
                      </a:lnTo>
                      <a:lnTo>
                        <a:pt x="26" y="7"/>
                      </a:lnTo>
                      <a:lnTo>
                        <a:pt x="26" y="7"/>
                      </a:lnTo>
                      <a:lnTo>
                        <a:pt x="26" y="7"/>
                      </a:lnTo>
                      <a:lnTo>
                        <a:pt x="26" y="7"/>
                      </a:lnTo>
                      <a:lnTo>
                        <a:pt x="26" y="7"/>
                      </a:lnTo>
                      <a:lnTo>
                        <a:pt x="26" y="7"/>
                      </a:lnTo>
                      <a:lnTo>
                        <a:pt x="26" y="7"/>
                      </a:lnTo>
                      <a:lnTo>
                        <a:pt x="26" y="7"/>
                      </a:lnTo>
                      <a:lnTo>
                        <a:pt x="26" y="7"/>
                      </a:lnTo>
                      <a:lnTo>
                        <a:pt x="28" y="7"/>
                      </a:lnTo>
                      <a:lnTo>
                        <a:pt x="28" y="7"/>
                      </a:lnTo>
                      <a:lnTo>
                        <a:pt x="28" y="7"/>
                      </a:lnTo>
                      <a:lnTo>
                        <a:pt x="28" y="7"/>
                      </a:lnTo>
                      <a:lnTo>
                        <a:pt x="28" y="7"/>
                      </a:lnTo>
                      <a:lnTo>
                        <a:pt x="29" y="7"/>
                      </a:lnTo>
                      <a:lnTo>
                        <a:pt x="29" y="7"/>
                      </a:lnTo>
                      <a:lnTo>
                        <a:pt x="29" y="8"/>
                      </a:lnTo>
                      <a:lnTo>
                        <a:pt x="29" y="8"/>
                      </a:lnTo>
                      <a:lnTo>
                        <a:pt x="29" y="8"/>
                      </a:lnTo>
                      <a:lnTo>
                        <a:pt x="29" y="8"/>
                      </a:lnTo>
                      <a:lnTo>
                        <a:pt x="29" y="8"/>
                      </a:lnTo>
                      <a:lnTo>
                        <a:pt x="30" y="8"/>
                      </a:lnTo>
                      <a:lnTo>
                        <a:pt x="30" y="9"/>
                      </a:lnTo>
                      <a:lnTo>
                        <a:pt x="30" y="9"/>
                      </a:lnTo>
                      <a:lnTo>
                        <a:pt x="29" y="9"/>
                      </a:lnTo>
                      <a:lnTo>
                        <a:pt x="29" y="9"/>
                      </a:lnTo>
                      <a:lnTo>
                        <a:pt x="29" y="9"/>
                      </a:lnTo>
                      <a:lnTo>
                        <a:pt x="29" y="10"/>
                      </a:lnTo>
                      <a:lnTo>
                        <a:pt x="29" y="10"/>
                      </a:lnTo>
                      <a:lnTo>
                        <a:pt x="29" y="10"/>
                      </a:lnTo>
                      <a:lnTo>
                        <a:pt x="29" y="10"/>
                      </a:lnTo>
                      <a:lnTo>
                        <a:pt x="29" y="10"/>
                      </a:lnTo>
                      <a:lnTo>
                        <a:pt x="30" y="10"/>
                      </a:lnTo>
                      <a:lnTo>
                        <a:pt x="30" y="10"/>
                      </a:lnTo>
                      <a:lnTo>
                        <a:pt x="30" y="10"/>
                      </a:lnTo>
                      <a:lnTo>
                        <a:pt x="30" y="10"/>
                      </a:lnTo>
                      <a:lnTo>
                        <a:pt x="30" y="10"/>
                      </a:lnTo>
                      <a:lnTo>
                        <a:pt x="31" y="10"/>
                      </a:lnTo>
                      <a:lnTo>
                        <a:pt x="31" y="10"/>
                      </a:lnTo>
                      <a:lnTo>
                        <a:pt x="31" y="10"/>
                      </a:lnTo>
                      <a:lnTo>
                        <a:pt x="31" y="10"/>
                      </a:lnTo>
                      <a:lnTo>
                        <a:pt x="31" y="10"/>
                      </a:lnTo>
                      <a:lnTo>
                        <a:pt x="32" y="10"/>
                      </a:lnTo>
                      <a:lnTo>
                        <a:pt x="32" y="10"/>
                      </a:lnTo>
                      <a:lnTo>
                        <a:pt x="32" y="10"/>
                      </a:lnTo>
                      <a:lnTo>
                        <a:pt x="32" y="10"/>
                      </a:lnTo>
                      <a:lnTo>
                        <a:pt x="32" y="10"/>
                      </a:lnTo>
                      <a:lnTo>
                        <a:pt x="32" y="10"/>
                      </a:lnTo>
                      <a:lnTo>
                        <a:pt x="33" y="10"/>
                      </a:lnTo>
                      <a:lnTo>
                        <a:pt x="33" y="11"/>
                      </a:lnTo>
                      <a:lnTo>
                        <a:pt x="33" y="11"/>
                      </a:lnTo>
                      <a:lnTo>
                        <a:pt x="33" y="11"/>
                      </a:lnTo>
                      <a:lnTo>
                        <a:pt x="33" y="11"/>
                      </a:lnTo>
                      <a:lnTo>
                        <a:pt x="33" y="11"/>
                      </a:lnTo>
                      <a:lnTo>
                        <a:pt x="33" y="11"/>
                      </a:lnTo>
                      <a:lnTo>
                        <a:pt x="35" y="11"/>
                      </a:lnTo>
                      <a:lnTo>
                        <a:pt x="35" y="11"/>
                      </a:lnTo>
                      <a:lnTo>
                        <a:pt x="35" y="11"/>
                      </a:lnTo>
                      <a:lnTo>
                        <a:pt x="35" y="11"/>
                      </a:lnTo>
                      <a:lnTo>
                        <a:pt x="35" y="12"/>
                      </a:lnTo>
                      <a:lnTo>
                        <a:pt x="35" y="12"/>
                      </a:lnTo>
                      <a:lnTo>
                        <a:pt x="33" y="12"/>
                      </a:lnTo>
                      <a:lnTo>
                        <a:pt x="33" y="12"/>
                      </a:lnTo>
                      <a:lnTo>
                        <a:pt x="33" y="12"/>
                      </a:lnTo>
                      <a:lnTo>
                        <a:pt x="33" y="12"/>
                      </a:lnTo>
                      <a:lnTo>
                        <a:pt x="33" y="12"/>
                      </a:lnTo>
                      <a:lnTo>
                        <a:pt x="33" y="12"/>
                      </a:lnTo>
                      <a:lnTo>
                        <a:pt x="33" y="14"/>
                      </a:lnTo>
                      <a:lnTo>
                        <a:pt x="33" y="14"/>
                      </a:lnTo>
                      <a:lnTo>
                        <a:pt x="32" y="14"/>
                      </a:lnTo>
                      <a:lnTo>
                        <a:pt x="32" y="15"/>
                      </a:lnTo>
                      <a:lnTo>
                        <a:pt x="32" y="15"/>
                      </a:lnTo>
                      <a:lnTo>
                        <a:pt x="32" y="16"/>
                      </a:lnTo>
                      <a:lnTo>
                        <a:pt x="32" y="16"/>
                      </a:lnTo>
                      <a:lnTo>
                        <a:pt x="33" y="16"/>
                      </a:lnTo>
                      <a:lnTo>
                        <a:pt x="32" y="16"/>
                      </a:lnTo>
                      <a:lnTo>
                        <a:pt x="32" y="17"/>
                      </a:lnTo>
                      <a:lnTo>
                        <a:pt x="32" y="17"/>
                      </a:lnTo>
                      <a:lnTo>
                        <a:pt x="32" y="18"/>
                      </a:lnTo>
                      <a:lnTo>
                        <a:pt x="32" y="20"/>
                      </a:lnTo>
                      <a:lnTo>
                        <a:pt x="32" y="20"/>
                      </a:lnTo>
                      <a:lnTo>
                        <a:pt x="32" y="20"/>
                      </a:lnTo>
                      <a:lnTo>
                        <a:pt x="32" y="20"/>
                      </a:lnTo>
                      <a:lnTo>
                        <a:pt x="32" y="20"/>
                      </a:lnTo>
                      <a:lnTo>
                        <a:pt x="32" y="20"/>
                      </a:lnTo>
                      <a:lnTo>
                        <a:pt x="31" y="20"/>
                      </a:lnTo>
                      <a:lnTo>
                        <a:pt x="31" y="21"/>
                      </a:lnTo>
                      <a:lnTo>
                        <a:pt x="30" y="22"/>
                      </a:lnTo>
                      <a:lnTo>
                        <a:pt x="29" y="21"/>
                      </a:lnTo>
                      <a:lnTo>
                        <a:pt x="28" y="21"/>
                      </a:lnTo>
                      <a:lnTo>
                        <a:pt x="28" y="21"/>
                      </a:lnTo>
                      <a:lnTo>
                        <a:pt x="28" y="21"/>
                      </a:lnTo>
                      <a:lnTo>
                        <a:pt x="26" y="21"/>
                      </a:lnTo>
                      <a:lnTo>
                        <a:pt x="26" y="21"/>
                      </a:lnTo>
                      <a:lnTo>
                        <a:pt x="28" y="22"/>
                      </a:lnTo>
                      <a:lnTo>
                        <a:pt x="28" y="22"/>
                      </a:lnTo>
                      <a:lnTo>
                        <a:pt x="26" y="23"/>
                      </a:lnTo>
                      <a:lnTo>
                        <a:pt x="26" y="22"/>
                      </a:lnTo>
                      <a:lnTo>
                        <a:pt x="26" y="22"/>
                      </a:lnTo>
                      <a:lnTo>
                        <a:pt x="25" y="22"/>
                      </a:lnTo>
                      <a:lnTo>
                        <a:pt x="25" y="22"/>
                      </a:lnTo>
                      <a:lnTo>
                        <a:pt x="24" y="23"/>
                      </a:lnTo>
                      <a:lnTo>
                        <a:pt x="24" y="23"/>
                      </a:lnTo>
                      <a:lnTo>
                        <a:pt x="24" y="23"/>
                      </a:lnTo>
                      <a:lnTo>
                        <a:pt x="24" y="24"/>
                      </a:lnTo>
                      <a:lnTo>
                        <a:pt x="24" y="24"/>
                      </a:lnTo>
                      <a:lnTo>
                        <a:pt x="23" y="24"/>
                      </a:lnTo>
                      <a:lnTo>
                        <a:pt x="23" y="24"/>
                      </a:lnTo>
                      <a:lnTo>
                        <a:pt x="23" y="25"/>
                      </a:lnTo>
                      <a:lnTo>
                        <a:pt x="23" y="25"/>
                      </a:lnTo>
                      <a:lnTo>
                        <a:pt x="23" y="27"/>
                      </a:lnTo>
                      <a:lnTo>
                        <a:pt x="22" y="25"/>
                      </a:lnTo>
                      <a:lnTo>
                        <a:pt x="22" y="25"/>
                      </a:lnTo>
                      <a:lnTo>
                        <a:pt x="22" y="24"/>
                      </a:lnTo>
                      <a:lnTo>
                        <a:pt x="22" y="24"/>
                      </a:lnTo>
                      <a:lnTo>
                        <a:pt x="22" y="24"/>
                      </a:lnTo>
                      <a:lnTo>
                        <a:pt x="20" y="24"/>
                      </a:lnTo>
                      <a:lnTo>
                        <a:pt x="20" y="23"/>
                      </a:lnTo>
                      <a:lnTo>
                        <a:pt x="20" y="23"/>
                      </a:lnTo>
                      <a:lnTo>
                        <a:pt x="18" y="24"/>
                      </a:lnTo>
                      <a:lnTo>
                        <a:pt x="18" y="24"/>
                      </a:lnTo>
                      <a:lnTo>
                        <a:pt x="17" y="24"/>
                      </a:lnTo>
                      <a:lnTo>
                        <a:pt x="17" y="24"/>
                      </a:lnTo>
                      <a:lnTo>
                        <a:pt x="17" y="24"/>
                      </a:lnTo>
                      <a:lnTo>
                        <a:pt x="16" y="25"/>
                      </a:lnTo>
                      <a:lnTo>
                        <a:pt x="16" y="25"/>
                      </a:lnTo>
                      <a:lnTo>
                        <a:pt x="16" y="27"/>
                      </a:lnTo>
                      <a:lnTo>
                        <a:pt x="16" y="27"/>
                      </a:lnTo>
                      <a:lnTo>
                        <a:pt x="16" y="27"/>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94" name="Kenya">
                  <a:extLst>
                    <a:ext uri="{FF2B5EF4-FFF2-40B4-BE49-F238E27FC236}">
                      <a16:creationId xmlns:a16="http://schemas.microsoft.com/office/drawing/2014/main" id="{9DF981D8-4DAF-8D40-87FA-5B0AC0AF32F8}"/>
                    </a:ext>
                  </a:extLst>
                </p:cNvPr>
                <p:cNvSpPr>
                  <a:spLocks/>
                </p:cNvSpPr>
                <p:nvPr/>
              </p:nvSpPr>
              <p:spPr bwMode="auto">
                <a:xfrm>
                  <a:off x="7258969" y="3849484"/>
                  <a:ext cx="211403" cy="277010"/>
                </a:xfrm>
                <a:custGeom>
                  <a:avLst/>
                  <a:gdLst>
                    <a:gd name="T0" fmla="*/ 98 w 145"/>
                    <a:gd name="T1" fmla="*/ 189 h 190"/>
                    <a:gd name="T2" fmla="*/ 99 w 145"/>
                    <a:gd name="T3" fmla="*/ 188 h 190"/>
                    <a:gd name="T4" fmla="*/ 100 w 145"/>
                    <a:gd name="T5" fmla="*/ 188 h 190"/>
                    <a:gd name="T6" fmla="*/ 102 w 145"/>
                    <a:gd name="T7" fmla="*/ 185 h 190"/>
                    <a:gd name="T8" fmla="*/ 103 w 145"/>
                    <a:gd name="T9" fmla="*/ 184 h 190"/>
                    <a:gd name="T10" fmla="*/ 102 w 145"/>
                    <a:gd name="T11" fmla="*/ 177 h 190"/>
                    <a:gd name="T12" fmla="*/ 104 w 145"/>
                    <a:gd name="T13" fmla="*/ 176 h 190"/>
                    <a:gd name="T14" fmla="*/ 105 w 145"/>
                    <a:gd name="T15" fmla="*/ 177 h 190"/>
                    <a:gd name="T16" fmla="*/ 105 w 145"/>
                    <a:gd name="T17" fmla="*/ 176 h 190"/>
                    <a:gd name="T18" fmla="*/ 106 w 145"/>
                    <a:gd name="T19" fmla="*/ 175 h 190"/>
                    <a:gd name="T20" fmla="*/ 107 w 145"/>
                    <a:gd name="T21" fmla="*/ 172 h 190"/>
                    <a:gd name="T22" fmla="*/ 107 w 145"/>
                    <a:gd name="T23" fmla="*/ 169 h 190"/>
                    <a:gd name="T24" fmla="*/ 106 w 145"/>
                    <a:gd name="T25" fmla="*/ 168 h 190"/>
                    <a:gd name="T26" fmla="*/ 109 w 145"/>
                    <a:gd name="T27" fmla="*/ 169 h 190"/>
                    <a:gd name="T28" fmla="*/ 110 w 145"/>
                    <a:gd name="T29" fmla="*/ 165 h 190"/>
                    <a:gd name="T30" fmla="*/ 111 w 145"/>
                    <a:gd name="T31" fmla="*/ 162 h 190"/>
                    <a:gd name="T32" fmla="*/ 113 w 145"/>
                    <a:gd name="T33" fmla="*/ 161 h 190"/>
                    <a:gd name="T34" fmla="*/ 116 w 145"/>
                    <a:gd name="T35" fmla="*/ 158 h 190"/>
                    <a:gd name="T36" fmla="*/ 119 w 145"/>
                    <a:gd name="T37" fmla="*/ 154 h 190"/>
                    <a:gd name="T38" fmla="*/ 124 w 145"/>
                    <a:gd name="T39" fmla="*/ 144 h 190"/>
                    <a:gd name="T40" fmla="*/ 126 w 145"/>
                    <a:gd name="T41" fmla="*/ 137 h 190"/>
                    <a:gd name="T42" fmla="*/ 129 w 145"/>
                    <a:gd name="T43" fmla="*/ 136 h 190"/>
                    <a:gd name="T44" fmla="*/ 130 w 145"/>
                    <a:gd name="T45" fmla="*/ 134 h 190"/>
                    <a:gd name="T46" fmla="*/ 129 w 145"/>
                    <a:gd name="T47" fmla="*/ 135 h 190"/>
                    <a:gd name="T48" fmla="*/ 132 w 145"/>
                    <a:gd name="T49" fmla="*/ 135 h 190"/>
                    <a:gd name="T50" fmla="*/ 133 w 145"/>
                    <a:gd name="T51" fmla="*/ 134 h 190"/>
                    <a:gd name="T52" fmla="*/ 136 w 145"/>
                    <a:gd name="T53" fmla="*/ 135 h 190"/>
                    <a:gd name="T54" fmla="*/ 137 w 145"/>
                    <a:gd name="T55" fmla="*/ 131 h 190"/>
                    <a:gd name="T56" fmla="*/ 136 w 145"/>
                    <a:gd name="T57" fmla="*/ 28 h 190"/>
                    <a:gd name="T58" fmla="*/ 140 w 145"/>
                    <a:gd name="T59" fmla="*/ 12 h 190"/>
                    <a:gd name="T60" fmla="*/ 131 w 145"/>
                    <a:gd name="T61" fmla="*/ 11 h 190"/>
                    <a:gd name="T62" fmla="*/ 125 w 145"/>
                    <a:gd name="T63" fmla="*/ 5 h 190"/>
                    <a:gd name="T64" fmla="*/ 103 w 145"/>
                    <a:gd name="T65" fmla="*/ 23 h 190"/>
                    <a:gd name="T66" fmla="*/ 99 w 145"/>
                    <a:gd name="T67" fmla="*/ 22 h 190"/>
                    <a:gd name="T68" fmla="*/ 87 w 145"/>
                    <a:gd name="T69" fmla="*/ 19 h 190"/>
                    <a:gd name="T70" fmla="*/ 84 w 145"/>
                    <a:gd name="T71" fmla="*/ 18 h 190"/>
                    <a:gd name="T72" fmla="*/ 57 w 145"/>
                    <a:gd name="T73" fmla="*/ 4 h 190"/>
                    <a:gd name="T74" fmla="*/ 38 w 145"/>
                    <a:gd name="T75" fmla="*/ 0 h 190"/>
                    <a:gd name="T76" fmla="*/ 3 w 145"/>
                    <a:gd name="T77" fmla="*/ 10 h 190"/>
                    <a:gd name="T78" fmla="*/ 5 w 145"/>
                    <a:gd name="T79" fmla="*/ 15 h 190"/>
                    <a:gd name="T80" fmla="*/ 6 w 145"/>
                    <a:gd name="T81" fmla="*/ 17 h 190"/>
                    <a:gd name="T82" fmla="*/ 10 w 145"/>
                    <a:gd name="T83" fmla="*/ 22 h 190"/>
                    <a:gd name="T84" fmla="*/ 10 w 145"/>
                    <a:gd name="T85" fmla="*/ 28 h 190"/>
                    <a:gd name="T86" fmla="*/ 16 w 145"/>
                    <a:gd name="T87" fmla="*/ 37 h 190"/>
                    <a:gd name="T88" fmla="*/ 19 w 145"/>
                    <a:gd name="T89" fmla="*/ 43 h 190"/>
                    <a:gd name="T90" fmla="*/ 20 w 145"/>
                    <a:gd name="T91" fmla="*/ 54 h 190"/>
                    <a:gd name="T92" fmla="*/ 19 w 145"/>
                    <a:gd name="T93" fmla="*/ 63 h 190"/>
                    <a:gd name="T94" fmla="*/ 16 w 145"/>
                    <a:gd name="T95" fmla="*/ 69 h 190"/>
                    <a:gd name="T96" fmla="*/ 12 w 145"/>
                    <a:gd name="T97" fmla="*/ 74 h 190"/>
                    <a:gd name="T98" fmla="*/ 6 w 145"/>
                    <a:gd name="T99" fmla="*/ 82 h 190"/>
                    <a:gd name="T100" fmla="*/ 3 w 145"/>
                    <a:gd name="T101" fmla="*/ 97 h 190"/>
                    <a:gd name="T102" fmla="*/ 67 w 145"/>
                    <a:gd name="T103" fmla="*/ 157 h 190"/>
                    <a:gd name="T104" fmla="*/ 96 w 145"/>
                    <a:gd name="T105" fmla="*/ 189 h 1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45" h="190">
                      <a:moveTo>
                        <a:pt x="97" y="189"/>
                      </a:moveTo>
                      <a:lnTo>
                        <a:pt x="97" y="189"/>
                      </a:lnTo>
                      <a:lnTo>
                        <a:pt x="98" y="189"/>
                      </a:lnTo>
                      <a:lnTo>
                        <a:pt x="98" y="189"/>
                      </a:lnTo>
                      <a:lnTo>
                        <a:pt x="98" y="189"/>
                      </a:lnTo>
                      <a:lnTo>
                        <a:pt x="98" y="189"/>
                      </a:lnTo>
                      <a:lnTo>
                        <a:pt x="99" y="190"/>
                      </a:lnTo>
                      <a:lnTo>
                        <a:pt x="99" y="189"/>
                      </a:lnTo>
                      <a:lnTo>
                        <a:pt x="100" y="189"/>
                      </a:lnTo>
                      <a:lnTo>
                        <a:pt x="99" y="188"/>
                      </a:lnTo>
                      <a:lnTo>
                        <a:pt x="99" y="188"/>
                      </a:lnTo>
                      <a:lnTo>
                        <a:pt x="99" y="188"/>
                      </a:lnTo>
                      <a:lnTo>
                        <a:pt x="99" y="188"/>
                      </a:lnTo>
                      <a:lnTo>
                        <a:pt x="99" y="186"/>
                      </a:lnTo>
                      <a:lnTo>
                        <a:pt x="100" y="188"/>
                      </a:lnTo>
                      <a:lnTo>
                        <a:pt x="100" y="188"/>
                      </a:lnTo>
                      <a:lnTo>
                        <a:pt x="100" y="188"/>
                      </a:lnTo>
                      <a:lnTo>
                        <a:pt x="100" y="186"/>
                      </a:lnTo>
                      <a:lnTo>
                        <a:pt x="102" y="186"/>
                      </a:lnTo>
                      <a:lnTo>
                        <a:pt x="102" y="185"/>
                      </a:lnTo>
                      <a:lnTo>
                        <a:pt x="102" y="185"/>
                      </a:lnTo>
                      <a:lnTo>
                        <a:pt x="102" y="185"/>
                      </a:lnTo>
                      <a:lnTo>
                        <a:pt x="103" y="185"/>
                      </a:lnTo>
                      <a:lnTo>
                        <a:pt x="103" y="184"/>
                      </a:lnTo>
                      <a:lnTo>
                        <a:pt x="103" y="184"/>
                      </a:lnTo>
                      <a:lnTo>
                        <a:pt x="103" y="182"/>
                      </a:lnTo>
                      <a:lnTo>
                        <a:pt x="105" y="178"/>
                      </a:lnTo>
                      <a:lnTo>
                        <a:pt x="104" y="177"/>
                      </a:lnTo>
                      <a:lnTo>
                        <a:pt x="103" y="177"/>
                      </a:lnTo>
                      <a:lnTo>
                        <a:pt x="102" y="177"/>
                      </a:lnTo>
                      <a:lnTo>
                        <a:pt x="103" y="177"/>
                      </a:lnTo>
                      <a:lnTo>
                        <a:pt x="103" y="177"/>
                      </a:lnTo>
                      <a:lnTo>
                        <a:pt x="104" y="177"/>
                      </a:lnTo>
                      <a:lnTo>
                        <a:pt x="104" y="176"/>
                      </a:lnTo>
                      <a:lnTo>
                        <a:pt x="104" y="176"/>
                      </a:lnTo>
                      <a:lnTo>
                        <a:pt x="104" y="176"/>
                      </a:lnTo>
                      <a:lnTo>
                        <a:pt x="104" y="176"/>
                      </a:lnTo>
                      <a:lnTo>
                        <a:pt x="105" y="176"/>
                      </a:lnTo>
                      <a:lnTo>
                        <a:pt x="105" y="176"/>
                      </a:lnTo>
                      <a:lnTo>
                        <a:pt x="105" y="177"/>
                      </a:lnTo>
                      <a:lnTo>
                        <a:pt x="105" y="177"/>
                      </a:lnTo>
                      <a:lnTo>
                        <a:pt x="106" y="177"/>
                      </a:lnTo>
                      <a:lnTo>
                        <a:pt x="106" y="176"/>
                      </a:lnTo>
                      <a:lnTo>
                        <a:pt x="106" y="176"/>
                      </a:lnTo>
                      <a:lnTo>
                        <a:pt x="105" y="176"/>
                      </a:lnTo>
                      <a:lnTo>
                        <a:pt x="105" y="175"/>
                      </a:lnTo>
                      <a:lnTo>
                        <a:pt x="105" y="175"/>
                      </a:lnTo>
                      <a:lnTo>
                        <a:pt x="105" y="174"/>
                      </a:lnTo>
                      <a:lnTo>
                        <a:pt x="106" y="175"/>
                      </a:lnTo>
                      <a:lnTo>
                        <a:pt x="106" y="175"/>
                      </a:lnTo>
                      <a:lnTo>
                        <a:pt x="106" y="175"/>
                      </a:lnTo>
                      <a:lnTo>
                        <a:pt x="106" y="175"/>
                      </a:lnTo>
                      <a:lnTo>
                        <a:pt x="106" y="175"/>
                      </a:lnTo>
                      <a:lnTo>
                        <a:pt x="107" y="174"/>
                      </a:lnTo>
                      <a:lnTo>
                        <a:pt x="107" y="172"/>
                      </a:lnTo>
                      <a:lnTo>
                        <a:pt x="109" y="170"/>
                      </a:lnTo>
                      <a:lnTo>
                        <a:pt x="109" y="169"/>
                      </a:lnTo>
                      <a:lnTo>
                        <a:pt x="109" y="169"/>
                      </a:lnTo>
                      <a:lnTo>
                        <a:pt x="107" y="169"/>
                      </a:lnTo>
                      <a:lnTo>
                        <a:pt x="107" y="169"/>
                      </a:lnTo>
                      <a:lnTo>
                        <a:pt x="107" y="169"/>
                      </a:lnTo>
                      <a:lnTo>
                        <a:pt x="107" y="169"/>
                      </a:lnTo>
                      <a:lnTo>
                        <a:pt x="106" y="168"/>
                      </a:lnTo>
                      <a:lnTo>
                        <a:pt x="106" y="169"/>
                      </a:lnTo>
                      <a:lnTo>
                        <a:pt x="106" y="168"/>
                      </a:lnTo>
                      <a:lnTo>
                        <a:pt x="106" y="168"/>
                      </a:lnTo>
                      <a:lnTo>
                        <a:pt x="107" y="168"/>
                      </a:lnTo>
                      <a:lnTo>
                        <a:pt x="107" y="169"/>
                      </a:lnTo>
                      <a:lnTo>
                        <a:pt x="109" y="169"/>
                      </a:lnTo>
                      <a:lnTo>
                        <a:pt x="109" y="169"/>
                      </a:lnTo>
                      <a:lnTo>
                        <a:pt x="109" y="168"/>
                      </a:lnTo>
                      <a:lnTo>
                        <a:pt x="109" y="168"/>
                      </a:lnTo>
                      <a:lnTo>
                        <a:pt x="109" y="168"/>
                      </a:lnTo>
                      <a:lnTo>
                        <a:pt x="109" y="166"/>
                      </a:lnTo>
                      <a:lnTo>
                        <a:pt x="110" y="165"/>
                      </a:lnTo>
                      <a:lnTo>
                        <a:pt x="110" y="164"/>
                      </a:lnTo>
                      <a:lnTo>
                        <a:pt x="110" y="163"/>
                      </a:lnTo>
                      <a:lnTo>
                        <a:pt x="110" y="163"/>
                      </a:lnTo>
                      <a:lnTo>
                        <a:pt x="111" y="162"/>
                      </a:lnTo>
                      <a:lnTo>
                        <a:pt x="111" y="162"/>
                      </a:lnTo>
                      <a:lnTo>
                        <a:pt x="111" y="163"/>
                      </a:lnTo>
                      <a:lnTo>
                        <a:pt x="111" y="163"/>
                      </a:lnTo>
                      <a:lnTo>
                        <a:pt x="112" y="162"/>
                      </a:lnTo>
                      <a:lnTo>
                        <a:pt x="113" y="162"/>
                      </a:lnTo>
                      <a:lnTo>
                        <a:pt x="113" y="161"/>
                      </a:lnTo>
                      <a:lnTo>
                        <a:pt x="113" y="161"/>
                      </a:lnTo>
                      <a:lnTo>
                        <a:pt x="113" y="159"/>
                      </a:lnTo>
                      <a:lnTo>
                        <a:pt x="116" y="159"/>
                      </a:lnTo>
                      <a:lnTo>
                        <a:pt x="116" y="159"/>
                      </a:lnTo>
                      <a:lnTo>
                        <a:pt x="116" y="158"/>
                      </a:lnTo>
                      <a:lnTo>
                        <a:pt x="116" y="157"/>
                      </a:lnTo>
                      <a:lnTo>
                        <a:pt x="117" y="156"/>
                      </a:lnTo>
                      <a:lnTo>
                        <a:pt x="118" y="156"/>
                      </a:lnTo>
                      <a:lnTo>
                        <a:pt x="118" y="155"/>
                      </a:lnTo>
                      <a:lnTo>
                        <a:pt x="119" y="154"/>
                      </a:lnTo>
                      <a:lnTo>
                        <a:pt x="119" y="152"/>
                      </a:lnTo>
                      <a:lnTo>
                        <a:pt x="120" y="151"/>
                      </a:lnTo>
                      <a:lnTo>
                        <a:pt x="122" y="150"/>
                      </a:lnTo>
                      <a:lnTo>
                        <a:pt x="122" y="147"/>
                      </a:lnTo>
                      <a:lnTo>
                        <a:pt x="124" y="144"/>
                      </a:lnTo>
                      <a:lnTo>
                        <a:pt x="124" y="142"/>
                      </a:lnTo>
                      <a:lnTo>
                        <a:pt x="124" y="141"/>
                      </a:lnTo>
                      <a:lnTo>
                        <a:pt x="125" y="138"/>
                      </a:lnTo>
                      <a:lnTo>
                        <a:pt x="127" y="137"/>
                      </a:lnTo>
                      <a:lnTo>
                        <a:pt x="126" y="137"/>
                      </a:lnTo>
                      <a:lnTo>
                        <a:pt x="127" y="135"/>
                      </a:lnTo>
                      <a:lnTo>
                        <a:pt x="127" y="135"/>
                      </a:lnTo>
                      <a:lnTo>
                        <a:pt x="129" y="136"/>
                      </a:lnTo>
                      <a:lnTo>
                        <a:pt x="129" y="137"/>
                      </a:lnTo>
                      <a:lnTo>
                        <a:pt x="129" y="136"/>
                      </a:lnTo>
                      <a:lnTo>
                        <a:pt x="129" y="135"/>
                      </a:lnTo>
                      <a:lnTo>
                        <a:pt x="129" y="135"/>
                      </a:lnTo>
                      <a:lnTo>
                        <a:pt x="129" y="134"/>
                      </a:lnTo>
                      <a:lnTo>
                        <a:pt x="129" y="134"/>
                      </a:lnTo>
                      <a:lnTo>
                        <a:pt x="130" y="134"/>
                      </a:lnTo>
                      <a:lnTo>
                        <a:pt x="130" y="134"/>
                      </a:lnTo>
                      <a:lnTo>
                        <a:pt x="129" y="134"/>
                      </a:lnTo>
                      <a:lnTo>
                        <a:pt x="129" y="135"/>
                      </a:lnTo>
                      <a:lnTo>
                        <a:pt x="130" y="135"/>
                      </a:lnTo>
                      <a:lnTo>
                        <a:pt x="129" y="135"/>
                      </a:lnTo>
                      <a:lnTo>
                        <a:pt x="130" y="136"/>
                      </a:lnTo>
                      <a:lnTo>
                        <a:pt x="130" y="136"/>
                      </a:lnTo>
                      <a:lnTo>
                        <a:pt x="131" y="135"/>
                      </a:lnTo>
                      <a:lnTo>
                        <a:pt x="131" y="135"/>
                      </a:lnTo>
                      <a:lnTo>
                        <a:pt x="132" y="135"/>
                      </a:lnTo>
                      <a:lnTo>
                        <a:pt x="132" y="135"/>
                      </a:lnTo>
                      <a:lnTo>
                        <a:pt x="133" y="135"/>
                      </a:lnTo>
                      <a:lnTo>
                        <a:pt x="133" y="135"/>
                      </a:lnTo>
                      <a:lnTo>
                        <a:pt x="133" y="134"/>
                      </a:lnTo>
                      <a:lnTo>
                        <a:pt x="133" y="134"/>
                      </a:lnTo>
                      <a:lnTo>
                        <a:pt x="133" y="135"/>
                      </a:lnTo>
                      <a:lnTo>
                        <a:pt x="135" y="135"/>
                      </a:lnTo>
                      <a:lnTo>
                        <a:pt x="135" y="135"/>
                      </a:lnTo>
                      <a:lnTo>
                        <a:pt x="135" y="134"/>
                      </a:lnTo>
                      <a:lnTo>
                        <a:pt x="136" y="135"/>
                      </a:lnTo>
                      <a:lnTo>
                        <a:pt x="136" y="134"/>
                      </a:lnTo>
                      <a:lnTo>
                        <a:pt x="136" y="134"/>
                      </a:lnTo>
                      <a:lnTo>
                        <a:pt x="137" y="132"/>
                      </a:lnTo>
                      <a:lnTo>
                        <a:pt x="137" y="132"/>
                      </a:lnTo>
                      <a:lnTo>
                        <a:pt x="137" y="131"/>
                      </a:lnTo>
                      <a:lnTo>
                        <a:pt x="138" y="131"/>
                      </a:lnTo>
                      <a:lnTo>
                        <a:pt x="139" y="130"/>
                      </a:lnTo>
                      <a:lnTo>
                        <a:pt x="139" y="130"/>
                      </a:lnTo>
                      <a:lnTo>
                        <a:pt x="130" y="112"/>
                      </a:lnTo>
                      <a:lnTo>
                        <a:pt x="136" y="28"/>
                      </a:lnTo>
                      <a:lnTo>
                        <a:pt x="140" y="21"/>
                      </a:lnTo>
                      <a:lnTo>
                        <a:pt x="145" y="14"/>
                      </a:lnTo>
                      <a:lnTo>
                        <a:pt x="142" y="11"/>
                      </a:lnTo>
                      <a:lnTo>
                        <a:pt x="140" y="12"/>
                      </a:lnTo>
                      <a:lnTo>
                        <a:pt x="140" y="12"/>
                      </a:lnTo>
                      <a:lnTo>
                        <a:pt x="139" y="12"/>
                      </a:lnTo>
                      <a:lnTo>
                        <a:pt x="138" y="12"/>
                      </a:lnTo>
                      <a:lnTo>
                        <a:pt x="137" y="12"/>
                      </a:lnTo>
                      <a:lnTo>
                        <a:pt x="132" y="12"/>
                      </a:lnTo>
                      <a:lnTo>
                        <a:pt x="131" y="11"/>
                      </a:lnTo>
                      <a:lnTo>
                        <a:pt x="129" y="9"/>
                      </a:lnTo>
                      <a:lnTo>
                        <a:pt x="127" y="9"/>
                      </a:lnTo>
                      <a:lnTo>
                        <a:pt x="127" y="8"/>
                      </a:lnTo>
                      <a:lnTo>
                        <a:pt x="125" y="7"/>
                      </a:lnTo>
                      <a:lnTo>
                        <a:pt x="125" y="5"/>
                      </a:lnTo>
                      <a:lnTo>
                        <a:pt x="115" y="11"/>
                      </a:lnTo>
                      <a:lnTo>
                        <a:pt x="109" y="15"/>
                      </a:lnTo>
                      <a:lnTo>
                        <a:pt x="106" y="18"/>
                      </a:lnTo>
                      <a:lnTo>
                        <a:pt x="104" y="22"/>
                      </a:lnTo>
                      <a:lnTo>
                        <a:pt x="103" y="23"/>
                      </a:lnTo>
                      <a:lnTo>
                        <a:pt x="103" y="23"/>
                      </a:lnTo>
                      <a:lnTo>
                        <a:pt x="102" y="22"/>
                      </a:lnTo>
                      <a:lnTo>
                        <a:pt x="100" y="23"/>
                      </a:lnTo>
                      <a:lnTo>
                        <a:pt x="99" y="22"/>
                      </a:lnTo>
                      <a:lnTo>
                        <a:pt x="99" y="22"/>
                      </a:lnTo>
                      <a:lnTo>
                        <a:pt x="96" y="22"/>
                      </a:lnTo>
                      <a:lnTo>
                        <a:pt x="95" y="21"/>
                      </a:lnTo>
                      <a:lnTo>
                        <a:pt x="95" y="21"/>
                      </a:lnTo>
                      <a:lnTo>
                        <a:pt x="91" y="22"/>
                      </a:lnTo>
                      <a:lnTo>
                        <a:pt x="87" y="19"/>
                      </a:lnTo>
                      <a:lnTo>
                        <a:pt x="86" y="18"/>
                      </a:lnTo>
                      <a:lnTo>
                        <a:pt x="86" y="19"/>
                      </a:lnTo>
                      <a:lnTo>
                        <a:pt x="85" y="19"/>
                      </a:lnTo>
                      <a:lnTo>
                        <a:pt x="84" y="18"/>
                      </a:lnTo>
                      <a:lnTo>
                        <a:pt x="84" y="18"/>
                      </a:lnTo>
                      <a:lnTo>
                        <a:pt x="83" y="19"/>
                      </a:lnTo>
                      <a:lnTo>
                        <a:pt x="77" y="18"/>
                      </a:lnTo>
                      <a:lnTo>
                        <a:pt x="76" y="19"/>
                      </a:lnTo>
                      <a:lnTo>
                        <a:pt x="75" y="17"/>
                      </a:lnTo>
                      <a:lnTo>
                        <a:pt x="57" y="4"/>
                      </a:lnTo>
                      <a:lnTo>
                        <a:pt x="56" y="3"/>
                      </a:lnTo>
                      <a:lnTo>
                        <a:pt x="53" y="2"/>
                      </a:lnTo>
                      <a:lnTo>
                        <a:pt x="39" y="3"/>
                      </a:lnTo>
                      <a:lnTo>
                        <a:pt x="38" y="2"/>
                      </a:lnTo>
                      <a:lnTo>
                        <a:pt x="38" y="0"/>
                      </a:lnTo>
                      <a:lnTo>
                        <a:pt x="9" y="0"/>
                      </a:lnTo>
                      <a:lnTo>
                        <a:pt x="2" y="8"/>
                      </a:lnTo>
                      <a:lnTo>
                        <a:pt x="4" y="9"/>
                      </a:lnTo>
                      <a:lnTo>
                        <a:pt x="3" y="9"/>
                      </a:lnTo>
                      <a:lnTo>
                        <a:pt x="3" y="10"/>
                      </a:lnTo>
                      <a:lnTo>
                        <a:pt x="4" y="10"/>
                      </a:lnTo>
                      <a:lnTo>
                        <a:pt x="5" y="12"/>
                      </a:lnTo>
                      <a:lnTo>
                        <a:pt x="5" y="14"/>
                      </a:lnTo>
                      <a:lnTo>
                        <a:pt x="4" y="14"/>
                      </a:lnTo>
                      <a:lnTo>
                        <a:pt x="5" y="15"/>
                      </a:lnTo>
                      <a:lnTo>
                        <a:pt x="6" y="15"/>
                      </a:lnTo>
                      <a:lnTo>
                        <a:pt x="8" y="14"/>
                      </a:lnTo>
                      <a:lnTo>
                        <a:pt x="8" y="14"/>
                      </a:lnTo>
                      <a:lnTo>
                        <a:pt x="8" y="15"/>
                      </a:lnTo>
                      <a:lnTo>
                        <a:pt x="6" y="17"/>
                      </a:lnTo>
                      <a:lnTo>
                        <a:pt x="9" y="17"/>
                      </a:lnTo>
                      <a:lnTo>
                        <a:pt x="10" y="18"/>
                      </a:lnTo>
                      <a:lnTo>
                        <a:pt x="10" y="19"/>
                      </a:lnTo>
                      <a:lnTo>
                        <a:pt x="11" y="22"/>
                      </a:lnTo>
                      <a:lnTo>
                        <a:pt x="10" y="22"/>
                      </a:lnTo>
                      <a:lnTo>
                        <a:pt x="10" y="23"/>
                      </a:lnTo>
                      <a:lnTo>
                        <a:pt x="10" y="24"/>
                      </a:lnTo>
                      <a:lnTo>
                        <a:pt x="10" y="25"/>
                      </a:lnTo>
                      <a:lnTo>
                        <a:pt x="11" y="27"/>
                      </a:lnTo>
                      <a:lnTo>
                        <a:pt x="10" y="28"/>
                      </a:lnTo>
                      <a:lnTo>
                        <a:pt x="11" y="30"/>
                      </a:lnTo>
                      <a:lnTo>
                        <a:pt x="13" y="30"/>
                      </a:lnTo>
                      <a:lnTo>
                        <a:pt x="13" y="34"/>
                      </a:lnTo>
                      <a:lnTo>
                        <a:pt x="15" y="37"/>
                      </a:lnTo>
                      <a:lnTo>
                        <a:pt x="16" y="37"/>
                      </a:lnTo>
                      <a:lnTo>
                        <a:pt x="17" y="37"/>
                      </a:lnTo>
                      <a:lnTo>
                        <a:pt x="17" y="37"/>
                      </a:lnTo>
                      <a:lnTo>
                        <a:pt x="17" y="39"/>
                      </a:lnTo>
                      <a:lnTo>
                        <a:pt x="19" y="42"/>
                      </a:lnTo>
                      <a:lnTo>
                        <a:pt x="19" y="43"/>
                      </a:lnTo>
                      <a:lnTo>
                        <a:pt x="19" y="44"/>
                      </a:lnTo>
                      <a:lnTo>
                        <a:pt x="18" y="45"/>
                      </a:lnTo>
                      <a:lnTo>
                        <a:pt x="22" y="51"/>
                      </a:lnTo>
                      <a:lnTo>
                        <a:pt x="20" y="52"/>
                      </a:lnTo>
                      <a:lnTo>
                        <a:pt x="20" y="54"/>
                      </a:lnTo>
                      <a:lnTo>
                        <a:pt x="22" y="55"/>
                      </a:lnTo>
                      <a:lnTo>
                        <a:pt x="20" y="55"/>
                      </a:lnTo>
                      <a:lnTo>
                        <a:pt x="20" y="59"/>
                      </a:lnTo>
                      <a:lnTo>
                        <a:pt x="20" y="62"/>
                      </a:lnTo>
                      <a:lnTo>
                        <a:pt x="19" y="63"/>
                      </a:lnTo>
                      <a:lnTo>
                        <a:pt x="18" y="65"/>
                      </a:lnTo>
                      <a:lnTo>
                        <a:pt x="17" y="65"/>
                      </a:lnTo>
                      <a:lnTo>
                        <a:pt x="17" y="67"/>
                      </a:lnTo>
                      <a:lnTo>
                        <a:pt x="18" y="67"/>
                      </a:lnTo>
                      <a:lnTo>
                        <a:pt x="16" y="69"/>
                      </a:lnTo>
                      <a:lnTo>
                        <a:pt x="16" y="70"/>
                      </a:lnTo>
                      <a:lnTo>
                        <a:pt x="13" y="72"/>
                      </a:lnTo>
                      <a:lnTo>
                        <a:pt x="13" y="72"/>
                      </a:lnTo>
                      <a:lnTo>
                        <a:pt x="12" y="72"/>
                      </a:lnTo>
                      <a:lnTo>
                        <a:pt x="12" y="74"/>
                      </a:lnTo>
                      <a:lnTo>
                        <a:pt x="12" y="76"/>
                      </a:lnTo>
                      <a:lnTo>
                        <a:pt x="10" y="78"/>
                      </a:lnTo>
                      <a:lnTo>
                        <a:pt x="9" y="79"/>
                      </a:lnTo>
                      <a:lnTo>
                        <a:pt x="8" y="81"/>
                      </a:lnTo>
                      <a:lnTo>
                        <a:pt x="6" y="82"/>
                      </a:lnTo>
                      <a:lnTo>
                        <a:pt x="4" y="85"/>
                      </a:lnTo>
                      <a:lnTo>
                        <a:pt x="4" y="87"/>
                      </a:lnTo>
                      <a:lnTo>
                        <a:pt x="3" y="88"/>
                      </a:lnTo>
                      <a:lnTo>
                        <a:pt x="2" y="92"/>
                      </a:lnTo>
                      <a:lnTo>
                        <a:pt x="3" y="97"/>
                      </a:lnTo>
                      <a:lnTo>
                        <a:pt x="0" y="102"/>
                      </a:lnTo>
                      <a:lnTo>
                        <a:pt x="0" y="107"/>
                      </a:lnTo>
                      <a:lnTo>
                        <a:pt x="3" y="114"/>
                      </a:lnTo>
                      <a:lnTo>
                        <a:pt x="3" y="115"/>
                      </a:lnTo>
                      <a:lnTo>
                        <a:pt x="67" y="157"/>
                      </a:lnTo>
                      <a:lnTo>
                        <a:pt x="70" y="161"/>
                      </a:lnTo>
                      <a:lnTo>
                        <a:pt x="70" y="163"/>
                      </a:lnTo>
                      <a:lnTo>
                        <a:pt x="70" y="164"/>
                      </a:lnTo>
                      <a:lnTo>
                        <a:pt x="69" y="165"/>
                      </a:lnTo>
                      <a:lnTo>
                        <a:pt x="96" y="189"/>
                      </a:lnTo>
                      <a:lnTo>
                        <a:pt x="97" y="189"/>
                      </a:lnTo>
                      <a:lnTo>
                        <a:pt x="97" y="189"/>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grpSp>
              <p:nvGrpSpPr>
                <p:cNvPr id="395" name="Italy">
                  <a:extLst>
                    <a:ext uri="{FF2B5EF4-FFF2-40B4-BE49-F238E27FC236}">
                      <a16:creationId xmlns:a16="http://schemas.microsoft.com/office/drawing/2014/main" id="{B1670071-5ABA-4E47-BB34-C82CF8C23214}"/>
                    </a:ext>
                  </a:extLst>
                </p:cNvPr>
                <p:cNvGrpSpPr/>
                <p:nvPr/>
              </p:nvGrpSpPr>
              <p:grpSpPr>
                <a:xfrm>
                  <a:off x="6518331" y="2579611"/>
                  <a:ext cx="297421" cy="312001"/>
                  <a:chOff x="5203722" y="2782543"/>
                  <a:chExt cx="327988" cy="344066"/>
                </a:xfrm>
                <a:grpFill/>
              </p:grpSpPr>
              <p:sp>
                <p:nvSpPr>
                  <p:cNvPr id="525" name="Freeform 151">
                    <a:extLst>
                      <a:ext uri="{FF2B5EF4-FFF2-40B4-BE49-F238E27FC236}">
                        <a16:creationId xmlns:a16="http://schemas.microsoft.com/office/drawing/2014/main" id="{B2EECB5C-C5C1-1848-AAEF-5EB359D91E70}"/>
                      </a:ext>
                    </a:extLst>
                  </p:cNvPr>
                  <p:cNvSpPr>
                    <a:spLocks noEditPoints="1"/>
                  </p:cNvSpPr>
                  <p:nvPr/>
                </p:nvSpPr>
                <p:spPr bwMode="auto">
                  <a:xfrm>
                    <a:off x="5250348" y="2917597"/>
                    <a:ext cx="207404" cy="209012"/>
                  </a:xfrm>
                  <a:custGeom>
                    <a:avLst/>
                    <a:gdLst>
                      <a:gd name="T0" fmla="*/ 34 w 129"/>
                      <a:gd name="T1" fmla="*/ 3 h 130"/>
                      <a:gd name="T2" fmla="*/ 35 w 129"/>
                      <a:gd name="T3" fmla="*/ 3 h 130"/>
                      <a:gd name="T4" fmla="*/ 36 w 129"/>
                      <a:gd name="T5" fmla="*/ 3 h 130"/>
                      <a:gd name="T6" fmla="*/ 36 w 129"/>
                      <a:gd name="T7" fmla="*/ 2 h 130"/>
                      <a:gd name="T8" fmla="*/ 36 w 129"/>
                      <a:gd name="T9" fmla="*/ 2 h 130"/>
                      <a:gd name="T10" fmla="*/ 36 w 129"/>
                      <a:gd name="T11" fmla="*/ 1 h 130"/>
                      <a:gd name="T12" fmla="*/ 35 w 129"/>
                      <a:gd name="T13" fmla="*/ 1 h 130"/>
                      <a:gd name="T14" fmla="*/ 35 w 129"/>
                      <a:gd name="T15" fmla="*/ 1 h 130"/>
                      <a:gd name="T16" fmla="*/ 34 w 129"/>
                      <a:gd name="T17" fmla="*/ 0 h 130"/>
                      <a:gd name="T18" fmla="*/ 34 w 129"/>
                      <a:gd name="T19" fmla="*/ 1 h 130"/>
                      <a:gd name="T20" fmla="*/ 31 w 129"/>
                      <a:gd name="T21" fmla="*/ 1 h 130"/>
                      <a:gd name="T22" fmla="*/ 30 w 129"/>
                      <a:gd name="T23" fmla="*/ 1 h 130"/>
                      <a:gd name="T24" fmla="*/ 31 w 129"/>
                      <a:gd name="T25" fmla="*/ 1 h 130"/>
                      <a:gd name="T26" fmla="*/ 31 w 129"/>
                      <a:gd name="T27" fmla="*/ 1 h 130"/>
                      <a:gd name="T28" fmla="*/ 31 w 129"/>
                      <a:gd name="T29" fmla="*/ 2 h 130"/>
                      <a:gd name="T30" fmla="*/ 33 w 129"/>
                      <a:gd name="T31" fmla="*/ 2 h 130"/>
                      <a:gd name="T32" fmla="*/ 31 w 129"/>
                      <a:gd name="T33" fmla="*/ 3 h 130"/>
                      <a:gd name="T34" fmla="*/ 31 w 129"/>
                      <a:gd name="T35" fmla="*/ 3 h 130"/>
                      <a:gd name="T36" fmla="*/ 31 w 129"/>
                      <a:gd name="T37" fmla="*/ 3 h 130"/>
                      <a:gd name="T38" fmla="*/ 34 w 129"/>
                      <a:gd name="T39" fmla="*/ 3 h 130"/>
                      <a:gd name="T40" fmla="*/ 123 w 129"/>
                      <a:gd name="T41" fmla="*/ 121 h 130"/>
                      <a:gd name="T42" fmla="*/ 121 w 129"/>
                      <a:gd name="T43" fmla="*/ 119 h 130"/>
                      <a:gd name="T44" fmla="*/ 120 w 129"/>
                      <a:gd name="T45" fmla="*/ 113 h 130"/>
                      <a:gd name="T46" fmla="*/ 123 w 129"/>
                      <a:gd name="T47" fmla="*/ 101 h 130"/>
                      <a:gd name="T48" fmla="*/ 128 w 129"/>
                      <a:gd name="T49" fmla="*/ 96 h 130"/>
                      <a:gd name="T50" fmla="*/ 122 w 129"/>
                      <a:gd name="T51" fmla="*/ 97 h 130"/>
                      <a:gd name="T52" fmla="*/ 118 w 129"/>
                      <a:gd name="T53" fmla="*/ 99 h 130"/>
                      <a:gd name="T54" fmla="*/ 111 w 129"/>
                      <a:gd name="T55" fmla="*/ 97 h 130"/>
                      <a:gd name="T56" fmla="*/ 101 w 129"/>
                      <a:gd name="T57" fmla="*/ 101 h 130"/>
                      <a:gd name="T58" fmla="*/ 90 w 129"/>
                      <a:gd name="T59" fmla="*/ 99 h 130"/>
                      <a:gd name="T60" fmla="*/ 84 w 129"/>
                      <a:gd name="T61" fmla="*/ 97 h 130"/>
                      <a:gd name="T62" fmla="*/ 81 w 129"/>
                      <a:gd name="T63" fmla="*/ 101 h 130"/>
                      <a:gd name="T64" fmla="*/ 77 w 129"/>
                      <a:gd name="T65" fmla="*/ 99 h 130"/>
                      <a:gd name="T66" fmla="*/ 73 w 129"/>
                      <a:gd name="T67" fmla="*/ 101 h 130"/>
                      <a:gd name="T68" fmla="*/ 74 w 129"/>
                      <a:gd name="T69" fmla="*/ 108 h 130"/>
                      <a:gd name="T70" fmla="*/ 82 w 129"/>
                      <a:gd name="T71" fmla="*/ 111 h 130"/>
                      <a:gd name="T72" fmla="*/ 95 w 129"/>
                      <a:gd name="T73" fmla="*/ 119 h 130"/>
                      <a:gd name="T74" fmla="*/ 107 w 129"/>
                      <a:gd name="T75" fmla="*/ 122 h 130"/>
                      <a:gd name="T76" fmla="*/ 114 w 129"/>
                      <a:gd name="T77" fmla="*/ 127 h 130"/>
                      <a:gd name="T78" fmla="*/ 120 w 129"/>
                      <a:gd name="T79" fmla="*/ 130 h 130"/>
                      <a:gd name="T80" fmla="*/ 17 w 129"/>
                      <a:gd name="T81" fmla="*/ 76 h 130"/>
                      <a:gd name="T82" fmla="*/ 18 w 129"/>
                      <a:gd name="T83" fmla="*/ 76 h 130"/>
                      <a:gd name="T84" fmla="*/ 27 w 129"/>
                      <a:gd name="T85" fmla="*/ 73 h 130"/>
                      <a:gd name="T86" fmla="*/ 28 w 129"/>
                      <a:gd name="T87" fmla="*/ 62 h 130"/>
                      <a:gd name="T88" fmla="*/ 27 w 129"/>
                      <a:gd name="T89" fmla="*/ 55 h 130"/>
                      <a:gd name="T90" fmla="*/ 28 w 129"/>
                      <a:gd name="T91" fmla="*/ 46 h 130"/>
                      <a:gd name="T92" fmla="*/ 25 w 129"/>
                      <a:gd name="T93" fmla="*/ 41 h 130"/>
                      <a:gd name="T94" fmla="*/ 24 w 129"/>
                      <a:gd name="T95" fmla="*/ 37 h 130"/>
                      <a:gd name="T96" fmla="*/ 18 w 129"/>
                      <a:gd name="T97" fmla="*/ 35 h 130"/>
                      <a:gd name="T98" fmla="*/ 16 w 129"/>
                      <a:gd name="T99" fmla="*/ 36 h 130"/>
                      <a:gd name="T100" fmla="*/ 8 w 129"/>
                      <a:gd name="T101" fmla="*/ 41 h 130"/>
                      <a:gd name="T102" fmla="*/ 1 w 129"/>
                      <a:gd name="T103" fmla="*/ 41 h 130"/>
                      <a:gd name="T104" fmla="*/ 1 w 129"/>
                      <a:gd name="T105" fmla="*/ 48 h 130"/>
                      <a:gd name="T106" fmla="*/ 2 w 129"/>
                      <a:gd name="T107" fmla="*/ 49 h 130"/>
                      <a:gd name="T108" fmla="*/ 5 w 129"/>
                      <a:gd name="T109" fmla="*/ 57 h 130"/>
                      <a:gd name="T110" fmla="*/ 8 w 129"/>
                      <a:gd name="T111" fmla="*/ 63 h 130"/>
                      <a:gd name="T112" fmla="*/ 5 w 129"/>
                      <a:gd name="T113" fmla="*/ 68 h 130"/>
                      <a:gd name="T114" fmla="*/ 5 w 129"/>
                      <a:gd name="T115" fmla="*/ 75 h 130"/>
                      <a:gd name="T116" fmla="*/ 5 w 129"/>
                      <a:gd name="T117" fmla="*/ 80 h 130"/>
                      <a:gd name="T118" fmla="*/ 11 w 129"/>
                      <a:gd name="T119" fmla="*/ 82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29" h="130">
                        <a:moveTo>
                          <a:pt x="34" y="3"/>
                        </a:moveTo>
                        <a:lnTo>
                          <a:pt x="34" y="3"/>
                        </a:lnTo>
                        <a:lnTo>
                          <a:pt x="34" y="3"/>
                        </a:lnTo>
                        <a:lnTo>
                          <a:pt x="34" y="3"/>
                        </a:lnTo>
                        <a:lnTo>
                          <a:pt x="34" y="3"/>
                        </a:lnTo>
                        <a:lnTo>
                          <a:pt x="34" y="3"/>
                        </a:lnTo>
                        <a:lnTo>
                          <a:pt x="34" y="3"/>
                        </a:lnTo>
                        <a:lnTo>
                          <a:pt x="34" y="3"/>
                        </a:lnTo>
                        <a:lnTo>
                          <a:pt x="34" y="3"/>
                        </a:lnTo>
                        <a:lnTo>
                          <a:pt x="34" y="3"/>
                        </a:lnTo>
                        <a:lnTo>
                          <a:pt x="34" y="3"/>
                        </a:lnTo>
                        <a:lnTo>
                          <a:pt x="34" y="3"/>
                        </a:lnTo>
                        <a:lnTo>
                          <a:pt x="35" y="3"/>
                        </a:lnTo>
                        <a:lnTo>
                          <a:pt x="35" y="3"/>
                        </a:lnTo>
                        <a:lnTo>
                          <a:pt x="35" y="3"/>
                        </a:lnTo>
                        <a:lnTo>
                          <a:pt x="36" y="3"/>
                        </a:lnTo>
                        <a:lnTo>
                          <a:pt x="36" y="3"/>
                        </a:lnTo>
                        <a:lnTo>
                          <a:pt x="36" y="3"/>
                        </a:lnTo>
                        <a:lnTo>
                          <a:pt x="36" y="3"/>
                        </a:lnTo>
                        <a:lnTo>
                          <a:pt x="36" y="3"/>
                        </a:lnTo>
                        <a:lnTo>
                          <a:pt x="36" y="3"/>
                        </a:lnTo>
                        <a:lnTo>
                          <a:pt x="36" y="3"/>
                        </a:lnTo>
                        <a:lnTo>
                          <a:pt x="36" y="3"/>
                        </a:lnTo>
                        <a:lnTo>
                          <a:pt x="36" y="2"/>
                        </a:lnTo>
                        <a:lnTo>
                          <a:pt x="36" y="2"/>
                        </a:lnTo>
                        <a:lnTo>
                          <a:pt x="36" y="2"/>
                        </a:lnTo>
                        <a:lnTo>
                          <a:pt x="36" y="2"/>
                        </a:lnTo>
                        <a:lnTo>
                          <a:pt x="36" y="2"/>
                        </a:lnTo>
                        <a:lnTo>
                          <a:pt x="36" y="2"/>
                        </a:lnTo>
                        <a:lnTo>
                          <a:pt x="36" y="2"/>
                        </a:lnTo>
                        <a:lnTo>
                          <a:pt x="36" y="2"/>
                        </a:lnTo>
                        <a:lnTo>
                          <a:pt x="36" y="2"/>
                        </a:lnTo>
                        <a:lnTo>
                          <a:pt x="36" y="2"/>
                        </a:lnTo>
                        <a:lnTo>
                          <a:pt x="36" y="2"/>
                        </a:lnTo>
                        <a:lnTo>
                          <a:pt x="36" y="2"/>
                        </a:lnTo>
                        <a:lnTo>
                          <a:pt x="36" y="1"/>
                        </a:lnTo>
                        <a:lnTo>
                          <a:pt x="36" y="1"/>
                        </a:lnTo>
                        <a:lnTo>
                          <a:pt x="36" y="1"/>
                        </a:lnTo>
                        <a:lnTo>
                          <a:pt x="36" y="1"/>
                        </a:lnTo>
                        <a:lnTo>
                          <a:pt x="36" y="1"/>
                        </a:lnTo>
                        <a:lnTo>
                          <a:pt x="36" y="1"/>
                        </a:lnTo>
                        <a:lnTo>
                          <a:pt x="36" y="1"/>
                        </a:lnTo>
                        <a:lnTo>
                          <a:pt x="36" y="1"/>
                        </a:lnTo>
                        <a:lnTo>
                          <a:pt x="36" y="1"/>
                        </a:lnTo>
                        <a:lnTo>
                          <a:pt x="36" y="1"/>
                        </a:lnTo>
                        <a:lnTo>
                          <a:pt x="36" y="1"/>
                        </a:lnTo>
                        <a:lnTo>
                          <a:pt x="35" y="1"/>
                        </a:lnTo>
                        <a:lnTo>
                          <a:pt x="35" y="1"/>
                        </a:lnTo>
                        <a:lnTo>
                          <a:pt x="35" y="1"/>
                        </a:lnTo>
                        <a:lnTo>
                          <a:pt x="35" y="1"/>
                        </a:lnTo>
                        <a:lnTo>
                          <a:pt x="35" y="1"/>
                        </a:lnTo>
                        <a:lnTo>
                          <a:pt x="35" y="1"/>
                        </a:lnTo>
                        <a:lnTo>
                          <a:pt x="35" y="1"/>
                        </a:lnTo>
                        <a:lnTo>
                          <a:pt x="35" y="1"/>
                        </a:lnTo>
                        <a:lnTo>
                          <a:pt x="35" y="1"/>
                        </a:lnTo>
                        <a:lnTo>
                          <a:pt x="35" y="1"/>
                        </a:lnTo>
                        <a:lnTo>
                          <a:pt x="35" y="1"/>
                        </a:lnTo>
                        <a:lnTo>
                          <a:pt x="35" y="1"/>
                        </a:lnTo>
                        <a:lnTo>
                          <a:pt x="35" y="1"/>
                        </a:lnTo>
                        <a:lnTo>
                          <a:pt x="35" y="0"/>
                        </a:lnTo>
                        <a:lnTo>
                          <a:pt x="34" y="0"/>
                        </a:lnTo>
                        <a:lnTo>
                          <a:pt x="34" y="0"/>
                        </a:lnTo>
                        <a:lnTo>
                          <a:pt x="34" y="0"/>
                        </a:lnTo>
                        <a:lnTo>
                          <a:pt x="34" y="0"/>
                        </a:lnTo>
                        <a:lnTo>
                          <a:pt x="34" y="0"/>
                        </a:lnTo>
                        <a:lnTo>
                          <a:pt x="34" y="0"/>
                        </a:lnTo>
                        <a:lnTo>
                          <a:pt x="34" y="0"/>
                        </a:lnTo>
                        <a:lnTo>
                          <a:pt x="34" y="1"/>
                        </a:lnTo>
                        <a:lnTo>
                          <a:pt x="34" y="1"/>
                        </a:lnTo>
                        <a:lnTo>
                          <a:pt x="34" y="1"/>
                        </a:lnTo>
                        <a:lnTo>
                          <a:pt x="33" y="1"/>
                        </a:lnTo>
                        <a:lnTo>
                          <a:pt x="33" y="1"/>
                        </a:lnTo>
                        <a:lnTo>
                          <a:pt x="33" y="1"/>
                        </a:lnTo>
                        <a:lnTo>
                          <a:pt x="33" y="1"/>
                        </a:lnTo>
                        <a:lnTo>
                          <a:pt x="33" y="1"/>
                        </a:lnTo>
                        <a:lnTo>
                          <a:pt x="33" y="1"/>
                        </a:lnTo>
                        <a:lnTo>
                          <a:pt x="31" y="1"/>
                        </a:lnTo>
                        <a:lnTo>
                          <a:pt x="31" y="1"/>
                        </a:lnTo>
                        <a:lnTo>
                          <a:pt x="31" y="1"/>
                        </a:lnTo>
                        <a:lnTo>
                          <a:pt x="31" y="1"/>
                        </a:lnTo>
                        <a:lnTo>
                          <a:pt x="30" y="1"/>
                        </a:lnTo>
                        <a:lnTo>
                          <a:pt x="30" y="1"/>
                        </a:lnTo>
                        <a:lnTo>
                          <a:pt x="30" y="1"/>
                        </a:lnTo>
                        <a:lnTo>
                          <a:pt x="30" y="1"/>
                        </a:lnTo>
                        <a:lnTo>
                          <a:pt x="31" y="1"/>
                        </a:lnTo>
                        <a:lnTo>
                          <a:pt x="30" y="1"/>
                        </a:lnTo>
                        <a:lnTo>
                          <a:pt x="30" y="1"/>
                        </a:lnTo>
                        <a:lnTo>
                          <a:pt x="30" y="1"/>
                        </a:lnTo>
                        <a:lnTo>
                          <a:pt x="30" y="1"/>
                        </a:lnTo>
                        <a:lnTo>
                          <a:pt x="30" y="1"/>
                        </a:lnTo>
                        <a:lnTo>
                          <a:pt x="31" y="1"/>
                        </a:lnTo>
                        <a:lnTo>
                          <a:pt x="31" y="1"/>
                        </a:lnTo>
                        <a:lnTo>
                          <a:pt x="31" y="1"/>
                        </a:lnTo>
                        <a:lnTo>
                          <a:pt x="31" y="1"/>
                        </a:lnTo>
                        <a:lnTo>
                          <a:pt x="31" y="1"/>
                        </a:lnTo>
                        <a:lnTo>
                          <a:pt x="31" y="1"/>
                        </a:lnTo>
                        <a:lnTo>
                          <a:pt x="31" y="1"/>
                        </a:lnTo>
                        <a:lnTo>
                          <a:pt x="31" y="1"/>
                        </a:lnTo>
                        <a:lnTo>
                          <a:pt x="31" y="2"/>
                        </a:lnTo>
                        <a:lnTo>
                          <a:pt x="31" y="2"/>
                        </a:lnTo>
                        <a:lnTo>
                          <a:pt x="31" y="2"/>
                        </a:lnTo>
                        <a:lnTo>
                          <a:pt x="31" y="2"/>
                        </a:lnTo>
                        <a:lnTo>
                          <a:pt x="31" y="2"/>
                        </a:lnTo>
                        <a:lnTo>
                          <a:pt x="31" y="2"/>
                        </a:lnTo>
                        <a:lnTo>
                          <a:pt x="31" y="2"/>
                        </a:lnTo>
                        <a:lnTo>
                          <a:pt x="31" y="2"/>
                        </a:lnTo>
                        <a:lnTo>
                          <a:pt x="31" y="2"/>
                        </a:lnTo>
                        <a:lnTo>
                          <a:pt x="31" y="2"/>
                        </a:lnTo>
                        <a:lnTo>
                          <a:pt x="33" y="2"/>
                        </a:lnTo>
                        <a:lnTo>
                          <a:pt x="33" y="2"/>
                        </a:lnTo>
                        <a:lnTo>
                          <a:pt x="33" y="2"/>
                        </a:lnTo>
                        <a:lnTo>
                          <a:pt x="33" y="2"/>
                        </a:lnTo>
                        <a:lnTo>
                          <a:pt x="31" y="2"/>
                        </a:lnTo>
                        <a:lnTo>
                          <a:pt x="31" y="2"/>
                        </a:lnTo>
                        <a:lnTo>
                          <a:pt x="31" y="2"/>
                        </a:lnTo>
                        <a:lnTo>
                          <a:pt x="31" y="2"/>
                        </a:lnTo>
                        <a:lnTo>
                          <a:pt x="31" y="3"/>
                        </a:lnTo>
                        <a:lnTo>
                          <a:pt x="31" y="3"/>
                        </a:lnTo>
                        <a:lnTo>
                          <a:pt x="31" y="3"/>
                        </a:lnTo>
                        <a:lnTo>
                          <a:pt x="31" y="3"/>
                        </a:lnTo>
                        <a:lnTo>
                          <a:pt x="31" y="3"/>
                        </a:lnTo>
                        <a:lnTo>
                          <a:pt x="31" y="3"/>
                        </a:lnTo>
                        <a:lnTo>
                          <a:pt x="31" y="3"/>
                        </a:lnTo>
                        <a:lnTo>
                          <a:pt x="31" y="3"/>
                        </a:lnTo>
                        <a:lnTo>
                          <a:pt x="31" y="3"/>
                        </a:lnTo>
                        <a:lnTo>
                          <a:pt x="31" y="3"/>
                        </a:lnTo>
                        <a:lnTo>
                          <a:pt x="31" y="3"/>
                        </a:lnTo>
                        <a:lnTo>
                          <a:pt x="31" y="3"/>
                        </a:lnTo>
                        <a:lnTo>
                          <a:pt x="31" y="3"/>
                        </a:lnTo>
                        <a:lnTo>
                          <a:pt x="31" y="3"/>
                        </a:lnTo>
                        <a:lnTo>
                          <a:pt x="31" y="3"/>
                        </a:lnTo>
                        <a:lnTo>
                          <a:pt x="33" y="3"/>
                        </a:lnTo>
                        <a:lnTo>
                          <a:pt x="31" y="3"/>
                        </a:lnTo>
                        <a:lnTo>
                          <a:pt x="33" y="3"/>
                        </a:lnTo>
                        <a:lnTo>
                          <a:pt x="33" y="3"/>
                        </a:lnTo>
                        <a:lnTo>
                          <a:pt x="33" y="3"/>
                        </a:lnTo>
                        <a:lnTo>
                          <a:pt x="33" y="3"/>
                        </a:lnTo>
                        <a:lnTo>
                          <a:pt x="33" y="3"/>
                        </a:lnTo>
                        <a:lnTo>
                          <a:pt x="34" y="4"/>
                        </a:lnTo>
                        <a:lnTo>
                          <a:pt x="34" y="3"/>
                        </a:lnTo>
                        <a:lnTo>
                          <a:pt x="34" y="3"/>
                        </a:lnTo>
                        <a:close/>
                        <a:moveTo>
                          <a:pt x="121" y="128"/>
                        </a:moveTo>
                        <a:lnTo>
                          <a:pt x="121" y="126"/>
                        </a:lnTo>
                        <a:lnTo>
                          <a:pt x="121" y="123"/>
                        </a:lnTo>
                        <a:lnTo>
                          <a:pt x="122" y="122"/>
                        </a:lnTo>
                        <a:lnTo>
                          <a:pt x="123" y="122"/>
                        </a:lnTo>
                        <a:lnTo>
                          <a:pt x="123" y="121"/>
                        </a:lnTo>
                        <a:lnTo>
                          <a:pt x="123" y="121"/>
                        </a:lnTo>
                        <a:lnTo>
                          <a:pt x="123" y="120"/>
                        </a:lnTo>
                        <a:lnTo>
                          <a:pt x="123" y="121"/>
                        </a:lnTo>
                        <a:lnTo>
                          <a:pt x="122" y="120"/>
                        </a:lnTo>
                        <a:lnTo>
                          <a:pt x="123" y="119"/>
                        </a:lnTo>
                        <a:lnTo>
                          <a:pt x="121" y="119"/>
                        </a:lnTo>
                        <a:lnTo>
                          <a:pt x="121" y="119"/>
                        </a:lnTo>
                        <a:lnTo>
                          <a:pt x="121" y="116"/>
                        </a:lnTo>
                        <a:lnTo>
                          <a:pt x="122" y="116"/>
                        </a:lnTo>
                        <a:lnTo>
                          <a:pt x="121" y="116"/>
                        </a:lnTo>
                        <a:lnTo>
                          <a:pt x="122" y="116"/>
                        </a:lnTo>
                        <a:lnTo>
                          <a:pt x="121" y="115"/>
                        </a:lnTo>
                        <a:lnTo>
                          <a:pt x="121" y="114"/>
                        </a:lnTo>
                        <a:lnTo>
                          <a:pt x="120" y="113"/>
                        </a:lnTo>
                        <a:lnTo>
                          <a:pt x="120" y="111"/>
                        </a:lnTo>
                        <a:lnTo>
                          <a:pt x="120" y="109"/>
                        </a:lnTo>
                        <a:lnTo>
                          <a:pt x="120" y="108"/>
                        </a:lnTo>
                        <a:lnTo>
                          <a:pt x="121" y="107"/>
                        </a:lnTo>
                        <a:lnTo>
                          <a:pt x="121" y="106"/>
                        </a:lnTo>
                        <a:lnTo>
                          <a:pt x="122" y="103"/>
                        </a:lnTo>
                        <a:lnTo>
                          <a:pt x="123" y="101"/>
                        </a:lnTo>
                        <a:lnTo>
                          <a:pt x="125" y="100"/>
                        </a:lnTo>
                        <a:lnTo>
                          <a:pt x="125" y="99"/>
                        </a:lnTo>
                        <a:lnTo>
                          <a:pt x="125" y="97"/>
                        </a:lnTo>
                        <a:lnTo>
                          <a:pt x="127" y="97"/>
                        </a:lnTo>
                        <a:lnTo>
                          <a:pt x="127" y="97"/>
                        </a:lnTo>
                        <a:lnTo>
                          <a:pt x="128" y="96"/>
                        </a:lnTo>
                        <a:lnTo>
                          <a:pt x="128" y="96"/>
                        </a:lnTo>
                        <a:lnTo>
                          <a:pt x="129" y="95"/>
                        </a:lnTo>
                        <a:lnTo>
                          <a:pt x="128" y="95"/>
                        </a:lnTo>
                        <a:lnTo>
                          <a:pt x="128" y="95"/>
                        </a:lnTo>
                        <a:lnTo>
                          <a:pt x="127" y="94"/>
                        </a:lnTo>
                        <a:lnTo>
                          <a:pt x="125" y="94"/>
                        </a:lnTo>
                        <a:lnTo>
                          <a:pt x="124" y="96"/>
                        </a:lnTo>
                        <a:lnTo>
                          <a:pt x="122" y="97"/>
                        </a:lnTo>
                        <a:lnTo>
                          <a:pt x="121" y="96"/>
                        </a:lnTo>
                        <a:lnTo>
                          <a:pt x="121" y="96"/>
                        </a:lnTo>
                        <a:lnTo>
                          <a:pt x="121" y="95"/>
                        </a:lnTo>
                        <a:lnTo>
                          <a:pt x="120" y="96"/>
                        </a:lnTo>
                        <a:lnTo>
                          <a:pt x="120" y="96"/>
                        </a:lnTo>
                        <a:lnTo>
                          <a:pt x="120" y="97"/>
                        </a:lnTo>
                        <a:lnTo>
                          <a:pt x="118" y="99"/>
                        </a:lnTo>
                        <a:lnTo>
                          <a:pt x="118" y="99"/>
                        </a:lnTo>
                        <a:lnTo>
                          <a:pt x="117" y="97"/>
                        </a:lnTo>
                        <a:lnTo>
                          <a:pt x="116" y="97"/>
                        </a:lnTo>
                        <a:lnTo>
                          <a:pt x="116" y="97"/>
                        </a:lnTo>
                        <a:lnTo>
                          <a:pt x="114" y="97"/>
                        </a:lnTo>
                        <a:lnTo>
                          <a:pt x="114" y="97"/>
                        </a:lnTo>
                        <a:lnTo>
                          <a:pt x="111" y="97"/>
                        </a:lnTo>
                        <a:lnTo>
                          <a:pt x="110" y="99"/>
                        </a:lnTo>
                        <a:lnTo>
                          <a:pt x="110" y="99"/>
                        </a:lnTo>
                        <a:lnTo>
                          <a:pt x="109" y="99"/>
                        </a:lnTo>
                        <a:lnTo>
                          <a:pt x="108" y="100"/>
                        </a:lnTo>
                        <a:lnTo>
                          <a:pt x="107" y="100"/>
                        </a:lnTo>
                        <a:lnTo>
                          <a:pt x="105" y="101"/>
                        </a:lnTo>
                        <a:lnTo>
                          <a:pt x="101" y="101"/>
                        </a:lnTo>
                        <a:lnTo>
                          <a:pt x="100" y="100"/>
                        </a:lnTo>
                        <a:lnTo>
                          <a:pt x="96" y="101"/>
                        </a:lnTo>
                        <a:lnTo>
                          <a:pt x="95" y="101"/>
                        </a:lnTo>
                        <a:lnTo>
                          <a:pt x="94" y="101"/>
                        </a:lnTo>
                        <a:lnTo>
                          <a:pt x="92" y="100"/>
                        </a:lnTo>
                        <a:lnTo>
                          <a:pt x="90" y="100"/>
                        </a:lnTo>
                        <a:lnTo>
                          <a:pt x="90" y="99"/>
                        </a:lnTo>
                        <a:lnTo>
                          <a:pt x="89" y="99"/>
                        </a:lnTo>
                        <a:lnTo>
                          <a:pt x="88" y="99"/>
                        </a:lnTo>
                        <a:lnTo>
                          <a:pt x="88" y="97"/>
                        </a:lnTo>
                        <a:lnTo>
                          <a:pt x="88" y="96"/>
                        </a:lnTo>
                        <a:lnTo>
                          <a:pt x="87" y="97"/>
                        </a:lnTo>
                        <a:lnTo>
                          <a:pt x="87" y="97"/>
                        </a:lnTo>
                        <a:lnTo>
                          <a:pt x="84" y="97"/>
                        </a:lnTo>
                        <a:lnTo>
                          <a:pt x="84" y="97"/>
                        </a:lnTo>
                        <a:lnTo>
                          <a:pt x="84" y="97"/>
                        </a:lnTo>
                        <a:lnTo>
                          <a:pt x="83" y="99"/>
                        </a:lnTo>
                        <a:lnTo>
                          <a:pt x="83" y="99"/>
                        </a:lnTo>
                        <a:lnTo>
                          <a:pt x="83" y="100"/>
                        </a:lnTo>
                        <a:lnTo>
                          <a:pt x="82" y="100"/>
                        </a:lnTo>
                        <a:lnTo>
                          <a:pt x="81" y="101"/>
                        </a:lnTo>
                        <a:lnTo>
                          <a:pt x="80" y="100"/>
                        </a:lnTo>
                        <a:lnTo>
                          <a:pt x="80" y="99"/>
                        </a:lnTo>
                        <a:lnTo>
                          <a:pt x="80" y="97"/>
                        </a:lnTo>
                        <a:lnTo>
                          <a:pt x="78" y="97"/>
                        </a:lnTo>
                        <a:lnTo>
                          <a:pt x="78" y="97"/>
                        </a:lnTo>
                        <a:lnTo>
                          <a:pt x="77" y="97"/>
                        </a:lnTo>
                        <a:lnTo>
                          <a:pt x="77" y="99"/>
                        </a:lnTo>
                        <a:lnTo>
                          <a:pt x="77" y="99"/>
                        </a:lnTo>
                        <a:lnTo>
                          <a:pt x="76" y="99"/>
                        </a:lnTo>
                        <a:lnTo>
                          <a:pt x="76" y="100"/>
                        </a:lnTo>
                        <a:lnTo>
                          <a:pt x="75" y="100"/>
                        </a:lnTo>
                        <a:lnTo>
                          <a:pt x="74" y="100"/>
                        </a:lnTo>
                        <a:lnTo>
                          <a:pt x="73" y="101"/>
                        </a:lnTo>
                        <a:lnTo>
                          <a:pt x="73" y="101"/>
                        </a:lnTo>
                        <a:lnTo>
                          <a:pt x="73" y="102"/>
                        </a:lnTo>
                        <a:lnTo>
                          <a:pt x="74" y="103"/>
                        </a:lnTo>
                        <a:lnTo>
                          <a:pt x="74" y="104"/>
                        </a:lnTo>
                        <a:lnTo>
                          <a:pt x="73" y="104"/>
                        </a:lnTo>
                        <a:lnTo>
                          <a:pt x="73" y="106"/>
                        </a:lnTo>
                        <a:lnTo>
                          <a:pt x="74" y="107"/>
                        </a:lnTo>
                        <a:lnTo>
                          <a:pt x="74" y="108"/>
                        </a:lnTo>
                        <a:lnTo>
                          <a:pt x="75" y="108"/>
                        </a:lnTo>
                        <a:lnTo>
                          <a:pt x="76" y="109"/>
                        </a:lnTo>
                        <a:lnTo>
                          <a:pt x="77" y="109"/>
                        </a:lnTo>
                        <a:lnTo>
                          <a:pt x="78" y="109"/>
                        </a:lnTo>
                        <a:lnTo>
                          <a:pt x="82" y="109"/>
                        </a:lnTo>
                        <a:lnTo>
                          <a:pt x="82" y="110"/>
                        </a:lnTo>
                        <a:lnTo>
                          <a:pt x="82" y="111"/>
                        </a:lnTo>
                        <a:lnTo>
                          <a:pt x="84" y="113"/>
                        </a:lnTo>
                        <a:lnTo>
                          <a:pt x="87" y="113"/>
                        </a:lnTo>
                        <a:lnTo>
                          <a:pt x="88" y="114"/>
                        </a:lnTo>
                        <a:lnTo>
                          <a:pt x="90" y="115"/>
                        </a:lnTo>
                        <a:lnTo>
                          <a:pt x="90" y="116"/>
                        </a:lnTo>
                        <a:lnTo>
                          <a:pt x="94" y="116"/>
                        </a:lnTo>
                        <a:lnTo>
                          <a:pt x="95" y="119"/>
                        </a:lnTo>
                        <a:lnTo>
                          <a:pt x="97" y="119"/>
                        </a:lnTo>
                        <a:lnTo>
                          <a:pt x="97" y="119"/>
                        </a:lnTo>
                        <a:lnTo>
                          <a:pt x="97" y="120"/>
                        </a:lnTo>
                        <a:lnTo>
                          <a:pt x="100" y="119"/>
                        </a:lnTo>
                        <a:lnTo>
                          <a:pt x="103" y="119"/>
                        </a:lnTo>
                        <a:lnTo>
                          <a:pt x="105" y="121"/>
                        </a:lnTo>
                        <a:lnTo>
                          <a:pt x="107" y="122"/>
                        </a:lnTo>
                        <a:lnTo>
                          <a:pt x="109" y="124"/>
                        </a:lnTo>
                        <a:lnTo>
                          <a:pt x="109" y="126"/>
                        </a:lnTo>
                        <a:lnTo>
                          <a:pt x="110" y="126"/>
                        </a:lnTo>
                        <a:lnTo>
                          <a:pt x="111" y="126"/>
                        </a:lnTo>
                        <a:lnTo>
                          <a:pt x="112" y="127"/>
                        </a:lnTo>
                        <a:lnTo>
                          <a:pt x="112" y="127"/>
                        </a:lnTo>
                        <a:lnTo>
                          <a:pt x="114" y="127"/>
                        </a:lnTo>
                        <a:lnTo>
                          <a:pt x="115" y="128"/>
                        </a:lnTo>
                        <a:lnTo>
                          <a:pt x="115" y="127"/>
                        </a:lnTo>
                        <a:lnTo>
                          <a:pt x="117" y="127"/>
                        </a:lnTo>
                        <a:lnTo>
                          <a:pt x="117" y="128"/>
                        </a:lnTo>
                        <a:lnTo>
                          <a:pt x="118" y="128"/>
                        </a:lnTo>
                        <a:lnTo>
                          <a:pt x="118" y="128"/>
                        </a:lnTo>
                        <a:lnTo>
                          <a:pt x="120" y="130"/>
                        </a:lnTo>
                        <a:lnTo>
                          <a:pt x="121" y="128"/>
                        </a:lnTo>
                        <a:lnTo>
                          <a:pt x="121" y="128"/>
                        </a:lnTo>
                        <a:close/>
                        <a:moveTo>
                          <a:pt x="16" y="81"/>
                        </a:moveTo>
                        <a:lnTo>
                          <a:pt x="17" y="80"/>
                        </a:lnTo>
                        <a:lnTo>
                          <a:pt x="16" y="79"/>
                        </a:lnTo>
                        <a:lnTo>
                          <a:pt x="15" y="77"/>
                        </a:lnTo>
                        <a:lnTo>
                          <a:pt x="17" y="76"/>
                        </a:lnTo>
                        <a:lnTo>
                          <a:pt x="17" y="76"/>
                        </a:lnTo>
                        <a:lnTo>
                          <a:pt x="16" y="75"/>
                        </a:lnTo>
                        <a:lnTo>
                          <a:pt x="15" y="74"/>
                        </a:lnTo>
                        <a:lnTo>
                          <a:pt x="17" y="75"/>
                        </a:lnTo>
                        <a:lnTo>
                          <a:pt x="17" y="76"/>
                        </a:lnTo>
                        <a:lnTo>
                          <a:pt x="18" y="76"/>
                        </a:lnTo>
                        <a:lnTo>
                          <a:pt x="18" y="76"/>
                        </a:lnTo>
                        <a:lnTo>
                          <a:pt x="21" y="75"/>
                        </a:lnTo>
                        <a:lnTo>
                          <a:pt x="21" y="76"/>
                        </a:lnTo>
                        <a:lnTo>
                          <a:pt x="23" y="77"/>
                        </a:lnTo>
                        <a:lnTo>
                          <a:pt x="25" y="76"/>
                        </a:lnTo>
                        <a:lnTo>
                          <a:pt x="27" y="75"/>
                        </a:lnTo>
                        <a:lnTo>
                          <a:pt x="27" y="74"/>
                        </a:lnTo>
                        <a:lnTo>
                          <a:pt x="27" y="73"/>
                        </a:lnTo>
                        <a:lnTo>
                          <a:pt x="27" y="70"/>
                        </a:lnTo>
                        <a:lnTo>
                          <a:pt x="27" y="69"/>
                        </a:lnTo>
                        <a:lnTo>
                          <a:pt x="25" y="68"/>
                        </a:lnTo>
                        <a:lnTo>
                          <a:pt x="25" y="67"/>
                        </a:lnTo>
                        <a:lnTo>
                          <a:pt x="27" y="66"/>
                        </a:lnTo>
                        <a:lnTo>
                          <a:pt x="27" y="62"/>
                        </a:lnTo>
                        <a:lnTo>
                          <a:pt x="28" y="62"/>
                        </a:lnTo>
                        <a:lnTo>
                          <a:pt x="28" y="61"/>
                        </a:lnTo>
                        <a:lnTo>
                          <a:pt x="27" y="61"/>
                        </a:lnTo>
                        <a:lnTo>
                          <a:pt x="27" y="60"/>
                        </a:lnTo>
                        <a:lnTo>
                          <a:pt x="29" y="59"/>
                        </a:lnTo>
                        <a:lnTo>
                          <a:pt x="29" y="57"/>
                        </a:lnTo>
                        <a:lnTo>
                          <a:pt x="25" y="56"/>
                        </a:lnTo>
                        <a:lnTo>
                          <a:pt x="27" y="55"/>
                        </a:lnTo>
                        <a:lnTo>
                          <a:pt x="25" y="54"/>
                        </a:lnTo>
                        <a:lnTo>
                          <a:pt x="28" y="53"/>
                        </a:lnTo>
                        <a:lnTo>
                          <a:pt x="28" y="52"/>
                        </a:lnTo>
                        <a:lnTo>
                          <a:pt x="29" y="49"/>
                        </a:lnTo>
                        <a:lnTo>
                          <a:pt x="28" y="47"/>
                        </a:lnTo>
                        <a:lnTo>
                          <a:pt x="28" y="47"/>
                        </a:lnTo>
                        <a:lnTo>
                          <a:pt x="28" y="46"/>
                        </a:lnTo>
                        <a:lnTo>
                          <a:pt x="28" y="44"/>
                        </a:lnTo>
                        <a:lnTo>
                          <a:pt x="25" y="43"/>
                        </a:lnTo>
                        <a:lnTo>
                          <a:pt x="25" y="43"/>
                        </a:lnTo>
                        <a:lnTo>
                          <a:pt x="25" y="43"/>
                        </a:lnTo>
                        <a:lnTo>
                          <a:pt x="28" y="43"/>
                        </a:lnTo>
                        <a:lnTo>
                          <a:pt x="25" y="42"/>
                        </a:lnTo>
                        <a:lnTo>
                          <a:pt x="25" y="41"/>
                        </a:lnTo>
                        <a:lnTo>
                          <a:pt x="25" y="40"/>
                        </a:lnTo>
                        <a:lnTo>
                          <a:pt x="24" y="39"/>
                        </a:lnTo>
                        <a:lnTo>
                          <a:pt x="24" y="39"/>
                        </a:lnTo>
                        <a:lnTo>
                          <a:pt x="22" y="39"/>
                        </a:lnTo>
                        <a:lnTo>
                          <a:pt x="24" y="37"/>
                        </a:lnTo>
                        <a:lnTo>
                          <a:pt x="24" y="37"/>
                        </a:lnTo>
                        <a:lnTo>
                          <a:pt x="24" y="37"/>
                        </a:lnTo>
                        <a:lnTo>
                          <a:pt x="24" y="37"/>
                        </a:lnTo>
                        <a:lnTo>
                          <a:pt x="24" y="36"/>
                        </a:lnTo>
                        <a:lnTo>
                          <a:pt x="22" y="36"/>
                        </a:lnTo>
                        <a:lnTo>
                          <a:pt x="22" y="36"/>
                        </a:lnTo>
                        <a:lnTo>
                          <a:pt x="21" y="36"/>
                        </a:lnTo>
                        <a:lnTo>
                          <a:pt x="22" y="35"/>
                        </a:lnTo>
                        <a:lnTo>
                          <a:pt x="18" y="35"/>
                        </a:lnTo>
                        <a:lnTo>
                          <a:pt x="20" y="35"/>
                        </a:lnTo>
                        <a:lnTo>
                          <a:pt x="18" y="34"/>
                        </a:lnTo>
                        <a:lnTo>
                          <a:pt x="18" y="34"/>
                        </a:lnTo>
                        <a:lnTo>
                          <a:pt x="16" y="35"/>
                        </a:lnTo>
                        <a:lnTo>
                          <a:pt x="16" y="35"/>
                        </a:lnTo>
                        <a:lnTo>
                          <a:pt x="16" y="35"/>
                        </a:lnTo>
                        <a:lnTo>
                          <a:pt x="16" y="36"/>
                        </a:lnTo>
                        <a:lnTo>
                          <a:pt x="14" y="37"/>
                        </a:lnTo>
                        <a:lnTo>
                          <a:pt x="14" y="39"/>
                        </a:lnTo>
                        <a:lnTo>
                          <a:pt x="13" y="39"/>
                        </a:lnTo>
                        <a:lnTo>
                          <a:pt x="13" y="40"/>
                        </a:lnTo>
                        <a:lnTo>
                          <a:pt x="10" y="41"/>
                        </a:lnTo>
                        <a:lnTo>
                          <a:pt x="9" y="41"/>
                        </a:lnTo>
                        <a:lnTo>
                          <a:pt x="8" y="41"/>
                        </a:lnTo>
                        <a:lnTo>
                          <a:pt x="8" y="42"/>
                        </a:lnTo>
                        <a:lnTo>
                          <a:pt x="4" y="43"/>
                        </a:lnTo>
                        <a:lnTo>
                          <a:pt x="1" y="42"/>
                        </a:lnTo>
                        <a:lnTo>
                          <a:pt x="1" y="41"/>
                        </a:lnTo>
                        <a:lnTo>
                          <a:pt x="1" y="40"/>
                        </a:lnTo>
                        <a:lnTo>
                          <a:pt x="1" y="40"/>
                        </a:lnTo>
                        <a:lnTo>
                          <a:pt x="1" y="41"/>
                        </a:lnTo>
                        <a:lnTo>
                          <a:pt x="1" y="41"/>
                        </a:lnTo>
                        <a:lnTo>
                          <a:pt x="0" y="44"/>
                        </a:lnTo>
                        <a:lnTo>
                          <a:pt x="1" y="47"/>
                        </a:lnTo>
                        <a:lnTo>
                          <a:pt x="1" y="47"/>
                        </a:lnTo>
                        <a:lnTo>
                          <a:pt x="0" y="47"/>
                        </a:lnTo>
                        <a:lnTo>
                          <a:pt x="1" y="48"/>
                        </a:lnTo>
                        <a:lnTo>
                          <a:pt x="1" y="48"/>
                        </a:lnTo>
                        <a:lnTo>
                          <a:pt x="1" y="47"/>
                        </a:lnTo>
                        <a:lnTo>
                          <a:pt x="2" y="47"/>
                        </a:lnTo>
                        <a:lnTo>
                          <a:pt x="1" y="48"/>
                        </a:lnTo>
                        <a:lnTo>
                          <a:pt x="1" y="48"/>
                        </a:lnTo>
                        <a:lnTo>
                          <a:pt x="2" y="48"/>
                        </a:lnTo>
                        <a:lnTo>
                          <a:pt x="2" y="48"/>
                        </a:lnTo>
                        <a:lnTo>
                          <a:pt x="2" y="49"/>
                        </a:lnTo>
                        <a:lnTo>
                          <a:pt x="3" y="49"/>
                        </a:lnTo>
                        <a:lnTo>
                          <a:pt x="4" y="52"/>
                        </a:lnTo>
                        <a:lnTo>
                          <a:pt x="4" y="53"/>
                        </a:lnTo>
                        <a:lnTo>
                          <a:pt x="5" y="53"/>
                        </a:lnTo>
                        <a:lnTo>
                          <a:pt x="5" y="54"/>
                        </a:lnTo>
                        <a:lnTo>
                          <a:pt x="5" y="56"/>
                        </a:lnTo>
                        <a:lnTo>
                          <a:pt x="5" y="57"/>
                        </a:lnTo>
                        <a:lnTo>
                          <a:pt x="5" y="59"/>
                        </a:lnTo>
                        <a:lnTo>
                          <a:pt x="4" y="59"/>
                        </a:lnTo>
                        <a:lnTo>
                          <a:pt x="5" y="59"/>
                        </a:lnTo>
                        <a:lnTo>
                          <a:pt x="4" y="60"/>
                        </a:lnTo>
                        <a:lnTo>
                          <a:pt x="5" y="62"/>
                        </a:lnTo>
                        <a:lnTo>
                          <a:pt x="8" y="62"/>
                        </a:lnTo>
                        <a:lnTo>
                          <a:pt x="8" y="63"/>
                        </a:lnTo>
                        <a:lnTo>
                          <a:pt x="8" y="64"/>
                        </a:lnTo>
                        <a:lnTo>
                          <a:pt x="8" y="64"/>
                        </a:lnTo>
                        <a:lnTo>
                          <a:pt x="5" y="66"/>
                        </a:lnTo>
                        <a:lnTo>
                          <a:pt x="7" y="67"/>
                        </a:lnTo>
                        <a:lnTo>
                          <a:pt x="5" y="66"/>
                        </a:lnTo>
                        <a:lnTo>
                          <a:pt x="5" y="67"/>
                        </a:lnTo>
                        <a:lnTo>
                          <a:pt x="5" y="68"/>
                        </a:lnTo>
                        <a:lnTo>
                          <a:pt x="5" y="69"/>
                        </a:lnTo>
                        <a:lnTo>
                          <a:pt x="5" y="70"/>
                        </a:lnTo>
                        <a:lnTo>
                          <a:pt x="5" y="71"/>
                        </a:lnTo>
                        <a:lnTo>
                          <a:pt x="4" y="73"/>
                        </a:lnTo>
                        <a:lnTo>
                          <a:pt x="5" y="73"/>
                        </a:lnTo>
                        <a:lnTo>
                          <a:pt x="5" y="74"/>
                        </a:lnTo>
                        <a:lnTo>
                          <a:pt x="5" y="75"/>
                        </a:lnTo>
                        <a:lnTo>
                          <a:pt x="4" y="75"/>
                        </a:lnTo>
                        <a:lnTo>
                          <a:pt x="4" y="75"/>
                        </a:lnTo>
                        <a:lnTo>
                          <a:pt x="5" y="76"/>
                        </a:lnTo>
                        <a:lnTo>
                          <a:pt x="5" y="76"/>
                        </a:lnTo>
                        <a:lnTo>
                          <a:pt x="5" y="77"/>
                        </a:lnTo>
                        <a:lnTo>
                          <a:pt x="5" y="79"/>
                        </a:lnTo>
                        <a:lnTo>
                          <a:pt x="5" y="80"/>
                        </a:lnTo>
                        <a:lnTo>
                          <a:pt x="8" y="79"/>
                        </a:lnTo>
                        <a:lnTo>
                          <a:pt x="7" y="80"/>
                        </a:lnTo>
                        <a:lnTo>
                          <a:pt x="8" y="80"/>
                        </a:lnTo>
                        <a:lnTo>
                          <a:pt x="9" y="81"/>
                        </a:lnTo>
                        <a:lnTo>
                          <a:pt x="9" y="82"/>
                        </a:lnTo>
                        <a:lnTo>
                          <a:pt x="11" y="82"/>
                        </a:lnTo>
                        <a:lnTo>
                          <a:pt x="11" y="82"/>
                        </a:lnTo>
                        <a:lnTo>
                          <a:pt x="14" y="82"/>
                        </a:lnTo>
                        <a:lnTo>
                          <a:pt x="16" y="81"/>
                        </a:lnTo>
                        <a:lnTo>
                          <a:pt x="16" y="81"/>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526" name="Freeform 291">
                    <a:extLst>
                      <a:ext uri="{FF2B5EF4-FFF2-40B4-BE49-F238E27FC236}">
                        <a16:creationId xmlns:a16="http://schemas.microsoft.com/office/drawing/2014/main" id="{262B8B78-60BF-004F-AB6E-717399D5D215}"/>
                      </a:ext>
                    </a:extLst>
                  </p:cNvPr>
                  <p:cNvSpPr>
                    <a:spLocks/>
                  </p:cNvSpPr>
                  <p:nvPr/>
                </p:nvSpPr>
                <p:spPr bwMode="auto">
                  <a:xfrm>
                    <a:off x="5203722" y="2782543"/>
                    <a:ext cx="327988" cy="299048"/>
                  </a:xfrm>
                  <a:custGeom>
                    <a:avLst/>
                    <a:gdLst>
                      <a:gd name="T0" fmla="*/ 172 w 204"/>
                      <a:gd name="T1" fmla="*/ 171 h 186"/>
                      <a:gd name="T2" fmla="*/ 180 w 204"/>
                      <a:gd name="T3" fmla="*/ 166 h 186"/>
                      <a:gd name="T4" fmla="*/ 180 w 204"/>
                      <a:gd name="T5" fmla="*/ 154 h 186"/>
                      <a:gd name="T6" fmla="*/ 172 w 204"/>
                      <a:gd name="T7" fmla="*/ 140 h 186"/>
                      <a:gd name="T8" fmla="*/ 185 w 204"/>
                      <a:gd name="T9" fmla="*/ 138 h 186"/>
                      <a:gd name="T10" fmla="*/ 193 w 204"/>
                      <a:gd name="T11" fmla="*/ 146 h 186"/>
                      <a:gd name="T12" fmla="*/ 203 w 204"/>
                      <a:gd name="T13" fmla="*/ 141 h 186"/>
                      <a:gd name="T14" fmla="*/ 191 w 204"/>
                      <a:gd name="T15" fmla="*/ 128 h 186"/>
                      <a:gd name="T16" fmla="*/ 171 w 204"/>
                      <a:gd name="T17" fmla="*/ 118 h 186"/>
                      <a:gd name="T18" fmla="*/ 161 w 204"/>
                      <a:gd name="T19" fmla="*/ 104 h 186"/>
                      <a:gd name="T20" fmla="*/ 133 w 204"/>
                      <a:gd name="T21" fmla="*/ 98 h 186"/>
                      <a:gd name="T22" fmla="*/ 125 w 204"/>
                      <a:gd name="T23" fmla="*/ 88 h 186"/>
                      <a:gd name="T24" fmla="*/ 120 w 204"/>
                      <a:gd name="T25" fmla="*/ 76 h 186"/>
                      <a:gd name="T26" fmla="*/ 113 w 204"/>
                      <a:gd name="T27" fmla="*/ 67 h 186"/>
                      <a:gd name="T28" fmla="*/ 103 w 204"/>
                      <a:gd name="T29" fmla="*/ 60 h 186"/>
                      <a:gd name="T30" fmla="*/ 96 w 204"/>
                      <a:gd name="T31" fmla="*/ 54 h 186"/>
                      <a:gd name="T32" fmla="*/ 94 w 204"/>
                      <a:gd name="T33" fmla="*/ 44 h 186"/>
                      <a:gd name="T34" fmla="*/ 97 w 204"/>
                      <a:gd name="T35" fmla="*/ 38 h 186"/>
                      <a:gd name="T36" fmla="*/ 97 w 204"/>
                      <a:gd name="T37" fmla="*/ 32 h 186"/>
                      <a:gd name="T38" fmla="*/ 106 w 204"/>
                      <a:gd name="T39" fmla="*/ 26 h 186"/>
                      <a:gd name="T40" fmla="*/ 111 w 204"/>
                      <a:gd name="T41" fmla="*/ 27 h 186"/>
                      <a:gd name="T42" fmla="*/ 117 w 204"/>
                      <a:gd name="T43" fmla="*/ 30 h 186"/>
                      <a:gd name="T44" fmla="*/ 113 w 204"/>
                      <a:gd name="T45" fmla="*/ 20 h 186"/>
                      <a:gd name="T46" fmla="*/ 112 w 204"/>
                      <a:gd name="T47" fmla="*/ 13 h 186"/>
                      <a:gd name="T48" fmla="*/ 96 w 204"/>
                      <a:gd name="T49" fmla="*/ 9 h 186"/>
                      <a:gd name="T50" fmla="*/ 86 w 204"/>
                      <a:gd name="T51" fmla="*/ 0 h 186"/>
                      <a:gd name="T52" fmla="*/ 66 w 204"/>
                      <a:gd name="T53" fmla="*/ 5 h 186"/>
                      <a:gd name="T54" fmla="*/ 62 w 204"/>
                      <a:gd name="T55" fmla="*/ 11 h 186"/>
                      <a:gd name="T56" fmla="*/ 57 w 204"/>
                      <a:gd name="T57" fmla="*/ 17 h 186"/>
                      <a:gd name="T58" fmla="*/ 45 w 204"/>
                      <a:gd name="T59" fmla="*/ 13 h 186"/>
                      <a:gd name="T60" fmla="*/ 39 w 204"/>
                      <a:gd name="T61" fmla="*/ 23 h 186"/>
                      <a:gd name="T62" fmla="*/ 34 w 204"/>
                      <a:gd name="T63" fmla="*/ 20 h 186"/>
                      <a:gd name="T64" fmla="*/ 25 w 204"/>
                      <a:gd name="T65" fmla="*/ 16 h 186"/>
                      <a:gd name="T66" fmla="*/ 18 w 204"/>
                      <a:gd name="T67" fmla="*/ 24 h 186"/>
                      <a:gd name="T68" fmla="*/ 5 w 204"/>
                      <a:gd name="T69" fmla="*/ 28 h 186"/>
                      <a:gd name="T70" fmla="*/ 5 w 204"/>
                      <a:gd name="T71" fmla="*/ 39 h 186"/>
                      <a:gd name="T72" fmla="*/ 10 w 204"/>
                      <a:gd name="T73" fmla="*/ 48 h 186"/>
                      <a:gd name="T74" fmla="*/ 10 w 204"/>
                      <a:gd name="T75" fmla="*/ 57 h 186"/>
                      <a:gd name="T76" fmla="*/ 22 w 204"/>
                      <a:gd name="T77" fmla="*/ 61 h 186"/>
                      <a:gd name="T78" fmla="*/ 26 w 204"/>
                      <a:gd name="T79" fmla="*/ 63 h 186"/>
                      <a:gd name="T80" fmla="*/ 33 w 204"/>
                      <a:gd name="T81" fmla="*/ 54 h 186"/>
                      <a:gd name="T82" fmla="*/ 44 w 204"/>
                      <a:gd name="T83" fmla="*/ 56 h 186"/>
                      <a:gd name="T84" fmla="*/ 54 w 204"/>
                      <a:gd name="T85" fmla="*/ 61 h 186"/>
                      <a:gd name="T86" fmla="*/ 63 w 204"/>
                      <a:gd name="T87" fmla="*/ 73 h 186"/>
                      <a:gd name="T88" fmla="*/ 69 w 204"/>
                      <a:gd name="T89" fmla="*/ 84 h 186"/>
                      <a:gd name="T90" fmla="*/ 77 w 204"/>
                      <a:gd name="T91" fmla="*/ 93 h 186"/>
                      <a:gd name="T92" fmla="*/ 82 w 204"/>
                      <a:gd name="T93" fmla="*/ 94 h 186"/>
                      <a:gd name="T94" fmla="*/ 91 w 204"/>
                      <a:gd name="T95" fmla="*/ 101 h 186"/>
                      <a:gd name="T96" fmla="*/ 97 w 204"/>
                      <a:gd name="T97" fmla="*/ 108 h 186"/>
                      <a:gd name="T98" fmla="*/ 111 w 204"/>
                      <a:gd name="T99" fmla="*/ 119 h 186"/>
                      <a:gd name="T100" fmla="*/ 123 w 204"/>
                      <a:gd name="T101" fmla="*/ 120 h 186"/>
                      <a:gd name="T102" fmla="*/ 127 w 204"/>
                      <a:gd name="T103" fmla="*/ 127 h 186"/>
                      <a:gd name="T104" fmla="*/ 132 w 204"/>
                      <a:gd name="T105" fmla="*/ 131 h 186"/>
                      <a:gd name="T106" fmla="*/ 140 w 204"/>
                      <a:gd name="T107" fmla="*/ 131 h 186"/>
                      <a:gd name="T108" fmla="*/ 145 w 204"/>
                      <a:gd name="T109" fmla="*/ 140 h 186"/>
                      <a:gd name="T110" fmla="*/ 156 w 204"/>
                      <a:gd name="T111" fmla="*/ 143 h 186"/>
                      <a:gd name="T112" fmla="*/ 161 w 204"/>
                      <a:gd name="T113" fmla="*/ 157 h 186"/>
                      <a:gd name="T114" fmla="*/ 166 w 204"/>
                      <a:gd name="T115" fmla="*/ 167 h 186"/>
                      <a:gd name="T116" fmla="*/ 159 w 204"/>
                      <a:gd name="T117" fmla="*/ 178 h 186"/>
                      <a:gd name="T118" fmla="*/ 164 w 204"/>
                      <a:gd name="T119" fmla="*/ 186 h 1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204" h="186">
                        <a:moveTo>
                          <a:pt x="165" y="185"/>
                        </a:moveTo>
                        <a:lnTo>
                          <a:pt x="165" y="184"/>
                        </a:lnTo>
                        <a:lnTo>
                          <a:pt x="166" y="184"/>
                        </a:lnTo>
                        <a:lnTo>
                          <a:pt x="166" y="183"/>
                        </a:lnTo>
                        <a:lnTo>
                          <a:pt x="167" y="181"/>
                        </a:lnTo>
                        <a:lnTo>
                          <a:pt x="169" y="180"/>
                        </a:lnTo>
                        <a:lnTo>
                          <a:pt x="169" y="179"/>
                        </a:lnTo>
                        <a:lnTo>
                          <a:pt x="170" y="179"/>
                        </a:lnTo>
                        <a:lnTo>
                          <a:pt x="170" y="179"/>
                        </a:lnTo>
                        <a:lnTo>
                          <a:pt x="171" y="179"/>
                        </a:lnTo>
                        <a:lnTo>
                          <a:pt x="172" y="177"/>
                        </a:lnTo>
                        <a:lnTo>
                          <a:pt x="172" y="174"/>
                        </a:lnTo>
                        <a:lnTo>
                          <a:pt x="172" y="173"/>
                        </a:lnTo>
                        <a:lnTo>
                          <a:pt x="172" y="171"/>
                        </a:lnTo>
                        <a:lnTo>
                          <a:pt x="172" y="172"/>
                        </a:lnTo>
                        <a:lnTo>
                          <a:pt x="171" y="171"/>
                        </a:lnTo>
                        <a:lnTo>
                          <a:pt x="172" y="170"/>
                        </a:lnTo>
                        <a:lnTo>
                          <a:pt x="172" y="170"/>
                        </a:lnTo>
                        <a:lnTo>
                          <a:pt x="172" y="168"/>
                        </a:lnTo>
                        <a:lnTo>
                          <a:pt x="176" y="167"/>
                        </a:lnTo>
                        <a:lnTo>
                          <a:pt x="176" y="166"/>
                        </a:lnTo>
                        <a:lnTo>
                          <a:pt x="176" y="165"/>
                        </a:lnTo>
                        <a:lnTo>
                          <a:pt x="177" y="165"/>
                        </a:lnTo>
                        <a:lnTo>
                          <a:pt x="178" y="165"/>
                        </a:lnTo>
                        <a:lnTo>
                          <a:pt x="178" y="165"/>
                        </a:lnTo>
                        <a:lnTo>
                          <a:pt x="179" y="166"/>
                        </a:lnTo>
                        <a:lnTo>
                          <a:pt x="179" y="166"/>
                        </a:lnTo>
                        <a:lnTo>
                          <a:pt x="180" y="166"/>
                        </a:lnTo>
                        <a:lnTo>
                          <a:pt x="180" y="166"/>
                        </a:lnTo>
                        <a:lnTo>
                          <a:pt x="181" y="165"/>
                        </a:lnTo>
                        <a:lnTo>
                          <a:pt x="181" y="165"/>
                        </a:lnTo>
                        <a:lnTo>
                          <a:pt x="181" y="164"/>
                        </a:lnTo>
                        <a:lnTo>
                          <a:pt x="181" y="164"/>
                        </a:lnTo>
                        <a:lnTo>
                          <a:pt x="181" y="163"/>
                        </a:lnTo>
                        <a:lnTo>
                          <a:pt x="181" y="161"/>
                        </a:lnTo>
                        <a:lnTo>
                          <a:pt x="180" y="161"/>
                        </a:lnTo>
                        <a:lnTo>
                          <a:pt x="181" y="160"/>
                        </a:lnTo>
                        <a:lnTo>
                          <a:pt x="180" y="159"/>
                        </a:lnTo>
                        <a:lnTo>
                          <a:pt x="181" y="158"/>
                        </a:lnTo>
                        <a:lnTo>
                          <a:pt x="180" y="157"/>
                        </a:lnTo>
                        <a:lnTo>
                          <a:pt x="180" y="155"/>
                        </a:lnTo>
                        <a:lnTo>
                          <a:pt x="180" y="154"/>
                        </a:lnTo>
                        <a:lnTo>
                          <a:pt x="179" y="155"/>
                        </a:lnTo>
                        <a:lnTo>
                          <a:pt x="178" y="154"/>
                        </a:lnTo>
                        <a:lnTo>
                          <a:pt x="177" y="153"/>
                        </a:lnTo>
                        <a:lnTo>
                          <a:pt x="177" y="153"/>
                        </a:lnTo>
                        <a:lnTo>
                          <a:pt x="173" y="152"/>
                        </a:lnTo>
                        <a:lnTo>
                          <a:pt x="172" y="152"/>
                        </a:lnTo>
                        <a:lnTo>
                          <a:pt x="171" y="151"/>
                        </a:lnTo>
                        <a:lnTo>
                          <a:pt x="171" y="150"/>
                        </a:lnTo>
                        <a:lnTo>
                          <a:pt x="170" y="148"/>
                        </a:lnTo>
                        <a:lnTo>
                          <a:pt x="170" y="147"/>
                        </a:lnTo>
                        <a:lnTo>
                          <a:pt x="170" y="147"/>
                        </a:lnTo>
                        <a:lnTo>
                          <a:pt x="172" y="144"/>
                        </a:lnTo>
                        <a:lnTo>
                          <a:pt x="171" y="143"/>
                        </a:lnTo>
                        <a:lnTo>
                          <a:pt x="172" y="140"/>
                        </a:lnTo>
                        <a:lnTo>
                          <a:pt x="173" y="140"/>
                        </a:lnTo>
                        <a:lnTo>
                          <a:pt x="173" y="140"/>
                        </a:lnTo>
                        <a:lnTo>
                          <a:pt x="174" y="140"/>
                        </a:lnTo>
                        <a:lnTo>
                          <a:pt x="174" y="139"/>
                        </a:lnTo>
                        <a:lnTo>
                          <a:pt x="174" y="138"/>
                        </a:lnTo>
                        <a:lnTo>
                          <a:pt x="177" y="138"/>
                        </a:lnTo>
                        <a:lnTo>
                          <a:pt x="176" y="136"/>
                        </a:lnTo>
                        <a:lnTo>
                          <a:pt x="177" y="133"/>
                        </a:lnTo>
                        <a:lnTo>
                          <a:pt x="179" y="133"/>
                        </a:lnTo>
                        <a:lnTo>
                          <a:pt x="180" y="136"/>
                        </a:lnTo>
                        <a:lnTo>
                          <a:pt x="181" y="136"/>
                        </a:lnTo>
                        <a:lnTo>
                          <a:pt x="183" y="136"/>
                        </a:lnTo>
                        <a:lnTo>
                          <a:pt x="183" y="137"/>
                        </a:lnTo>
                        <a:lnTo>
                          <a:pt x="185" y="138"/>
                        </a:lnTo>
                        <a:lnTo>
                          <a:pt x="186" y="138"/>
                        </a:lnTo>
                        <a:lnTo>
                          <a:pt x="187" y="138"/>
                        </a:lnTo>
                        <a:lnTo>
                          <a:pt x="189" y="138"/>
                        </a:lnTo>
                        <a:lnTo>
                          <a:pt x="189" y="138"/>
                        </a:lnTo>
                        <a:lnTo>
                          <a:pt x="189" y="139"/>
                        </a:lnTo>
                        <a:lnTo>
                          <a:pt x="190" y="140"/>
                        </a:lnTo>
                        <a:lnTo>
                          <a:pt x="190" y="140"/>
                        </a:lnTo>
                        <a:lnTo>
                          <a:pt x="191" y="141"/>
                        </a:lnTo>
                        <a:lnTo>
                          <a:pt x="192" y="141"/>
                        </a:lnTo>
                        <a:lnTo>
                          <a:pt x="192" y="141"/>
                        </a:lnTo>
                        <a:lnTo>
                          <a:pt x="192" y="143"/>
                        </a:lnTo>
                        <a:lnTo>
                          <a:pt x="192" y="144"/>
                        </a:lnTo>
                        <a:lnTo>
                          <a:pt x="193" y="144"/>
                        </a:lnTo>
                        <a:lnTo>
                          <a:pt x="193" y="146"/>
                        </a:lnTo>
                        <a:lnTo>
                          <a:pt x="193" y="146"/>
                        </a:lnTo>
                        <a:lnTo>
                          <a:pt x="194" y="147"/>
                        </a:lnTo>
                        <a:lnTo>
                          <a:pt x="196" y="147"/>
                        </a:lnTo>
                        <a:lnTo>
                          <a:pt x="198" y="148"/>
                        </a:lnTo>
                        <a:lnTo>
                          <a:pt x="199" y="148"/>
                        </a:lnTo>
                        <a:lnTo>
                          <a:pt x="200" y="147"/>
                        </a:lnTo>
                        <a:lnTo>
                          <a:pt x="201" y="147"/>
                        </a:lnTo>
                        <a:lnTo>
                          <a:pt x="203" y="146"/>
                        </a:lnTo>
                        <a:lnTo>
                          <a:pt x="204" y="146"/>
                        </a:lnTo>
                        <a:lnTo>
                          <a:pt x="203" y="144"/>
                        </a:lnTo>
                        <a:lnTo>
                          <a:pt x="203" y="144"/>
                        </a:lnTo>
                        <a:lnTo>
                          <a:pt x="203" y="143"/>
                        </a:lnTo>
                        <a:lnTo>
                          <a:pt x="203" y="143"/>
                        </a:lnTo>
                        <a:lnTo>
                          <a:pt x="203" y="141"/>
                        </a:lnTo>
                        <a:lnTo>
                          <a:pt x="203" y="140"/>
                        </a:lnTo>
                        <a:lnTo>
                          <a:pt x="203" y="138"/>
                        </a:lnTo>
                        <a:lnTo>
                          <a:pt x="200" y="138"/>
                        </a:lnTo>
                        <a:lnTo>
                          <a:pt x="201" y="137"/>
                        </a:lnTo>
                        <a:lnTo>
                          <a:pt x="199" y="136"/>
                        </a:lnTo>
                        <a:lnTo>
                          <a:pt x="198" y="134"/>
                        </a:lnTo>
                        <a:lnTo>
                          <a:pt x="196" y="134"/>
                        </a:lnTo>
                        <a:lnTo>
                          <a:pt x="194" y="132"/>
                        </a:lnTo>
                        <a:lnTo>
                          <a:pt x="193" y="130"/>
                        </a:lnTo>
                        <a:lnTo>
                          <a:pt x="194" y="130"/>
                        </a:lnTo>
                        <a:lnTo>
                          <a:pt x="194" y="128"/>
                        </a:lnTo>
                        <a:lnTo>
                          <a:pt x="193" y="128"/>
                        </a:lnTo>
                        <a:lnTo>
                          <a:pt x="192" y="128"/>
                        </a:lnTo>
                        <a:lnTo>
                          <a:pt x="191" y="128"/>
                        </a:lnTo>
                        <a:lnTo>
                          <a:pt x="190" y="127"/>
                        </a:lnTo>
                        <a:lnTo>
                          <a:pt x="189" y="127"/>
                        </a:lnTo>
                        <a:lnTo>
                          <a:pt x="187" y="126"/>
                        </a:lnTo>
                        <a:lnTo>
                          <a:pt x="186" y="125"/>
                        </a:lnTo>
                        <a:lnTo>
                          <a:pt x="184" y="124"/>
                        </a:lnTo>
                        <a:lnTo>
                          <a:pt x="183" y="124"/>
                        </a:lnTo>
                        <a:lnTo>
                          <a:pt x="180" y="123"/>
                        </a:lnTo>
                        <a:lnTo>
                          <a:pt x="179" y="121"/>
                        </a:lnTo>
                        <a:lnTo>
                          <a:pt x="177" y="120"/>
                        </a:lnTo>
                        <a:lnTo>
                          <a:pt x="176" y="120"/>
                        </a:lnTo>
                        <a:lnTo>
                          <a:pt x="174" y="119"/>
                        </a:lnTo>
                        <a:lnTo>
                          <a:pt x="173" y="119"/>
                        </a:lnTo>
                        <a:lnTo>
                          <a:pt x="172" y="118"/>
                        </a:lnTo>
                        <a:lnTo>
                          <a:pt x="171" y="118"/>
                        </a:lnTo>
                        <a:lnTo>
                          <a:pt x="170" y="118"/>
                        </a:lnTo>
                        <a:lnTo>
                          <a:pt x="169" y="117"/>
                        </a:lnTo>
                        <a:lnTo>
                          <a:pt x="167" y="118"/>
                        </a:lnTo>
                        <a:lnTo>
                          <a:pt x="166" y="117"/>
                        </a:lnTo>
                        <a:lnTo>
                          <a:pt x="165" y="117"/>
                        </a:lnTo>
                        <a:lnTo>
                          <a:pt x="163" y="117"/>
                        </a:lnTo>
                        <a:lnTo>
                          <a:pt x="160" y="114"/>
                        </a:lnTo>
                        <a:lnTo>
                          <a:pt x="158" y="113"/>
                        </a:lnTo>
                        <a:lnTo>
                          <a:pt x="158" y="112"/>
                        </a:lnTo>
                        <a:lnTo>
                          <a:pt x="159" y="110"/>
                        </a:lnTo>
                        <a:lnTo>
                          <a:pt x="160" y="108"/>
                        </a:lnTo>
                        <a:lnTo>
                          <a:pt x="161" y="107"/>
                        </a:lnTo>
                        <a:lnTo>
                          <a:pt x="161" y="106"/>
                        </a:lnTo>
                        <a:lnTo>
                          <a:pt x="161" y="104"/>
                        </a:lnTo>
                        <a:lnTo>
                          <a:pt x="161" y="104"/>
                        </a:lnTo>
                        <a:lnTo>
                          <a:pt x="159" y="104"/>
                        </a:lnTo>
                        <a:lnTo>
                          <a:pt x="158" y="104"/>
                        </a:lnTo>
                        <a:lnTo>
                          <a:pt x="157" y="105"/>
                        </a:lnTo>
                        <a:lnTo>
                          <a:pt x="154" y="105"/>
                        </a:lnTo>
                        <a:lnTo>
                          <a:pt x="151" y="105"/>
                        </a:lnTo>
                        <a:lnTo>
                          <a:pt x="150" y="105"/>
                        </a:lnTo>
                        <a:lnTo>
                          <a:pt x="147" y="104"/>
                        </a:lnTo>
                        <a:lnTo>
                          <a:pt x="145" y="104"/>
                        </a:lnTo>
                        <a:lnTo>
                          <a:pt x="144" y="104"/>
                        </a:lnTo>
                        <a:lnTo>
                          <a:pt x="141" y="103"/>
                        </a:lnTo>
                        <a:lnTo>
                          <a:pt x="139" y="100"/>
                        </a:lnTo>
                        <a:lnTo>
                          <a:pt x="137" y="99"/>
                        </a:lnTo>
                        <a:lnTo>
                          <a:pt x="133" y="98"/>
                        </a:lnTo>
                        <a:lnTo>
                          <a:pt x="136" y="98"/>
                        </a:lnTo>
                        <a:lnTo>
                          <a:pt x="133" y="96"/>
                        </a:lnTo>
                        <a:lnTo>
                          <a:pt x="131" y="94"/>
                        </a:lnTo>
                        <a:lnTo>
                          <a:pt x="132" y="94"/>
                        </a:lnTo>
                        <a:lnTo>
                          <a:pt x="131" y="93"/>
                        </a:lnTo>
                        <a:lnTo>
                          <a:pt x="130" y="93"/>
                        </a:lnTo>
                        <a:lnTo>
                          <a:pt x="130" y="92"/>
                        </a:lnTo>
                        <a:lnTo>
                          <a:pt x="129" y="92"/>
                        </a:lnTo>
                        <a:lnTo>
                          <a:pt x="129" y="92"/>
                        </a:lnTo>
                        <a:lnTo>
                          <a:pt x="127" y="92"/>
                        </a:lnTo>
                        <a:lnTo>
                          <a:pt x="126" y="90"/>
                        </a:lnTo>
                        <a:lnTo>
                          <a:pt x="127" y="90"/>
                        </a:lnTo>
                        <a:lnTo>
                          <a:pt x="126" y="88"/>
                        </a:lnTo>
                        <a:lnTo>
                          <a:pt x="125" y="88"/>
                        </a:lnTo>
                        <a:lnTo>
                          <a:pt x="125" y="87"/>
                        </a:lnTo>
                        <a:lnTo>
                          <a:pt x="125" y="86"/>
                        </a:lnTo>
                        <a:lnTo>
                          <a:pt x="125" y="85"/>
                        </a:lnTo>
                        <a:lnTo>
                          <a:pt x="124" y="85"/>
                        </a:lnTo>
                        <a:lnTo>
                          <a:pt x="124" y="84"/>
                        </a:lnTo>
                        <a:lnTo>
                          <a:pt x="124" y="83"/>
                        </a:lnTo>
                        <a:lnTo>
                          <a:pt x="124" y="83"/>
                        </a:lnTo>
                        <a:lnTo>
                          <a:pt x="123" y="83"/>
                        </a:lnTo>
                        <a:lnTo>
                          <a:pt x="121" y="80"/>
                        </a:lnTo>
                        <a:lnTo>
                          <a:pt x="121" y="80"/>
                        </a:lnTo>
                        <a:lnTo>
                          <a:pt x="121" y="79"/>
                        </a:lnTo>
                        <a:lnTo>
                          <a:pt x="120" y="78"/>
                        </a:lnTo>
                        <a:lnTo>
                          <a:pt x="120" y="77"/>
                        </a:lnTo>
                        <a:lnTo>
                          <a:pt x="120" y="76"/>
                        </a:lnTo>
                        <a:lnTo>
                          <a:pt x="119" y="76"/>
                        </a:lnTo>
                        <a:lnTo>
                          <a:pt x="119" y="74"/>
                        </a:lnTo>
                        <a:lnTo>
                          <a:pt x="119" y="73"/>
                        </a:lnTo>
                        <a:lnTo>
                          <a:pt x="119" y="73"/>
                        </a:lnTo>
                        <a:lnTo>
                          <a:pt x="118" y="72"/>
                        </a:lnTo>
                        <a:lnTo>
                          <a:pt x="118" y="72"/>
                        </a:lnTo>
                        <a:lnTo>
                          <a:pt x="118" y="71"/>
                        </a:lnTo>
                        <a:lnTo>
                          <a:pt x="118" y="71"/>
                        </a:lnTo>
                        <a:lnTo>
                          <a:pt x="117" y="70"/>
                        </a:lnTo>
                        <a:lnTo>
                          <a:pt x="117" y="70"/>
                        </a:lnTo>
                        <a:lnTo>
                          <a:pt x="117" y="68"/>
                        </a:lnTo>
                        <a:lnTo>
                          <a:pt x="116" y="68"/>
                        </a:lnTo>
                        <a:lnTo>
                          <a:pt x="114" y="67"/>
                        </a:lnTo>
                        <a:lnTo>
                          <a:pt x="113" y="67"/>
                        </a:lnTo>
                        <a:lnTo>
                          <a:pt x="112" y="67"/>
                        </a:lnTo>
                        <a:lnTo>
                          <a:pt x="111" y="66"/>
                        </a:lnTo>
                        <a:lnTo>
                          <a:pt x="110" y="65"/>
                        </a:lnTo>
                        <a:lnTo>
                          <a:pt x="109" y="65"/>
                        </a:lnTo>
                        <a:lnTo>
                          <a:pt x="109" y="65"/>
                        </a:lnTo>
                        <a:lnTo>
                          <a:pt x="109" y="64"/>
                        </a:lnTo>
                        <a:lnTo>
                          <a:pt x="107" y="64"/>
                        </a:lnTo>
                        <a:lnTo>
                          <a:pt x="106" y="64"/>
                        </a:lnTo>
                        <a:lnTo>
                          <a:pt x="106" y="64"/>
                        </a:lnTo>
                        <a:lnTo>
                          <a:pt x="105" y="63"/>
                        </a:lnTo>
                        <a:lnTo>
                          <a:pt x="104" y="63"/>
                        </a:lnTo>
                        <a:lnTo>
                          <a:pt x="104" y="61"/>
                        </a:lnTo>
                        <a:lnTo>
                          <a:pt x="103" y="60"/>
                        </a:lnTo>
                        <a:lnTo>
                          <a:pt x="103" y="60"/>
                        </a:lnTo>
                        <a:lnTo>
                          <a:pt x="102" y="60"/>
                        </a:lnTo>
                        <a:lnTo>
                          <a:pt x="102" y="59"/>
                        </a:lnTo>
                        <a:lnTo>
                          <a:pt x="100" y="59"/>
                        </a:lnTo>
                        <a:lnTo>
                          <a:pt x="100" y="59"/>
                        </a:lnTo>
                        <a:lnTo>
                          <a:pt x="100" y="59"/>
                        </a:lnTo>
                        <a:lnTo>
                          <a:pt x="100" y="58"/>
                        </a:lnTo>
                        <a:lnTo>
                          <a:pt x="99" y="58"/>
                        </a:lnTo>
                        <a:lnTo>
                          <a:pt x="99" y="58"/>
                        </a:lnTo>
                        <a:lnTo>
                          <a:pt x="98" y="57"/>
                        </a:lnTo>
                        <a:lnTo>
                          <a:pt x="99" y="57"/>
                        </a:lnTo>
                        <a:lnTo>
                          <a:pt x="97" y="57"/>
                        </a:lnTo>
                        <a:lnTo>
                          <a:pt x="97" y="57"/>
                        </a:lnTo>
                        <a:lnTo>
                          <a:pt x="96" y="56"/>
                        </a:lnTo>
                        <a:lnTo>
                          <a:pt x="96" y="54"/>
                        </a:lnTo>
                        <a:lnTo>
                          <a:pt x="94" y="54"/>
                        </a:lnTo>
                        <a:lnTo>
                          <a:pt x="94" y="53"/>
                        </a:lnTo>
                        <a:lnTo>
                          <a:pt x="94" y="52"/>
                        </a:lnTo>
                        <a:lnTo>
                          <a:pt x="94" y="51"/>
                        </a:lnTo>
                        <a:lnTo>
                          <a:pt x="94" y="51"/>
                        </a:lnTo>
                        <a:lnTo>
                          <a:pt x="93" y="50"/>
                        </a:lnTo>
                        <a:lnTo>
                          <a:pt x="93" y="48"/>
                        </a:lnTo>
                        <a:lnTo>
                          <a:pt x="93" y="47"/>
                        </a:lnTo>
                        <a:lnTo>
                          <a:pt x="93" y="46"/>
                        </a:lnTo>
                        <a:lnTo>
                          <a:pt x="93" y="45"/>
                        </a:lnTo>
                        <a:lnTo>
                          <a:pt x="94" y="45"/>
                        </a:lnTo>
                        <a:lnTo>
                          <a:pt x="94" y="45"/>
                        </a:lnTo>
                        <a:lnTo>
                          <a:pt x="94" y="44"/>
                        </a:lnTo>
                        <a:lnTo>
                          <a:pt x="94" y="44"/>
                        </a:lnTo>
                        <a:lnTo>
                          <a:pt x="94" y="43"/>
                        </a:lnTo>
                        <a:lnTo>
                          <a:pt x="96" y="43"/>
                        </a:lnTo>
                        <a:lnTo>
                          <a:pt x="96" y="43"/>
                        </a:lnTo>
                        <a:lnTo>
                          <a:pt x="97" y="43"/>
                        </a:lnTo>
                        <a:lnTo>
                          <a:pt x="97" y="43"/>
                        </a:lnTo>
                        <a:lnTo>
                          <a:pt x="98" y="41"/>
                        </a:lnTo>
                        <a:lnTo>
                          <a:pt x="98" y="43"/>
                        </a:lnTo>
                        <a:lnTo>
                          <a:pt x="98" y="43"/>
                        </a:lnTo>
                        <a:lnTo>
                          <a:pt x="98" y="41"/>
                        </a:lnTo>
                        <a:lnTo>
                          <a:pt x="98" y="41"/>
                        </a:lnTo>
                        <a:lnTo>
                          <a:pt x="97" y="40"/>
                        </a:lnTo>
                        <a:lnTo>
                          <a:pt x="98" y="39"/>
                        </a:lnTo>
                        <a:lnTo>
                          <a:pt x="97" y="39"/>
                        </a:lnTo>
                        <a:lnTo>
                          <a:pt x="97" y="38"/>
                        </a:lnTo>
                        <a:lnTo>
                          <a:pt x="97" y="38"/>
                        </a:lnTo>
                        <a:lnTo>
                          <a:pt x="94" y="37"/>
                        </a:lnTo>
                        <a:lnTo>
                          <a:pt x="93" y="36"/>
                        </a:lnTo>
                        <a:lnTo>
                          <a:pt x="93" y="36"/>
                        </a:lnTo>
                        <a:lnTo>
                          <a:pt x="92" y="36"/>
                        </a:lnTo>
                        <a:lnTo>
                          <a:pt x="91" y="36"/>
                        </a:lnTo>
                        <a:lnTo>
                          <a:pt x="91" y="34"/>
                        </a:lnTo>
                        <a:lnTo>
                          <a:pt x="91" y="34"/>
                        </a:lnTo>
                        <a:lnTo>
                          <a:pt x="91" y="34"/>
                        </a:lnTo>
                        <a:lnTo>
                          <a:pt x="92" y="33"/>
                        </a:lnTo>
                        <a:lnTo>
                          <a:pt x="92" y="32"/>
                        </a:lnTo>
                        <a:lnTo>
                          <a:pt x="93" y="33"/>
                        </a:lnTo>
                        <a:lnTo>
                          <a:pt x="94" y="31"/>
                        </a:lnTo>
                        <a:lnTo>
                          <a:pt x="97" y="32"/>
                        </a:lnTo>
                        <a:lnTo>
                          <a:pt x="100" y="31"/>
                        </a:lnTo>
                        <a:lnTo>
                          <a:pt x="100" y="31"/>
                        </a:lnTo>
                        <a:lnTo>
                          <a:pt x="102" y="30"/>
                        </a:lnTo>
                        <a:lnTo>
                          <a:pt x="104" y="30"/>
                        </a:lnTo>
                        <a:lnTo>
                          <a:pt x="105" y="30"/>
                        </a:lnTo>
                        <a:lnTo>
                          <a:pt x="106" y="30"/>
                        </a:lnTo>
                        <a:lnTo>
                          <a:pt x="106" y="27"/>
                        </a:lnTo>
                        <a:lnTo>
                          <a:pt x="105" y="28"/>
                        </a:lnTo>
                        <a:lnTo>
                          <a:pt x="105" y="28"/>
                        </a:lnTo>
                        <a:lnTo>
                          <a:pt x="105" y="27"/>
                        </a:lnTo>
                        <a:lnTo>
                          <a:pt x="105" y="27"/>
                        </a:lnTo>
                        <a:lnTo>
                          <a:pt x="106" y="27"/>
                        </a:lnTo>
                        <a:lnTo>
                          <a:pt x="106" y="26"/>
                        </a:lnTo>
                        <a:lnTo>
                          <a:pt x="106" y="26"/>
                        </a:lnTo>
                        <a:lnTo>
                          <a:pt x="107" y="26"/>
                        </a:lnTo>
                        <a:lnTo>
                          <a:pt x="107" y="26"/>
                        </a:lnTo>
                        <a:lnTo>
                          <a:pt x="107" y="27"/>
                        </a:lnTo>
                        <a:lnTo>
                          <a:pt x="109" y="27"/>
                        </a:lnTo>
                        <a:lnTo>
                          <a:pt x="110" y="27"/>
                        </a:lnTo>
                        <a:lnTo>
                          <a:pt x="111" y="27"/>
                        </a:lnTo>
                        <a:lnTo>
                          <a:pt x="110" y="28"/>
                        </a:lnTo>
                        <a:lnTo>
                          <a:pt x="110" y="28"/>
                        </a:lnTo>
                        <a:lnTo>
                          <a:pt x="110" y="30"/>
                        </a:lnTo>
                        <a:lnTo>
                          <a:pt x="111" y="28"/>
                        </a:lnTo>
                        <a:lnTo>
                          <a:pt x="111" y="30"/>
                        </a:lnTo>
                        <a:lnTo>
                          <a:pt x="111" y="27"/>
                        </a:lnTo>
                        <a:lnTo>
                          <a:pt x="112" y="27"/>
                        </a:lnTo>
                        <a:lnTo>
                          <a:pt x="111" y="27"/>
                        </a:lnTo>
                        <a:lnTo>
                          <a:pt x="111" y="27"/>
                        </a:lnTo>
                        <a:lnTo>
                          <a:pt x="111" y="26"/>
                        </a:lnTo>
                        <a:lnTo>
                          <a:pt x="111" y="26"/>
                        </a:lnTo>
                        <a:lnTo>
                          <a:pt x="112" y="26"/>
                        </a:lnTo>
                        <a:lnTo>
                          <a:pt x="113" y="26"/>
                        </a:lnTo>
                        <a:lnTo>
                          <a:pt x="114" y="26"/>
                        </a:lnTo>
                        <a:lnTo>
                          <a:pt x="114" y="27"/>
                        </a:lnTo>
                        <a:lnTo>
                          <a:pt x="114" y="27"/>
                        </a:lnTo>
                        <a:lnTo>
                          <a:pt x="116" y="28"/>
                        </a:lnTo>
                        <a:lnTo>
                          <a:pt x="116" y="28"/>
                        </a:lnTo>
                        <a:lnTo>
                          <a:pt x="116" y="28"/>
                        </a:lnTo>
                        <a:lnTo>
                          <a:pt x="116" y="30"/>
                        </a:lnTo>
                        <a:lnTo>
                          <a:pt x="117" y="30"/>
                        </a:lnTo>
                        <a:lnTo>
                          <a:pt x="117" y="30"/>
                        </a:lnTo>
                        <a:lnTo>
                          <a:pt x="117" y="28"/>
                        </a:lnTo>
                        <a:lnTo>
                          <a:pt x="117" y="27"/>
                        </a:lnTo>
                        <a:lnTo>
                          <a:pt x="116" y="26"/>
                        </a:lnTo>
                        <a:lnTo>
                          <a:pt x="114" y="26"/>
                        </a:lnTo>
                        <a:lnTo>
                          <a:pt x="114" y="26"/>
                        </a:lnTo>
                        <a:lnTo>
                          <a:pt x="113" y="25"/>
                        </a:lnTo>
                        <a:lnTo>
                          <a:pt x="113" y="25"/>
                        </a:lnTo>
                        <a:lnTo>
                          <a:pt x="114" y="23"/>
                        </a:lnTo>
                        <a:lnTo>
                          <a:pt x="113" y="21"/>
                        </a:lnTo>
                        <a:lnTo>
                          <a:pt x="113" y="21"/>
                        </a:lnTo>
                        <a:lnTo>
                          <a:pt x="111" y="23"/>
                        </a:lnTo>
                        <a:lnTo>
                          <a:pt x="111" y="21"/>
                        </a:lnTo>
                        <a:lnTo>
                          <a:pt x="111" y="20"/>
                        </a:lnTo>
                        <a:lnTo>
                          <a:pt x="113" y="20"/>
                        </a:lnTo>
                        <a:lnTo>
                          <a:pt x="113" y="18"/>
                        </a:lnTo>
                        <a:lnTo>
                          <a:pt x="112" y="18"/>
                        </a:lnTo>
                        <a:lnTo>
                          <a:pt x="111" y="18"/>
                        </a:lnTo>
                        <a:lnTo>
                          <a:pt x="110" y="17"/>
                        </a:lnTo>
                        <a:lnTo>
                          <a:pt x="110" y="17"/>
                        </a:lnTo>
                        <a:lnTo>
                          <a:pt x="110" y="18"/>
                        </a:lnTo>
                        <a:lnTo>
                          <a:pt x="110" y="18"/>
                        </a:lnTo>
                        <a:lnTo>
                          <a:pt x="110" y="17"/>
                        </a:lnTo>
                        <a:lnTo>
                          <a:pt x="110" y="17"/>
                        </a:lnTo>
                        <a:lnTo>
                          <a:pt x="110" y="17"/>
                        </a:lnTo>
                        <a:lnTo>
                          <a:pt x="110" y="16"/>
                        </a:lnTo>
                        <a:lnTo>
                          <a:pt x="110" y="14"/>
                        </a:lnTo>
                        <a:lnTo>
                          <a:pt x="112" y="14"/>
                        </a:lnTo>
                        <a:lnTo>
                          <a:pt x="112" y="13"/>
                        </a:lnTo>
                        <a:lnTo>
                          <a:pt x="113" y="13"/>
                        </a:lnTo>
                        <a:lnTo>
                          <a:pt x="114" y="11"/>
                        </a:lnTo>
                        <a:lnTo>
                          <a:pt x="111" y="11"/>
                        </a:lnTo>
                        <a:lnTo>
                          <a:pt x="110" y="11"/>
                        </a:lnTo>
                        <a:lnTo>
                          <a:pt x="109" y="10"/>
                        </a:lnTo>
                        <a:lnTo>
                          <a:pt x="107" y="11"/>
                        </a:lnTo>
                        <a:lnTo>
                          <a:pt x="106" y="11"/>
                        </a:lnTo>
                        <a:lnTo>
                          <a:pt x="106" y="11"/>
                        </a:lnTo>
                        <a:lnTo>
                          <a:pt x="105" y="10"/>
                        </a:lnTo>
                        <a:lnTo>
                          <a:pt x="99" y="9"/>
                        </a:lnTo>
                        <a:lnTo>
                          <a:pt x="99" y="9"/>
                        </a:lnTo>
                        <a:lnTo>
                          <a:pt x="98" y="9"/>
                        </a:lnTo>
                        <a:lnTo>
                          <a:pt x="97" y="9"/>
                        </a:lnTo>
                        <a:lnTo>
                          <a:pt x="96" y="9"/>
                        </a:lnTo>
                        <a:lnTo>
                          <a:pt x="92" y="7"/>
                        </a:lnTo>
                        <a:lnTo>
                          <a:pt x="91" y="5"/>
                        </a:lnTo>
                        <a:lnTo>
                          <a:pt x="91" y="5"/>
                        </a:lnTo>
                        <a:lnTo>
                          <a:pt x="90" y="4"/>
                        </a:lnTo>
                        <a:lnTo>
                          <a:pt x="90" y="4"/>
                        </a:lnTo>
                        <a:lnTo>
                          <a:pt x="89" y="4"/>
                        </a:lnTo>
                        <a:lnTo>
                          <a:pt x="87" y="4"/>
                        </a:lnTo>
                        <a:lnTo>
                          <a:pt x="87" y="3"/>
                        </a:lnTo>
                        <a:lnTo>
                          <a:pt x="87" y="3"/>
                        </a:lnTo>
                        <a:lnTo>
                          <a:pt x="87" y="1"/>
                        </a:lnTo>
                        <a:lnTo>
                          <a:pt x="90" y="0"/>
                        </a:lnTo>
                        <a:lnTo>
                          <a:pt x="87" y="0"/>
                        </a:lnTo>
                        <a:lnTo>
                          <a:pt x="87" y="0"/>
                        </a:lnTo>
                        <a:lnTo>
                          <a:pt x="86" y="0"/>
                        </a:lnTo>
                        <a:lnTo>
                          <a:pt x="85" y="0"/>
                        </a:lnTo>
                        <a:lnTo>
                          <a:pt x="83" y="1"/>
                        </a:lnTo>
                        <a:lnTo>
                          <a:pt x="79" y="1"/>
                        </a:lnTo>
                        <a:lnTo>
                          <a:pt x="77" y="1"/>
                        </a:lnTo>
                        <a:lnTo>
                          <a:pt x="77" y="3"/>
                        </a:lnTo>
                        <a:lnTo>
                          <a:pt x="74" y="1"/>
                        </a:lnTo>
                        <a:lnTo>
                          <a:pt x="72" y="3"/>
                        </a:lnTo>
                        <a:lnTo>
                          <a:pt x="71" y="4"/>
                        </a:lnTo>
                        <a:lnTo>
                          <a:pt x="71" y="5"/>
                        </a:lnTo>
                        <a:lnTo>
                          <a:pt x="70" y="6"/>
                        </a:lnTo>
                        <a:lnTo>
                          <a:pt x="69" y="6"/>
                        </a:lnTo>
                        <a:lnTo>
                          <a:pt x="69" y="6"/>
                        </a:lnTo>
                        <a:lnTo>
                          <a:pt x="67" y="6"/>
                        </a:lnTo>
                        <a:lnTo>
                          <a:pt x="66" y="5"/>
                        </a:lnTo>
                        <a:lnTo>
                          <a:pt x="66" y="5"/>
                        </a:lnTo>
                        <a:lnTo>
                          <a:pt x="64" y="5"/>
                        </a:lnTo>
                        <a:lnTo>
                          <a:pt x="60" y="5"/>
                        </a:lnTo>
                        <a:lnTo>
                          <a:pt x="60" y="4"/>
                        </a:lnTo>
                        <a:lnTo>
                          <a:pt x="60" y="5"/>
                        </a:lnTo>
                        <a:lnTo>
                          <a:pt x="60" y="6"/>
                        </a:lnTo>
                        <a:lnTo>
                          <a:pt x="60" y="6"/>
                        </a:lnTo>
                        <a:lnTo>
                          <a:pt x="60" y="7"/>
                        </a:lnTo>
                        <a:lnTo>
                          <a:pt x="60" y="9"/>
                        </a:lnTo>
                        <a:lnTo>
                          <a:pt x="60" y="9"/>
                        </a:lnTo>
                        <a:lnTo>
                          <a:pt x="60" y="9"/>
                        </a:lnTo>
                        <a:lnTo>
                          <a:pt x="62" y="10"/>
                        </a:lnTo>
                        <a:lnTo>
                          <a:pt x="62" y="11"/>
                        </a:lnTo>
                        <a:lnTo>
                          <a:pt x="62" y="11"/>
                        </a:lnTo>
                        <a:lnTo>
                          <a:pt x="60" y="11"/>
                        </a:lnTo>
                        <a:lnTo>
                          <a:pt x="60" y="11"/>
                        </a:lnTo>
                        <a:lnTo>
                          <a:pt x="59" y="11"/>
                        </a:lnTo>
                        <a:lnTo>
                          <a:pt x="58" y="10"/>
                        </a:lnTo>
                        <a:lnTo>
                          <a:pt x="58" y="10"/>
                        </a:lnTo>
                        <a:lnTo>
                          <a:pt x="58" y="10"/>
                        </a:lnTo>
                        <a:lnTo>
                          <a:pt x="57" y="10"/>
                        </a:lnTo>
                        <a:lnTo>
                          <a:pt x="56" y="11"/>
                        </a:lnTo>
                        <a:lnTo>
                          <a:pt x="56" y="11"/>
                        </a:lnTo>
                        <a:lnTo>
                          <a:pt x="54" y="12"/>
                        </a:lnTo>
                        <a:lnTo>
                          <a:pt x="56" y="13"/>
                        </a:lnTo>
                        <a:lnTo>
                          <a:pt x="56" y="13"/>
                        </a:lnTo>
                        <a:lnTo>
                          <a:pt x="57" y="14"/>
                        </a:lnTo>
                        <a:lnTo>
                          <a:pt x="57" y="17"/>
                        </a:lnTo>
                        <a:lnTo>
                          <a:pt x="57" y="18"/>
                        </a:lnTo>
                        <a:lnTo>
                          <a:pt x="56" y="18"/>
                        </a:lnTo>
                        <a:lnTo>
                          <a:pt x="54" y="18"/>
                        </a:lnTo>
                        <a:lnTo>
                          <a:pt x="54" y="16"/>
                        </a:lnTo>
                        <a:lnTo>
                          <a:pt x="54" y="16"/>
                        </a:lnTo>
                        <a:lnTo>
                          <a:pt x="53" y="14"/>
                        </a:lnTo>
                        <a:lnTo>
                          <a:pt x="51" y="14"/>
                        </a:lnTo>
                        <a:lnTo>
                          <a:pt x="51" y="16"/>
                        </a:lnTo>
                        <a:lnTo>
                          <a:pt x="50" y="14"/>
                        </a:lnTo>
                        <a:lnTo>
                          <a:pt x="50" y="16"/>
                        </a:lnTo>
                        <a:lnTo>
                          <a:pt x="49" y="17"/>
                        </a:lnTo>
                        <a:lnTo>
                          <a:pt x="46" y="16"/>
                        </a:lnTo>
                        <a:lnTo>
                          <a:pt x="45" y="14"/>
                        </a:lnTo>
                        <a:lnTo>
                          <a:pt x="45" y="13"/>
                        </a:lnTo>
                        <a:lnTo>
                          <a:pt x="46" y="12"/>
                        </a:lnTo>
                        <a:lnTo>
                          <a:pt x="44" y="12"/>
                        </a:lnTo>
                        <a:lnTo>
                          <a:pt x="44" y="12"/>
                        </a:lnTo>
                        <a:lnTo>
                          <a:pt x="43" y="12"/>
                        </a:lnTo>
                        <a:lnTo>
                          <a:pt x="43" y="13"/>
                        </a:lnTo>
                        <a:lnTo>
                          <a:pt x="43" y="14"/>
                        </a:lnTo>
                        <a:lnTo>
                          <a:pt x="43" y="16"/>
                        </a:lnTo>
                        <a:lnTo>
                          <a:pt x="43" y="17"/>
                        </a:lnTo>
                        <a:lnTo>
                          <a:pt x="40" y="18"/>
                        </a:lnTo>
                        <a:lnTo>
                          <a:pt x="39" y="19"/>
                        </a:lnTo>
                        <a:lnTo>
                          <a:pt x="39" y="20"/>
                        </a:lnTo>
                        <a:lnTo>
                          <a:pt x="39" y="20"/>
                        </a:lnTo>
                        <a:lnTo>
                          <a:pt x="39" y="21"/>
                        </a:lnTo>
                        <a:lnTo>
                          <a:pt x="39" y="23"/>
                        </a:lnTo>
                        <a:lnTo>
                          <a:pt x="39" y="23"/>
                        </a:lnTo>
                        <a:lnTo>
                          <a:pt x="39" y="24"/>
                        </a:lnTo>
                        <a:lnTo>
                          <a:pt x="39" y="25"/>
                        </a:lnTo>
                        <a:lnTo>
                          <a:pt x="39" y="25"/>
                        </a:lnTo>
                        <a:lnTo>
                          <a:pt x="38" y="25"/>
                        </a:lnTo>
                        <a:lnTo>
                          <a:pt x="38" y="25"/>
                        </a:lnTo>
                        <a:lnTo>
                          <a:pt x="38" y="24"/>
                        </a:lnTo>
                        <a:lnTo>
                          <a:pt x="37" y="23"/>
                        </a:lnTo>
                        <a:lnTo>
                          <a:pt x="36" y="23"/>
                        </a:lnTo>
                        <a:lnTo>
                          <a:pt x="36" y="21"/>
                        </a:lnTo>
                        <a:lnTo>
                          <a:pt x="36" y="20"/>
                        </a:lnTo>
                        <a:lnTo>
                          <a:pt x="36" y="20"/>
                        </a:lnTo>
                        <a:lnTo>
                          <a:pt x="34" y="20"/>
                        </a:lnTo>
                        <a:lnTo>
                          <a:pt x="34" y="20"/>
                        </a:lnTo>
                        <a:lnTo>
                          <a:pt x="34" y="19"/>
                        </a:lnTo>
                        <a:lnTo>
                          <a:pt x="33" y="20"/>
                        </a:lnTo>
                        <a:lnTo>
                          <a:pt x="31" y="19"/>
                        </a:lnTo>
                        <a:lnTo>
                          <a:pt x="31" y="18"/>
                        </a:lnTo>
                        <a:lnTo>
                          <a:pt x="30" y="18"/>
                        </a:lnTo>
                        <a:lnTo>
                          <a:pt x="29" y="16"/>
                        </a:lnTo>
                        <a:lnTo>
                          <a:pt x="30" y="14"/>
                        </a:lnTo>
                        <a:lnTo>
                          <a:pt x="30" y="13"/>
                        </a:lnTo>
                        <a:lnTo>
                          <a:pt x="30" y="12"/>
                        </a:lnTo>
                        <a:lnTo>
                          <a:pt x="27" y="13"/>
                        </a:lnTo>
                        <a:lnTo>
                          <a:pt x="26" y="13"/>
                        </a:lnTo>
                        <a:lnTo>
                          <a:pt x="26" y="14"/>
                        </a:lnTo>
                        <a:lnTo>
                          <a:pt x="26" y="16"/>
                        </a:lnTo>
                        <a:lnTo>
                          <a:pt x="25" y="16"/>
                        </a:lnTo>
                        <a:lnTo>
                          <a:pt x="25" y="17"/>
                        </a:lnTo>
                        <a:lnTo>
                          <a:pt x="25" y="18"/>
                        </a:lnTo>
                        <a:lnTo>
                          <a:pt x="25" y="19"/>
                        </a:lnTo>
                        <a:lnTo>
                          <a:pt x="24" y="19"/>
                        </a:lnTo>
                        <a:lnTo>
                          <a:pt x="24" y="20"/>
                        </a:lnTo>
                        <a:lnTo>
                          <a:pt x="24" y="20"/>
                        </a:lnTo>
                        <a:lnTo>
                          <a:pt x="24" y="21"/>
                        </a:lnTo>
                        <a:lnTo>
                          <a:pt x="23" y="21"/>
                        </a:lnTo>
                        <a:lnTo>
                          <a:pt x="22" y="21"/>
                        </a:lnTo>
                        <a:lnTo>
                          <a:pt x="20" y="21"/>
                        </a:lnTo>
                        <a:lnTo>
                          <a:pt x="20" y="23"/>
                        </a:lnTo>
                        <a:lnTo>
                          <a:pt x="20" y="24"/>
                        </a:lnTo>
                        <a:lnTo>
                          <a:pt x="19" y="24"/>
                        </a:lnTo>
                        <a:lnTo>
                          <a:pt x="18" y="24"/>
                        </a:lnTo>
                        <a:lnTo>
                          <a:pt x="17" y="23"/>
                        </a:lnTo>
                        <a:lnTo>
                          <a:pt x="17" y="23"/>
                        </a:lnTo>
                        <a:lnTo>
                          <a:pt x="16" y="23"/>
                        </a:lnTo>
                        <a:lnTo>
                          <a:pt x="14" y="23"/>
                        </a:lnTo>
                        <a:lnTo>
                          <a:pt x="13" y="24"/>
                        </a:lnTo>
                        <a:lnTo>
                          <a:pt x="11" y="24"/>
                        </a:lnTo>
                        <a:lnTo>
                          <a:pt x="9" y="24"/>
                        </a:lnTo>
                        <a:lnTo>
                          <a:pt x="7" y="24"/>
                        </a:lnTo>
                        <a:lnTo>
                          <a:pt x="7" y="23"/>
                        </a:lnTo>
                        <a:lnTo>
                          <a:pt x="6" y="25"/>
                        </a:lnTo>
                        <a:lnTo>
                          <a:pt x="4" y="25"/>
                        </a:lnTo>
                        <a:lnTo>
                          <a:pt x="3" y="26"/>
                        </a:lnTo>
                        <a:lnTo>
                          <a:pt x="4" y="27"/>
                        </a:lnTo>
                        <a:lnTo>
                          <a:pt x="5" y="28"/>
                        </a:lnTo>
                        <a:lnTo>
                          <a:pt x="5" y="30"/>
                        </a:lnTo>
                        <a:lnTo>
                          <a:pt x="6" y="30"/>
                        </a:lnTo>
                        <a:lnTo>
                          <a:pt x="6" y="31"/>
                        </a:lnTo>
                        <a:lnTo>
                          <a:pt x="6" y="32"/>
                        </a:lnTo>
                        <a:lnTo>
                          <a:pt x="7" y="33"/>
                        </a:lnTo>
                        <a:lnTo>
                          <a:pt x="7" y="33"/>
                        </a:lnTo>
                        <a:lnTo>
                          <a:pt x="9" y="34"/>
                        </a:lnTo>
                        <a:lnTo>
                          <a:pt x="9" y="36"/>
                        </a:lnTo>
                        <a:lnTo>
                          <a:pt x="7" y="37"/>
                        </a:lnTo>
                        <a:lnTo>
                          <a:pt x="9" y="38"/>
                        </a:lnTo>
                        <a:lnTo>
                          <a:pt x="6" y="38"/>
                        </a:lnTo>
                        <a:lnTo>
                          <a:pt x="5" y="39"/>
                        </a:lnTo>
                        <a:lnTo>
                          <a:pt x="5" y="39"/>
                        </a:lnTo>
                        <a:lnTo>
                          <a:pt x="5" y="39"/>
                        </a:lnTo>
                        <a:lnTo>
                          <a:pt x="4" y="39"/>
                        </a:lnTo>
                        <a:lnTo>
                          <a:pt x="3" y="39"/>
                        </a:lnTo>
                        <a:lnTo>
                          <a:pt x="0" y="39"/>
                        </a:lnTo>
                        <a:lnTo>
                          <a:pt x="2" y="40"/>
                        </a:lnTo>
                        <a:lnTo>
                          <a:pt x="2" y="41"/>
                        </a:lnTo>
                        <a:lnTo>
                          <a:pt x="2" y="41"/>
                        </a:lnTo>
                        <a:lnTo>
                          <a:pt x="3" y="44"/>
                        </a:lnTo>
                        <a:lnTo>
                          <a:pt x="5" y="44"/>
                        </a:lnTo>
                        <a:lnTo>
                          <a:pt x="7" y="44"/>
                        </a:lnTo>
                        <a:lnTo>
                          <a:pt x="9" y="45"/>
                        </a:lnTo>
                        <a:lnTo>
                          <a:pt x="9" y="46"/>
                        </a:lnTo>
                        <a:lnTo>
                          <a:pt x="10" y="46"/>
                        </a:lnTo>
                        <a:lnTo>
                          <a:pt x="10" y="47"/>
                        </a:lnTo>
                        <a:lnTo>
                          <a:pt x="10" y="48"/>
                        </a:lnTo>
                        <a:lnTo>
                          <a:pt x="9" y="48"/>
                        </a:lnTo>
                        <a:lnTo>
                          <a:pt x="9" y="50"/>
                        </a:lnTo>
                        <a:lnTo>
                          <a:pt x="9" y="50"/>
                        </a:lnTo>
                        <a:lnTo>
                          <a:pt x="7" y="51"/>
                        </a:lnTo>
                        <a:lnTo>
                          <a:pt x="7" y="52"/>
                        </a:lnTo>
                        <a:lnTo>
                          <a:pt x="9" y="53"/>
                        </a:lnTo>
                        <a:lnTo>
                          <a:pt x="9" y="53"/>
                        </a:lnTo>
                        <a:lnTo>
                          <a:pt x="9" y="54"/>
                        </a:lnTo>
                        <a:lnTo>
                          <a:pt x="7" y="54"/>
                        </a:lnTo>
                        <a:lnTo>
                          <a:pt x="7" y="56"/>
                        </a:lnTo>
                        <a:lnTo>
                          <a:pt x="9" y="56"/>
                        </a:lnTo>
                        <a:lnTo>
                          <a:pt x="10" y="56"/>
                        </a:lnTo>
                        <a:lnTo>
                          <a:pt x="10" y="56"/>
                        </a:lnTo>
                        <a:lnTo>
                          <a:pt x="10" y="57"/>
                        </a:lnTo>
                        <a:lnTo>
                          <a:pt x="11" y="57"/>
                        </a:lnTo>
                        <a:lnTo>
                          <a:pt x="12" y="58"/>
                        </a:lnTo>
                        <a:lnTo>
                          <a:pt x="12" y="58"/>
                        </a:lnTo>
                        <a:lnTo>
                          <a:pt x="13" y="58"/>
                        </a:lnTo>
                        <a:lnTo>
                          <a:pt x="14" y="58"/>
                        </a:lnTo>
                        <a:lnTo>
                          <a:pt x="16" y="59"/>
                        </a:lnTo>
                        <a:lnTo>
                          <a:pt x="17" y="59"/>
                        </a:lnTo>
                        <a:lnTo>
                          <a:pt x="19" y="60"/>
                        </a:lnTo>
                        <a:lnTo>
                          <a:pt x="19" y="59"/>
                        </a:lnTo>
                        <a:lnTo>
                          <a:pt x="20" y="59"/>
                        </a:lnTo>
                        <a:lnTo>
                          <a:pt x="22" y="59"/>
                        </a:lnTo>
                        <a:lnTo>
                          <a:pt x="22" y="59"/>
                        </a:lnTo>
                        <a:lnTo>
                          <a:pt x="22" y="60"/>
                        </a:lnTo>
                        <a:lnTo>
                          <a:pt x="22" y="61"/>
                        </a:lnTo>
                        <a:lnTo>
                          <a:pt x="19" y="64"/>
                        </a:lnTo>
                        <a:lnTo>
                          <a:pt x="19" y="65"/>
                        </a:lnTo>
                        <a:lnTo>
                          <a:pt x="19" y="66"/>
                        </a:lnTo>
                        <a:lnTo>
                          <a:pt x="20" y="67"/>
                        </a:lnTo>
                        <a:lnTo>
                          <a:pt x="19" y="66"/>
                        </a:lnTo>
                        <a:lnTo>
                          <a:pt x="19" y="66"/>
                        </a:lnTo>
                        <a:lnTo>
                          <a:pt x="24" y="66"/>
                        </a:lnTo>
                        <a:lnTo>
                          <a:pt x="24" y="66"/>
                        </a:lnTo>
                        <a:lnTo>
                          <a:pt x="25" y="65"/>
                        </a:lnTo>
                        <a:lnTo>
                          <a:pt x="26" y="65"/>
                        </a:lnTo>
                        <a:lnTo>
                          <a:pt x="26" y="64"/>
                        </a:lnTo>
                        <a:lnTo>
                          <a:pt x="26" y="64"/>
                        </a:lnTo>
                        <a:lnTo>
                          <a:pt x="26" y="63"/>
                        </a:lnTo>
                        <a:lnTo>
                          <a:pt x="26" y="63"/>
                        </a:lnTo>
                        <a:lnTo>
                          <a:pt x="26" y="63"/>
                        </a:lnTo>
                        <a:lnTo>
                          <a:pt x="27" y="61"/>
                        </a:lnTo>
                        <a:lnTo>
                          <a:pt x="27" y="60"/>
                        </a:lnTo>
                        <a:lnTo>
                          <a:pt x="29" y="59"/>
                        </a:lnTo>
                        <a:lnTo>
                          <a:pt x="30" y="59"/>
                        </a:lnTo>
                        <a:lnTo>
                          <a:pt x="30" y="59"/>
                        </a:lnTo>
                        <a:lnTo>
                          <a:pt x="30" y="59"/>
                        </a:lnTo>
                        <a:lnTo>
                          <a:pt x="31" y="58"/>
                        </a:lnTo>
                        <a:lnTo>
                          <a:pt x="31" y="58"/>
                        </a:lnTo>
                        <a:lnTo>
                          <a:pt x="31" y="57"/>
                        </a:lnTo>
                        <a:lnTo>
                          <a:pt x="31" y="57"/>
                        </a:lnTo>
                        <a:lnTo>
                          <a:pt x="31" y="56"/>
                        </a:lnTo>
                        <a:lnTo>
                          <a:pt x="32" y="54"/>
                        </a:lnTo>
                        <a:lnTo>
                          <a:pt x="33" y="54"/>
                        </a:lnTo>
                        <a:lnTo>
                          <a:pt x="34" y="54"/>
                        </a:lnTo>
                        <a:lnTo>
                          <a:pt x="36" y="54"/>
                        </a:lnTo>
                        <a:lnTo>
                          <a:pt x="36" y="54"/>
                        </a:lnTo>
                        <a:lnTo>
                          <a:pt x="36" y="54"/>
                        </a:lnTo>
                        <a:lnTo>
                          <a:pt x="37" y="54"/>
                        </a:lnTo>
                        <a:lnTo>
                          <a:pt x="38" y="54"/>
                        </a:lnTo>
                        <a:lnTo>
                          <a:pt x="38" y="54"/>
                        </a:lnTo>
                        <a:lnTo>
                          <a:pt x="39" y="54"/>
                        </a:lnTo>
                        <a:lnTo>
                          <a:pt x="40" y="54"/>
                        </a:lnTo>
                        <a:lnTo>
                          <a:pt x="42" y="54"/>
                        </a:lnTo>
                        <a:lnTo>
                          <a:pt x="42" y="56"/>
                        </a:lnTo>
                        <a:lnTo>
                          <a:pt x="43" y="56"/>
                        </a:lnTo>
                        <a:lnTo>
                          <a:pt x="44" y="56"/>
                        </a:lnTo>
                        <a:lnTo>
                          <a:pt x="44" y="56"/>
                        </a:lnTo>
                        <a:lnTo>
                          <a:pt x="44" y="56"/>
                        </a:lnTo>
                        <a:lnTo>
                          <a:pt x="46" y="57"/>
                        </a:lnTo>
                        <a:lnTo>
                          <a:pt x="47" y="57"/>
                        </a:lnTo>
                        <a:lnTo>
                          <a:pt x="47" y="58"/>
                        </a:lnTo>
                        <a:lnTo>
                          <a:pt x="47" y="58"/>
                        </a:lnTo>
                        <a:lnTo>
                          <a:pt x="50" y="59"/>
                        </a:lnTo>
                        <a:lnTo>
                          <a:pt x="50" y="59"/>
                        </a:lnTo>
                        <a:lnTo>
                          <a:pt x="51" y="59"/>
                        </a:lnTo>
                        <a:lnTo>
                          <a:pt x="52" y="60"/>
                        </a:lnTo>
                        <a:lnTo>
                          <a:pt x="52" y="60"/>
                        </a:lnTo>
                        <a:lnTo>
                          <a:pt x="52" y="61"/>
                        </a:lnTo>
                        <a:lnTo>
                          <a:pt x="53" y="60"/>
                        </a:lnTo>
                        <a:lnTo>
                          <a:pt x="53" y="60"/>
                        </a:lnTo>
                        <a:lnTo>
                          <a:pt x="54" y="61"/>
                        </a:lnTo>
                        <a:lnTo>
                          <a:pt x="54" y="61"/>
                        </a:lnTo>
                        <a:lnTo>
                          <a:pt x="56" y="61"/>
                        </a:lnTo>
                        <a:lnTo>
                          <a:pt x="56" y="61"/>
                        </a:lnTo>
                        <a:lnTo>
                          <a:pt x="57" y="61"/>
                        </a:lnTo>
                        <a:lnTo>
                          <a:pt x="58" y="61"/>
                        </a:lnTo>
                        <a:lnTo>
                          <a:pt x="59" y="64"/>
                        </a:lnTo>
                        <a:lnTo>
                          <a:pt x="59" y="64"/>
                        </a:lnTo>
                        <a:lnTo>
                          <a:pt x="60" y="65"/>
                        </a:lnTo>
                        <a:lnTo>
                          <a:pt x="60" y="66"/>
                        </a:lnTo>
                        <a:lnTo>
                          <a:pt x="62" y="67"/>
                        </a:lnTo>
                        <a:lnTo>
                          <a:pt x="62" y="67"/>
                        </a:lnTo>
                        <a:lnTo>
                          <a:pt x="62" y="72"/>
                        </a:lnTo>
                        <a:lnTo>
                          <a:pt x="62" y="72"/>
                        </a:lnTo>
                        <a:lnTo>
                          <a:pt x="63" y="73"/>
                        </a:lnTo>
                        <a:lnTo>
                          <a:pt x="63" y="73"/>
                        </a:lnTo>
                        <a:lnTo>
                          <a:pt x="64" y="74"/>
                        </a:lnTo>
                        <a:lnTo>
                          <a:pt x="65" y="74"/>
                        </a:lnTo>
                        <a:lnTo>
                          <a:pt x="66" y="78"/>
                        </a:lnTo>
                        <a:lnTo>
                          <a:pt x="66" y="79"/>
                        </a:lnTo>
                        <a:lnTo>
                          <a:pt x="66" y="79"/>
                        </a:lnTo>
                        <a:lnTo>
                          <a:pt x="66" y="81"/>
                        </a:lnTo>
                        <a:lnTo>
                          <a:pt x="65" y="83"/>
                        </a:lnTo>
                        <a:lnTo>
                          <a:pt x="65" y="84"/>
                        </a:lnTo>
                        <a:lnTo>
                          <a:pt x="65" y="84"/>
                        </a:lnTo>
                        <a:lnTo>
                          <a:pt x="66" y="85"/>
                        </a:lnTo>
                        <a:lnTo>
                          <a:pt x="66" y="84"/>
                        </a:lnTo>
                        <a:lnTo>
                          <a:pt x="67" y="84"/>
                        </a:lnTo>
                        <a:lnTo>
                          <a:pt x="69" y="84"/>
                        </a:lnTo>
                        <a:lnTo>
                          <a:pt x="70" y="85"/>
                        </a:lnTo>
                        <a:lnTo>
                          <a:pt x="71" y="85"/>
                        </a:lnTo>
                        <a:lnTo>
                          <a:pt x="71" y="86"/>
                        </a:lnTo>
                        <a:lnTo>
                          <a:pt x="70" y="86"/>
                        </a:lnTo>
                        <a:lnTo>
                          <a:pt x="71" y="87"/>
                        </a:lnTo>
                        <a:lnTo>
                          <a:pt x="72" y="87"/>
                        </a:lnTo>
                        <a:lnTo>
                          <a:pt x="73" y="87"/>
                        </a:lnTo>
                        <a:lnTo>
                          <a:pt x="73" y="88"/>
                        </a:lnTo>
                        <a:lnTo>
                          <a:pt x="73" y="90"/>
                        </a:lnTo>
                        <a:lnTo>
                          <a:pt x="74" y="90"/>
                        </a:lnTo>
                        <a:lnTo>
                          <a:pt x="76" y="90"/>
                        </a:lnTo>
                        <a:lnTo>
                          <a:pt x="76" y="91"/>
                        </a:lnTo>
                        <a:lnTo>
                          <a:pt x="77" y="92"/>
                        </a:lnTo>
                        <a:lnTo>
                          <a:pt x="77" y="93"/>
                        </a:lnTo>
                        <a:lnTo>
                          <a:pt x="76" y="93"/>
                        </a:lnTo>
                        <a:lnTo>
                          <a:pt x="76" y="94"/>
                        </a:lnTo>
                        <a:lnTo>
                          <a:pt x="76" y="94"/>
                        </a:lnTo>
                        <a:lnTo>
                          <a:pt x="76" y="96"/>
                        </a:lnTo>
                        <a:lnTo>
                          <a:pt x="77" y="96"/>
                        </a:lnTo>
                        <a:lnTo>
                          <a:pt x="77" y="96"/>
                        </a:lnTo>
                        <a:lnTo>
                          <a:pt x="77" y="96"/>
                        </a:lnTo>
                        <a:lnTo>
                          <a:pt x="77" y="94"/>
                        </a:lnTo>
                        <a:lnTo>
                          <a:pt x="78" y="94"/>
                        </a:lnTo>
                        <a:lnTo>
                          <a:pt x="79" y="94"/>
                        </a:lnTo>
                        <a:lnTo>
                          <a:pt x="79" y="94"/>
                        </a:lnTo>
                        <a:lnTo>
                          <a:pt x="80" y="94"/>
                        </a:lnTo>
                        <a:lnTo>
                          <a:pt x="80" y="94"/>
                        </a:lnTo>
                        <a:lnTo>
                          <a:pt x="82" y="94"/>
                        </a:lnTo>
                        <a:lnTo>
                          <a:pt x="83" y="94"/>
                        </a:lnTo>
                        <a:lnTo>
                          <a:pt x="83" y="96"/>
                        </a:lnTo>
                        <a:lnTo>
                          <a:pt x="84" y="97"/>
                        </a:lnTo>
                        <a:lnTo>
                          <a:pt x="85" y="97"/>
                        </a:lnTo>
                        <a:lnTo>
                          <a:pt x="85" y="97"/>
                        </a:lnTo>
                        <a:lnTo>
                          <a:pt x="86" y="99"/>
                        </a:lnTo>
                        <a:lnTo>
                          <a:pt x="87" y="99"/>
                        </a:lnTo>
                        <a:lnTo>
                          <a:pt x="87" y="99"/>
                        </a:lnTo>
                        <a:lnTo>
                          <a:pt x="87" y="100"/>
                        </a:lnTo>
                        <a:lnTo>
                          <a:pt x="89" y="101"/>
                        </a:lnTo>
                        <a:lnTo>
                          <a:pt x="89" y="101"/>
                        </a:lnTo>
                        <a:lnTo>
                          <a:pt x="90" y="101"/>
                        </a:lnTo>
                        <a:lnTo>
                          <a:pt x="90" y="101"/>
                        </a:lnTo>
                        <a:lnTo>
                          <a:pt x="91" y="101"/>
                        </a:lnTo>
                        <a:lnTo>
                          <a:pt x="91" y="101"/>
                        </a:lnTo>
                        <a:lnTo>
                          <a:pt x="91" y="103"/>
                        </a:lnTo>
                        <a:lnTo>
                          <a:pt x="91" y="104"/>
                        </a:lnTo>
                        <a:lnTo>
                          <a:pt x="92" y="104"/>
                        </a:lnTo>
                        <a:lnTo>
                          <a:pt x="93" y="104"/>
                        </a:lnTo>
                        <a:lnTo>
                          <a:pt x="93" y="104"/>
                        </a:lnTo>
                        <a:lnTo>
                          <a:pt x="93" y="104"/>
                        </a:lnTo>
                        <a:lnTo>
                          <a:pt x="93" y="106"/>
                        </a:lnTo>
                        <a:lnTo>
                          <a:pt x="94" y="106"/>
                        </a:lnTo>
                        <a:lnTo>
                          <a:pt x="94" y="107"/>
                        </a:lnTo>
                        <a:lnTo>
                          <a:pt x="96" y="108"/>
                        </a:lnTo>
                        <a:lnTo>
                          <a:pt x="96" y="108"/>
                        </a:lnTo>
                        <a:lnTo>
                          <a:pt x="97" y="108"/>
                        </a:lnTo>
                        <a:lnTo>
                          <a:pt x="97" y="108"/>
                        </a:lnTo>
                        <a:lnTo>
                          <a:pt x="99" y="110"/>
                        </a:lnTo>
                        <a:lnTo>
                          <a:pt x="100" y="111"/>
                        </a:lnTo>
                        <a:lnTo>
                          <a:pt x="102" y="112"/>
                        </a:lnTo>
                        <a:lnTo>
                          <a:pt x="103" y="113"/>
                        </a:lnTo>
                        <a:lnTo>
                          <a:pt x="103" y="114"/>
                        </a:lnTo>
                        <a:lnTo>
                          <a:pt x="105" y="116"/>
                        </a:lnTo>
                        <a:lnTo>
                          <a:pt x="105" y="116"/>
                        </a:lnTo>
                        <a:lnTo>
                          <a:pt x="106" y="114"/>
                        </a:lnTo>
                        <a:lnTo>
                          <a:pt x="107" y="116"/>
                        </a:lnTo>
                        <a:lnTo>
                          <a:pt x="107" y="116"/>
                        </a:lnTo>
                        <a:lnTo>
                          <a:pt x="109" y="118"/>
                        </a:lnTo>
                        <a:lnTo>
                          <a:pt x="109" y="119"/>
                        </a:lnTo>
                        <a:lnTo>
                          <a:pt x="110" y="118"/>
                        </a:lnTo>
                        <a:lnTo>
                          <a:pt x="111" y="119"/>
                        </a:lnTo>
                        <a:lnTo>
                          <a:pt x="111" y="118"/>
                        </a:lnTo>
                        <a:lnTo>
                          <a:pt x="112" y="118"/>
                        </a:lnTo>
                        <a:lnTo>
                          <a:pt x="114" y="117"/>
                        </a:lnTo>
                        <a:lnTo>
                          <a:pt x="116" y="118"/>
                        </a:lnTo>
                        <a:lnTo>
                          <a:pt x="117" y="118"/>
                        </a:lnTo>
                        <a:lnTo>
                          <a:pt x="119" y="119"/>
                        </a:lnTo>
                        <a:lnTo>
                          <a:pt x="119" y="119"/>
                        </a:lnTo>
                        <a:lnTo>
                          <a:pt x="119" y="118"/>
                        </a:lnTo>
                        <a:lnTo>
                          <a:pt x="120" y="118"/>
                        </a:lnTo>
                        <a:lnTo>
                          <a:pt x="120" y="118"/>
                        </a:lnTo>
                        <a:lnTo>
                          <a:pt x="121" y="118"/>
                        </a:lnTo>
                        <a:lnTo>
                          <a:pt x="123" y="119"/>
                        </a:lnTo>
                        <a:lnTo>
                          <a:pt x="123" y="119"/>
                        </a:lnTo>
                        <a:lnTo>
                          <a:pt x="123" y="120"/>
                        </a:lnTo>
                        <a:lnTo>
                          <a:pt x="124" y="120"/>
                        </a:lnTo>
                        <a:lnTo>
                          <a:pt x="124" y="121"/>
                        </a:lnTo>
                        <a:lnTo>
                          <a:pt x="125" y="123"/>
                        </a:lnTo>
                        <a:lnTo>
                          <a:pt x="125" y="123"/>
                        </a:lnTo>
                        <a:lnTo>
                          <a:pt x="125" y="124"/>
                        </a:lnTo>
                        <a:lnTo>
                          <a:pt x="126" y="124"/>
                        </a:lnTo>
                        <a:lnTo>
                          <a:pt x="126" y="125"/>
                        </a:lnTo>
                        <a:lnTo>
                          <a:pt x="126" y="126"/>
                        </a:lnTo>
                        <a:lnTo>
                          <a:pt x="126" y="127"/>
                        </a:lnTo>
                        <a:lnTo>
                          <a:pt x="127" y="128"/>
                        </a:lnTo>
                        <a:lnTo>
                          <a:pt x="127" y="127"/>
                        </a:lnTo>
                        <a:lnTo>
                          <a:pt x="127" y="127"/>
                        </a:lnTo>
                        <a:lnTo>
                          <a:pt x="127" y="127"/>
                        </a:lnTo>
                        <a:lnTo>
                          <a:pt x="127" y="127"/>
                        </a:lnTo>
                        <a:lnTo>
                          <a:pt x="129" y="127"/>
                        </a:lnTo>
                        <a:lnTo>
                          <a:pt x="129" y="127"/>
                        </a:lnTo>
                        <a:lnTo>
                          <a:pt x="129" y="127"/>
                        </a:lnTo>
                        <a:lnTo>
                          <a:pt x="130" y="127"/>
                        </a:lnTo>
                        <a:lnTo>
                          <a:pt x="132" y="127"/>
                        </a:lnTo>
                        <a:lnTo>
                          <a:pt x="132" y="127"/>
                        </a:lnTo>
                        <a:lnTo>
                          <a:pt x="133" y="127"/>
                        </a:lnTo>
                        <a:lnTo>
                          <a:pt x="134" y="128"/>
                        </a:lnTo>
                        <a:lnTo>
                          <a:pt x="134" y="130"/>
                        </a:lnTo>
                        <a:lnTo>
                          <a:pt x="134" y="130"/>
                        </a:lnTo>
                        <a:lnTo>
                          <a:pt x="133" y="131"/>
                        </a:lnTo>
                        <a:lnTo>
                          <a:pt x="133" y="130"/>
                        </a:lnTo>
                        <a:lnTo>
                          <a:pt x="132" y="131"/>
                        </a:lnTo>
                        <a:lnTo>
                          <a:pt x="132" y="131"/>
                        </a:lnTo>
                        <a:lnTo>
                          <a:pt x="131" y="132"/>
                        </a:lnTo>
                        <a:lnTo>
                          <a:pt x="132" y="132"/>
                        </a:lnTo>
                        <a:lnTo>
                          <a:pt x="133" y="132"/>
                        </a:lnTo>
                        <a:lnTo>
                          <a:pt x="133" y="132"/>
                        </a:lnTo>
                        <a:lnTo>
                          <a:pt x="134" y="131"/>
                        </a:lnTo>
                        <a:lnTo>
                          <a:pt x="134" y="132"/>
                        </a:lnTo>
                        <a:lnTo>
                          <a:pt x="136" y="131"/>
                        </a:lnTo>
                        <a:lnTo>
                          <a:pt x="137" y="131"/>
                        </a:lnTo>
                        <a:lnTo>
                          <a:pt x="138" y="131"/>
                        </a:lnTo>
                        <a:lnTo>
                          <a:pt x="138" y="131"/>
                        </a:lnTo>
                        <a:lnTo>
                          <a:pt x="138" y="131"/>
                        </a:lnTo>
                        <a:lnTo>
                          <a:pt x="139" y="131"/>
                        </a:lnTo>
                        <a:lnTo>
                          <a:pt x="139" y="131"/>
                        </a:lnTo>
                        <a:lnTo>
                          <a:pt x="140" y="131"/>
                        </a:lnTo>
                        <a:lnTo>
                          <a:pt x="140" y="132"/>
                        </a:lnTo>
                        <a:lnTo>
                          <a:pt x="140" y="132"/>
                        </a:lnTo>
                        <a:lnTo>
                          <a:pt x="141" y="133"/>
                        </a:lnTo>
                        <a:lnTo>
                          <a:pt x="141" y="133"/>
                        </a:lnTo>
                        <a:lnTo>
                          <a:pt x="143" y="134"/>
                        </a:lnTo>
                        <a:lnTo>
                          <a:pt x="143" y="136"/>
                        </a:lnTo>
                        <a:lnTo>
                          <a:pt x="143" y="137"/>
                        </a:lnTo>
                        <a:lnTo>
                          <a:pt x="143" y="137"/>
                        </a:lnTo>
                        <a:lnTo>
                          <a:pt x="143" y="138"/>
                        </a:lnTo>
                        <a:lnTo>
                          <a:pt x="141" y="138"/>
                        </a:lnTo>
                        <a:lnTo>
                          <a:pt x="143" y="139"/>
                        </a:lnTo>
                        <a:lnTo>
                          <a:pt x="143" y="139"/>
                        </a:lnTo>
                        <a:lnTo>
                          <a:pt x="144" y="140"/>
                        </a:lnTo>
                        <a:lnTo>
                          <a:pt x="145" y="140"/>
                        </a:lnTo>
                        <a:lnTo>
                          <a:pt x="145" y="140"/>
                        </a:lnTo>
                        <a:lnTo>
                          <a:pt x="146" y="140"/>
                        </a:lnTo>
                        <a:lnTo>
                          <a:pt x="147" y="140"/>
                        </a:lnTo>
                        <a:lnTo>
                          <a:pt x="147" y="141"/>
                        </a:lnTo>
                        <a:lnTo>
                          <a:pt x="149" y="143"/>
                        </a:lnTo>
                        <a:lnTo>
                          <a:pt x="149" y="143"/>
                        </a:lnTo>
                        <a:lnTo>
                          <a:pt x="149" y="143"/>
                        </a:lnTo>
                        <a:lnTo>
                          <a:pt x="149" y="143"/>
                        </a:lnTo>
                        <a:lnTo>
                          <a:pt x="150" y="143"/>
                        </a:lnTo>
                        <a:lnTo>
                          <a:pt x="151" y="144"/>
                        </a:lnTo>
                        <a:lnTo>
                          <a:pt x="152" y="143"/>
                        </a:lnTo>
                        <a:lnTo>
                          <a:pt x="152" y="143"/>
                        </a:lnTo>
                        <a:lnTo>
                          <a:pt x="154" y="141"/>
                        </a:lnTo>
                        <a:lnTo>
                          <a:pt x="156" y="143"/>
                        </a:lnTo>
                        <a:lnTo>
                          <a:pt x="156" y="143"/>
                        </a:lnTo>
                        <a:lnTo>
                          <a:pt x="156" y="144"/>
                        </a:lnTo>
                        <a:lnTo>
                          <a:pt x="156" y="144"/>
                        </a:lnTo>
                        <a:lnTo>
                          <a:pt x="157" y="145"/>
                        </a:lnTo>
                        <a:lnTo>
                          <a:pt x="157" y="147"/>
                        </a:lnTo>
                        <a:lnTo>
                          <a:pt x="157" y="147"/>
                        </a:lnTo>
                        <a:lnTo>
                          <a:pt x="157" y="148"/>
                        </a:lnTo>
                        <a:lnTo>
                          <a:pt x="158" y="150"/>
                        </a:lnTo>
                        <a:lnTo>
                          <a:pt x="158" y="150"/>
                        </a:lnTo>
                        <a:lnTo>
                          <a:pt x="158" y="152"/>
                        </a:lnTo>
                        <a:lnTo>
                          <a:pt x="158" y="152"/>
                        </a:lnTo>
                        <a:lnTo>
                          <a:pt x="160" y="153"/>
                        </a:lnTo>
                        <a:lnTo>
                          <a:pt x="160" y="155"/>
                        </a:lnTo>
                        <a:lnTo>
                          <a:pt x="161" y="157"/>
                        </a:lnTo>
                        <a:lnTo>
                          <a:pt x="161" y="157"/>
                        </a:lnTo>
                        <a:lnTo>
                          <a:pt x="163" y="159"/>
                        </a:lnTo>
                        <a:lnTo>
                          <a:pt x="161" y="158"/>
                        </a:lnTo>
                        <a:lnTo>
                          <a:pt x="163" y="160"/>
                        </a:lnTo>
                        <a:lnTo>
                          <a:pt x="161" y="161"/>
                        </a:lnTo>
                        <a:lnTo>
                          <a:pt x="163" y="161"/>
                        </a:lnTo>
                        <a:lnTo>
                          <a:pt x="161" y="163"/>
                        </a:lnTo>
                        <a:lnTo>
                          <a:pt x="161" y="164"/>
                        </a:lnTo>
                        <a:lnTo>
                          <a:pt x="163" y="164"/>
                        </a:lnTo>
                        <a:lnTo>
                          <a:pt x="164" y="165"/>
                        </a:lnTo>
                        <a:lnTo>
                          <a:pt x="165" y="165"/>
                        </a:lnTo>
                        <a:lnTo>
                          <a:pt x="166" y="166"/>
                        </a:lnTo>
                        <a:lnTo>
                          <a:pt x="166" y="167"/>
                        </a:lnTo>
                        <a:lnTo>
                          <a:pt x="166" y="167"/>
                        </a:lnTo>
                        <a:lnTo>
                          <a:pt x="165" y="168"/>
                        </a:lnTo>
                        <a:lnTo>
                          <a:pt x="164" y="170"/>
                        </a:lnTo>
                        <a:lnTo>
                          <a:pt x="163" y="170"/>
                        </a:lnTo>
                        <a:lnTo>
                          <a:pt x="160" y="171"/>
                        </a:lnTo>
                        <a:lnTo>
                          <a:pt x="159" y="171"/>
                        </a:lnTo>
                        <a:lnTo>
                          <a:pt x="159" y="172"/>
                        </a:lnTo>
                        <a:lnTo>
                          <a:pt x="159" y="172"/>
                        </a:lnTo>
                        <a:lnTo>
                          <a:pt x="160" y="172"/>
                        </a:lnTo>
                        <a:lnTo>
                          <a:pt x="160" y="173"/>
                        </a:lnTo>
                        <a:lnTo>
                          <a:pt x="161" y="173"/>
                        </a:lnTo>
                        <a:lnTo>
                          <a:pt x="160" y="174"/>
                        </a:lnTo>
                        <a:lnTo>
                          <a:pt x="160" y="174"/>
                        </a:lnTo>
                        <a:lnTo>
                          <a:pt x="160" y="175"/>
                        </a:lnTo>
                        <a:lnTo>
                          <a:pt x="159" y="178"/>
                        </a:lnTo>
                        <a:lnTo>
                          <a:pt x="159" y="180"/>
                        </a:lnTo>
                        <a:lnTo>
                          <a:pt x="158" y="180"/>
                        </a:lnTo>
                        <a:lnTo>
                          <a:pt x="157" y="181"/>
                        </a:lnTo>
                        <a:lnTo>
                          <a:pt x="157" y="183"/>
                        </a:lnTo>
                        <a:lnTo>
                          <a:pt x="158" y="183"/>
                        </a:lnTo>
                        <a:lnTo>
                          <a:pt x="158" y="184"/>
                        </a:lnTo>
                        <a:lnTo>
                          <a:pt x="158" y="185"/>
                        </a:lnTo>
                        <a:lnTo>
                          <a:pt x="158" y="185"/>
                        </a:lnTo>
                        <a:lnTo>
                          <a:pt x="158" y="186"/>
                        </a:lnTo>
                        <a:lnTo>
                          <a:pt x="159" y="186"/>
                        </a:lnTo>
                        <a:lnTo>
                          <a:pt x="161" y="186"/>
                        </a:lnTo>
                        <a:lnTo>
                          <a:pt x="161" y="186"/>
                        </a:lnTo>
                        <a:lnTo>
                          <a:pt x="163" y="186"/>
                        </a:lnTo>
                        <a:lnTo>
                          <a:pt x="164" y="186"/>
                        </a:lnTo>
                        <a:lnTo>
                          <a:pt x="165" y="186"/>
                        </a:lnTo>
                        <a:lnTo>
                          <a:pt x="165" y="185"/>
                        </a:lnTo>
                        <a:lnTo>
                          <a:pt x="165" y="185"/>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grpSp>
            <p:grpSp>
              <p:nvGrpSpPr>
                <p:cNvPr id="396" name="Indonesia">
                  <a:extLst>
                    <a:ext uri="{FF2B5EF4-FFF2-40B4-BE49-F238E27FC236}">
                      <a16:creationId xmlns:a16="http://schemas.microsoft.com/office/drawing/2014/main" id="{93E8DE0F-7DB9-A14A-92C2-649B6D3A6902}"/>
                    </a:ext>
                  </a:extLst>
                </p:cNvPr>
                <p:cNvGrpSpPr/>
                <p:nvPr/>
              </p:nvGrpSpPr>
              <p:grpSpPr>
                <a:xfrm>
                  <a:off x="8881666" y="3817410"/>
                  <a:ext cx="1215929" cy="494245"/>
                  <a:chOff x="7809945" y="4147555"/>
                  <a:chExt cx="1340894" cy="545040"/>
                </a:xfrm>
                <a:grpFill/>
              </p:grpSpPr>
              <p:sp>
                <p:nvSpPr>
                  <p:cNvPr id="523" name="Freeform 153">
                    <a:extLst>
                      <a:ext uri="{FF2B5EF4-FFF2-40B4-BE49-F238E27FC236}">
                        <a16:creationId xmlns:a16="http://schemas.microsoft.com/office/drawing/2014/main" id="{652F9F16-0326-5140-9F25-49D06C8814CD}"/>
                      </a:ext>
                    </a:extLst>
                  </p:cNvPr>
                  <p:cNvSpPr>
                    <a:spLocks noEditPoints="1"/>
                  </p:cNvSpPr>
                  <p:nvPr>
                    <p:custDataLst>
                      <p:tags r:id="rId13"/>
                    </p:custDataLst>
                  </p:nvPr>
                </p:nvSpPr>
                <p:spPr bwMode="auto">
                  <a:xfrm>
                    <a:off x="7809945" y="4147555"/>
                    <a:ext cx="1340894" cy="545040"/>
                  </a:xfrm>
                  <a:custGeom>
                    <a:avLst/>
                    <a:gdLst>
                      <a:gd name="T0" fmla="*/ 536 w 834"/>
                      <a:gd name="T1" fmla="*/ 299 h 339"/>
                      <a:gd name="T2" fmla="*/ 538 w 834"/>
                      <a:gd name="T3" fmla="*/ 300 h 339"/>
                      <a:gd name="T4" fmla="*/ 538 w 834"/>
                      <a:gd name="T5" fmla="*/ 304 h 339"/>
                      <a:gd name="T6" fmla="*/ 535 w 834"/>
                      <a:gd name="T7" fmla="*/ 306 h 339"/>
                      <a:gd name="T8" fmla="*/ 536 w 834"/>
                      <a:gd name="T9" fmla="*/ 311 h 339"/>
                      <a:gd name="T10" fmla="*/ 765 w 834"/>
                      <a:gd name="T11" fmla="*/ 290 h 339"/>
                      <a:gd name="T12" fmla="*/ 261 w 834"/>
                      <a:gd name="T13" fmla="*/ 141 h 339"/>
                      <a:gd name="T14" fmla="*/ 82 w 834"/>
                      <a:gd name="T15" fmla="*/ 163 h 339"/>
                      <a:gd name="T16" fmla="*/ 559 w 834"/>
                      <a:gd name="T17" fmla="*/ 158 h 339"/>
                      <a:gd name="T18" fmla="*/ 750 w 834"/>
                      <a:gd name="T19" fmla="*/ 153 h 339"/>
                      <a:gd name="T20" fmla="*/ 543 w 834"/>
                      <a:gd name="T21" fmla="*/ 156 h 339"/>
                      <a:gd name="T22" fmla="*/ 496 w 834"/>
                      <a:gd name="T23" fmla="*/ 223 h 339"/>
                      <a:gd name="T24" fmla="*/ 184 w 834"/>
                      <a:gd name="T25" fmla="*/ 150 h 339"/>
                      <a:gd name="T26" fmla="*/ 366 w 834"/>
                      <a:gd name="T27" fmla="*/ 299 h 339"/>
                      <a:gd name="T28" fmla="*/ 598 w 834"/>
                      <a:gd name="T29" fmla="*/ 181 h 339"/>
                      <a:gd name="T30" fmla="*/ 512 w 834"/>
                      <a:gd name="T31" fmla="*/ 292 h 339"/>
                      <a:gd name="T32" fmla="*/ 519 w 834"/>
                      <a:gd name="T33" fmla="*/ 291 h 339"/>
                      <a:gd name="T34" fmla="*/ 409 w 834"/>
                      <a:gd name="T35" fmla="*/ 296 h 339"/>
                      <a:gd name="T36" fmla="*/ 401 w 834"/>
                      <a:gd name="T37" fmla="*/ 300 h 339"/>
                      <a:gd name="T38" fmla="*/ 439 w 834"/>
                      <a:gd name="T39" fmla="*/ 300 h 339"/>
                      <a:gd name="T40" fmla="*/ 491 w 834"/>
                      <a:gd name="T41" fmla="*/ 286 h 339"/>
                      <a:gd name="T42" fmla="*/ 10 w 834"/>
                      <a:gd name="T43" fmla="*/ 58 h 339"/>
                      <a:gd name="T44" fmla="*/ 59 w 834"/>
                      <a:gd name="T45" fmla="*/ 121 h 339"/>
                      <a:gd name="T46" fmla="*/ 583 w 834"/>
                      <a:gd name="T47" fmla="*/ 129 h 339"/>
                      <a:gd name="T48" fmla="*/ 242 w 834"/>
                      <a:gd name="T49" fmla="*/ 259 h 339"/>
                      <a:gd name="T50" fmla="*/ 309 w 834"/>
                      <a:gd name="T51" fmla="*/ 273 h 339"/>
                      <a:gd name="T52" fmla="*/ 279 w 834"/>
                      <a:gd name="T53" fmla="*/ 287 h 339"/>
                      <a:gd name="T54" fmla="*/ 194 w 834"/>
                      <a:gd name="T55" fmla="*/ 261 h 339"/>
                      <a:gd name="T56" fmla="*/ 599 w 834"/>
                      <a:gd name="T57" fmla="*/ 192 h 339"/>
                      <a:gd name="T58" fmla="*/ 561 w 834"/>
                      <a:gd name="T59" fmla="*/ 152 h 339"/>
                      <a:gd name="T60" fmla="*/ 563 w 834"/>
                      <a:gd name="T61" fmla="*/ 181 h 339"/>
                      <a:gd name="T62" fmla="*/ 676 w 834"/>
                      <a:gd name="T63" fmla="*/ 243 h 339"/>
                      <a:gd name="T64" fmla="*/ 686 w 834"/>
                      <a:gd name="T65" fmla="*/ 225 h 339"/>
                      <a:gd name="T66" fmla="*/ 711 w 834"/>
                      <a:gd name="T67" fmla="*/ 239 h 339"/>
                      <a:gd name="T68" fmla="*/ 406 w 834"/>
                      <a:gd name="T69" fmla="*/ 34 h 339"/>
                      <a:gd name="T70" fmla="*/ 409 w 834"/>
                      <a:gd name="T71" fmla="*/ 76 h 339"/>
                      <a:gd name="T72" fmla="*/ 400 w 834"/>
                      <a:gd name="T73" fmla="*/ 133 h 339"/>
                      <a:gd name="T74" fmla="*/ 378 w 834"/>
                      <a:gd name="T75" fmla="*/ 181 h 339"/>
                      <a:gd name="T76" fmla="*/ 320 w 834"/>
                      <a:gd name="T77" fmla="*/ 178 h 339"/>
                      <a:gd name="T78" fmla="*/ 267 w 834"/>
                      <a:gd name="T79" fmla="*/ 160 h 339"/>
                      <a:gd name="T80" fmla="*/ 247 w 834"/>
                      <a:gd name="T81" fmla="*/ 96 h 339"/>
                      <a:gd name="T82" fmla="*/ 320 w 834"/>
                      <a:gd name="T83" fmla="*/ 85 h 339"/>
                      <a:gd name="T84" fmla="*/ 647 w 834"/>
                      <a:gd name="T85" fmla="*/ 125 h 339"/>
                      <a:gd name="T86" fmla="*/ 114 w 834"/>
                      <a:gd name="T87" fmla="*/ 79 h 339"/>
                      <a:gd name="T88" fmla="*/ 809 w 834"/>
                      <a:gd name="T89" fmla="*/ 294 h 339"/>
                      <a:gd name="T90" fmla="*/ 773 w 834"/>
                      <a:gd name="T91" fmla="*/ 237 h 339"/>
                      <a:gd name="T92" fmla="*/ 700 w 834"/>
                      <a:gd name="T93" fmla="*/ 188 h 339"/>
                      <a:gd name="T94" fmla="*/ 673 w 834"/>
                      <a:gd name="T95" fmla="*/ 174 h 339"/>
                      <a:gd name="T96" fmla="*/ 705 w 834"/>
                      <a:gd name="T97" fmla="*/ 163 h 339"/>
                      <a:gd name="T98" fmla="*/ 655 w 834"/>
                      <a:gd name="T99" fmla="*/ 138 h 339"/>
                      <a:gd name="T100" fmla="*/ 716 w 834"/>
                      <a:gd name="T101" fmla="*/ 173 h 339"/>
                      <a:gd name="T102" fmla="*/ 766 w 834"/>
                      <a:gd name="T103" fmla="*/ 146 h 339"/>
                      <a:gd name="T104" fmla="*/ 548 w 834"/>
                      <a:gd name="T105" fmla="*/ 41 h 339"/>
                      <a:gd name="T106" fmla="*/ 161 w 834"/>
                      <a:gd name="T107" fmla="*/ 94 h 339"/>
                      <a:gd name="T108" fmla="*/ 606 w 834"/>
                      <a:gd name="T109" fmla="*/ 93 h 339"/>
                      <a:gd name="T110" fmla="*/ 594 w 834"/>
                      <a:gd name="T111" fmla="*/ 71 h 339"/>
                      <a:gd name="T112" fmla="*/ 87 w 834"/>
                      <a:gd name="T113" fmla="*/ 61 h 339"/>
                      <a:gd name="T114" fmla="*/ 152 w 834"/>
                      <a:gd name="T115" fmla="*/ 117 h 339"/>
                      <a:gd name="T116" fmla="*/ 169 w 834"/>
                      <a:gd name="T117" fmla="*/ 167 h 339"/>
                      <a:gd name="T118" fmla="*/ 185 w 834"/>
                      <a:gd name="T119" fmla="*/ 230 h 339"/>
                      <a:gd name="T120" fmla="*/ 128 w 834"/>
                      <a:gd name="T121" fmla="*/ 194 h 339"/>
                      <a:gd name="T122" fmla="*/ 71 w 834"/>
                      <a:gd name="T123" fmla="*/ 107 h 339"/>
                      <a:gd name="T124" fmla="*/ 6 w 834"/>
                      <a:gd name="T125" fmla="*/ 20 h 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834" h="339">
                        <a:moveTo>
                          <a:pt x="519" y="326"/>
                        </a:moveTo>
                        <a:lnTo>
                          <a:pt x="514" y="328"/>
                        </a:lnTo>
                        <a:lnTo>
                          <a:pt x="512" y="328"/>
                        </a:lnTo>
                        <a:lnTo>
                          <a:pt x="507" y="328"/>
                        </a:lnTo>
                        <a:lnTo>
                          <a:pt x="508" y="326"/>
                        </a:lnTo>
                        <a:lnTo>
                          <a:pt x="509" y="325"/>
                        </a:lnTo>
                        <a:lnTo>
                          <a:pt x="513" y="323"/>
                        </a:lnTo>
                        <a:lnTo>
                          <a:pt x="513" y="323"/>
                        </a:lnTo>
                        <a:lnTo>
                          <a:pt x="511" y="321"/>
                        </a:lnTo>
                        <a:lnTo>
                          <a:pt x="511" y="323"/>
                        </a:lnTo>
                        <a:lnTo>
                          <a:pt x="509" y="321"/>
                        </a:lnTo>
                        <a:lnTo>
                          <a:pt x="509" y="319"/>
                        </a:lnTo>
                        <a:lnTo>
                          <a:pt x="511" y="318"/>
                        </a:lnTo>
                        <a:lnTo>
                          <a:pt x="512" y="313"/>
                        </a:lnTo>
                        <a:lnTo>
                          <a:pt x="516" y="308"/>
                        </a:lnTo>
                        <a:lnTo>
                          <a:pt x="520" y="306"/>
                        </a:lnTo>
                        <a:lnTo>
                          <a:pt x="521" y="306"/>
                        </a:lnTo>
                        <a:lnTo>
                          <a:pt x="526" y="304"/>
                        </a:lnTo>
                        <a:lnTo>
                          <a:pt x="532" y="301"/>
                        </a:lnTo>
                        <a:lnTo>
                          <a:pt x="535" y="298"/>
                        </a:lnTo>
                        <a:lnTo>
                          <a:pt x="535" y="298"/>
                        </a:lnTo>
                        <a:lnTo>
                          <a:pt x="535" y="298"/>
                        </a:lnTo>
                        <a:lnTo>
                          <a:pt x="535" y="299"/>
                        </a:lnTo>
                        <a:lnTo>
                          <a:pt x="535" y="299"/>
                        </a:lnTo>
                        <a:lnTo>
                          <a:pt x="535" y="299"/>
                        </a:lnTo>
                        <a:lnTo>
                          <a:pt x="535" y="299"/>
                        </a:lnTo>
                        <a:lnTo>
                          <a:pt x="535" y="299"/>
                        </a:lnTo>
                        <a:lnTo>
                          <a:pt x="535" y="299"/>
                        </a:lnTo>
                        <a:lnTo>
                          <a:pt x="535" y="299"/>
                        </a:lnTo>
                        <a:lnTo>
                          <a:pt x="535" y="299"/>
                        </a:lnTo>
                        <a:lnTo>
                          <a:pt x="535" y="299"/>
                        </a:lnTo>
                        <a:lnTo>
                          <a:pt x="535" y="299"/>
                        </a:lnTo>
                        <a:lnTo>
                          <a:pt x="535" y="299"/>
                        </a:lnTo>
                        <a:lnTo>
                          <a:pt x="535" y="299"/>
                        </a:lnTo>
                        <a:lnTo>
                          <a:pt x="535" y="299"/>
                        </a:lnTo>
                        <a:lnTo>
                          <a:pt x="535" y="299"/>
                        </a:lnTo>
                        <a:lnTo>
                          <a:pt x="535" y="299"/>
                        </a:lnTo>
                        <a:lnTo>
                          <a:pt x="535" y="299"/>
                        </a:lnTo>
                        <a:lnTo>
                          <a:pt x="536" y="299"/>
                        </a:lnTo>
                        <a:lnTo>
                          <a:pt x="536" y="299"/>
                        </a:lnTo>
                        <a:lnTo>
                          <a:pt x="536" y="299"/>
                        </a:lnTo>
                        <a:lnTo>
                          <a:pt x="536" y="299"/>
                        </a:lnTo>
                        <a:lnTo>
                          <a:pt x="536" y="299"/>
                        </a:lnTo>
                        <a:lnTo>
                          <a:pt x="536" y="299"/>
                        </a:lnTo>
                        <a:lnTo>
                          <a:pt x="536" y="300"/>
                        </a:lnTo>
                        <a:lnTo>
                          <a:pt x="536" y="300"/>
                        </a:lnTo>
                        <a:lnTo>
                          <a:pt x="536" y="299"/>
                        </a:lnTo>
                        <a:lnTo>
                          <a:pt x="536" y="299"/>
                        </a:lnTo>
                        <a:lnTo>
                          <a:pt x="536" y="299"/>
                        </a:lnTo>
                        <a:lnTo>
                          <a:pt x="536" y="299"/>
                        </a:lnTo>
                        <a:lnTo>
                          <a:pt x="536" y="299"/>
                        </a:lnTo>
                        <a:lnTo>
                          <a:pt x="536" y="299"/>
                        </a:lnTo>
                        <a:lnTo>
                          <a:pt x="536" y="299"/>
                        </a:lnTo>
                        <a:lnTo>
                          <a:pt x="536" y="299"/>
                        </a:lnTo>
                        <a:lnTo>
                          <a:pt x="536" y="299"/>
                        </a:lnTo>
                        <a:lnTo>
                          <a:pt x="536" y="299"/>
                        </a:lnTo>
                        <a:lnTo>
                          <a:pt x="536" y="299"/>
                        </a:lnTo>
                        <a:lnTo>
                          <a:pt x="536" y="299"/>
                        </a:lnTo>
                        <a:lnTo>
                          <a:pt x="536" y="299"/>
                        </a:lnTo>
                        <a:lnTo>
                          <a:pt x="536" y="299"/>
                        </a:lnTo>
                        <a:lnTo>
                          <a:pt x="536" y="299"/>
                        </a:lnTo>
                        <a:lnTo>
                          <a:pt x="536" y="299"/>
                        </a:lnTo>
                        <a:lnTo>
                          <a:pt x="536" y="299"/>
                        </a:lnTo>
                        <a:lnTo>
                          <a:pt x="536" y="299"/>
                        </a:lnTo>
                        <a:lnTo>
                          <a:pt x="536" y="299"/>
                        </a:lnTo>
                        <a:lnTo>
                          <a:pt x="536" y="299"/>
                        </a:lnTo>
                        <a:lnTo>
                          <a:pt x="536" y="299"/>
                        </a:lnTo>
                        <a:lnTo>
                          <a:pt x="536" y="299"/>
                        </a:lnTo>
                        <a:lnTo>
                          <a:pt x="538" y="299"/>
                        </a:lnTo>
                        <a:lnTo>
                          <a:pt x="538" y="299"/>
                        </a:lnTo>
                        <a:lnTo>
                          <a:pt x="538" y="299"/>
                        </a:lnTo>
                        <a:lnTo>
                          <a:pt x="538" y="299"/>
                        </a:lnTo>
                        <a:lnTo>
                          <a:pt x="538" y="299"/>
                        </a:lnTo>
                        <a:lnTo>
                          <a:pt x="538" y="299"/>
                        </a:lnTo>
                        <a:lnTo>
                          <a:pt x="538" y="299"/>
                        </a:lnTo>
                        <a:lnTo>
                          <a:pt x="538" y="299"/>
                        </a:lnTo>
                        <a:lnTo>
                          <a:pt x="538" y="299"/>
                        </a:lnTo>
                        <a:lnTo>
                          <a:pt x="538" y="299"/>
                        </a:lnTo>
                        <a:lnTo>
                          <a:pt x="538" y="299"/>
                        </a:lnTo>
                        <a:lnTo>
                          <a:pt x="538" y="299"/>
                        </a:lnTo>
                        <a:lnTo>
                          <a:pt x="538" y="300"/>
                        </a:lnTo>
                        <a:lnTo>
                          <a:pt x="538" y="300"/>
                        </a:lnTo>
                        <a:lnTo>
                          <a:pt x="538" y="300"/>
                        </a:lnTo>
                        <a:lnTo>
                          <a:pt x="538" y="300"/>
                        </a:lnTo>
                        <a:lnTo>
                          <a:pt x="538" y="300"/>
                        </a:lnTo>
                        <a:lnTo>
                          <a:pt x="538" y="300"/>
                        </a:lnTo>
                        <a:lnTo>
                          <a:pt x="538" y="300"/>
                        </a:lnTo>
                        <a:lnTo>
                          <a:pt x="538" y="300"/>
                        </a:lnTo>
                        <a:lnTo>
                          <a:pt x="538" y="300"/>
                        </a:lnTo>
                        <a:lnTo>
                          <a:pt x="538" y="300"/>
                        </a:lnTo>
                        <a:lnTo>
                          <a:pt x="538" y="300"/>
                        </a:lnTo>
                        <a:lnTo>
                          <a:pt x="538" y="300"/>
                        </a:lnTo>
                        <a:lnTo>
                          <a:pt x="538" y="300"/>
                        </a:lnTo>
                        <a:lnTo>
                          <a:pt x="538" y="300"/>
                        </a:lnTo>
                        <a:lnTo>
                          <a:pt x="538" y="300"/>
                        </a:lnTo>
                        <a:lnTo>
                          <a:pt x="538" y="300"/>
                        </a:lnTo>
                        <a:lnTo>
                          <a:pt x="538" y="300"/>
                        </a:lnTo>
                        <a:lnTo>
                          <a:pt x="538" y="300"/>
                        </a:lnTo>
                        <a:lnTo>
                          <a:pt x="538" y="300"/>
                        </a:lnTo>
                        <a:lnTo>
                          <a:pt x="538" y="300"/>
                        </a:lnTo>
                        <a:lnTo>
                          <a:pt x="538" y="300"/>
                        </a:lnTo>
                        <a:lnTo>
                          <a:pt x="538" y="300"/>
                        </a:lnTo>
                        <a:lnTo>
                          <a:pt x="538" y="300"/>
                        </a:lnTo>
                        <a:lnTo>
                          <a:pt x="538" y="300"/>
                        </a:lnTo>
                        <a:lnTo>
                          <a:pt x="538" y="300"/>
                        </a:lnTo>
                        <a:lnTo>
                          <a:pt x="538" y="300"/>
                        </a:lnTo>
                        <a:lnTo>
                          <a:pt x="538" y="301"/>
                        </a:lnTo>
                        <a:lnTo>
                          <a:pt x="538" y="301"/>
                        </a:lnTo>
                        <a:lnTo>
                          <a:pt x="538" y="301"/>
                        </a:lnTo>
                        <a:lnTo>
                          <a:pt x="538" y="301"/>
                        </a:lnTo>
                        <a:lnTo>
                          <a:pt x="538" y="301"/>
                        </a:lnTo>
                        <a:lnTo>
                          <a:pt x="538" y="301"/>
                        </a:lnTo>
                        <a:lnTo>
                          <a:pt x="538" y="301"/>
                        </a:lnTo>
                        <a:lnTo>
                          <a:pt x="538" y="301"/>
                        </a:lnTo>
                        <a:lnTo>
                          <a:pt x="538" y="301"/>
                        </a:lnTo>
                        <a:lnTo>
                          <a:pt x="538" y="301"/>
                        </a:lnTo>
                        <a:lnTo>
                          <a:pt x="538" y="301"/>
                        </a:lnTo>
                        <a:lnTo>
                          <a:pt x="538" y="301"/>
                        </a:lnTo>
                        <a:lnTo>
                          <a:pt x="538" y="303"/>
                        </a:lnTo>
                        <a:lnTo>
                          <a:pt x="538" y="303"/>
                        </a:lnTo>
                        <a:lnTo>
                          <a:pt x="538" y="303"/>
                        </a:lnTo>
                        <a:lnTo>
                          <a:pt x="538" y="303"/>
                        </a:lnTo>
                        <a:lnTo>
                          <a:pt x="538" y="303"/>
                        </a:lnTo>
                        <a:lnTo>
                          <a:pt x="538" y="303"/>
                        </a:lnTo>
                        <a:lnTo>
                          <a:pt x="538" y="303"/>
                        </a:lnTo>
                        <a:lnTo>
                          <a:pt x="538" y="303"/>
                        </a:lnTo>
                        <a:lnTo>
                          <a:pt x="538" y="303"/>
                        </a:lnTo>
                        <a:lnTo>
                          <a:pt x="538" y="303"/>
                        </a:lnTo>
                        <a:lnTo>
                          <a:pt x="538" y="303"/>
                        </a:lnTo>
                        <a:lnTo>
                          <a:pt x="538" y="303"/>
                        </a:lnTo>
                        <a:lnTo>
                          <a:pt x="538" y="303"/>
                        </a:lnTo>
                        <a:lnTo>
                          <a:pt x="538" y="303"/>
                        </a:lnTo>
                        <a:lnTo>
                          <a:pt x="538" y="303"/>
                        </a:lnTo>
                        <a:lnTo>
                          <a:pt x="538" y="303"/>
                        </a:lnTo>
                        <a:lnTo>
                          <a:pt x="538" y="303"/>
                        </a:lnTo>
                        <a:lnTo>
                          <a:pt x="538" y="303"/>
                        </a:lnTo>
                        <a:lnTo>
                          <a:pt x="538" y="303"/>
                        </a:lnTo>
                        <a:lnTo>
                          <a:pt x="538" y="303"/>
                        </a:lnTo>
                        <a:lnTo>
                          <a:pt x="538" y="303"/>
                        </a:lnTo>
                        <a:lnTo>
                          <a:pt x="538" y="303"/>
                        </a:lnTo>
                        <a:lnTo>
                          <a:pt x="538" y="304"/>
                        </a:lnTo>
                        <a:lnTo>
                          <a:pt x="538" y="304"/>
                        </a:lnTo>
                        <a:lnTo>
                          <a:pt x="538" y="304"/>
                        </a:lnTo>
                        <a:lnTo>
                          <a:pt x="538" y="304"/>
                        </a:lnTo>
                        <a:lnTo>
                          <a:pt x="538" y="304"/>
                        </a:lnTo>
                        <a:lnTo>
                          <a:pt x="538" y="304"/>
                        </a:lnTo>
                        <a:lnTo>
                          <a:pt x="538" y="304"/>
                        </a:lnTo>
                        <a:lnTo>
                          <a:pt x="538" y="304"/>
                        </a:lnTo>
                        <a:lnTo>
                          <a:pt x="538" y="304"/>
                        </a:lnTo>
                        <a:lnTo>
                          <a:pt x="538" y="304"/>
                        </a:lnTo>
                        <a:lnTo>
                          <a:pt x="538" y="304"/>
                        </a:lnTo>
                        <a:lnTo>
                          <a:pt x="538" y="304"/>
                        </a:lnTo>
                        <a:lnTo>
                          <a:pt x="536" y="304"/>
                        </a:lnTo>
                        <a:lnTo>
                          <a:pt x="536" y="304"/>
                        </a:lnTo>
                        <a:lnTo>
                          <a:pt x="536" y="304"/>
                        </a:lnTo>
                        <a:lnTo>
                          <a:pt x="536" y="304"/>
                        </a:lnTo>
                        <a:lnTo>
                          <a:pt x="536" y="304"/>
                        </a:lnTo>
                        <a:lnTo>
                          <a:pt x="536" y="304"/>
                        </a:lnTo>
                        <a:lnTo>
                          <a:pt x="536" y="304"/>
                        </a:lnTo>
                        <a:lnTo>
                          <a:pt x="536" y="304"/>
                        </a:lnTo>
                        <a:lnTo>
                          <a:pt x="536" y="304"/>
                        </a:lnTo>
                        <a:lnTo>
                          <a:pt x="536" y="304"/>
                        </a:lnTo>
                        <a:lnTo>
                          <a:pt x="536" y="304"/>
                        </a:lnTo>
                        <a:lnTo>
                          <a:pt x="536" y="304"/>
                        </a:lnTo>
                        <a:lnTo>
                          <a:pt x="536" y="304"/>
                        </a:lnTo>
                        <a:lnTo>
                          <a:pt x="536" y="304"/>
                        </a:lnTo>
                        <a:lnTo>
                          <a:pt x="536" y="304"/>
                        </a:lnTo>
                        <a:lnTo>
                          <a:pt x="536" y="304"/>
                        </a:lnTo>
                        <a:lnTo>
                          <a:pt x="536" y="304"/>
                        </a:lnTo>
                        <a:lnTo>
                          <a:pt x="536" y="304"/>
                        </a:lnTo>
                        <a:lnTo>
                          <a:pt x="536" y="304"/>
                        </a:lnTo>
                        <a:lnTo>
                          <a:pt x="536" y="304"/>
                        </a:lnTo>
                        <a:lnTo>
                          <a:pt x="536" y="304"/>
                        </a:lnTo>
                        <a:lnTo>
                          <a:pt x="536" y="304"/>
                        </a:lnTo>
                        <a:lnTo>
                          <a:pt x="536" y="305"/>
                        </a:lnTo>
                        <a:lnTo>
                          <a:pt x="535" y="305"/>
                        </a:lnTo>
                        <a:lnTo>
                          <a:pt x="535" y="305"/>
                        </a:lnTo>
                        <a:lnTo>
                          <a:pt x="535" y="305"/>
                        </a:lnTo>
                        <a:lnTo>
                          <a:pt x="535" y="305"/>
                        </a:lnTo>
                        <a:lnTo>
                          <a:pt x="535" y="305"/>
                        </a:lnTo>
                        <a:lnTo>
                          <a:pt x="535" y="305"/>
                        </a:lnTo>
                        <a:lnTo>
                          <a:pt x="535" y="305"/>
                        </a:lnTo>
                        <a:lnTo>
                          <a:pt x="535" y="305"/>
                        </a:lnTo>
                        <a:lnTo>
                          <a:pt x="535" y="305"/>
                        </a:lnTo>
                        <a:lnTo>
                          <a:pt x="535" y="305"/>
                        </a:lnTo>
                        <a:lnTo>
                          <a:pt x="535" y="306"/>
                        </a:lnTo>
                        <a:lnTo>
                          <a:pt x="535" y="306"/>
                        </a:lnTo>
                        <a:lnTo>
                          <a:pt x="535" y="306"/>
                        </a:lnTo>
                        <a:lnTo>
                          <a:pt x="535" y="306"/>
                        </a:lnTo>
                        <a:lnTo>
                          <a:pt x="535" y="306"/>
                        </a:lnTo>
                        <a:lnTo>
                          <a:pt x="535" y="306"/>
                        </a:lnTo>
                        <a:lnTo>
                          <a:pt x="535" y="306"/>
                        </a:lnTo>
                        <a:lnTo>
                          <a:pt x="535" y="306"/>
                        </a:lnTo>
                        <a:lnTo>
                          <a:pt x="535" y="306"/>
                        </a:lnTo>
                        <a:lnTo>
                          <a:pt x="535" y="306"/>
                        </a:lnTo>
                        <a:lnTo>
                          <a:pt x="535" y="307"/>
                        </a:lnTo>
                        <a:lnTo>
                          <a:pt x="535" y="307"/>
                        </a:lnTo>
                        <a:lnTo>
                          <a:pt x="535" y="307"/>
                        </a:lnTo>
                        <a:lnTo>
                          <a:pt x="535" y="307"/>
                        </a:lnTo>
                        <a:lnTo>
                          <a:pt x="535" y="307"/>
                        </a:lnTo>
                        <a:lnTo>
                          <a:pt x="535" y="307"/>
                        </a:lnTo>
                        <a:lnTo>
                          <a:pt x="535" y="307"/>
                        </a:lnTo>
                        <a:lnTo>
                          <a:pt x="535" y="307"/>
                        </a:lnTo>
                        <a:lnTo>
                          <a:pt x="535" y="308"/>
                        </a:lnTo>
                        <a:lnTo>
                          <a:pt x="535" y="308"/>
                        </a:lnTo>
                        <a:lnTo>
                          <a:pt x="535" y="308"/>
                        </a:lnTo>
                        <a:lnTo>
                          <a:pt x="535" y="308"/>
                        </a:lnTo>
                        <a:lnTo>
                          <a:pt x="535" y="308"/>
                        </a:lnTo>
                        <a:lnTo>
                          <a:pt x="535" y="308"/>
                        </a:lnTo>
                        <a:lnTo>
                          <a:pt x="535" y="308"/>
                        </a:lnTo>
                        <a:lnTo>
                          <a:pt x="535" y="308"/>
                        </a:lnTo>
                        <a:lnTo>
                          <a:pt x="535" y="308"/>
                        </a:lnTo>
                        <a:lnTo>
                          <a:pt x="535" y="308"/>
                        </a:lnTo>
                        <a:lnTo>
                          <a:pt x="535" y="308"/>
                        </a:lnTo>
                        <a:lnTo>
                          <a:pt x="535" y="308"/>
                        </a:lnTo>
                        <a:lnTo>
                          <a:pt x="535" y="308"/>
                        </a:lnTo>
                        <a:lnTo>
                          <a:pt x="535" y="308"/>
                        </a:lnTo>
                        <a:lnTo>
                          <a:pt x="535" y="308"/>
                        </a:lnTo>
                        <a:lnTo>
                          <a:pt x="535" y="308"/>
                        </a:lnTo>
                        <a:lnTo>
                          <a:pt x="535" y="308"/>
                        </a:lnTo>
                        <a:lnTo>
                          <a:pt x="535" y="308"/>
                        </a:lnTo>
                        <a:lnTo>
                          <a:pt x="535" y="308"/>
                        </a:lnTo>
                        <a:lnTo>
                          <a:pt x="535" y="310"/>
                        </a:lnTo>
                        <a:lnTo>
                          <a:pt x="535" y="310"/>
                        </a:lnTo>
                        <a:lnTo>
                          <a:pt x="535" y="310"/>
                        </a:lnTo>
                        <a:lnTo>
                          <a:pt x="535" y="310"/>
                        </a:lnTo>
                        <a:lnTo>
                          <a:pt x="535" y="310"/>
                        </a:lnTo>
                        <a:lnTo>
                          <a:pt x="535" y="310"/>
                        </a:lnTo>
                        <a:lnTo>
                          <a:pt x="535" y="310"/>
                        </a:lnTo>
                        <a:lnTo>
                          <a:pt x="535" y="310"/>
                        </a:lnTo>
                        <a:lnTo>
                          <a:pt x="535" y="310"/>
                        </a:lnTo>
                        <a:lnTo>
                          <a:pt x="535" y="310"/>
                        </a:lnTo>
                        <a:lnTo>
                          <a:pt x="535" y="310"/>
                        </a:lnTo>
                        <a:lnTo>
                          <a:pt x="535" y="310"/>
                        </a:lnTo>
                        <a:lnTo>
                          <a:pt x="536" y="310"/>
                        </a:lnTo>
                        <a:lnTo>
                          <a:pt x="536" y="310"/>
                        </a:lnTo>
                        <a:lnTo>
                          <a:pt x="536" y="310"/>
                        </a:lnTo>
                        <a:lnTo>
                          <a:pt x="536" y="310"/>
                        </a:lnTo>
                        <a:lnTo>
                          <a:pt x="536" y="311"/>
                        </a:lnTo>
                        <a:lnTo>
                          <a:pt x="536" y="311"/>
                        </a:lnTo>
                        <a:lnTo>
                          <a:pt x="536" y="311"/>
                        </a:lnTo>
                        <a:lnTo>
                          <a:pt x="536" y="311"/>
                        </a:lnTo>
                        <a:lnTo>
                          <a:pt x="536" y="311"/>
                        </a:lnTo>
                        <a:lnTo>
                          <a:pt x="536" y="311"/>
                        </a:lnTo>
                        <a:lnTo>
                          <a:pt x="536" y="311"/>
                        </a:lnTo>
                        <a:lnTo>
                          <a:pt x="536" y="311"/>
                        </a:lnTo>
                        <a:lnTo>
                          <a:pt x="536" y="311"/>
                        </a:lnTo>
                        <a:lnTo>
                          <a:pt x="536" y="311"/>
                        </a:lnTo>
                        <a:lnTo>
                          <a:pt x="536" y="311"/>
                        </a:lnTo>
                        <a:lnTo>
                          <a:pt x="535" y="312"/>
                        </a:lnTo>
                        <a:lnTo>
                          <a:pt x="535" y="314"/>
                        </a:lnTo>
                        <a:lnTo>
                          <a:pt x="532" y="317"/>
                        </a:lnTo>
                        <a:lnTo>
                          <a:pt x="529" y="320"/>
                        </a:lnTo>
                        <a:lnTo>
                          <a:pt x="526" y="324"/>
                        </a:lnTo>
                        <a:lnTo>
                          <a:pt x="525" y="325"/>
                        </a:lnTo>
                        <a:lnTo>
                          <a:pt x="519" y="325"/>
                        </a:lnTo>
                        <a:lnTo>
                          <a:pt x="519" y="326"/>
                        </a:lnTo>
                        <a:lnTo>
                          <a:pt x="519" y="326"/>
                        </a:lnTo>
                        <a:close/>
                        <a:moveTo>
                          <a:pt x="758" y="290"/>
                        </a:moveTo>
                        <a:lnTo>
                          <a:pt x="756" y="288"/>
                        </a:lnTo>
                        <a:lnTo>
                          <a:pt x="760" y="284"/>
                        </a:lnTo>
                        <a:lnTo>
                          <a:pt x="759" y="283"/>
                        </a:lnTo>
                        <a:lnTo>
                          <a:pt x="761" y="280"/>
                        </a:lnTo>
                        <a:lnTo>
                          <a:pt x="763" y="278"/>
                        </a:lnTo>
                        <a:lnTo>
                          <a:pt x="763" y="274"/>
                        </a:lnTo>
                        <a:lnTo>
                          <a:pt x="766" y="273"/>
                        </a:lnTo>
                        <a:lnTo>
                          <a:pt x="766" y="271"/>
                        </a:lnTo>
                        <a:lnTo>
                          <a:pt x="769" y="271"/>
                        </a:lnTo>
                        <a:lnTo>
                          <a:pt x="770" y="268"/>
                        </a:lnTo>
                        <a:lnTo>
                          <a:pt x="773" y="268"/>
                        </a:lnTo>
                        <a:lnTo>
                          <a:pt x="776" y="268"/>
                        </a:lnTo>
                        <a:lnTo>
                          <a:pt x="778" y="268"/>
                        </a:lnTo>
                        <a:lnTo>
                          <a:pt x="780" y="270"/>
                        </a:lnTo>
                        <a:lnTo>
                          <a:pt x="780" y="271"/>
                        </a:lnTo>
                        <a:lnTo>
                          <a:pt x="782" y="272"/>
                        </a:lnTo>
                        <a:lnTo>
                          <a:pt x="781" y="278"/>
                        </a:lnTo>
                        <a:lnTo>
                          <a:pt x="780" y="279"/>
                        </a:lnTo>
                        <a:lnTo>
                          <a:pt x="781" y="285"/>
                        </a:lnTo>
                        <a:lnTo>
                          <a:pt x="781" y="285"/>
                        </a:lnTo>
                        <a:lnTo>
                          <a:pt x="780" y="283"/>
                        </a:lnTo>
                        <a:lnTo>
                          <a:pt x="779" y="283"/>
                        </a:lnTo>
                        <a:lnTo>
                          <a:pt x="778" y="284"/>
                        </a:lnTo>
                        <a:lnTo>
                          <a:pt x="775" y="284"/>
                        </a:lnTo>
                        <a:lnTo>
                          <a:pt x="779" y="287"/>
                        </a:lnTo>
                        <a:lnTo>
                          <a:pt x="775" y="287"/>
                        </a:lnTo>
                        <a:lnTo>
                          <a:pt x="772" y="288"/>
                        </a:lnTo>
                        <a:lnTo>
                          <a:pt x="769" y="290"/>
                        </a:lnTo>
                        <a:lnTo>
                          <a:pt x="765" y="290"/>
                        </a:lnTo>
                        <a:lnTo>
                          <a:pt x="762" y="288"/>
                        </a:lnTo>
                        <a:lnTo>
                          <a:pt x="759" y="286"/>
                        </a:lnTo>
                        <a:lnTo>
                          <a:pt x="759" y="288"/>
                        </a:lnTo>
                        <a:lnTo>
                          <a:pt x="758" y="290"/>
                        </a:lnTo>
                        <a:lnTo>
                          <a:pt x="758" y="290"/>
                        </a:lnTo>
                        <a:close/>
                        <a:moveTo>
                          <a:pt x="646" y="141"/>
                        </a:moveTo>
                        <a:lnTo>
                          <a:pt x="642" y="140"/>
                        </a:lnTo>
                        <a:lnTo>
                          <a:pt x="641" y="137"/>
                        </a:lnTo>
                        <a:lnTo>
                          <a:pt x="641" y="137"/>
                        </a:lnTo>
                        <a:lnTo>
                          <a:pt x="640" y="134"/>
                        </a:lnTo>
                        <a:lnTo>
                          <a:pt x="641" y="134"/>
                        </a:lnTo>
                        <a:lnTo>
                          <a:pt x="645" y="132"/>
                        </a:lnTo>
                        <a:lnTo>
                          <a:pt x="647" y="133"/>
                        </a:lnTo>
                        <a:lnTo>
                          <a:pt x="648" y="137"/>
                        </a:lnTo>
                        <a:lnTo>
                          <a:pt x="647" y="141"/>
                        </a:lnTo>
                        <a:lnTo>
                          <a:pt x="646" y="141"/>
                        </a:lnTo>
                        <a:lnTo>
                          <a:pt x="646" y="141"/>
                        </a:lnTo>
                        <a:close/>
                        <a:moveTo>
                          <a:pt x="71" y="153"/>
                        </a:moveTo>
                        <a:lnTo>
                          <a:pt x="67" y="150"/>
                        </a:lnTo>
                        <a:lnTo>
                          <a:pt x="62" y="141"/>
                        </a:lnTo>
                        <a:lnTo>
                          <a:pt x="61" y="140"/>
                        </a:lnTo>
                        <a:lnTo>
                          <a:pt x="64" y="136"/>
                        </a:lnTo>
                        <a:lnTo>
                          <a:pt x="64" y="136"/>
                        </a:lnTo>
                        <a:lnTo>
                          <a:pt x="67" y="134"/>
                        </a:lnTo>
                        <a:lnTo>
                          <a:pt x="68" y="136"/>
                        </a:lnTo>
                        <a:lnTo>
                          <a:pt x="68" y="137"/>
                        </a:lnTo>
                        <a:lnTo>
                          <a:pt x="68" y="138"/>
                        </a:lnTo>
                        <a:lnTo>
                          <a:pt x="71" y="141"/>
                        </a:lnTo>
                        <a:lnTo>
                          <a:pt x="71" y="144"/>
                        </a:lnTo>
                        <a:lnTo>
                          <a:pt x="72" y="145"/>
                        </a:lnTo>
                        <a:lnTo>
                          <a:pt x="72" y="145"/>
                        </a:lnTo>
                        <a:lnTo>
                          <a:pt x="72" y="145"/>
                        </a:lnTo>
                        <a:lnTo>
                          <a:pt x="74" y="150"/>
                        </a:lnTo>
                        <a:lnTo>
                          <a:pt x="74" y="151"/>
                        </a:lnTo>
                        <a:lnTo>
                          <a:pt x="73" y="149"/>
                        </a:lnTo>
                        <a:lnTo>
                          <a:pt x="73" y="150"/>
                        </a:lnTo>
                        <a:lnTo>
                          <a:pt x="74" y="152"/>
                        </a:lnTo>
                        <a:lnTo>
                          <a:pt x="73" y="152"/>
                        </a:lnTo>
                        <a:lnTo>
                          <a:pt x="71" y="153"/>
                        </a:lnTo>
                        <a:lnTo>
                          <a:pt x="71" y="153"/>
                        </a:lnTo>
                        <a:close/>
                        <a:moveTo>
                          <a:pt x="258" y="144"/>
                        </a:moveTo>
                        <a:lnTo>
                          <a:pt x="257" y="144"/>
                        </a:lnTo>
                        <a:lnTo>
                          <a:pt x="257" y="143"/>
                        </a:lnTo>
                        <a:lnTo>
                          <a:pt x="257" y="138"/>
                        </a:lnTo>
                        <a:lnTo>
                          <a:pt x="258" y="138"/>
                        </a:lnTo>
                        <a:lnTo>
                          <a:pt x="262" y="138"/>
                        </a:lnTo>
                        <a:lnTo>
                          <a:pt x="262" y="140"/>
                        </a:lnTo>
                        <a:lnTo>
                          <a:pt x="261" y="141"/>
                        </a:lnTo>
                        <a:lnTo>
                          <a:pt x="260" y="143"/>
                        </a:lnTo>
                        <a:lnTo>
                          <a:pt x="258" y="144"/>
                        </a:lnTo>
                        <a:lnTo>
                          <a:pt x="258" y="144"/>
                        </a:lnTo>
                        <a:close/>
                        <a:moveTo>
                          <a:pt x="87" y="171"/>
                        </a:moveTo>
                        <a:lnTo>
                          <a:pt x="86" y="171"/>
                        </a:lnTo>
                        <a:lnTo>
                          <a:pt x="86" y="165"/>
                        </a:lnTo>
                        <a:lnTo>
                          <a:pt x="86" y="164"/>
                        </a:lnTo>
                        <a:lnTo>
                          <a:pt x="87" y="165"/>
                        </a:lnTo>
                        <a:lnTo>
                          <a:pt x="89" y="167"/>
                        </a:lnTo>
                        <a:lnTo>
                          <a:pt x="89" y="170"/>
                        </a:lnTo>
                        <a:lnTo>
                          <a:pt x="87" y="171"/>
                        </a:lnTo>
                        <a:lnTo>
                          <a:pt x="87" y="171"/>
                        </a:lnTo>
                        <a:close/>
                        <a:moveTo>
                          <a:pt x="353" y="299"/>
                        </a:moveTo>
                        <a:lnTo>
                          <a:pt x="352" y="299"/>
                        </a:lnTo>
                        <a:lnTo>
                          <a:pt x="353" y="298"/>
                        </a:lnTo>
                        <a:lnTo>
                          <a:pt x="353" y="298"/>
                        </a:lnTo>
                        <a:lnTo>
                          <a:pt x="354" y="297"/>
                        </a:lnTo>
                        <a:lnTo>
                          <a:pt x="352" y="294"/>
                        </a:lnTo>
                        <a:lnTo>
                          <a:pt x="351" y="293"/>
                        </a:lnTo>
                        <a:lnTo>
                          <a:pt x="348" y="292"/>
                        </a:lnTo>
                        <a:lnTo>
                          <a:pt x="349" y="292"/>
                        </a:lnTo>
                        <a:lnTo>
                          <a:pt x="348" y="291"/>
                        </a:lnTo>
                        <a:lnTo>
                          <a:pt x="346" y="290"/>
                        </a:lnTo>
                        <a:lnTo>
                          <a:pt x="344" y="290"/>
                        </a:lnTo>
                        <a:lnTo>
                          <a:pt x="341" y="286"/>
                        </a:lnTo>
                        <a:lnTo>
                          <a:pt x="340" y="284"/>
                        </a:lnTo>
                        <a:lnTo>
                          <a:pt x="341" y="284"/>
                        </a:lnTo>
                        <a:lnTo>
                          <a:pt x="348" y="286"/>
                        </a:lnTo>
                        <a:lnTo>
                          <a:pt x="351" y="286"/>
                        </a:lnTo>
                        <a:lnTo>
                          <a:pt x="353" y="285"/>
                        </a:lnTo>
                        <a:lnTo>
                          <a:pt x="353" y="284"/>
                        </a:lnTo>
                        <a:lnTo>
                          <a:pt x="356" y="285"/>
                        </a:lnTo>
                        <a:lnTo>
                          <a:pt x="356" y="284"/>
                        </a:lnTo>
                        <a:lnTo>
                          <a:pt x="359" y="285"/>
                        </a:lnTo>
                        <a:lnTo>
                          <a:pt x="360" y="288"/>
                        </a:lnTo>
                        <a:lnTo>
                          <a:pt x="361" y="287"/>
                        </a:lnTo>
                        <a:lnTo>
                          <a:pt x="364" y="290"/>
                        </a:lnTo>
                        <a:lnTo>
                          <a:pt x="364" y="290"/>
                        </a:lnTo>
                        <a:lnTo>
                          <a:pt x="361" y="292"/>
                        </a:lnTo>
                        <a:lnTo>
                          <a:pt x="360" y="294"/>
                        </a:lnTo>
                        <a:lnTo>
                          <a:pt x="358" y="294"/>
                        </a:lnTo>
                        <a:lnTo>
                          <a:pt x="356" y="294"/>
                        </a:lnTo>
                        <a:lnTo>
                          <a:pt x="354" y="297"/>
                        </a:lnTo>
                        <a:lnTo>
                          <a:pt x="355" y="298"/>
                        </a:lnTo>
                        <a:lnTo>
                          <a:pt x="354" y="299"/>
                        </a:lnTo>
                        <a:lnTo>
                          <a:pt x="353" y="299"/>
                        </a:lnTo>
                        <a:lnTo>
                          <a:pt x="353" y="299"/>
                        </a:lnTo>
                        <a:close/>
                        <a:moveTo>
                          <a:pt x="82" y="163"/>
                        </a:moveTo>
                        <a:lnTo>
                          <a:pt x="77" y="160"/>
                        </a:lnTo>
                        <a:lnTo>
                          <a:pt x="77" y="159"/>
                        </a:lnTo>
                        <a:lnTo>
                          <a:pt x="77" y="157"/>
                        </a:lnTo>
                        <a:lnTo>
                          <a:pt x="78" y="156"/>
                        </a:lnTo>
                        <a:lnTo>
                          <a:pt x="79" y="157"/>
                        </a:lnTo>
                        <a:lnTo>
                          <a:pt x="82" y="163"/>
                        </a:lnTo>
                        <a:lnTo>
                          <a:pt x="82" y="163"/>
                        </a:lnTo>
                        <a:close/>
                        <a:moveTo>
                          <a:pt x="229" y="183"/>
                        </a:moveTo>
                        <a:lnTo>
                          <a:pt x="227" y="179"/>
                        </a:lnTo>
                        <a:lnTo>
                          <a:pt x="226" y="179"/>
                        </a:lnTo>
                        <a:lnTo>
                          <a:pt x="227" y="180"/>
                        </a:lnTo>
                        <a:lnTo>
                          <a:pt x="226" y="181"/>
                        </a:lnTo>
                        <a:lnTo>
                          <a:pt x="224" y="183"/>
                        </a:lnTo>
                        <a:lnTo>
                          <a:pt x="222" y="183"/>
                        </a:lnTo>
                        <a:lnTo>
                          <a:pt x="222" y="176"/>
                        </a:lnTo>
                        <a:lnTo>
                          <a:pt x="221" y="177"/>
                        </a:lnTo>
                        <a:lnTo>
                          <a:pt x="221" y="176"/>
                        </a:lnTo>
                        <a:lnTo>
                          <a:pt x="222" y="176"/>
                        </a:lnTo>
                        <a:lnTo>
                          <a:pt x="224" y="172"/>
                        </a:lnTo>
                        <a:lnTo>
                          <a:pt x="222" y="170"/>
                        </a:lnTo>
                        <a:lnTo>
                          <a:pt x="224" y="169"/>
                        </a:lnTo>
                        <a:lnTo>
                          <a:pt x="229" y="170"/>
                        </a:lnTo>
                        <a:lnTo>
                          <a:pt x="229" y="171"/>
                        </a:lnTo>
                        <a:lnTo>
                          <a:pt x="231" y="170"/>
                        </a:lnTo>
                        <a:lnTo>
                          <a:pt x="232" y="171"/>
                        </a:lnTo>
                        <a:lnTo>
                          <a:pt x="234" y="173"/>
                        </a:lnTo>
                        <a:lnTo>
                          <a:pt x="234" y="174"/>
                        </a:lnTo>
                        <a:lnTo>
                          <a:pt x="235" y="178"/>
                        </a:lnTo>
                        <a:lnTo>
                          <a:pt x="233" y="180"/>
                        </a:lnTo>
                        <a:lnTo>
                          <a:pt x="231" y="181"/>
                        </a:lnTo>
                        <a:lnTo>
                          <a:pt x="231" y="183"/>
                        </a:lnTo>
                        <a:lnTo>
                          <a:pt x="229" y="183"/>
                        </a:lnTo>
                        <a:lnTo>
                          <a:pt x="229" y="183"/>
                        </a:lnTo>
                        <a:close/>
                        <a:moveTo>
                          <a:pt x="505" y="205"/>
                        </a:moveTo>
                        <a:lnTo>
                          <a:pt x="504" y="205"/>
                        </a:lnTo>
                        <a:lnTo>
                          <a:pt x="501" y="203"/>
                        </a:lnTo>
                        <a:lnTo>
                          <a:pt x="501" y="201"/>
                        </a:lnTo>
                        <a:lnTo>
                          <a:pt x="502" y="200"/>
                        </a:lnTo>
                        <a:lnTo>
                          <a:pt x="504" y="200"/>
                        </a:lnTo>
                        <a:lnTo>
                          <a:pt x="505" y="200"/>
                        </a:lnTo>
                        <a:lnTo>
                          <a:pt x="506" y="201"/>
                        </a:lnTo>
                        <a:lnTo>
                          <a:pt x="506" y="203"/>
                        </a:lnTo>
                        <a:lnTo>
                          <a:pt x="505" y="205"/>
                        </a:lnTo>
                        <a:lnTo>
                          <a:pt x="505" y="205"/>
                        </a:lnTo>
                        <a:close/>
                        <a:moveTo>
                          <a:pt x="562" y="166"/>
                        </a:moveTo>
                        <a:lnTo>
                          <a:pt x="561" y="166"/>
                        </a:lnTo>
                        <a:lnTo>
                          <a:pt x="560" y="165"/>
                        </a:lnTo>
                        <a:lnTo>
                          <a:pt x="559" y="158"/>
                        </a:lnTo>
                        <a:lnTo>
                          <a:pt x="559" y="156"/>
                        </a:lnTo>
                        <a:lnTo>
                          <a:pt x="560" y="156"/>
                        </a:lnTo>
                        <a:lnTo>
                          <a:pt x="561" y="157"/>
                        </a:lnTo>
                        <a:lnTo>
                          <a:pt x="560" y="159"/>
                        </a:lnTo>
                        <a:lnTo>
                          <a:pt x="562" y="165"/>
                        </a:lnTo>
                        <a:lnTo>
                          <a:pt x="562" y="166"/>
                        </a:lnTo>
                        <a:lnTo>
                          <a:pt x="562" y="166"/>
                        </a:lnTo>
                        <a:close/>
                        <a:moveTo>
                          <a:pt x="616" y="284"/>
                        </a:moveTo>
                        <a:lnTo>
                          <a:pt x="615" y="284"/>
                        </a:lnTo>
                        <a:lnTo>
                          <a:pt x="613" y="280"/>
                        </a:lnTo>
                        <a:lnTo>
                          <a:pt x="613" y="279"/>
                        </a:lnTo>
                        <a:lnTo>
                          <a:pt x="614" y="278"/>
                        </a:lnTo>
                        <a:lnTo>
                          <a:pt x="618" y="279"/>
                        </a:lnTo>
                        <a:lnTo>
                          <a:pt x="618" y="280"/>
                        </a:lnTo>
                        <a:lnTo>
                          <a:pt x="618" y="281"/>
                        </a:lnTo>
                        <a:lnTo>
                          <a:pt x="616" y="284"/>
                        </a:lnTo>
                        <a:lnTo>
                          <a:pt x="616" y="284"/>
                        </a:lnTo>
                        <a:close/>
                        <a:moveTo>
                          <a:pt x="549" y="283"/>
                        </a:moveTo>
                        <a:lnTo>
                          <a:pt x="549" y="283"/>
                        </a:lnTo>
                        <a:lnTo>
                          <a:pt x="549" y="280"/>
                        </a:lnTo>
                        <a:lnTo>
                          <a:pt x="553" y="276"/>
                        </a:lnTo>
                        <a:lnTo>
                          <a:pt x="556" y="277"/>
                        </a:lnTo>
                        <a:lnTo>
                          <a:pt x="565" y="274"/>
                        </a:lnTo>
                        <a:lnTo>
                          <a:pt x="566" y="276"/>
                        </a:lnTo>
                        <a:lnTo>
                          <a:pt x="568" y="276"/>
                        </a:lnTo>
                        <a:lnTo>
                          <a:pt x="568" y="278"/>
                        </a:lnTo>
                        <a:lnTo>
                          <a:pt x="568" y="278"/>
                        </a:lnTo>
                        <a:lnTo>
                          <a:pt x="566" y="278"/>
                        </a:lnTo>
                        <a:lnTo>
                          <a:pt x="563" y="279"/>
                        </a:lnTo>
                        <a:lnTo>
                          <a:pt x="561" y="283"/>
                        </a:lnTo>
                        <a:lnTo>
                          <a:pt x="554" y="280"/>
                        </a:lnTo>
                        <a:lnTo>
                          <a:pt x="552" y="281"/>
                        </a:lnTo>
                        <a:lnTo>
                          <a:pt x="549" y="283"/>
                        </a:lnTo>
                        <a:lnTo>
                          <a:pt x="549" y="283"/>
                        </a:lnTo>
                        <a:close/>
                        <a:moveTo>
                          <a:pt x="746" y="154"/>
                        </a:moveTo>
                        <a:lnTo>
                          <a:pt x="745" y="153"/>
                        </a:lnTo>
                        <a:lnTo>
                          <a:pt x="740" y="152"/>
                        </a:lnTo>
                        <a:lnTo>
                          <a:pt x="735" y="150"/>
                        </a:lnTo>
                        <a:lnTo>
                          <a:pt x="732" y="150"/>
                        </a:lnTo>
                        <a:lnTo>
                          <a:pt x="731" y="149"/>
                        </a:lnTo>
                        <a:lnTo>
                          <a:pt x="733" y="149"/>
                        </a:lnTo>
                        <a:lnTo>
                          <a:pt x="740" y="150"/>
                        </a:lnTo>
                        <a:lnTo>
                          <a:pt x="747" y="150"/>
                        </a:lnTo>
                        <a:lnTo>
                          <a:pt x="748" y="151"/>
                        </a:lnTo>
                        <a:lnTo>
                          <a:pt x="755" y="151"/>
                        </a:lnTo>
                        <a:lnTo>
                          <a:pt x="758" y="152"/>
                        </a:lnTo>
                        <a:lnTo>
                          <a:pt x="758" y="153"/>
                        </a:lnTo>
                        <a:lnTo>
                          <a:pt x="750" y="153"/>
                        </a:lnTo>
                        <a:lnTo>
                          <a:pt x="752" y="154"/>
                        </a:lnTo>
                        <a:lnTo>
                          <a:pt x="747" y="154"/>
                        </a:lnTo>
                        <a:lnTo>
                          <a:pt x="746" y="154"/>
                        </a:lnTo>
                        <a:lnTo>
                          <a:pt x="746" y="154"/>
                        </a:lnTo>
                        <a:close/>
                        <a:moveTo>
                          <a:pt x="494" y="339"/>
                        </a:moveTo>
                        <a:lnTo>
                          <a:pt x="494" y="338"/>
                        </a:lnTo>
                        <a:lnTo>
                          <a:pt x="493" y="335"/>
                        </a:lnTo>
                        <a:lnTo>
                          <a:pt x="494" y="335"/>
                        </a:lnTo>
                        <a:lnTo>
                          <a:pt x="500" y="333"/>
                        </a:lnTo>
                        <a:lnTo>
                          <a:pt x="501" y="331"/>
                        </a:lnTo>
                        <a:lnTo>
                          <a:pt x="504" y="328"/>
                        </a:lnTo>
                        <a:lnTo>
                          <a:pt x="504" y="330"/>
                        </a:lnTo>
                        <a:lnTo>
                          <a:pt x="504" y="332"/>
                        </a:lnTo>
                        <a:lnTo>
                          <a:pt x="504" y="332"/>
                        </a:lnTo>
                        <a:lnTo>
                          <a:pt x="505" y="333"/>
                        </a:lnTo>
                        <a:lnTo>
                          <a:pt x="504" y="334"/>
                        </a:lnTo>
                        <a:lnTo>
                          <a:pt x="504" y="334"/>
                        </a:lnTo>
                        <a:lnTo>
                          <a:pt x="499" y="337"/>
                        </a:lnTo>
                        <a:lnTo>
                          <a:pt x="496" y="338"/>
                        </a:lnTo>
                        <a:lnTo>
                          <a:pt x="496" y="338"/>
                        </a:lnTo>
                        <a:lnTo>
                          <a:pt x="494" y="339"/>
                        </a:lnTo>
                        <a:lnTo>
                          <a:pt x="494" y="339"/>
                        </a:lnTo>
                        <a:close/>
                        <a:moveTo>
                          <a:pt x="471" y="337"/>
                        </a:moveTo>
                        <a:lnTo>
                          <a:pt x="468" y="337"/>
                        </a:lnTo>
                        <a:lnTo>
                          <a:pt x="467" y="337"/>
                        </a:lnTo>
                        <a:lnTo>
                          <a:pt x="468" y="335"/>
                        </a:lnTo>
                        <a:lnTo>
                          <a:pt x="471" y="333"/>
                        </a:lnTo>
                        <a:lnTo>
                          <a:pt x="473" y="333"/>
                        </a:lnTo>
                        <a:lnTo>
                          <a:pt x="473" y="335"/>
                        </a:lnTo>
                        <a:lnTo>
                          <a:pt x="471" y="337"/>
                        </a:lnTo>
                        <a:lnTo>
                          <a:pt x="471" y="337"/>
                        </a:lnTo>
                        <a:close/>
                        <a:moveTo>
                          <a:pt x="533" y="157"/>
                        </a:moveTo>
                        <a:lnTo>
                          <a:pt x="531" y="154"/>
                        </a:lnTo>
                        <a:lnTo>
                          <a:pt x="532" y="150"/>
                        </a:lnTo>
                        <a:lnTo>
                          <a:pt x="533" y="150"/>
                        </a:lnTo>
                        <a:lnTo>
                          <a:pt x="536" y="149"/>
                        </a:lnTo>
                        <a:lnTo>
                          <a:pt x="543" y="151"/>
                        </a:lnTo>
                        <a:lnTo>
                          <a:pt x="545" y="152"/>
                        </a:lnTo>
                        <a:lnTo>
                          <a:pt x="545" y="151"/>
                        </a:lnTo>
                        <a:lnTo>
                          <a:pt x="545" y="150"/>
                        </a:lnTo>
                        <a:lnTo>
                          <a:pt x="547" y="151"/>
                        </a:lnTo>
                        <a:lnTo>
                          <a:pt x="547" y="152"/>
                        </a:lnTo>
                        <a:lnTo>
                          <a:pt x="547" y="152"/>
                        </a:lnTo>
                        <a:lnTo>
                          <a:pt x="547" y="151"/>
                        </a:lnTo>
                        <a:lnTo>
                          <a:pt x="548" y="151"/>
                        </a:lnTo>
                        <a:lnTo>
                          <a:pt x="549" y="154"/>
                        </a:lnTo>
                        <a:lnTo>
                          <a:pt x="545" y="154"/>
                        </a:lnTo>
                        <a:lnTo>
                          <a:pt x="543" y="156"/>
                        </a:lnTo>
                        <a:lnTo>
                          <a:pt x="541" y="154"/>
                        </a:lnTo>
                        <a:lnTo>
                          <a:pt x="533" y="157"/>
                        </a:lnTo>
                        <a:lnTo>
                          <a:pt x="533" y="157"/>
                        </a:lnTo>
                        <a:close/>
                        <a:moveTo>
                          <a:pt x="447" y="332"/>
                        </a:moveTo>
                        <a:lnTo>
                          <a:pt x="445" y="331"/>
                        </a:lnTo>
                        <a:lnTo>
                          <a:pt x="442" y="330"/>
                        </a:lnTo>
                        <a:lnTo>
                          <a:pt x="436" y="324"/>
                        </a:lnTo>
                        <a:lnTo>
                          <a:pt x="434" y="323"/>
                        </a:lnTo>
                        <a:lnTo>
                          <a:pt x="433" y="321"/>
                        </a:lnTo>
                        <a:lnTo>
                          <a:pt x="424" y="320"/>
                        </a:lnTo>
                        <a:lnTo>
                          <a:pt x="422" y="319"/>
                        </a:lnTo>
                        <a:lnTo>
                          <a:pt x="420" y="317"/>
                        </a:lnTo>
                        <a:lnTo>
                          <a:pt x="421" y="314"/>
                        </a:lnTo>
                        <a:lnTo>
                          <a:pt x="422" y="314"/>
                        </a:lnTo>
                        <a:lnTo>
                          <a:pt x="427" y="313"/>
                        </a:lnTo>
                        <a:lnTo>
                          <a:pt x="436" y="313"/>
                        </a:lnTo>
                        <a:lnTo>
                          <a:pt x="438" y="311"/>
                        </a:lnTo>
                        <a:lnTo>
                          <a:pt x="441" y="314"/>
                        </a:lnTo>
                        <a:lnTo>
                          <a:pt x="444" y="316"/>
                        </a:lnTo>
                        <a:lnTo>
                          <a:pt x="445" y="319"/>
                        </a:lnTo>
                        <a:lnTo>
                          <a:pt x="447" y="318"/>
                        </a:lnTo>
                        <a:lnTo>
                          <a:pt x="449" y="320"/>
                        </a:lnTo>
                        <a:lnTo>
                          <a:pt x="451" y="324"/>
                        </a:lnTo>
                        <a:lnTo>
                          <a:pt x="453" y="324"/>
                        </a:lnTo>
                        <a:lnTo>
                          <a:pt x="454" y="326"/>
                        </a:lnTo>
                        <a:lnTo>
                          <a:pt x="454" y="327"/>
                        </a:lnTo>
                        <a:lnTo>
                          <a:pt x="452" y="330"/>
                        </a:lnTo>
                        <a:lnTo>
                          <a:pt x="447" y="332"/>
                        </a:lnTo>
                        <a:lnTo>
                          <a:pt x="447" y="332"/>
                        </a:lnTo>
                        <a:close/>
                        <a:moveTo>
                          <a:pt x="507" y="286"/>
                        </a:moveTo>
                        <a:lnTo>
                          <a:pt x="507" y="285"/>
                        </a:lnTo>
                        <a:lnTo>
                          <a:pt x="508" y="284"/>
                        </a:lnTo>
                        <a:lnTo>
                          <a:pt x="512" y="283"/>
                        </a:lnTo>
                        <a:lnTo>
                          <a:pt x="513" y="283"/>
                        </a:lnTo>
                        <a:lnTo>
                          <a:pt x="513" y="285"/>
                        </a:lnTo>
                        <a:lnTo>
                          <a:pt x="513" y="286"/>
                        </a:lnTo>
                        <a:lnTo>
                          <a:pt x="507" y="286"/>
                        </a:lnTo>
                        <a:lnTo>
                          <a:pt x="507" y="286"/>
                        </a:lnTo>
                        <a:close/>
                        <a:moveTo>
                          <a:pt x="496" y="232"/>
                        </a:moveTo>
                        <a:lnTo>
                          <a:pt x="495" y="231"/>
                        </a:lnTo>
                        <a:lnTo>
                          <a:pt x="495" y="232"/>
                        </a:lnTo>
                        <a:lnTo>
                          <a:pt x="495" y="231"/>
                        </a:lnTo>
                        <a:lnTo>
                          <a:pt x="494" y="232"/>
                        </a:lnTo>
                        <a:lnTo>
                          <a:pt x="492" y="228"/>
                        </a:lnTo>
                        <a:lnTo>
                          <a:pt x="494" y="226"/>
                        </a:lnTo>
                        <a:lnTo>
                          <a:pt x="495" y="224"/>
                        </a:lnTo>
                        <a:lnTo>
                          <a:pt x="496" y="223"/>
                        </a:lnTo>
                        <a:lnTo>
                          <a:pt x="496" y="223"/>
                        </a:lnTo>
                        <a:lnTo>
                          <a:pt x="495" y="223"/>
                        </a:lnTo>
                        <a:lnTo>
                          <a:pt x="496" y="219"/>
                        </a:lnTo>
                        <a:lnTo>
                          <a:pt x="495" y="219"/>
                        </a:lnTo>
                        <a:lnTo>
                          <a:pt x="496" y="218"/>
                        </a:lnTo>
                        <a:lnTo>
                          <a:pt x="499" y="207"/>
                        </a:lnTo>
                        <a:lnTo>
                          <a:pt x="500" y="206"/>
                        </a:lnTo>
                        <a:lnTo>
                          <a:pt x="501" y="206"/>
                        </a:lnTo>
                        <a:lnTo>
                          <a:pt x="501" y="207"/>
                        </a:lnTo>
                        <a:lnTo>
                          <a:pt x="502" y="208"/>
                        </a:lnTo>
                        <a:lnTo>
                          <a:pt x="504" y="210"/>
                        </a:lnTo>
                        <a:lnTo>
                          <a:pt x="504" y="214"/>
                        </a:lnTo>
                        <a:lnTo>
                          <a:pt x="504" y="214"/>
                        </a:lnTo>
                        <a:lnTo>
                          <a:pt x="502" y="212"/>
                        </a:lnTo>
                        <a:lnTo>
                          <a:pt x="502" y="212"/>
                        </a:lnTo>
                        <a:lnTo>
                          <a:pt x="501" y="214"/>
                        </a:lnTo>
                        <a:lnTo>
                          <a:pt x="501" y="213"/>
                        </a:lnTo>
                        <a:lnTo>
                          <a:pt x="500" y="223"/>
                        </a:lnTo>
                        <a:lnTo>
                          <a:pt x="500" y="221"/>
                        </a:lnTo>
                        <a:lnTo>
                          <a:pt x="501" y="221"/>
                        </a:lnTo>
                        <a:lnTo>
                          <a:pt x="504" y="224"/>
                        </a:lnTo>
                        <a:lnTo>
                          <a:pt x="502" y="226"/>
                        </a:lnTo>
                        <a:lnTo>
                          <a:pt x="501" y="227"/>
                        </a:lnTo>
                        <a:lnTo>
                          <a:pt x="500" y="226"/>
                        </a:lnTo>
                        <a:lnTo>
                          <a:pt x="498" y="227"/>
                        </a:lnTo>
                        <a:lnTo>
                          <a:pt x="498" y="228"/>
                        </a:lnTo>
                        <a:lnTo>
                          <a:pt x="499" y="228"/>
                        </a:lnTo>
                        <a:lnTo>
                          <a:pt x="498" y="230"/>
                        </a:lnTo>
                        <a:lnTo>
                          <a:pt x="496" y="232"/>
                        </a:lnTo>
                        <a:lnTo>
                          <a:pt x="496" y="232"/>
                        </a:lnTo>
                        <a:lnTo>
                          <a:pt x="496" y="232"/>
                        </a:lnTo>
                        <a:close/>
                        <a:moveTo>
                          <a:pt x="205" y="179"/>
                        </a:moveTo>
                        <a:lnTo>
                          <a:pt x="202" y="176"/>
                        </a:lnTo>
                        <a:lnTo>
                          <a:pt x="194" y="172"/>
                        </a:lnTo>
                        <a:lnTo>
                          <a:pt x="193" y="170"/>
                        </a:lnTo>
                        <a:lnTo>
                          <a:pt x="194" y="166"/>
                        </a:lnTo>
                        <a:lnTo>
                          <a:pt x="194" y="165"/>
                        </a:lnTo>
                        <a:lnTo>
                          <a:pt x="192" y="164"/>
                        </a:lnTo>
                        <a:lnTo>
                          <a:pt x="192" y="160"/>
                        </a:lnTo>
                        <a:lnTo>
                          <a:pt x="189" y="159"/>
                        </a:lnTo>
                        <a:lnTo>
                          <a:pt x="188" y="159"/>
                        </a:lnTo>
                        <a:lnTo>
                          <a:pt x="187" y="158"/>
                        </a:lnTo>
                        <a:lnTo>
                          <a:pt x="182" y="159"/>
                        </a:lnTo>
                        <a:lnTo>
                          <a:pt x="181" y="158"/>
                        </a:lnTo>
                        <a:lnTo>
                          <a:pt x="180" y="158"/>
                        </a:lnTo>
                        <a:lnTo>
                          <a:pt x="179" y="156"/>
                        </a:lnTo>
                        <a:lnTo>
                          <a:pt x="184" y="153"/>
                        </a:lnTo>
                        <a:lnTo>
                          <a:pt x="185" y="152"/>
                        </a:lnTo>
                        <a:lnTo>
                          <a:pt x="184" y="150"/>
                        </a:lnTo>
                        <a:lnTo>
                          <a:pt x="185" y="147"/>
                        </a:lnTo>
                        <a:lnTo>
                          <a:pt x="187" y="147"/>
                        </a:lnTo>
                        <a:lnTo>
                          <a:pt x="188" y="147"/>
                        </a:lnTo>
                        <a:lnTo>
                          <a:pt x="188" y="149"/>
                        </a:lnTo>
                        <a:lnTo>
                          <a:pt x="189" y="150"/>
                        </a:lnTo>
                        <a:lnTo>
                          <a:pt x="188" y="151"/>
                        </a:lnTo>
                        <a:lnTo>
                          <a:pt x="189" y="152"/>
                        </a:lnTo>
                        <a:lnTo>
                          <a:pt x="192" y="152"/>
                        </a:lnTo>
                        <a:lnTo>
                          <a:pt x="189" y="147"/>
                        </a:lnTo>
                        <a:lnTo>
                          <a:pt x="193" y="146"/>
                        </a:lnTo>
                        <a:lnTo>
                          <a:pt x="195" y="147"/>
                        </a:lnTo>
                        <a:lnTo>
                          <a:pt x="197" y="152"/>
                        </a:lnTo>
                        <a:lnTo>
                          <a:pt x="199" y="153"/>
                        </a:lnTo>
                        <a:lnTo>
                          <a:pt x="198" y="157"/>
                        </a:lnTo>
                        <a:lnTo>
                          <a:pt x="199" y="163"/>
                        </a:lnTo>
                        <a:lnTo>
                          <a:pt x="201" y="165"/>
                        </a:lnTo>
                        <a:lnTo>
                          <a:pt x="202" y="166"/>
                        </a:lnTo>
                        <a:lnTo>
                          <a:pt x="207" y="167"/>
                        </a:lnTo>
                        <a:lnTo>
                          <a:pt x="209" y="167"/>
                        </a:lnTo>
                        <a:lnTo>
                          <a:pt x="209" y="169"/>
                        </a:lnTo>
                        <a:lnTo>
                          <a:pt x="208" y="169"/>
                        </a:lnTo>
                        <a:lnTo>
                          <a:pt x="207" y="171"/>
                        </a:lnTo>
                        <a:lnTo>
                          <a:pt x="206" y="174"/>
                        </a:lnTo>
                        <a:lnTo>
                          <a:pt x="206" y="176"/>
                        </a:lnTo>
                        <a:lnTo>
                          <a:pt x="208" y="177"/>
                        </a:lnTo>
                        <a:lnTo>
                          <a:pt x="208" y="178"/>
                        </a:lnTo>
                        <a:lnTo>
                          <a:pt x="205" y="179"/>
                        </a:lnTo>
                        <a:lnTo>
                          <a:pt x="205" y="179"/>
                        </a:lnTo>
                        <a:close/>
                        <a:moveTo>
                          <a:pt x="93" y="183"/>
                        </a:moveTo>
                        <a:lnTo>
                          <a:pt x="91" y="180"/>
                        </a:lnTo>
                        <a:lnTo>
                          <a:pt x="91" y="179"/>
                        </a:lnTo>
                        <a:lnTo>
                          <a:pt x="88" y="177"/>
                        </a:lnTo>
                        <a:lnTo>
                          <a:pt x="88" y="172"/>
                        </a:lnTo>
                        <a:lnTo>
                          <a:pt x="88" y="172"/>
                        </a:lnTo>
                        <a:lnTo>
                          <a:pt x="89" y="172"/>
                        </a:lnTo>
                        <a:lnTo>
                          <a:pt x="93" y="178"/>
                        </a:lnTo>
                        <a:lnTo>
                          <a:pt x="93" y="179"/>
                        </a:lnTo>
                        <a:lnTo>
                          <a:pt x="92" y="180"/>
                        </a:lnTo>
                        <a:lnTo>
                          <a:pt x="93" y="183"/>
                        </a:lnTo>
                        <a:lnTo>
                          <a:pt x="93" y="183"/>
                        </a:lnTo>
                        <a:lnTo>
                          <a:pt x="93" y="183"/>
                        </a:lnTo>
                        <a:close/>
                        <a:moveTo>
                          <a:pt x="375" y="300"/>
                        </a:moveTo>
                        <a:lnTo>
                          <a:pt x="373" y="300"/>
                        </a:lnTo>
                        <a:lnTo>
                          <a:pt x="369" y="299"/>
                        </a:lnTo>
                        <a:lnTo>
                          <a:pt x="369" y="300"/>
                        </a:lnTo>
                        <a:lnTo>
                          <a:pt x="368" y="300"/>
                        </a:lnTo>
                        <a:lnTo>
                          <a:pt x="366" y="299"/>
                        </a:lnTo>
                        <a:lnTo>
                          <a:pt x="366" y="299"/>
                        </a:lnTo>
                        <a:lnTo>
                          <a:pt x="366" y="297"/>
                        </a:lnTo>
                        <a:lnTo>
                          <a:pt x="366" y="297"/>
                        </a:lnTo>
                        <a:lnTo>
                          <a:pt x="367" y="298"/>
                        </a:lnTo>
                        <a:lnTo>
                          <a:pt x="369" y="298"/>
                        </a:lnTo>
                        <a:lnTo>
                          <a:pt x="371" y="294"/>
                        </a:lnTo>
                        <a:lnTo>
                          <a:pt x="369" y="291"/>
                        </a:lnTo>
                        <a:lnTo>
                          <a:pt x="373" y="287"/>
                        </a:lnTo>
                        <a:lnTo>
                          <a:pt x="374" y="286"/>
                        </a:lnTo>
                        <a:lnTo>
                          <a:pt x="376" y="286"/>
                        </a:lnTo>
                        <a:lnTo>
                          <a:pt x="380" y="288"/>
                        </a:lnTo>
                        <a:lnTo>
                          <a:pt x="381" y="290"/>
                        </a:lnTo>
                        <a:lnTo>
                          <a:pt x="381" y="293"/>
                        </a:lnTo>
                        <a:lnTo>
                          <a:pt x="378" y="299"/>
                        </a:lnTo>
                        <a:lnTo>
                          <a:pt x="378" y="299"/>
                        </a:lnTo>
                        <a:lnTo>
                          <a:pt x="379" y="300"/>
                        </a:lnTo>
                        <a:lnTo>
                          <a:pt x="379" y="300"/>
                        </a:lnTo>
                        <a:lnTo>
                          <a:pt x="378" y="300"/>
                        </a:lnTo>
                        <a:lnTo>
                          <a:pt x="378" y="299"/>
                        </a:lnTo>
                        <a:lnTo>
                          <a:pt x="376" y="299"/>
                        </a:lnTo>
                        <a:lnTo>
                          <a:pt x="375" y="300"/>
                        </a:lnTo>
                        <a:lnTo>
                          <a:pt x="375" y="300"/>
                        </a:lnTo>
                        <a:close/>
                        <a:moveTo>
                          <a:pt x="645" y="194"/>
                        </a:moveTo>
                        <a:lnTo>
                          <a:pt x="641" y="194"/>
                        </a:lnTo>
                        <a:lnTo>
                          <a:pt x="639" y="192"/>
                        </a:lnTo>
                        <a:lnTo>
                          <a:pt x="638" y="190"/>
                        </a:lnTo>
                        <a:lnTo>
                          <a:pt x="631" y="190"/>
                        </a:lnTo>
                        <a:lnTo>
                          <a:pt x="631" y="187"/>
                        </a:lnTo>
                        <a:lnTo>
                          <a:pt x="629" y="185"/>
                        </a:lnTo>
                        <a:lnTo>
                          <a:pt x="627" y="184"/>
                        </a:lnTo>
                        <a:lnTo>
                          <a:pt x="621" y="184"/>
                        </a:lnTo>
                        <a:lnTo>
                          <a:pt x="621" y="184"/>
                        </a:lnTo>
                        <a:lnTo>
                          <a:pt x="622" y="186"/>
                        </a:lnTo>
                        <a:lnTo>
                          <a:pt x="622" y="186"/>
                        </a:lnTo>
                        <a:lnTo>
                          <a:pt x="621" y="187"/>
                        </a:lnTo>
                        <a:lnTo>
                          <a:pt x="612" y="185"/>
                        </a:lnTo>
                        <a:lnTo>
                          <a:pt x="612" y="184"/>
                        </a:lnTo>
                        <a:lnTo>
                          <a:pt x="612" y="184"/>
                        </a:lnTo>
                        <a:lnTo>
                          <a:pt x="612" y="183"/>
                        </a:lnTo>
                        <a:lnTo>
                          <a:pt x="612" y="181"/>
                        </a:lnTo>
                        <a:lnTo>
                          <a:pt x="611" y="181"/>
                        </a:lnTo>
                        <a:lnTo>
                          <a:pt x="607" y="185"/>
                        </a:lnTo>
                        <a:lnTo>
                          <a:pt x="607" y="185"/>
                        </a:lnTo>
                        <a:lnTo>
                          <a:pt x="607" y="186"/>
                        </a:lnTo>
                        <a:lnTo>
                          <a:pt x="606" y="186"/>
                        </a:lnTo>
                        <a:lnTo>
                          <a:pt x="603" y="186"/>
                        </a:lnTo>
                        <a:lnTo>
                          <a:pt x="602" y="186"/>
                        </a:lnTo>
                        <a:lnTo>
                          <a:pt x="600" y="181"/>
                        </a:lnTo>
                        <a:lnTo>
                          <a:pt x="598" y="181"/>
                        </a:lnTo>
                        <a:lnTo>
                          <a:pt x="598" y="180"/>
                        </a:lnTo>
                        <a:lnTo>
                          <a:pt x="598" y="179"/>
                        </a:lnTo>
                        <a:lnTo>
                          <a:pt x="598" y="179"/>
                        </a:lnTo>
                        <a:lnTo>
                          <a:pt x="596" y="180"/>
                        </a:lnTo>
                        <a:lnTo>
                          <a:pt x="595" y="184"/>
                        </a:lnTo>
                        <a:lnTo>
                          <a:pt x="593" y="187"/>
                        </a:lnTo>
                        <a:lnTo>
                          <a:pt x="593" y="188"/>
                        </a:lnTo>
                        <a:lnTo>
                          <a:pt x="593" y="188"/>
                        </a:lnTo>
                        <a:lnTo>
                          <a:pt x="592" y="181"/>
                        </a:lnTo>
                        <a:lnTo>
                          <a:pt x="592" y="180"/>
                        </a:lnTo>
                        <a:lnTo>
                          <a:pt x="596" y="179"/>
                        </a:lnTo>
                        <a:lnTo>
                          <a:pt x="596" y="177"/>
                        </a:lnTo>
                        <a:lnTo>
                          <a:pt x="595" y="177"/>
                        </a:lnTo>
                        <a:lnTo>
                          <a:pt x="598" y="174"/>
                        </a:lnTo>
                        <a:lnTo>
                          <a:pt x="600" y="177"/>
                        </a:lnTo>
                        <a:lnTo>
                          <a:pt x="601" y="176"/>
                        </a:lnTo>
                        <a:lnTo>
                          <a:pt x="603" y="174"/>
                        </a:lnTo>
                        <a:lnTo>
                          <a:pt x="608" y="174"/>
                        </a:lnTo>
                        <a:lnTo>
                          <a:pt x="611" y="174"/>
                        </a:lnTo>
                        <a:lnTo>
                          <a:pt x="613" y="173"/>
                        </a:lnTo>
                        <a:lnTo>
                          <a:pt x="614" y="173"/>
                        </a:lnTo>
                        <a:lnTo>
                          <a:pt x="614" y="176"/>
                        </a:lnTo>
                        <a:lnTo>
                          <a:pt x="615" y="177"/>
                        </a:lnTo>
                        <a:lnTo>
                          <a:pt x="620" y="173"/>
                        </a:lnTo>
                        <a:lnTo>
                          <a:pt x="623" y="173"/>
                        </a:lnTo>
                        <a:lnTo>
                          <a:pt x="627" y="173"/>
                        </a:lnTo>
                        <a:lnTo>
                          <a:pt x="632" y="176"/>
                        </a:lnTo>
                        <a:lnTo>
                          <a:pt x="636" y="177"/>
                        </a:lnTo>
                        <a:lnTo>
                          <a:pt x="638" y="177"/>
                        </a:lnTo>
                        <a:lnTo>
                          <a:pt x="640" y="179"/>
                        </a:lnTo>
                        <a:lnTo>
                          <a:pt x="641" y="180"/>
                        </a:lnTo>
                        <a:lnTo>
                          <a:pt x="640" y="184"/>
                        </a:lnTo>
                        <a:lnTo>
                          <a:pt x="642" y="185"/>
                        </a:lnTo>
                        <a:lnTo>
                          <a:pt x="642" y="186"/>
                        </a:lnTo>
                        <a:lnTo>
                          <a:pt x="645" y="185"/>
                        </a:lnTo>
                        <a:lnTo>
                          <a:pt x="645" y="186"/>
                        </a:lnTo>
                        <a:lnTo>
                          <a:pt x="645" y="187"/>
                        </a:lnTo>
                        <a:lnTo>
                          <a:pt x="646" y="188"/>
                        </a:lnTo>
                        <a:lnTo>
                          <a:pt x="646" y="190"/>
                        </a:lnTo>
                        <a:lnTo>
                          <a:pt x="645" y="194"/>
                        </a:lnTo>
                        <a:lnTo>
                          <a:pt x="646" y="194"/>
                        </a:lnTo>
                        <a:lnTo>
                          <a:pt x="645" y="194"/>
                        </a:lnTo>
                        <a:lnTo>
                          <a:pt x="645" y="194"/>
                        </a:lnTo>
                        <a:close/>
                        <a:moveTo>
                          <a:pt x="514" y="293"/>
                        </a:moveTo>
                        <a:lnTo>
                          <a:pt x="514" y="293"/>
                        </a:lnTo>
                        <a:lnTo>
                          <a:pt x="513" y="291"/>
                        </a:lnTo>
                        <a:lnTo>
                          <a:pt x="513" y="291"/>
                        </a:lnTo>
                        <a:lnTo>
                          <a:pt x="512" y="292"/>
                        </a:lnTo>
                        <a:lnTo>
                          <a:pt x="512" y="291"/>
                        </a:lnTo>
                        <a:lnTo>
                          <a:pt x="512" y="288"/>
                        </a:lnTo>
                        <a:lnTo>
                          <a:pt x="513" y="288"/>
                        </a:lnTo>
                        <a:lnTo>
                          <a:pt x="514" y="288"/>
                        </a:lnTo>
                        <a:lnTo>
                          <a:pt x="514" y="290"/>
                        </a:lnTo>
                        <a:lnTo>
                          <a:pt x="518" y="286"/>
                        </a:lnTo>
                        <a:lnTo>
                          <a:pt x="518" y="286"/>
                        </a:lnTo>
                        <a:lnTo>
                          <a:pt x="518" y="288"/>
                        </a:lnTo>
                        <a:lnTo>
                          <a:pt x="515" y="293"/>
                        </a:lnTo>
                        <a:lnTo>
                          <a:pt x="514" y="293"/>
                        </a:lnTo>
                        <a:lnTo>
                          <a:pt x="514" y="293"/>
                        </a:lnTo>
                        <a:close/>
                        <a:moveTo>
                          <a:pt x="502" y="294"/>
                        </a:moveTo>
                        <a:lnTo>
                          <a:pt x="499" y="293"/>
                        </a:lnTo>
                        <a:lnTo>
                          <a:pt x="499" y="292"/>
                        </a:lnTo>
                        <a:lnTo>
                          <a:pt x="504" y="290"/>
                        </a:lnTo>
                        <a:lnTo>
                          <a:pt x="502" y="288"/>
                        </a:lnTo>
                        <a:lnTo>
                          <a:pt x="501" y="288"/>
                        </a:lnTo>
                        <a:lnTo>
                          <a:pt x="502" y="287"/>
                        </a:lnTo>
                        <a:lnTo>
                          <a:pt x="505" y="287"/>
                        </a:lnTo>
                        <a:lnTo>
                          <a:pt x="504" y="290"/>
                        </a:lnTo>
                        <a:lnTo>
                          <a:pt x="505" y="290"/>
                        </a:lnTo>
                        <a:lnTo>
                          <a:pt x="506" y="290"/>
                        </a:lnTo>
                        <a:lnTo>
                          <a:pt x="506" y="287"/>
                        </a:lnTo>
                        <a:lnTo>
                          <a:pt x="507" y="286"/>
                        </a:lnTo>
                        <a:lnTo>
                          <a:pt x="507" y="287"/>
                        </a:lnTo>
                        <a:lnTo>
                          <a:pt x="509" y="286"/>
                        </a:lnTo>
                        <a:lnTo>
                          <a:pt x="512" y="286"/>
                        </a:lnTo>
                        <a:lnTo>
                          <a:pt x="512" y="287"/>
                        </a:lnTo>
                        <a:lnTo>
                          <a:pt x="508" y="290"/>
                        </a:lnTo>
                        <a:lnTo>
                          <a:pt x="507" y="291"/>
                        </a:lnTo>
                        <a:lnTo>
                          <a:pt x="506" y="291"/>
                        </a:lnTo>
                        <a:lnTo>
                          <a:pt x="505" y="292"/>
                        </a:lnTo>
                        <a:lnTo>
                          <a:pt x="506" y="293"/>
                        </a:lnTo>
                        <a:lnTo>
                          <a:pt x="505" y="293"/>
                        </a:lnTo>
                        <a:lnTo>
                          <a:pt x="505" y="293"/>
                        </a:lnTo>
                        <a:lnTo>
                          <a:pt x="504" y="293"/>
                        </a:lnTo>
                        <a:lnTo>
                          <a:pt x="502" y="294"/>
                        </a:lnTo>
                        <a:lnTo>
                          <a:pt x="502" y="294"/>
                        </a:lnTo>
                        <a:close/>
                        <a:moveTo>
                          <a:pt x="793" y="286"/>
                        </a:moveTo>
                        <a:lnTo>
                          <a:pt x="788" y="285"/>
                        </a:lnTo>
                        <a:lnTo>
                          <a:pt x="787" y="285"/>
                        </a:lnTo>
                        <a:lnTo>
                          <a:pt x="787" y="284"/>
                        </a:lnTo>
                        <a:lnTo>
                          <a:pt x="789" y="281"/>
                        </a:lnTo>
                        <a:lnTo>
                          <a:pt x="792" y="281"/>
                        </a:lnTo>
                        <a:lnTo>
                          <a:pt x="794" y="285"/>
                        </a:lnTo>
                        <a:lnTo>
                          <a:pt x="793" y="286"/>
                        </a:lnTo>
                        <a:lnTo>
                          <a:pt x="793" y="286"/>
                        </a:lnTo>
                        <a:close/>
                        <a:moveTo>
                          <a:pt x="519" y="291"/>
                        </a:moveTo>
                        <a:lnTo>
                          <a:pt x="519" y="291"/>
                        </a:lnTo>
                        <a:lnTo>
                          <a:pt x="521" y="287"/>
                        </a:lnTo>
                        <a:lnTo>
                          <a:pt x="522" y="286"/>
                        </a:lnTo>
                        <a:lnTo>
                          <a:pt x="521" y="286"/>
                        </a:lnTo>
                        <a:lnTo>
                          <a:pt x="520" y="287"/>
                        </a:lnTo>
                        <a:lnTo>
                          <a:pt x="520" y="287"/>
                        </a:lnTo>
                        <a:lnTo>
                          <a:pt x="521" y="285"/>
                        </a:lnTo>
                        <a:lnTo>
                          <a:pt x="523" y="285"/>
                        </a:lnTo>
                        <a:lnTo>
                          <a:pt x="523" y="286"/>
                        </a:lnTo>
                        <a:lnTo>
                          <a:pt x="532" y="285"/>
                        </a:lnTo>
                        <a:lnTo>
                          <a:pt x="533" y="286"/>
                        </a:lnTo>
                        <a:lnTo>
                          <a:pt x="533" y="288"/>
                        </a:lnTo>
                        <a:lnTo>
                          <a:pt x="532" y="290"/>
                        </a:lnTo>
                        <a:lnTo>
                          <a:pt x="522" y="291"/>
                        </a:lnTo>
                        <a:lnTo>
                          <a:pt x="521" y="291"/>
                        </a:lnTo>
                        <a:lnTo>
                          <a:pt x="519" y="291"/>
                        </a:lnTo>
                        <a:lnTo>
                          <a:pt x="519" y="291"/>
                        </a:lnTo>
                        <a:close/>
                        <a:moveTo>
                          <a:pt x="593" y="281"/>
                        </a:moveTo>
                        <a:lnTo>
                          <a:pt x="589" y="280"/>
                        </a:lnTo>
                        <a:lnTo>
                          <a:pt x="588" y="279"/>
                        </a:lnTo>
                        <a:lnTo>
                          <a:pt x="589" y="279"/>
                        </a:lnTo>
                        <a:lnTo>
                          <a:pt x="595" y="279"/>
                        </a:lnTo>
                        <a:lnTo>
                          <a:pt x="595" y="279"/>
                        </a:lnTo>
                        <a:lnTo>
                          <a:pt x="593" y="281"/>
                        </a:lnTo>
                        <a:lnTo>
                          <a:pt x="593" y="281"/>
                        </a:lnTo>
                        <a:close/>
                        <a:moveTo>
                          <a:pt x="387" y="305"/>
                        </a:moveTo>
                        <a:lnTo>
                          <a:pt x="382" y="303"/>
                        </a:lnTo>
                        <a:lnTo>
                          <a:pt x="382" y="300"/>
                        </a:lnTo>
                        <a:lnTo>
                          <a:pt x="384" y="298"/>
                        </a:lnTo>
                        <a:lnTo>
                          <a:pt x="382" y="296"/>
                        </a:lnTo>
                        <a:lnTo>
                          <a:pt x="384" y="292"/>
                        </a:lnTo>
                        <a:lnTo>
                          <a:pt x="386" y="292"/>
                        </a:lnTo>
                        <a:lnTo>
                          <a:pt x="391" y="290"/>
                        </a:lnTo>
                        <a:lnTo>
                          <a:pt x="394" y="292"/>
                        </a:lnTo>
                        <a:lnTo>
                          <a:pt x="394" y="291"/>
                        </a:lnTo>
                        <a:lnTo>
                          <a:pt x="396" y="291"/>
                        </a:lnTo>
                        <a:lnTo>
                          <a:pt x="396" y="292"/>
                        </a:lnTo>
                        <a:lnTo>
                          <a:pt x="398" y="292"/>
                        </a:lnTo>
                        <a:lnTo>
                          <a:pt x="398" y="291"/>
                        </a:lnTo>
                        <a:lnTo>
                          <a:pt x="398" y="291"/>
                        </a:lnTo>
                        <a:lnTo>
                          <a:pt x="398" y="293"/>
                        </a:lnTo>
                        <a:lnTo>
                          <a:pt x="399" y="293"/>
                        </a:lnTo>
                        <a:lnTo>
                          <a:pt x="400" y="294"/>
                        </a:lnTo>
                        <a:lnTo>
                          <a:pt x="401" y="297"/>
                        </a:lnTo>
                        <a:lnTo>
                          <a:pt x="402" y="297"/>
                        </a:lnTo>
                        <a:lnTo>
                          <a:pt x="404" y="297"/>
                        </a:lnTo>
                        <a:lnTo>
                          <a:pt x="406" y="296"/>
                        </a:lnTo>
                        <a:lnTo>
                          <a:pt x="409" y="296"/>
                        </a:lnTo>
                        <a:lnTo>
                          <a:pt x="409" y="294"/>
                        </a:lnTo>
                        <a:lnTo>
                          <a:pt x="409" y="294"/>
                        </a:lnTo>
                        <a:lnTo>
                          <a:pt x="406" y="292"/>
                        </a:lnTo>
                        <a:lnTo>
                          <a:pt x="405" y="292"/>
                        </a:lnTo>
                        <a:lnTo>
                          <a:pt x="399" y="287"/>
                        </a:lnTo>
                        <a:lnTo>
                          <a:pt x="400" y="285"/>
                        </a:lnTo>
                        <a:lnTo>
                          <a:pt x="404" y="284"/>
                        </a:lnTo>
                        <a:lnTo>
                          <a:pt x="406" y="284"/>
                        </a:lnTo>
                        <a:lnTo>
                          <a:pt x="407" y="285"/>
                        </a:lnTo>
                        <a:lnTo>
                          <a:pt x="408" y="288"/>
                        </a:lnTo>
                        <a:lnTo>
                          <a:pt x="411" y="290"/>
                        </a:lnTo>
                        <a:lnTo>
                          <a:pt x="413" y="287"/>
                        </a:lnTo>
                        <a:lnTo>
                          <a:pt x="416" y="288"/>
                        </a:lnTo>
                        <a:lnTo>
                          <a:pt x="416" y="290"/>
                        </a:lnTo>
                        <a:lnTo>
                          <a:pt x="416" y="293"/>
                        </a:lnTo>
                        <a:lnTo>
                          <a:pt x="416" y="293"/>
                        </a:lnTo>
                        <a:lnTo>
                          <a:pt x="418" y="291"/>
                        </a:lnTo>
                        <a:lnTo>
                          <a:pt x="418" y="290"/>
                        </a:lnTo>
                        <a:lnTo>
                          <a:pt x="419" y="288"/>
                        </a:lnTo>
                        <a:lnTo>
                          <a:pt x="420" y="288"/>
                        </a:lnTo>
                        <a:lnTo>
                          <a:pt x="422" y="288"/>
                        </a:lnTo>
                        <a:lnTo>
                          <a:pt x="424" y="292"/>
                        </a:lnTo>
                        <a:lnTo>
                          <a:pt x="424" y="294"/>
                        </a:lnTo>
                        <a:lnTo>
                          <a:pt x="424" y="296"/>
                        </a:lnTo>
                        <a:lnTo>
                          <a:pt x="425" y="294"/>
                        </a:lnTo>
                        <a:lnTo>
                          <a:pt x="426" y="293"/>
                        </a:lnTo>
                        <a:lnTo>
                          <a:pt x="426" y="294"/>
                        </a:lnTo>
                        <a:lnTo>
                          <a:pt x="425" y="297"/>
                        </a:lnTo>
                        <a:lnTo>
                          <a:pt x="422" y="298"/>
                        </a:lnTo>
                        <a:lnTo>
                          <a:pt x="421" y="296"/>
                        </a:lnTo>
                        <a:lnTo>
                          <a:pt x="418" y="297"/>
                        </a:lnTo>
                        <a:lnTo>
                          <a:pt x="418" y="298"/>
                        </a:lnTo>
                        <a:lnTo>
                          <a:pt x="421" y="298"/>
                        </a:lnTo>
                        <a:lnTo>
                          <a:pt x="421" y="299"/>
                        </a:lnTo>
                        <a:lnTo>
                          <a:pt x="420" y="299"/>
                        </a:lnTo>
                        <a:lnTo>
                          <a:pt x="418" y="298"/>
                        </a:lnTo>
                        <a:lnTo>
                          <a:pt x="415" y="299"/>
                        </a:lnTo>
                        <a:lnTo>
                          <a:pt x="413" y="300"/>
                        </a:lnTo>
                        <a:lnTo>
                          <a:pt x="412" y="299"/>
                        </a:lnTo>
                        <a:lnTo>
                          <a:pt x="412" y="298"/>
                        </a:lnTo>
                        <a:lnTo>
                          <a:pt x="413" y="296"/>
                        </a:lnTo>
                        <a:lnTo>
                          <a:pt x="412" y="294"/>
                        </a:lnTo>
                        <a:lnTo>
                          <a:pt x="409" y="298"/>
                        </a:lnTo>
                        <a:lnTo>
                          <a:pt x="407" y="299"/>
                        </a:lnTo>
                        <a:lnTo>
                          <a:pt x="405" y="299"/>
                        </a:lnTo>
                        <a:lnTo>
                          <a:pt x="404" y="299"/>
                        </a:lnTo>
                        <a:lnTo>
                          <a:pt x="402" y="301"/>
                        </a:lnTo>
                        <a:lnTo>
                          <a:pt x="401" y="300"/>
                        </a:lnTo>
                        <a:lnTo>
                          <a:pt x="401" y="301"/>
                        </a:lnTo>
                        <a:lnTo>
                          <a:pt x="400" y="301"/>
                        </a:lnTo>
                        <a:lnTo>
                          <a:pt x="399" y="303"/>
                        </a:lnTo>
                        <a:lnTo>
                          <a:pt x="396" y="303"/>
                        </a:lnTo>
                        <a:lnTo>
                          <a:pt x="393" y="303"/>
                        </a:lnTo>
                        <a:lnTo>
                          <a:pt x="391" y="303"/>
                        </a:lnTo>
                        <a:lnTo>
                          <a:pt x="387" y="305"/>
                        </a:lnTo>
                        <a:lnTo>
                          <a:pt x="387" y="305"/>
                        </a:lnTo>
                        <a:close/>
                        <a:moveTo>
                          <a:pt x="489" y="228"/>
                        </a:moveTo>
                        <a:lnTo>
                          <a:pt x="489" y="227"/>
                        </a:lnTo>
                        <a:lnTo>
                          <a:pt x="489" y="226"/>
                        </a:lnTo>
                        <a:lnTo>
                          <a:pt x="489" y="225"/>
                        </a:lnTo>
                        <a:lnTo>
                          <a:pt x="488" y="227"/>
                        </a:lnTo>
                        <a:lnTo>
                          <a:pt x="487" y="227"/>
                        </a:lnTo>
                        <a:lnTo>
                          <a:pt x="487" y="226"/>
                        </a:lnTo>
                        <a:lnTo>
                          <a:pt x="488" y="226"/>
                        </a:lnTo>
                        <a:lnTo>
                          <a:pt x="487" y="225"/>
                        </a:lnTo>
                        <a:lnTo>
                          <a:pt x="487" y="227"/>
                        </a:lnTo>
                        <a:lnTo>
                          <a:pt x="485" y="227"/>
                        </a:lnTo>
                        <a:lnTo>
                          <a:pt x="485" y="226"/>
                        </a:lnTo>
                        <a:lnTo>
                          <a:pt x="487" y="220"/>
                        </a:lnTo>
                        <a:lnTo>
                          <a:pt x="486" y="216"/>
                        </a:lnTo>
                        <a:lnTo>
                          <a:pt x="487" y="214"/>
                        </a:lnTo>
                        <a:lnTo>
                          <a:pt x="489" y="213"/>
                        </a:lnTo>
                        <a:lnTo>
                          <a:pt x="493" y="211"/>
                        </a:lnTo>
                        <a:lnTo>
                          <a:pt x="493" y="214"/>
                        </a:lnTo>
                        <a:lnTo>
                          <a:pt x="494" y="218"/>
                        </a:lnTo>
                        <a:lnTo>
                          <a:pt x="492" y="220"/>
                        </a:lnTo>
                        <a:lnTo>
                          <a:pt x="491" y="223"/>
                        </a:lnTo>
                        <a:lnTo>
                          <a:pt x="492" y="224"/>
                        </a:lnTo>
                        <a:lnTo>
                          <a:pt x="491" y="224"/>
                        </a:lnTo>
                        <a:lnTo>
                          <a:pt x="492" y="225"/>
                        </a:lnTo>
                        <a:lnTo>
                          <a:pt x="492" y="226"/>
                        </a:lnTo>
                        <a:lnTo>
                          <a:pt x="489" y="228"/>
                        </a:lnTo>
                        <a:lnTo>
                          <a:pt x="489" y="228"/>
                        </a:lnTo>
                        <a:close/>
                        <a:moveTo>
                          <a:pt x="459" y="301"/>
                        </a:moveTo>
                        <a:lnTo>
                          <a:pt x="456" y="300"/>
                        </a:lnTo>
                        <a:lnTo>
                          <a:pt x="455" y="299"/>
                        </a:lnTo>
                        <a:lnTo>
                          <a:pt x="455" y="299"/>
                        </a:lnTo>
                        <a:lnTo>
                          <a:pt x="454" y="300"/>
                        </a:lnTo>
                        <a:lnTo>
                          <a:pt x="452" y="299"/>
                        </a:lnTo>
                        <a:lnTo>
                          <a:pt x="451" y="298"/>
                        </a:lnTo>
                        <a:lnTo>
                          <a:pt x="445" y="299"/>
                        </a:lnTo>
                        <a:lnTo>
                          <a:pt x="444" y="298"/>
                        </a:lnTo>
                        <a:lnTo>
                          <a:pt x="442" y="299"/>
                        </a:lnTo>
                        <a:lnTo>
                          <a:pt x="440" y="300"/>
                        </a:lnTo>
                        <a:lnTo>
                          <a:pt x="439" y="299"/>
                        </a:lnTo>
                        <a:lnTo>
                          <a:pt x="439" y="300"/>
                        </a:lnTo>
                        <a:lnTo>
                          <a:pt x="439" y="299"/>
                        </a:lnTo>
                        <a:lnTo>
                          <a:pt x="435" y="298"/>
                        </a:lnTo>
                        <a:lnTo>
                          <a:pt x="436" y="299"/>
                        </a:lnTo>
                        <a:lnTo>
                          <a:pt x="436" y="298"/>
                        </a:lnTo>
                        <a:lnTo>
                          <a:pt x="433" y="296"/>
                        </a:lnTo>
                        <a:lnTo>
                          <a:pt x="435" y="296"/>
                        </a:lnTo>
                        <a:lnTo>
                          <a:pt x="435" y="296"/>
                        </a:lnTo>
                        <a:lnTo>
                          <a:pt x="436" y="293"/>
                        </a:lnTo>
                        <a:lnTo>
                          <a:pt x="439" y="292"/>
                        </a:lnTo>
                        <a:lnTo>
                          <a:pt x="434" y="291"/>
                        </a:lnTo>
                        <a:lnTo>
                          <a:pt x="436" y="291"/>
                        </a:lnTo>
                        <a:lnTo>
                          <a:pt x="436" y="290"/>
                        </a:lnTo>
                        <a:lnTo>
                          <a:pt x="438" y="290"/>
                        </a:lnTo>
                        <a:lnTo>
                          <a:pt x="440" y="291"/>
                        </a:lnTo>
                        <a:lnTo>
                          <a:pt x="441" y="290"/>
                        </a:lnTo>
                        <a:lnTo>
                          <a:pt x="442" y="290"/>
                        </a:lnTo>
                        <a:lnTo>
                          <a:pt x="445" y="288"/>
                        </a:lnTo>
                        <a:lnTo>
                          <a:pt x="446" y="287"/>
                        </a:lnTo>
                        <a:lnTo>
                          <a:pt x="447" y="287"/>
                        </a:lnTo>
                        <a:lnTo>
                          <a:pt x="448" y="286"/>
                        </a:lnTo>
                        <a:lnTo>
                          <a:pt x="449" y="287"/>
                        </a:lnTo>
                        <a:lnTo>
                          <a:pt x="452" y="287"/>
                        </a:lnTo>
                        <a:lnTo>
                          <a:pt x="454" y="288"/>
                        </a:lnTo>
                        <a:lnTo>
                          <a:pt x="458" y="288"/>
                        </a:lnTo>
                        <a:lnTo>
                          <a:pt x="460" y="291"/>
                        </a:lnTo>
                        <a:lnTo>
                          <a:pt x="464" y="292"/>
                        </a:lnTo>
                        <a:lnTo>
                          <a:pt x="466" y="294"/>
                        </a:lnTo>
                        <a:lnTo>
                          <a:pt x="467" y="293"/>
                        </a:lnTo>
                        <a:lnTo>
                          <a:pt x="468" y="294"/>
                        </a:lnTo>
                        <a:lnTo>
                          <a:pt x="469" y="292"/>
                        </a:lnTo>
                        <a:lnTo>
                          <a:pt x="471" y="292"/>
                        </a:lnTo>
                        <a:lnTo>
                          <a:pt x="473" y="292"/>
                        </a:lnTo>
                        <a:lnTo>
                          <a:pt x="475" y="292"/>
                        </a:lnTo>
                        <a:lnTo>
                          <a:pt x="476" y="291"/>
                        </a:lnTo>
                        <a:lnTo>
                          <a:pt x="478" y="291"/>
                        </a:lnTo>
                        <a:lnTo>
                          <a:pt x="476" y="292"/>
                        </a:lnTo>
                        <a:lnTo>
                          <a:pt x="478" y="293"/>
                        </a:lnTo>
                        <a:lnTo>
                          <a:pt x="480" y="294"/>
                        </a:lnTo>
                        <a:lnTo>
                          <a:pt x="481" y="294"/>
                        </a:lnTo>
                        <a:lnTo>
                          <a:pt x="485" y="294"/>
                        </a:lnTo>
                        <a:lnTo>
                          <a:pt x="486" y="293"/>
                        </a:lnTo>
                        <a:lnTo>
                          <a:pt x="485" y="292"/>
                        </a:lnTo>
                        <a:lnTo>
                          <a:pt x="487" y="290"/>
                        </a:lnTo>
                        <a:lnTo>
                          <a:pt x="491" y="290"/>
                        </a:lnTo>
                        <a:lnTo>
                          <a:pt x="494" y="286"/>
                        </a:lnTo>
                        <a:lnTo>
                          <a:pt x="493" y="286"/>
                        </a:lnTo>
                        <a:lnTo>
                          <a:pt x="491" y="286"/>
                        </a:lnTo>
                        <a:lnTo>
                          <a:pt x="491" y="286"/>
                        </a:lnTo>
                        <a:lnTo>
                          <a:pt x="492" y="284"/>
                        </a:lnTo>
                        <a:lnTo>
                          <a:pt x="493" y="284"/>
                        </a:lnTo>
                        <a:lnTo>
                          <a:pt x="494" y="285"/>
                        </a:lnTo>
                        <a:lnTo>
                          <a:pt x="495" y="288"/>
                        </a:lnTo>
                        <a:lnTo>
                          <a:pt x="494" y="290"/>
                        </a:lnTo>
                        <a:lnTo>
                          <a:pt x="493" y="288"/>
                        </a:lnTo>
                        <a:lnTo>
                          <a:pt x="493" y="290"/>
                        </a:lnTo>
                        <a:lnTo>
                          <a:pt x="493" y="291"/>
                        </a:lnTo>
                        <a:lnTo>
                          <a:pt x="493" y="292"/>
                        </a:lnTo>
                        <a:lnTo>
                          <a:pt x="492" y="291"/>
                        </a:lnTo>
                        <a:lnTo>
                          <a:pt x="491" y="291"/>
                        </a:lnTo>
                        <a:lnTo>
                          <a:pt x="492" y="293"/>
                        </a:lnTo>
                        <a:lnTo>
                          <a:pt x="492" y="294"/>
                        </a:lnTo>
                        <a:lnTo>
                          <a:pt x="484" y="297"/>
                        </a:lnTo>
                        <a:lnTo>
                          <a:pt x="479" y="297"/>
                        </a:lnTo>
                        <a:lnTo>
                          <a:pt x="473" y="300"/>
                        </a:lnTo>
                        <a:lnTo>
                          <a:pt x="469" y="299"/>
                        </a:lnTo>
                        <a:lnTo>
                          <a:pt x="466" y="298"/>
                        </a:lnTo>
                        <a:lnTo>
                          <a:pt x="466" y="298"/>
                        </a:lnTo>
                        <a:lnTo>
                          <a:pt x="466" y="300"/>
                        </a:lnTo>
                        <a:lnTo>
                          <a:pt x="465" y="300"/>
                        </a:lnTo>
                        <a:lnTo>
                          <a:pt x="462" y="300"/>
                        </a:lnTo>
                        <a:lnTo>
                          <a:pt x="459" y="301"/>
                        </a:lnTo>
                        <a:lnTo>
                          <a:pt x="459" y="301"/>
                        </a:lnTo>
                        <a:close/>
                        <a:moveTo>
                          <a:pt x="165" y="127"/>
                        </a:moveTo>
                        <a:lnTo>
                          <a:pt x="165" y="125"/>
                        </a:lnTo>
                        <a:lnTo>
                          <a:pt x="164" y="124"/>
                        </a:lnTo>
                        <a:lnTo>
                          <a:pt x="165" y="121"/>
                        </a:lnTo>
                        <a:lnTo>
                          <a:pt x="165" y="123"/>
                        </a:lnTo>
                        <a:lnTo>
                          <a:pt x="167" y="121"/>
                        </a:lnTo>
                        <a:lnTo>
                          <a:pt x="167" y="121"/>
                        </a:lnTo>
                        <a:lnTo>
                          <a:pt x="169" y="123"/>
                        </a:lnTo>
                        <a:lnTo>
                          <a:pt x="169" y="124"/>
                        </a:lnTo>
                        <a:lnTo>
                          <a:pt x="168" y="125"/>
                        </a:lnTo>
                        <a:lnTo>
                          <a:pt x="168" y="127"/>
                        </a:lnTo>
                        <a:lnTo>
                          <a:pt x="167" y="127"/>
                        </a:lnTo>
                        <a:lnTo>
                          <a:pt x="167" y="126"/>
                        </a:lnTo>
                        <a:lnTo>
                          <a:pt x="166" y="126"/>
                        </a:lnTo>
                        <a:lnTo>
                          <a:pt x="166" y="127"/>
                        </a:lnTo>
                        <a:lnTo>
                          <a:pt x="165" y="127"/>
                        </a:lnTo>
                        <a:lnTo>
                          <a:pt x="165" y="127"/>
                        </a:lnTo>
                        <a:close/>
                        <a:moveTo>
                          <a:pt x="21" y="66"/>
                        </a:moveTo>
                        <a:lnTo>
                          <a:pt x="15" y="63"/>
                        </a:lnTo>
                        <a:lnTo>
                          <a:pt x="14" y="61"/>
                        </a:lnTo>
                        <a:lnTo>
                          <a:pt x="13" y="61"/>
                        </a:lnTo>
                        <a:lnTo>
                          <a:pt x="12" y="60"/>
                        </a:lnTo>
                        <a:lnTo>
                          <a:pt x="10" y="58"/>
                        </a:lnTo>
                        <a:lnTo>
                          <a:pt x="10" y="58"/>
                        </a:lnTo>
                        <a:lnTo>
                          <a:pt x="10" y="57"/>
                        </a:lnTo>
                        <a:lnTo>
                          <a:pt x="11" y="54"/>
                        </a:lnTo>
                        <a:lnTo>
                          <a:pt x="13" y="56"/>
                        </a:lnTo>
                        <a:lnTo>
                          <a:pt x="13" y="57"/>
                        </a:lnTo>
                        <a:lnTo>
                          <a:pt x="17" y="59"/>
                        </a:lnTo>
                        <a:lnTo>
                          <a:pt x="17" y="60"/>
                        </a:lnTo>
                        <a:lnTo>
                          <a:pt x="18" y="60"/>
                        </a:lnTo>
                        <a:lnTo>
                          <a:pt x="21" y="64"/>
                        </a:lnTo>
                        <a:lnTo>
                          <a:pt x="22" y="64"/>
                        </a:lnTo>
                        <a:lnTo>
                          <a:pt x="24" y="66"/>
                        </a:lnTo>
                        <a:lnTo>
                          <a:pt x="22" y="66"/>
                        </a:lnTo>
                        <a:lnTo>
                          <a:pt x="21" y="66"/>
                        </a:lnTo>
                        <a:lnTo>
                          <a:pt x="21" y="66"/>
                        </a:lnTo>
                        <a:close/>
                        <a:moveTo>
                          <a:pt x="175" y="121"/>
                        </a:moveTo>
                        <a:lnTo>
                          <a:pt x="173" y="119"/>
                        </a:lnTo>
                        <a:lnTo>
                          <a:pt x="172" y="119"/>
                        </a:lnTo>
                        <a:lnTo>
                          <a:pt x="171" y="119"/>
                        </a:lnTo>
                        <a:lnTo>
                          <a:pt x="168" y="120"/>
                        </a:lnTo>
                        <a:lnTo>
                          <a:pt x="167" y="119"/>
                        </a:lnTo>
                        <a:lnTo>
                          <a:pt x="167" y="118"/>
                        </a:lnTo>
                        <a:lnTo>
                          <a:pt x="168" y="117"/>
                        </a:lnTo>
                        <a:lnTo>
                          <a:pt x="169" y="114"/>
                        </a:lnTo>
                        <a:lnTo>
                          <a:pt x="169" y="114"/>
                        </a:lnTo>
                        <a:lnTo>
                          <a:pt x="171" y="116"/>
                        </a:lnTo>
                        <a:lnTo>
                          <a:pt x="172" y="117"/>
                        </a:lnTo>
                        <a:lnTo>
                          <a:pt x="173" y="118"/>
                        </a:lnTo>
                        <a:lnTo>
                          <a:pt x="174" y="118"/>
                        </a:lnTo>
                        <a:lnTo>
                          <a:pt x="174" y="117"/>
                        </a:lnTo>
                        <a:lnTo>
                          <a:pt x="177" y="120"/>
                        </a:lnTo>
                        <a:lnTo>
                          <a:pt x="177" y="120"/>
                        </a:lnTo>
                        <a:lnTo>
                          <a:pt x="175" y="120"/>
                        </a:lnTo>
                        <a:lnTo>
                          <a:pt x="175" y="121"/>
                        </a:lnTo>
                        <a:lnTo>
                          <a:pt x="175" y="121"/>
                        </a:lnTo>
                        <a:close/>
                        <a:moveTo>
                          <a:pt x="578" y="125"/>
                        </a:moveTo>
                        <a:lnTo>
                          <a:pt x="576" y="125"/>
                        </a:lnTo>
                        <a:lnTo>
                          <a:pt x="576" y="120"/>
                        </a:lnTo>
                        <a:lnTo>
                          <a:pt x="578" y="120"/>
                        </a:lnTo>
                        <a:lnTo>
                          <a:pt x="579" y="120"/>
                        </a:lnTo>
                        <a:lnTo>
                          <a:pt x="580" y="120"/>
                        </a:lnTo>
                        <a:lnTo>
                          <a:pt x="579" y="125"/>
                        </a:lnTo>
                        <a:lnTo>
                          <a:pt x="578" y="125"/>
                        </a:lnTo>
                        <a:lnTo>
                          <a:pt x="578" y="125"/>
                        </a:lnTo>
                        <a:close/>
                        <a:moveTo>
                          <a:pt x="59" y="129"/>
                        </a:moveTo>
                        <a:lnTo>
                          <a:pt x="57" y="127"/>
                        </a:lnTo>
                        <a:lnTo>
                          <a:pt x="58" y="126"/>
                        </a:lnTo>
                        <a:lnTo>
                          <a:pt x="57" y="124"/>
                        </a:lnTo>
                        <a:lnTo>
                          <a:pt x="57" y="123"/>
                        </a:lnTo>
                        <a:lnTo>
                          <a:pt x="59" y="121"/>
                        </a:lnTo>
                        <a:lnTo>
                          <a:pt x="60" y="121"/>
                        </a:lnTo>
                        <a:lnTo>
                          <a:pt x="61" y="125"/>
                        </a:lnTo>
                        <a:lnTo>
                          <a:pt x="61" y="126"/>
                        </a:lnTo>
                        <a:lnTo>
                          <a:pt x="61" y="127"/>
                        </a:lnTo>
                        <a:lnTo>
                          <a:pt x="60" y="129"/>
                        </a:lnTo>
                        <a:lnTo>
                          <a:pt x="60" y="127"/>
                        </a:lnTo>
                        <a:lnTo>
                          <a:pt x="59" y="127"/>
                        </a:lnTo>
                        <a:lnTo>
                          <a:pt x="59" y="129"/>
                        </a:lnTo>
                        <a:lnTo>
                          <a:pt x="59" y="129"/>
                        </a:lnTo>
                        <a:close/>
                        <a:moveTo>
                          <a:pt x="134" y="98"/>
                        </a:moveTo>
                        <a:lnTo>
                          <a:pt x="132" y="97"/>
                        </a:lnTo>
                        <a:lnTo>
                          <a:pt x="131" y="94"/>
                        </a:lnTo>
                        <a:lnTo>
                          <a:pt x="131" y="94"/>
                        </a:lnTo>
                        <a:lnTo>
                          <a:pt x="132" y="93"/>
                        </a:lnTo>
                        <a:lnTo>
                          <a:pt x="129" y="92"/>
                        </a:lnTo>
                        <a:lnTo>
                          <a:pt x="127" y="90"/>
                        </a:lnTo>
                        <a:lnTo>
                          <a:pt x="128" y="91"/>
                        </a:lnTo>
                        <a:lnTo>
                          <a:pt x="127" y="87"/>
                        </a:lnTo>
                        <a:lnTo>
                          <a:pt x="131" y="89"/>
                        </a:lnTo>
                        <a:lnTo>
                          <a:pt x="132" y="89"/>
                        </a:lnTo>
                        <a:lnTo>
                          <a:pt x="134" y="91"/>
                        </a:lnTo>
                        <a:lnTo>
                          <a:pt x="135" y="91"/>
                        </a:lnTo>
                        <a:lnTo>
                          <a:pt x="135" y="93"/>
                        </a:lnTo>
                        <a:lnTo>
                          <a:pt x="135" y="96"/>
                        </a:lnTo>
                        <a:lnTo>
                          <a:pt x="135" y="98"/>
                        </a:lnTo>
                        <a:lnTo>
                          <a:pt x="134" y="98"/>
                        </a:lnTo>
                        <a:lnTo>
                          <a:pt x="134" y="98"/>
                        </a:lnTo>
                        <a:close/>
                        <a:moveTo>
                          <a:pt x="568" y="33"/>
                        </a:moveTo>
                        <a:lnTo>
                          <a:pt x="568" y="32"/>
                        </a:lnTo>
                        <a:lnTo>
                          <a:pt x="569" y="30"/>
                        </a:lnTo>
                        <a:lnTo>
                          <a:pt x="571" y="29"/>
                        </a:lnTo>
                        <a:lnTo>
                          <a:pt x="568" y="26"/>
                        </a:lnTo>
                        <a:lnTo>
                          <a:pt x="569" y="23"/>
                        </a:lnTo>
                        <a:lnTo>
                          <a:pt x="569" y="22"/>
                        </a:lnTo>
                        <a:lnTo>
                          <a:pt x="572" y="23"/>
                        </a:lnTo>
                        <a:lnTo>
                          <a:pt x="573" y="27"/>
                        </a:lnTo>
                        <a:lnTo>
                          <a:pt x="571" y="30"/>
                        </a:lnTo>
                        <a:lnTo>
                          <a:pt x="571" y="32"/>
                        </a:lnTo>
                        <a:lnTo>
                          <a:pt x="568" y="33"/>
                        </a:lnTo>
                        <a:lnTo>
                          <a:pt x="568" y="33"/>
                        </a:lnTo>
                        <a:close/>
                        <a:moveTo>
                          <a:pt x="588" y="132"/>
                        </a:moveTo>
                        <a:lnTo>
                          <a:pt x="587" y="131"/>
                        </a:lnTo>
                        <a:lnTo>
                          <a:pt x="587" y="130"/>
                        </a:lnTo>
                        <a:lnTo>
                          <a:pt x="585" y="131"/>
                        </a:lnTo>
                        <a:lnTo>
                          <a:pt x="583" y="131"/>
                        </a:lnTo>
                        <a:lnTo>
                          <a:pt x="582" y="131"/>
                        </a:lnTo>
                        <a:lnTo>
                          <a:pt x="582" y="130"/>
                        </a:lnTo>
                        <a:lnTo>
                          <a:pt x="583" y="129"/>
                        </a:lnTo>
                        <a:lnTo>
                          <a:pt x="580" y="125"/>
                        </a:lnTo>
                        <a:lnTo>
                          <a:pt x="580" y="124"/>
                        </a:lnTo>
                        <a:lnTo>
                          <a:pt x="581" y="123"/>
                        </a:lnTo>
                        <a:lnTo>
                          <a:pt x="580" y="121"/>
                        </a:lnTo>
                        <a:lnTo>
                          <a:pt x="581" y="121"/>
                        </a:lnTo>
                        <a:lnTo>
                          <a:pt x="582" y="123"/>
                        </a:lnTo>
                        <a:lnTo>
                          <a:pt x="582" y="123"/>
                        </a:lnTo>
                        <a:lnTo>
                          <a:pt x="585" y="121"/>
                        </a:lnTo>
                        <a:lnTo>
                          <a:pt x="586" y="121"/>
                        </a:lnTo>
                        <a:lnTo>
                          <a:pt x="587" y="124"/>
                        </a:lnTo>
                        <a:lnTo>
                          <a:pt x="586" y="127"/>
                        </a:lnTo>
                        <a:lnTo>
                          <a:pt x="587" y="129"/>
                        </a:lnTo>
                        <a:lnTo>
                          <a:pt x="589" y="129"/>
                        </a:lnTo>
                        <a:lnTo>
                          <a:pt x="591" y="131"/>
                        </a:lnTo>
                        <a:lnTo>
                          <a:pt x="589" y="132"/>
                        </a:lnTo>
                        <a:lnTo>
                          <a:pt x="588" y="132"/>
                        </a:lnTo>
                        <a:lnTo>
                          <a:pt x="588" y="132"/>
                        </a:lnTo>
                        <a:close/>
                        <a:moveTo>
                          <a:pt x="479" y="228"/>
                        </a:moveTo>
                        <a:lnTo>
                          <a:pt x="476" y="225"/>
                        </a:lnTo>
                        <a:lnTo>
                          <a:pt x="476" y="223"/>
                        </a:lnTo>
                        <a:lnTo>
                          <a:pt x="478" y="221"/>
                        </a:lnTo>
                        <a:lnTo>
                          <a:pt x="478" y="221"/>
                        </a:lnTo>
                        <a:lnTo>
                          <a:pt x="478" y="220"/>
                        </a:lnTo>
                        <a:lnTo>
                          <a:pt x="479" y="221"/>
                        </a:lnTo>
                        <a:lnTo>
                          <a:pt x="480" y="220"/>
                        </a:lnTo>
                        <a:lnTo>
                          <a:pt x="480" y="223"/>
                        </a:lnTo>
                        <a:lnTo>
                          <a:pt x="481" y="224"/>
                        </a:lnTo>
                        <a:lnTo>
                          <a:pt x="481" y="228"/>
                        </a:lnTo>
                        <a:lnTo>
                          <a:pt x="479" y="228"/>
                        </a:lnTo>
                        <a:lnTo>
                          <a:pt x="479" y="228"/>
                        </a:lnTo>
                        <a:close/>
                        <a:moveTo>
                          <a:pt x="206" y="241"/>
                        </a:moveTo>
                        <a:lnTo>
                          <a:pt x="207" y="240"/>
                        </a:lnTo>
                        <a:lnTo>
                          <a:pt x="209" y="241"/>
                        </a:lnTo>
                        <a:lnTo>
                          <a:pt x="212" y="240"/>
                        </a:lnTo>
                        <a:lnTo>
                          <a:pt x="218" y="246"/>
                        </a:lnTo>
                        <a:lnTo>
                          <a:pt x="219" y="246"/>
                        </a:lnTo>
                        <a:lnTo>
                          <a:pt x="221" y="245"/>
                        </a:lnTo>
                        <a:lnTo>
                          <a:pt x="226" y="248"/>
                        </a:lnTo>
                        <a:lnTo>
                          <a:pt x="228" y="248"/>
                        </a:lnTo>
                        <a:lnTo>
                          <a:pt x="228" y="247"/>
                        </a:lnTo>
                        <a:lnTo>
                          <a:pt x="231" y="247"/>
                        </a:lnTo>
                        <a:lnTo>
                          <a:pt x="234" y="252"/>
                        </a:lnTo>
                        <a:lnTo>
                          <a:pt x="235" y="257"/>
                        </a:lnTo>
                        <a:lnTo>
                          <a:pt x="235" y="258"/>
                        </a:lnTo>
                        <a:lnTo>
                          <a:pt x="239" y="258"/>
                        </a:lnTo>
                        <a:lnTo>
                          <a:pt x="239" y="258"/>
                        </a:lnTo>
                        <a:lnTo>
                          <a:pt x="241" y="259"/>
                        </a:lnTo>
                        <a:lnTo>
                          <a:pt x="242" y="259"/>
                        </a:lnTo>
                        <a:lnTo>
                          <a:pt x="242" y="258"/>
                        </a:lnTo>
                        <a:lnTo>
                          <a:pt x="244" y="258"/>
                        </a:lnTo>
                        <a:lnTo>
                          <a:pt x="245" y="259"/>
                        </a:lnTo>
                        <a:lnTo>
                          <a:pt x="248" y="259"/>
                        </a:lnTo>
                        <a:lnTo>
                          <a:pt x="251" y="259"/>
                        </a:lnTo>
                        <a:lnTo>
                          <a:pt x="252" y="258"/>
                        </a:lnTo>
                        <a:lnTo>
                          <a:pt x="254" y="258"/>
                        </a:lnTo>
                        <a:lnTo>
                          <a:pt x="255" y="259"/>
                        </a:lnTo>
                        <a:lnTo>
                          <a:pt x="255" y="259"/>
                        </a:lnTo>
                        <a:lnTo>
                          <a:pt x="258" y="260"/>
                        </a:lnTo>
                        <a:lnTo>
                          <a:pt x="261" y="260"/>
                        </a:lnTo>
                        <a:lnTo>
                          <a:pt x="264" y="259"/>
                        </a:lnTo>
                        <a:lnTo>
                          <a:pt x="265" y="260"/>
                        </a:lnTo>
                        <a:lnTo>
                          <a:pt x="267" y="261"/>
                        </a:lnTo>
                        <a:lnTo>
                          <a:pt x="269" y="260"/>
                        </a:lnTo>
                        <a:lnTo>
                          <a:pt x="272" y="259"/>
                        </a:lnTo>
                        <a:lnTo>
                          <a:pt x="272" y="257"/>
                        </a:lnTo>
                        <a:lnTo>
                          <a:pt x="273" y="254"/>
                        </a:lnTo>
                        <a:lnTo>
                          <a:pt x="273" y="253"/>
                        </a:lnTo>
                        <a:lnTo>
                          <a:pt x="273" y="252"/>
                        </a:lnTo>
                        <a:lnTo>
                          <a:pt x="274" y="251"/>
                        </a:lnTo>
                        <a:lnTo>
                          <a:pt x="279" y="250"/>
                        </a:lnTo>
                        <a:lnTo>
                          <a:pt x="280" y="252"/>
                        </a:lnTo>
                        <a:lnTo>
                          <a:pt x="281" y="256"/>
                        </a:lnTo>
                        <a:lnTo>
                          <a:pt x="286" y="256"/>
                        </a:lnTo>
                        <a:lnTo>
                          <a:pt x="287" y="254"/>
                        </a:lnTo>
                        <a:lnTo>
                          <a:pt x="289" y="256"/>
                        </a:lnTo>
                        <a:lnTo>
                          <a:pt x="292" y="257"/>
                        </a:lnTo>
                        <a:lnTo>
                          <a:pt x="294" y="258"/>
                        </a:lnTo>
                        <a:lnTo>
                          <a:pt x="295" y="258"/>
                        </a:lnTo>
                        <a:lnTo>
                          <a:pt x="296" y="258"/>
                        </a:lnTo>
                        <a:lnTo>
                          <a:pt x="298" y="260"/>
                        </a:lnTo>
                        <a:lnTo>
                          <a:pt x="299" y="260"/>
                        </a:lnTo>
                        <a:lnTo>
                          <a:pt x="301" y="259"/>
                        </a:lnTo>
                        <a:lnTo>
                          <a:pt x="306" y="260"/>
                        </a:lnTo>
                        <a:lnTo>
                          <a:pt x="307" y="259"/>
                        </a:lnTo>
                        <a:lnTo>
                          <a:pt x="307" y="260"/>
                        </a:lnTo>
                        <a:lnTo>
                          <a:pt x="307" y="261"/>
                        </a:lnTo>
                        <a:lnTo>
                          <a:pt x="307" y="263"/>
                        </a:lnTo>
                        <a:lnTo>
                          <a:pt x="307" y="264"/>
                        </a:lnTo>
                        <a:lnTo>
                          <a:pt x="308" y="265"/>
                        </a:lnTo>
                        <a:lnTo>
                          <a:pt x="308" y="266"/>
                        </a:lnTo>
                        <a:lnTo>
                          <a:pt x="307" y="266"/>
                        </a:lnTo>
                        <a:lnTo>
                          <a:pt x="309" y="267"/>
                        </a:lnTo>
                        <a:lnTo>
                          <a:pt x="311" y="266"/>
                        </a:lnTo>
                        <a:lnTo>
                          <a:pt x="311" y="266"/>
                        </a:lnTo>
                        <a:lnTo>
                          <a:pt x="312" y="267"/>
                        </a:lnTo>
                        <a:lnTo>
                          <a:pt x="309" y="273"/>
                        </a:lnTo>
                        <a:lnTo>
                          <a:pt x="312" y="274"/>
                        </a:lnTo>
                        <a:lnTo>
                          <a:pt x="316" y="278"/>
                        </a:lnTo>
                        <a:lnTo>
                          <a:pt x="320" y="278"/>
                        </a:lnTo>
                        <a:lnTo>
                          <a:pt x="322" y="277"/>
                        </a:lnTo>
                        <a:lnTo>
                          <a:pt x="322" y="274"/>
                        </a:lnTo>
                        <a:lnTo>
                          <a:pt x="325" y="274"/>
                        </a:lnTo>
                        <a:lnTo>
                          <a:pt x="327" y="274"/>
                        </a:lnTo>
                        <a:lnTo>
                          <a:pt x="328" y="277"/>
                        </a:lnTo>
                        <a:lnTo>
                          <a:pt x="332" y="277"/>
                        </a:lnTo>
                        <a:lnTo>
                          <a:pt x="333" y="274"/>
                        </a:lnTo>
                        <a:lnTo>
                          <a:pt x="335" y="276"/>
                        </a:lnTo>
                        <a:lnTo>
                          <a:pt x="339" y="277"/>
                        </a:lnTo>
                        <a:lnTo>
                          <a:pt x="341" y="279"/>
                        </a:lnTo>
                        <a:lnTo>
                          <a:pt x="341" y="280"/>
                        </a:lnTo>
                        <a:lnTo>
                          <a:pt x="339" y="291"/>
                        </a:lnTo>
                        <a:lnTo>
                          <a:pt x="339" y="293"/>
                        </a:lnTo>
                        <a:lnTo>
                          <a:pt x="340" y="291"/>
                        </a:lnTo>
                        <a:lnTo>
                          <a:pt x="341" y="294"/>
                        </a:lnTo>
                        <a:lnTo>
                          <a:pt x="341" y="294"/>
                        </a:lnTo>
                        <a:lnTo>
                          <a:pt x="344" y="297"/>
                        </a:lnTo>
                        <a:lnTo>
                          <a:pt x="344" y="298"/>
                        </a:lnTo>
                        <a:lnTo>
                          <a:pt x="342" y="298"/>
                        </a:lnTo>
                        <a:lnTo>
                          <a:pt x="339" y="297"/>
                        </a:lnTo>
                        <a:lnTo>
                          <a:pt x="340" y="296"/>
                        </a:lnTo>
                        <a:lnTo>
                          <a:pt x="339" y="296"/>
                        </a:lnTo>
                        <a:lnTo>
                          <a:pt x="338" y="294"/>
                        </a:lnTo>
                        <a:lnTo>
                          <a:pt x="334" y="294"/>
                        </a:lnTo>
                        <a:lnTo>
                          <a:pt x="329" y="294"/>
                        </a:lnTo>
                        <a:lnTo>
                          <a:pt x="329" y="293"/>
                        </a:lnTo>
                        <a:lnTo>
                          <a:pt x="327" y="293"/>
                        </a:lnTo>
                        <a:lnTo>
                          <a:pt x="325" y="292"/>
                        </a:lnTo>
                        <a:lnTo>
                          <a:pt x="324" y="291"/>
                        </a:lnTo>
                        <a:lnTo>
                          <a:pt x="320" y="288"/>
                        </a:lnTo>
                        <a:lnTo>
                          <a:pt x="318" y="290"/>
                        </a:lnTo>
                        <a:lnTo>
                          <a:pt x="316" y="290"/>
                        </a:lnTo>
                        <a:lnTo>
                          <a:pt x="313" y="290"/>
                        </a:lnTo>
                        <a:lnTo>
                          <a:pt x="312" y="290"/>
                        </a:lnTo>
                        <a:lnTo>
                          <a:pt x="308" y="291"/>
                        </a:lnTo>
                        <a:lnTo>
                          <a:pt x="302" y="288"/>
                        </a:lnTo>
                        <a:lnTo>
                          <a:pt x="301" y="290"/>
                        </a:lnTo>
                        <a:lnTo>
                          <a:pt x="293" y="287"/>
                        </a:lnTo>
                        <a:lnTo>
                          <a:pt x="292" y="288"/>
                        </a:lnTo>
                        <a:lnTo>
                          <a:pt x="292" y="288"/>
                        </a:lnTo>
                        <a:lnTo>
                          <a:pt x="291" y="290"/>
                        </a:lnTo>
                        <a:lnTo>
                          <a:pt x="285" y="287"/>
                        </a:lnTo>
                        <a:lnTo>
                          <a:pt x="281" y="287"/>
                        </a:lnTo>
                        <a:lnTo>
                          <a:pt x="281" y="287"/>
                        </a:lnTo>
                        <a:lnTo>
                          <a:pt x="279" y="287"/>
                        </a:lnTo>
                        <a:lnTo>
                          <a:pt x="278" y="286"/>
                        </a:lnTo>
                        <a:lnTo>
                          <a:pt x="273" y="286"/>
                        </a:lnTo>
                        <a:lnTo>
                          <a:pt x="272" y="285"/>
                        </a:lnTo>
                        <a:lnTo>
                          <a:pt x="267" y="284"/>
                        </a:lnTo>
                        <a:lnTo>
                          <a:pt x="267" y="283"/>
                        </a:lnTo>
                        <a:lnTo>
                          <a:pt x="265" y="283"/>
                        </a:lnTo>
                        <a:lnTo>
                          <a:pt x="260" y="280"/>
                        </a:lnTo>
                        <a:lnTo>
                          <a:pt x="261" y="280"/>
                        </a:lnTo>
                        <a:lnTo>
                          <a:pt x="259" y="279"/>
                        </a:lnTo>
                        <a:lnTo>
                          <a:pt x="255" y="278"/>
                        </a:lnTo>
                        <a:lnTo>
                          <a:pt x="252" y="278"/>
                        </a:lnTo>
                        <a:lnTo>
                          <a:pt x="249" y="278"/>
                        </a:lnTo>
                        <a:lnTo>
                          <a:pt x="249" y="277"/>
                        </a:lnTo>
                        <a:lnTo>
                          <a:pt x="247" y="276"/>
                        </a:lnTo>
                        <a:lnTo>
                          <a:pt x="244" y="276"/>
                        </a:lnTo>
                        <a:lnTo>
                          <a:pt x="240" y="276"/>
                        </a:lnTo>
                        <a:lnTo>
                          <a:pt x="240" y="274"/>
                        </a:lnTo>
                        <a:lnTo>
                          <a:pt x="239" y="276"/>
                        </a:lnTo>
                        <a:lnTo>
                          <a:pt x="237" y="276"/>
                        </a:lnTo>
                        <a:lnTo>
                          <a:pt x="237" y="277"/>
                        </a:lnTo>
                        <a:lnTo>
                          <a:pt x="235" y="276"/>
                        </a:lnTo>
                        <a:lnTo>
                          <a:pt x="234" y="276"/>
                        </a:lnTo>
                        <a:lnTo>
                          <a:pt x="233" y="278"/>
                        </a:lnTo>
                        <a:lnTo>
                          <a:pt x="232" y="276"/>
                        </a:lnTo>
                        <a:lnTo>
                          <a:pt x="231" y="278"/>
                        </a:lnTo>
                        <a:lnTo>
                          <a:pt x="231" y="278"/>
                        </a:lnTo>
                        <a:lnTo>
                          <a:pt x="226" y="276"/>
                        </a:lnTo>
                        <a:lnTo>
                          <a:pt x="221" y="277"/>
                        </a:lnTo>
                        <a:lnTo>
                          <a:pt x="220" y="274"/>
                        </a:lnTo>
                        <a:lnTo>
                          <a:pt x="217" y="273"/>
                        </a:lnTo>
                        <a:lnTo>
                          <a:pt x="219" y="272"/>
                        </a:lnTo>
                        <a:lnTo>
                          <a:pt x="218" y="272"/>
                        </a:lnTo>
                        <a:lnTo>
                          <a:pt x="215" y="272"/>
                        </a:lnTo>
                        <a:lnTo>
                          <a:pt x="208" y="272"/>
                        </a:lnTo>
                        <a:lnTo>
                          <a:pt x="206" y="271"/>
                        </a:lnTo>
                        <a:lnTo>
                          <a:pt x="205" y="271"/>
                        </a:lnTo>
                        <a:lnTo>
                          <a:pt x="205" y="271"/>
                        </a:lnTo>
                        <a:lnTo>
                          <a:pt x="202" y="270"/>
                        </a:lnTo>
                        <a:lnTo>
                          <a:pt x="198" y="271"/>
                        </a:lnTo>
                        <a:lnTo>
                          <a:pt x="195" y="270"/>
                        </a:lnTo>
                        <a:lnTo>
                          <a:pt x="195" y="266"/>
                        </a:lnTo>
                        <a:lnTo>
                          <a:pt x="197" y="265"/>
                        </a:lnTo>
                        <a:lnTo>
                          <a:pt x="197" y="265"/>
                        </a:lnTo>
                        <a:lnTo>
                          <a:pt x="198" y="264"/>
                        </a:lnTo>
                        <a:lnTo>
                          <a:pt x="198" y="263"/>
                        </a:lnTo>
                        <a:lnTo>
                          <a:pt x="198" y="261"/>
                        </a:lnTo>
                        <a:lnTo>
                          <a:pt x="197" y="261"/>
                        </a:lnTo>
                        <a:lnTo>
                          <a:pt x="194" y="261"/>
                        </a:lnTo>
                        <a:lnTo>
                          <a:pt x="191" y="259"/>
                        </a:lnTo>
                        <a:lnTo>
                          <a:pt x="188" y="258"/>
                        </a:lnTo>
                        <a:lnTo>
                          <a:pt x="180" y="259"/>
                        </a:lnTo>
                        <a:lnTo>
                          <a:pt x="175" y="258"/>
                        </a:lnTo>
                        <a:lnTo>
                          <a:pt x="175" y="259"/>
                        </a:lnTo>
                        <a:lnTo>
                          <a:pt x="175" y="259"/>
                        </a:lnTo>
                        <a:lnTo>
                          <a:pt x="174" y="257"/>
                        </a:lnTo>
                        <a:lnTo>
                          <a:pt x="175" y="257"/>
                        </a:lnTo>
                        <a:lnTo>
                          <a:pt x="177" y="256"/>
                        </a:lnTo>
                        <a:lnTo>
                          <a:pt x="178" y="256"/>
                        </a:lnTo>
                        <a:lnTo>
                          <a:pt x="178" y="257"/>
                        </a:lnTo>
                        <a:lnTo>
                          <a:pt x="179" y="258"/>
                        </a:lnTo>
                        <a:lnTo>
                          <a:pt x="181" y="254"/>
                        </a:lnTo>
                        <a:lnTo>
                          <a:pt x="181" y="251"/>
                        </a:lnTo>
                        <a:lnTo>
                          <a:pt x="182" y="251"/>
                        </a:lnTo>
                        <a:lnTo>
                          <a:pt x="184" y="252"/>
                        </a:lnTo>
                        <a:lnTo>
                          <a:pt x="185" y="251"/>
                        </a:lnTo>
                        <a:lnTo>
                          <a:pt x="186" y="248"/>
                        </a:lnTo>
                        <a:lnTo>
                          <a:pt x="187" y="246"/>
                        </a:lnTo>
                        <a:lnTo>
                          <a:pt x="186" y="243"/>
                        </a:lnTo>
                        <a:lnTo>
                          <a:pt x="187" y="241"/>
                        </a:lnTo>
                        <a:lnTo>
                          <a:pt x="188" y="239"/>
                        </a:lnTo>
                        <a:lnTo>
                          <a:pt x="189" y="239"/>
                        </a:lnTo>
                        <a:lnTo>
                          <a:pt x="191" y="239"/>
                        </a:lnTo>
                        <a:lnTo>
                          <a:pt x="191" y="241"/>
                        </a:lnTo>
                        <a:lnTo>
                          <a:pt x="191" y="241"/>
                        </a:lnTo>
                        <a:lnTo>
                          <a:pt x="192" y="241"/>
                        </a:lnTo>
                        <a:lnTo>
                          <a:pt x="193" y="240"/>
                        </a:lnTo>
                        <a:lnTo>
                          <a:pt x="193" y="240"/>
                        </a:lnTo>
                        <a:lnTo>
                          <a:pt x="198" y="243"/>
                        </a:lnTo>
                        <a:lnTo>
                          <a:pt x="201" y="241"/>
                        </a:lnTo>
                        <a:lnTo>
                          <a:pt x="202" y="244"/>
                        </a:lnTo>
                        <a:lnTo>
                          <a:pt x="206" y="243"/>
                        </a:lnTo>
                        <a:lnTo>
                          <a:pt x="206" y="241"/>
                        </a:lnTo>
                        <a:lnTo>
                          <a:pt x="206" y="241"/>
                        </a:lnTo>
                        <a:close/>
                        <a:moveTo>
                          <a:pt x="454" y="250"/>
                        </a:moveTo>
                        <a:lnTo>
                          <a:pt x="454" y="248"/>
                        </a:lnTo>
                        <a:lnTo>
                          <a:pt x="454" y="246"/>
                        </a:lnTo>
                        <a:lnTo>
                          <a:pt x="453" y="244"/>
                        </a:lnTo>
                        <a:lnTo>
                          <a:pt x="453" y="240"/>
                        </a:lnTo>
                        <a:lnTo>
                          <a:pt x="454" y="237"/>
                        </a:lnTo>
                        <a:lnTo>
                          <a:pt x="454" y="236"/>
                        </a:lnTo>
                        <a:lnTo>
                          <a:pt x="454" y="236"/>
                        </a:lnTo>
                        <a:lnTo>
                          <a:pt x="455" y="240"/>
                        </a:lnTo>
                        <a:lnTo>
                          <a:pt x="454" y="248"/>
                        </a:lnTo>
                        <a:lnTo>
                          <a:pt x="454" y="250"/>
                        </a:lnTo>
                        <a:lnTo>
                          <a:pt x="454" y="250"/>
                        </a:lnTo>
                        <a:close/>
                        <a:moveTo>
                          <a:pt x="599" y="192"/>
                        </a:moveTo>
                        <a:lnTo>
                          <a:pt x="599" y="192"/>
                        </a:lnTo>
                        <a:lnTo>
                          <a:pt x="601" y="190"/>
                        </a:lnTo>
                        <a:lnTo>
                          <a:pt x="600" y="190"/>
                        </a:lnTo>
                        <a:lnTo>
                          <a:pt x="596" y="192"/>
                        </a:lnTo>
                        <a:lnTo>
                          <a:pt x="596" y="192"/>
                        </a:lnTo>
                        <a:lnTo>
                          <a:pt x="595" y="191"/>
                        </a:lnTo>
                        <a:lnTo>
                          <a:pt x="595" y="191"/>
                        </a:lnTo>
                        <a:lnTo>
                          <a:pt x="598" y="188"/>
                        </a:lnTo>
                        <a:lnTo>
                          <a:pt x="600" y="188"/>
                        </a:lnTo>
                        <a:lnTo>
                          <a:pt x="601" y="187"/>
                        </a:lnTo>
                        <a:lnTo>
                          <a:pt x="602" y="187"/>
                        </a:lnTo>
                        <a:lnTo>
                          <a:pt x="603" y="187"/>
                        </a:lnTo>
                        <a:lnTo>
                          <a:pt x="603" y="188"/>
                        </a:lnTo>
                        <a:lnTo>
                          <a:pt x="602" y="190"/>
                        </a:lnTo>
                        <a:lnTo>
                          <a:pt x="602" y="188"/>
                        </a:lnTo>
                        <a:lnTo>
                          <a:pt x="602" y="191"/>
                        </a:lnTo>
                        <a:lnTo>
                          <a:pt x="599" y="192"/>
                        </a:lnTo>
                        <a:lnTo>
                          <a:pt x="599" y="192"/>
                        </a:lnTo>
                        <a:close/>
                        <a:moveTo>
                          <a:pt x="632" y="158"/>
                        </a:moveTo>
                        <a:lnTo>
                          <a:pt x="629" y="157"/>
                        </a:lnTo>
                        <a:lnTo>
                          <a:pt x="627" y="156"/>
                        </a:lnTo>
                        <a:lnTo>
                          <a:pt x="625" y="154"/>
                        </a:lnTo>
                        <a:lnTo>
                          <a:pt x="625" y="154"/>
                        </a:lnTo>
                        <a:lnTo>
                          <a:pt x="632" y="151"/>
                        </a:lnTo>
                        <a:lnTo>
                          <a:pt x="636" y="151"/>
                        </a:lnTo>
                        <a:lnTo>
                          <a:pt x="636" y="151"/>
                        </a:lnTo>
                        <a:lnTo>
                          <a:pt x="638" y="153"/>
                        </a:lnTo>
                        <a:lnTo>
                          <a:pt x="638" y="154"/>
                        </a:lnTo>
                        <a:lnTo>
                          <a:pt x="635" y="154"/>
                        </a:lnTo>
                        <a:lnTo>
                          <a:pt x="636" y="156"/>
                        </a:lnTo>
                        <a:lnTo>
                          <a:pt x="638" y="156"/>
                        </a:lnTo>
                        <a:lnTo>
                          <a:pt x="636" y="157"/>
                        </a:lnTo>
                        <a:lnTo>
                          <a:pt x="636" y="157"/>
                        </a:lnTo>
                        <a:lnTo>
                          <a:pt x="635" y="156"/>
                        </a:lnTo>
                        <a:lnTo>
                          <a:pt x="634" y="158"/>
                        </a:lnTo>
                        <a:lnTo>
                          <a:pt x="632" y="158"/>
                        </a:lnTo>
                        <a:lnTo>
                          <a:pt x="632" y="158"/>
                        </a:lnTo>
                        <a:close/>
                        <a:moveTo>
                          <a:pt x="551" y="156"/>
                        </a:moveTo>
                        <a:lnTo>
                          <a:pt x="551" y="154"/>
                        </a:lnTo>
                        <a:lnTo>
                          <a:pt x="549" y="153"/>
                        </a:lnTo>
                        <a:lnTo>
                          <a:pt x="549" y="154"/>
                        </a:lnTo>
                        <a:lnTo>
                          <a:pt x="549" y="153"/>
                        </a:lnTo>
                        <a:lnTo>
                          <a:pt x="549" y="152"/>
                        </a:lnTo>
                        <a:lnTo>
                          <a:pt x="551" y="152"/>
                        </a:lnTo>
                        <a:lnTo>
                          <a:pt x="551" y="152"/>
                        </a:lnTo>
                        <a:lnTo>
                          <a:pt x="554" y="152"/>
                        </a:lnTo>
                        <a:lnTo>
                          <a:pt x="556" y="152"/>
                        </a:lnTo>
                        <a:lnTo>
                          <a:pt x="561" y="152"/>
                        </a:lnTo>
                        <a:lnTo>
                          <a:pt x="567" y="152"/>
                        </a:lnTo>
                        <a:lnTo>
                          <a:pt x="566" y="153"/>
                        </a:lnTo>
                        <a:lnTo>
                          <a:pt x="556" y="154"/>
                        </a:lnTo>
                        <a:lnTo>
                          <a:pt x="551" y="156"/>
                        </a:lnTo>
                        <a:lnTo>
                          <a:pt x="551" y="156"/>
                        </a:lnTo>
                        <a:close/>
                        <a:moveTo>
                          <a:pt x="646" y="280"/>
                        </a:moveTo>
                        <a:lnTo>
                          <a:pt x="646" y="279"/>
                        </a:lnTo>
                        <a:lnTo>
                          <a:pt x="646" y="279"/>
                        </a:lnTo>
                        <a:lnTo>
                          <a:pt x="646" y="280"/>
                        </a:lnTo>
                        <a:lnTo>
                          <a:pt x="643" y="280"/>
                        </a:lnTo>
                        <a:lnTo>
                          <a:pt x="643" y="279"/>
                        </a:lnTo>
                        <a:lnTo>
                          <a:pt x="642" y="277"/>
                        </a:lnTo>
                        <a:lnTo>
                          <a:pt x="643" y="274"/>
                        </a:lnTo>
                        <a:lnTo>
                          <a:pt x="643" y="274"/>
                        </a:lnTo>
                        <a:lnTo>
                          <a:pt x="643" y="273"/>
                        </a:lnTo>
                        <a:lnTo>
                          <a:pt x="643" y="273"/>
                        </a:lnTo>
                        <a:lnTo>
                          <a:pt x="645" y="274"/>
                        </a:lnTo>
                        <a:lnTo>
                          <a:pt x="646" y="274"/>
                        </a:lnTo>
                        <a:lnTo>
                          <a:pt x="645" y="273"/>
                        </a:lnTo>
                        <a:lnTo>
                          <a:pt x="645" y="270"/>
                        </a:lnTo>
                        <a:lnTo>
                          <a:pt x="647" y="268"/>
                        </a:lnTo>
                        <a:lnTo>
                          <a:pt x="648" y="267"/>
                        </a:lnTo>
                        <a:lnTo>
                          <a:pt x="648" y="266"/>
                        </a:lnTo>
                        <a:lnTo>
                          <a:pt x="649" y="265"/>
                        </a:lnTo>
                        <a:lnTo>
                          <a:pt x="652" y="261"/>
                        </a:lnTo>
                        <a:lnTo>
                          <a:pt x="653" y="261"/>
                        </a:lnTo>
                        <a:lnTo>
                          <a:pt x="653" y="263"/>
                        </a:lnTo>
                        <a:lnTo>
                          <a:pt x="654" y="263"/>
                        </a:lnTo>
                        <a:lnTo>
                          <a:pt x="654" y="264"/>
                        </a:lnTo>
                        <a:lnTo>
                          <a:pt x="653" y="264"/>
                        </a:lnTo>
                        <a:lnTo>
                          <a:pt x="653" y="266"/>
                        </a:lnTo>
                        <a:lnTo>
                          <a:pt x="653" y="268"/>
                        </a:lnTo>
                        <a:lnTo>
                          <a:pt x="652" y="273"/>
                        </a:lnTo>
                        <a:lnTo>
                          <a:pt x="649" y="274"/>
                        </a:lnTo>
                        <a:lnTo>
                          <a:pt x="649" y="276"/>
                        </a:lnTo>
                        <a:lnTo>
                          <a:pt x="648" y="277"/>
                        </a:lnTo>
                        <a:lnTo>
                          <a:pt x="647" y="280"/>
                        </a:lnTo>
                        <a:lnTo>
                          <a:pt x="646" y="280"/>
                        </a:lnTo>
                        <a:lnTo>
                          <a:pt x="646" y="280"/>
                        </a:lnTo>
                        <a:close/>
                        <a:moveTo>
                          <a:pt x="572" y="194"/>
                        </a:moveTo>
                        <a:lnTo>
                          <a:pt x="563" y="190"/>
                        </a:lnTo>
                        <a:lnTo>
                          <a:pt x="563" y="190"/>
                        </a:lnTo>
                        <a:lnTo>
                          <a:pt x="560" y="185"/>
                        </a:lnTo>
                        <a:lnTo>
                          <a:pt x="560" y="181"/>
                        </a:lnTo>
                        <a:lnTo>
                          <a:pt x="561" y="180"/>
                        </a:lnTo>
                        <a:lnTo>
                          <a:pt x="562" y="180"/>
                        </a:lnTo>
                        <a:lnTo>
                          <a:pt x="563" y="181"/>
                        </a:lnTo>
                        <a:lnTo>
                          <a:pt x="563" y="181"/>
                        </a:lnTo>
                        <a:lnTo>
                          <a:pt x="565" y="179"/>
                        </a:lnTo>
                        <a:lnTo>
                          <a:pt x="573" y="178"/>
                        </a:lnTo>
                        <a:lnTo>
                          <a:pt x="575" y="179"/>
                        </a:lnTo>
                        <a:lnTo>
                          <a:pt x="580" y="181"/>
                        </a:lnTo>
                        <a:lnTo>
                          <a:pt x="580" y="183"/>
                        </a:lnTo>
                        <a:lnTo>
                          <a:pt x="579" y="183"/>
                        </a:lnTo>
                        <a:lnTo>
                          <a:pt x="579" y="184"/>
                        </a:lnTo>
                        <a:lnTo>
                          <a:pt x="580" y="185"/>
                        </a:lnTo>
                        <a:lnTo>
                          <a:pt x="582" y="185"/>
                        </a:lnTo>
                        <a:lnTo>
                          <a:pt x="582" y="190"/>
                        </a:lnTo>
                        <a:lnTo>
                          <a:pt x="581" y="191"/>
                        </a:lnTo>
                        <a:lnTo>
                          <a:pt x="579" y="192"/>
                        </a:lnTo>
                        <a:lnTo>
                          <a:pt x="576" y="193"/>
                        </a:lnTo>
                        <a:lnTo>
                          <a:pt x="572" y="194"/>
                        </a:lnTo>
                        <a:lnTo>
                          <a:pt x="572" y="194"/>
                        </a:lnTo>
                        <a:close/>
                        <a:moveTo>
                          <a:pt x="125" y="231"/>
                        </a:moveTo>
                        <a:lnTo>
                          <a:pt x="121" y="227"/>
                        </a:lnTo>
                        <a:lnTo>
                          <a:pt x="122" y="226"/>
                        </a:lnTo>
                        <a:lnTo>
                          <a:pt x="126" y="228"/>
                        </a:lnTo>
                        <a:lnTo>
                          <a:pt x="127" y="230"/>
                        </a:lnTo>
                        <a:lnTo>
                          <a:pt x="126" y="231"/>
                        </a:lnTo>
                        <a:lnTo>
                          <a:pt x="125" y="231"/>
                        </a:lnTo>
                        <a:lnTo>
                          <a:pt x="125" y="231"/>
                        </a:lnTo>
                        <a:close/>
                        <a:moveTo>
                          <a:pt x="700" y="256"/>
                        </a:moveTo>
                        <a:lnTo>
                          <a:pt x="698" y="254"/>
                        </a:lnTo>
                        <a:lnTo>
                          <a:pt x="698" y="253"/>
                        </a:lnTo>
                        <a:lnTo>
                          <a:pt x="699" y="246"/>
                        </a:lnTo>
                        <a:lnTo>
                          <a:pt x="700" y="247"/>
                        </a:lnTo>
                        <a:lnTo>
                          <a:pt x="700" y="246"/>
                        </a:lnTo>
                        <a:lnTo>
                          <a:pt x="700" y="246"/>
                        </a:lnTo>
                        <a:lnTo>
                          <a:pt x="699" y="246"/>
                        </a:lnTo>
                        <a:lnTo>
                          <a:pt x="699" y="240"/>
                        </a:lnTo>
                        <a:lnTo>
                          <a:pt x="705" y="246"/>
                        </a:lnTo>
                        <a:lnTo>
                          <a:pt x="706" y="250"/>
                        </a:lnTo>
                        <a:lnTo>
                          <a:pt x="705" y="251"/>
                        </a:lnTo>
                        <a:lnTo>
                          <a:pt x="703" y="252"/>
                        </a:lnTo>
                        <a:lnTo>
                          <a:pt x="702" y="254"/>
                        </a:lnTo>
                        <a:lnTo>
                          <a:pt x="700" y="256"/>
                        </a:lnTo>
                        <a:lnTo>
                          <a:pt x="700" y="256"/>
                        </a:lnTo>
                        <a:close/>
                        <a:moveTo>
                          <a:pt x="676" y="243"/>
                        </a:moveTo>
                        <a:lnTo>
                          <a:pt x="675" y="241"/>
                        </a:lnTo>
                        <a:lnTo>
                          <a:pt x="675" y="239"/>
                        </a:lnTo>
                        <a:lnTo>
                          <a:pt x="674" y="237"/>
                        </a:lnTo>
                        <a:lnTo>
                          <a:pt x="676" y="236"/>
                        </a:lnTo>
                        <a:lnTo>
                          <a:pt x="676" y="238"/>
                        </a:lnTo>
                        <a:lnTo>
                          <a:pt x="678" y="240"/>
                        </a:lnTo>
                        <a:lnTo>
                          <a:pt x="678" y="243"/>
                        </a:lnTo>
                        <a:lnTo>
                          <a:pt x="676" y="243"/>
                        </a:lnTo>
                        <a:lnTo>
                          <a:pt x="676" y="243"/>
                        </a:lnTo>
                        <a:close/>
                        <a:moveTo>
                          <a:pt x="512" y="149"/>
                        </a:moveTo>
                        <a:lnTo>
                          <a:pt x="512" y="149"/>
                        </a:lnTo>
                        <a:lnTo>
                          <a:pt x="509" y="149"/>
                        </a:lnTo>
                        <a:lnTo>
                          <a:pt x="509" y="147"/>
                        </a:lnTo>
                        <a:lnTo>
                          <a:pt x="511" y="146"/>
                        </a:lnTo>
                        <a:lnTo>
                          <a:pt x="511" y="143"/>
                        </a:lnTo>
                        <a:lnTo>
                          <a:pt x="509" y="143"/>
                        </a:lnTo>
                        <a:lnTo>
                          <a:pt x="506" y="149"/>
                        </a:lnTo>
                        <a:lnTo>
                          <a:pt x="505" y="149"/>
                        </a:lnTo>
                        <a:lnTo>
                          <a:pt x="504" y="145"/>
                        </a:lnTo>
                        <a:lnTo>
                          <a:pt x="504" y="143"/>
                        </a:lnTo>
                        <a:lnTo>
                          <a:pt x="505" y="140"/>
                        </a:lnTo>
                        <a:lnTo>
                          <a:pt x="511" y="139"/>
                        </a:lnTo>
                        <a:lnTo>
                          <a:pt x="512" y="140"/>
                        </a:lnTo>
                        <a:lnTo>
                          <a:pt x="511" y="143"/>
                        </a:lnTo>
                        <a:lnTo>
                          <a:pt x="512" y="144"/>
                        </a:lnTo>
                        <a:lnTo>
                          <a:pt x="514" y="140"/>
                        </a:lnTo>
                        <a:lnTo>
                          <a:pt x="516" y="143"/>
                        </a:lnTo>
                        <a:lnTo>
                          <a:pt x="516" y="145"/>
                        </a:lnTo>
                        <a:lnTo>
                          <a:pt x="514" y="146"/>
                        </a:lnTo>
                        <a:lnTo>
                          <a:pt x="514" y="146"/>
                        </a:lnTo>
                        <a:lnTo>
                          <a:pt x="513" y="145"/>
                        </a:lnTo>
                        <a:lnTo>
                          <a:pt x="513" y="145"/>
                        </a:lnTo>
                        <a:lnTo>
                          <a:pt x="512" y="146"/>
                        </a:lnTo>
                        <a:lnTo>
                          <a:pt x="512" y="149"/>
                        </a:lnTo>
                        <a:lnTo>
                          <a:pt x="512" y="149"/>
                        </a:lnTo>
                        <a:close/>
                        <a:moveTo>
                          <a:pt x="589" y="151"/>
                        </a:moveTo>
                        <a:lnTo>
                          <a:pt x="586" y="150"/>
                        </a:lnTo>
                        <a:lnTo>
                          <a:pt x="586" y="149"/>
                        </a:lnTo>
                        <a:lnTo>
                          <a:pt x="587" y="145"/>
                        </a:lnTo>
                        <a:lnTo>
                          <a:pt x="587" y="145"/>
                        </a:lnTo>
                        <a:lnTo>
                          <a:pt x="588" y="145"/>
                        </a:lnTo>
                        <a:lnTo>
                          <a:pt x="591" y="143"/>
                        </a:lnTo>
                        <a:lnTo>
                          <a:pt x="592" y="143"/>
                        </a:lnTo>
                        <a:lnTo>
                          <a:pt x="599" y="147"/>
                        </a:lnTo>
                        <a:lnTo>
                          <a:pt x="600" y="149"/>
                        </a:lnTo>
                        <a:lnTo>
                          <a:pt x="600" y="150"/>
                        </a:lnTo>
                        <a:lnTo>
                          <a:pt x="599" y="151"/>
                        </a:lnTo>
                        <a:lnTo>
                          <a:pt x="592" y="150"/>
                        </a:lnTo>
                        <a:lnTo>
                          <a:pt x="589" y="151"/>
                        </a:lnTo>
                        <a:lnTo>
                          <a:pt x="589" y="151"/>
                        </a:lnTo>
                        <a:close/>
                        <a:moveTo>
                          <a:pt x="681" y="237"/>
                        </a:moveTo>
                        <a:lnTo>
                          <a:pt x="681" y="233"/>
                        </a:lnTo>
                        <a:lnTo>
                          <a:pt x="685" y="225"/>
                        </a:lnTo>
                        <a:lnTo>
                          <a:pt x="686" y="223"/>
                        </a:lnTo>
                        <a:lnTo>
                          <a:pt x="687" y="223"/>
                        </a:lnTo>
                        <a:lnTo>
                          <a:pt x="686" y="225"/>
                        </a:lnTo>
                        <a:lnTo>
                          <a:pt x="686" y="228"/>
                        </a:lnTo>
                        <a:lnTo>
                          <a:pt x="683" y="232"/>
                        </a:lnTo>
                        <a:lnTo>
                          <a:pt x="681" y="237"/>
                        </a:lnTo>
                        <a:lnTo>
                          <a:pt x="681" y="237"/>
                        </a:lnTo>
                        <a:close/>
                        <a:moveTo>
                          <a:pt x="378" y="200"/>
                        </a:moveTo>
                        <a:lnTo>
                          <a:pt x="376" y="199"/>
                        </a:lnTo>
                        <a:lnTo>
                          <a:pt x="376" y="198"/>
                        </a:lnTo>
                        <a:lnTo>
                          <a:pt x="376" y="198"/>
                        </a:lnTo>
                        <a:lnTo>
                          <a:pt x="375" y="193"/>
                        </a:lnTo>
                        <a:lnTo>
                          <a:pt x="376" y="188"/>
                        </a:lnTo>
                        <a:lnTo>
                          <a:pt x="379" y="184"/>
                        </a:lnTo>
                        <a:lnTo>
                          <a:pt x="380" y="183"/>
                        </a:lnTo>
                        <a:lnTo>
                          <a:pt x="380" y="184"/>
                        </a:lnTo>
                        <a:lnTo>
                          <a:pt x="380" y="186"/>
                        </a:lnTo>
                        <a:lnTo>
                          <a:pt x="381" y="188"/>
                        </a:lnTo>
                        <a:lnTo>
                          <a:pt x="380" y="191"/>
                        </a:lnTo>
                        <a:lnTo>
                          <a:pt x="382" y="194"/>
                        </a:lnTo>
                        <a:lnTo>
                          <a:pt x="381" y="197"/>
                        </a:lnTo>
                        <a:lnTo>
                          <a:pt x="380" y="198"/>
                        </a:lnTo>
                        <a:lnTo>
                          <a:pt x="378" y="200"/>
                        </a:lnTo>
                        <a:lnTo>
                          <a:pt x="378" y="200"/>
                        </a:lnTo>
                        <a:close/>
                        <a:moveTo>
                          <a:pt x="707" y="245"/>
                        </a:moveTo>
                        <a:lnTo>
                          <a:pt x="702" y="241"/>
                        </a:lnTo>
                        <a:lnTo>
                          <a:pt x="701" y="239"/>
                        </a:lnTo>
                        <a:lnTo>
                          <a:pt x="701" y="238"/>
                        </a:lnTo>
                        <a:lnTo>
                          <a:pt x="702" y="237"/>
                        </a:lnTo>
                        <a:lnTo>
                          <a:pt x="701" y="236"/>
                        </a:lnTo>
                        <a:lnTo>
                          <a:pt x="703" y="233"/>
                        </a:lnTo>
                        <a:lnTo>
                          <a:pt x="703" y="233"/>
                        </a:lnTo>
                        <a:lnTo>
                          <a:pt x="701" y="232"/>
                        </a:lnTo>
                        <a:lnTo>
                          <a:pt x="700" y="232"/>
                        </a:lnTo>
                        <a:lnTo>
                          <a:pt x="700" y="231"/>
                        </a:lnTo>
                        <a:lnTo>
                          <a:pt x="702" y="232"/>
                        </a:lnTo>
                        <a:lnTo>
                          <a:pt x="706" y="226"/>
                        </a:lnTo>
                        <a:lnTo>
                          <a:pt x="706" y="226"/>
                        </a:lnTo>
                        <a:lnTo>
                          <a:pt x="708" y="226"/>
                        </a:lnTo>
                        <a:lnTo>
                          <a:pt x="708" y="228"/>
                        </a:lnTo>
                        <a:lnTo>
                          <a:pt x="708" y="228"/>
                        </a:lnTo>
                        <a:lnTo>
                          <a:pt x="709" y="230"/>
                        </a:lnTo>
                        <a:lnTo>
                          <a:pt x="709" y="232"/>
                        </a:lnTo>
                        <a:lnTo>
                          <a:pt x="709" y="233"/>
                        </a:lnTo>
                        <a:lnTo>
                          <a:pt x="709" y="234"/>
                        </a:lnTo>
                        <a:lnTo>
                          <a:pt x="709" y="234"/>
                        </a:lnTo>
                        <a:lnTo>
                          <a:pt x="709" y="236"/>
                        </a:lnTo>
                        <a:lnTo>
                          <a:pt x="709" y="237"/>
                        </a:lnTo>
                        <a:lnTo>
                          <a:pt x="708" y="237"/>
                        </a:lnTo>
                        <a:lnTo>
                          <a:pt x="709" y="238"/>
                        </a:lnTo>
                        <a:lnTo>
                          <a:pt x="711" y="239"/>
                        </a:lnTo>
                        <a:lnTo>
                          <a:pt x="708" y="241"/>
                        </a:lnTo>
                        <a:lnTo>
                          <a:pt x="709" y="240"/>
                        </a:lnTo>
                        <a:lnTo>
                          <a:pt x="709" y="243"/>
                        </a:lnTo>
                        <a:lnTo>
                          <a:pt x="708" y="244"/>
                        </a:lnTo>
                        <a:lnTo>
                          <a:pt x="707" y="245"/>
                        </a:lnTo>
                        <a:lnTo>
                          <a:pt x="707" y="245"/>
                        </a:lnTo>
                        <a:close/>
                        <a:moveTo>
                          <a:pt x="598" y="74"/>
                        </a:moveTo>
                        <a:lnTo>
                          <a:pt x="598" y="70"/>
                        </a:lnTo>
                        <a:lnTo>
                          <a:pt x="596" y="69"/>
                        </a:lnTo>
                        <a:lnTo>
                          <a:pt x="601" y="63"/>
                        </a:lnTo>
                        <a:lnTo>
                          <a:pt x="602" y="61"/>
                        </a:lnTo>
                        <a:lnTo>
                          <a:pt x="606" y="65"/>
                        </a:lnTo>
                        <a:lnTo>
                          <a:pt x="606" y="66"/>
                        </a:lnTo>
                        <a:lnTo>
                          <a:pt x="602" y="73"/>
                        </a:lnTo>
                        <a:lnTo>
                          <a:pt x="601" y="73"/>
                        </a:lnTo>
                        <a:lnTo>
                          <a:pt x="599" y="73"/>
                        </a:lnTo>
                        <a:lnTo>
                          <a:pt x="598" y="74"/>
                        </a:lnTo>
                        <a:lnTo>
                          <a:pt x="598" y="74"/>
                        </a:lnTo>
                        <a:close/>
                        <a:moveTo>
                          <a:pt x="366" y="52"/>
                        </a:moveTo>
                        <a:lnTo>
                          <a:pt x="368" y="44"/>
                        </a:lnTo>
                        <a:lnTo>
                          <a:pt x="368" y="44"/>
                        </a:lnTo>
                        <a:lnTo>
                          <a:pt x="368" y="40"/>
                        </a:lnTo>
                        <a:lnTo>
                          <a:pt x="368" y="36"/>
                        </a:lnTo>
                        <a:lnTo>
                          <a:pt x="368" y="34"/>
                        </a:lnTo>
                        <a:lnTo>
                          <a:pt x="371" y="27"/>
                        </a:lnTo>
                        <a:lnTo>
                          <a:pt x="373" y="26"/>
                        </a:lnTo>
                        <a:lnTo>
                          <a:pt x="373" y="25"/>
                        </a:lnTo>
                        <a:lnTo>
                          <a:pt x="373" y="25"/>
                        </a:lnTo>
                        <a:lnTo>
                          <a:pt x="376" y="26"/>
                        </a:lnTo>
                        <a:lnTo>
                          <a:pt x="379" y="25"/>
                        </a:lnTo>
                        <a:lnTo>
                          <a:pt x="382" y="25"/>
                        </a:lnTo>
                        <a:lnTo>
                          <a:pt x="384" y="26"/>
                        </a:lnTo>
                        <a:lnTo>
                          <a:pt x="385" y="26"/>
                        </a:lnTo>
                        <a:lnTo>
                          <a:pt x="385" y="25"/>
                        </a:lnTo>
                        <a:lnTo>
                          <a:pt x="386" y="24"/>
                        </a:lnTo>
                        <a:lnTo>
                          <a:pt x="387" y="25"/>
                        </a:lnTo>
                        <a:lnTo>
                          <a:pt x="388" y="25"/>
                        </a:lnTo>
                        <a:lnTo>
                          <a:pt x="389" y="25"/>
                        </a:lnTo>
                        <a:lnTo>
                          <a:pt x="391" y="25"/>
                        </a:lnTo>
                        <a:lnTo>
                          <a:pt x="398" y="25"/>
                        </a:lnTo>
                        <a:lnTo>
                          <a:pt x="402" y="29"/>
                        </a:lnTo>
                        <a:lnTo>
                          <a:pt x="405" y="29"/>
                        </a:lnTo>
                        <a:lnTo>
                          <a:pt x="404" y="30"/>
                        </a:lnTo>
                        <a:lnTo>
                          <a:pt x="401" y="30"/>
                        </a:lnTo>
                        <a:lnTo>
                          <a:pt x="402" y="31"/>
                        </a:lnTo>
                        <a:lnTo>
                          <a:pt x="402" y="32"/>
                        </a:lnTo>
                        <a:lnTo>
                          <a:pt x="404" y="31"/>
                        </a:lnTo>
                        <a:lnTo>
                          <a:pt x="406" y="34"/>
                        </a:lnTo>
                        <a:lnTo>
                          <a:pt x="406" y="34"/>
                        </a:lnTo>
                        <a:lnTo>
                          <a:pt x="404" y="33"/>
                        </a:lnTo>
                        <a:lnTo>
                          <a:pt x="404" y="33"/>
                        </a:lnTo>
                        <a:lnTo>
                          <a:pt x="407" y="34"/>
                        </a:lnTo>
                        <a:lnTo>
                          <a:pt x="408" y="37"/>
                        </a:lnTo>
                        <a:lnTo>
                          <a:pt x="408" y="37"/>
                        </a:lnTo>
                        <a:lnTo>
                          <a:pt x="407" y="37"/>
                        </a:lnTo>
                        <a:lnTo>
                          <a:pt x="407" y="37"/>
                        </a:lnTo>
                        <a:lnTo>
                          <a:pt x="408" y="38"/>
                        </a:lnTo>
                        <a:lnTo>
                          <a:pt x="409" y="38"/>
                        </a:lnTo>
                        <a:lnTo>
                          <a:pt x="407" y="40"/>
                        </a:lnTo>
                        <a:lnTo>
                          <a:pt x="405" y="40"/>
                        </a:lnTo>
                        <a:lnTo>
                          <a:pt x="404" y="39"/>
                        </a:lnTo>
                        <a:lnTo>
                          <a:pt x="402" y="37"/>
                        </a:lnTo>
                        <a:lnTo>
                          <a:pt x="404" y="40"/>
                        </a:lnTo>
                        <a:lnTo>
                          <a:pt x="404" y="40"/>
                        </a:lnTo>
                        <a:lnTo>
                          <a:pt x="396" y="39"/>
                        </a:lnTo>
                        <a:lnTo>
                          <a:pt x="395" y="40"/>
                        </a:lnTo>
                        <a:lnTo>
                          <a:pt x="394" y="40"/>
                        </a:lnTo>
                        <a:lnTo>
                          <a:pt x="396" y="40"/>
                        </a:lnTo>
                        <a:lnTo>
                          <a:pt x="398" y="40"/>
                        </a:lnTo>
                        <a:lnTo>
                          <a:pt x="398" y="43"/>
                        </a:lnTo>
                        <a:lnTo>
                          <a:pt x="399" y="43"/>
                        </a:lnTo>
                        <a:lnTo>
                          <a:pt x="402" y="44"/>
                        </a:lnTo>
                        <a:lnTo>
                          <a:pt x="402" y="45"/>
                        </a:lnTo>
                        <a:lnTo>
                          <a:pt x="400" y="49"/>
                        </a:lnTo>
                        <a:lnTo>
                          <a:pt x="399" y="47"/>
                        </a:lnTo>
                        <a:lnTo>
                          <a:pt x="399" y="49"/>
                        </a:lnTo>
                        <a:lnTo>
                          <a:pt x="402" y="50"/>
                        </a:lnTo>
                        <a:lnTo>
                          <a:pt x="402" y="51"/>
                        </a:lnTo>
                        <a:lnTo>
                          <a:pt x="405" y="51"/>
                        </a:lnTo>
                        <a:lnTo>
                          <a:pt x="406" y="52"/>
                        </a:lnTo>
                        <a:lnTo>
                          <a:pt x="405" y="53"/>
                        </a:lnTo>
                        <a:lnTo>
                          <a:pt x="406" y="53"/>
                        </a:lnTo>
                        <a:lnTo>
                          <a:pt x="406" y="53"/>
                        </a:lnTo>
                        <a:lnTo>
                          <a:pt x="404" y="54"/>
                        </a:lnTo>
                        <a:lnTo>
                          <a:pt x="407" y="54"/>
                        </a:lnTo>
                        <a:lnTo>
                          <a:pt x="406" y="56"/>
                        </a:lnTo>
                        <a:lnTo>
                          <a:pt x="405" y="57"/>
                        </a:lnTo>
                        <a:lnTo>
                          <a:pt x="407" y="57"/>
                        </a:lnTo>
                        <a:lnTo>
                          <a:pt x="408" y="58"/>
                        </a:lnTo>
                        <a:lnTo>
                          <a:pt x="408" y="59"/>
                        </a:lnTo>
                        <a:lnTo>
                          <a:pt x="414" y="66"/>
                        </a:lnTo>
                        <a:lnTo>
                          <a:pt x="409" y="72"/>
                        </a:lnTo>
                        <a:lnTo>
                          <a:pt x="411" y="72"/>
                        </a:lnTo>
                        <a:lnTo>
                          <a:pt x="407" y="72"/>
                        </a:lnTo>
                        <a:lnTo>
                          <a:pt x="409" y="73"/>
                        </a:lnTo>
                        <a:lnTo>
                          <a:pt x="409" y="76"/>
                        </a:lnTo>
                        <a:lnTo>
                          <a:pt x="412" y="78"/>
                        </a:lnTo>
                        <a:lnTo>
                          <a:pt x="414" y="80"/>
                        </a:lnTo>
                        <a:lnTo>
                          <a:pt x="419" y="84"/>
                        </a:lnTo>
                        <a:lnTo>
                          <a:pt x="419" y="85"/>
                        </a:lnTo>
                        <a:lnTo>
                          <a:pt x="424" y="87"/>
                        </a:lnTo>
                        <a:lnTo>
                          <a:pt x="428" y="93"/>
                        </a:lnTo>
                        <a:lnTo>
                          <a:pt x="429" y="92"/>
                        </a:lnTo>
                        <a:lnTo>
                          <a:pt x="431" y="93"/>
                        </a:lnTo>
                        <a:lnTo>
                          <a:pt x="431" y="94"/>
                        </a:lnTo>
                        <a:lnTo>
                          <a:pt x="427" y="98"/>
                        </a:lnTo>
                        <a:lnTo>
                          <a:pt x="426" y="98"/>
                        </a:lnTo>
                        <a:lnTo>
                          <a:pt x="425" y="97"/>
                        </a:lnTo>
                        <a:lnTo>
                          <a:pt x="419" y="98"/>
                        </a:lnTo>
                        <a:lnTo>
                          <a:pt x="413" y="96"/>
                        </a:lnTo>
                        <a:lnTo>
                          <a:pt x="412" y="92"/>
                        </a:lnTo>
                        <a:lnTo>
                          <a:pt x="411" y="91"/>
                        </a:lnTo>
                        <a:lnTo>
                          <a:pt x="411" y="92"/>
                        </a:lnTo>
                        <a:lnTo>
                          <a:pt x="411" y="93"/>
                        </a:lnTo>
                        <a:lnTo>
                          <a:pt x="413" y="98"/>
                        </a:lnTo>
                        <a:lnTo>
                          <a:pt x="413" y="98"/>
                        </a:lnTo>
                        <a:lnTo>
                          <a:pt x="411" y="97"/>
                        </a:lnTo>
                        <a:lnTo>
                          <a:pt x="407" y="99"/>
                        </a:lnTo>
                        <a:lnTo>
                          <a:pt x="404" y="107"/>
                        </a:lnTo>
                        <a:lnTo>
                          <a:pt x="404" y="110"/>
                        </a:lnTo>
                        <a:lnTo>
                          <a:pt x="402" y="112"/>
                        </a:lnTo>
                        <a:lnTo>
                          <a:pt x="402" y="113"/>
                        </a:lnTo>
                        <a:lnTo>
                          <a:pt x="404" y="116"/>
                        </a:lnTo>
                        <a:lnTo>
                          <a:pt x="402" y="117"/>
                        </a:lnTo>
                        <a:lnTo>
                          <a:pt x="402" y="120"/>
                        </a:lnTo>
                        <a:lnTo>
                          <a:pt x="404" y="121"/>
                        </a:lnTo>
                        <a:lnTo>
                          <a:pt x="402" y="125"/>
                        </a:lnTo>
                        <a:lnTo>
                          <a:pt x="402" y="125"/>
                        </a:lnTo>
                        <a:lnTo>
                          <a:pt x="406" y="123"/>
                        </a:lnTo>
                        <a:lnTo>
                          <a:pt x="406" y="124"/>
                        </a:lnTo>
                        <a:lnTo>
                          <a:pt x="404" y="125"/>
                        </a:lnTo>
                        <a:lnTo>
                          <a:pt x="405" y="125"/>
                        </a:lnTo>
                        <a:lnTo>
                          <a:pt x="405" y="127"/>
                        </a:lnTo>
                        <a:lnTo>
                          <a:pt x="405" y="129"/>
                        </a:lnTo>
                        <a:lnTo>
                          <a:pt x="404" y="129"/>
                        </a:lnTo>
                        <a:lnTo>
                          <a:pt x="402" y="129"/>
                        </a:lnTo>
                        <a:lnTo>
                          <a:pt x="405" y="130"/>
                        </a:lnTo>
                        <a:lnTo>
                          <a:pt x="405" y="130"/>
                        </a:lnTo>
                        <a:lnTo>
                          <a:pt x="405" y="131"/>
                        </a:lnTo>
                        <a:lnTo>
                          <a:pt x="402" y="131"/>
                        </a:lnTo>
                        <a:lnTo>
                          <a:pt x="402" y="132"/>
                        </a:lnTo>
                        <a:lnTo>
                          <a:pt x="401" y="132"/>
                        </a:lnTo>
                        <a:lnTo>
                          <a:pt x="401" y="132"/>
                        </a:lnTo>
                        <a:lnTo>
                          <a:pt x="400" y="133"/>
                        </a:lnTo>
                        <a:lnTo>
                          <a:pt x="399" y="131"/>
                        </a:lnTo>
                        <a:lnTo>
                          <a:pt x="399" y="131"/>
                        </a:lnTo>
                        <a:lnTo>
                          <a:pt x="394" y="139"/>
                        </a:lnTo>
                        <a:lnTo>
                          <a:pt x="391" y="140"/>
                        </a:lnTo>
                        <a:lnTo>
                          <a:pt x="389" y="136"/>
                        </a:lnTo>
                        <a:lnTo>
                          <a:pt x="388" y="138"/>
                        </a:lnTo>
                        <a:lnTo>
                          <a:pt x="391" y="140"/>
                        </a:lnTo>
                        <a:lnTo>
                          <a:pt x="389" y="143"/>
                        </a:lnTo>
                        <a:lnTo>
                          <a:pt x="386" y="144"/>
                        </a:lnTo>
                        <a:lnTo>
                          <a:pt x="385" y="145"/>
                        </a:lnTo>
                        <a:lnTo>
                          <a:pt x="386" y="147"/>
                        </a:lnTo>
                        <a:lnTo>
                          <a:pt x="385" y="147"/>
                        </a:lnTo>
                        <a:lnTo>
                          <a:pt x="381" y="150"/>
                        </a:lnTo>
                        <a:lnTo>
                          <a:pt x="380" y="151"/>
                        </a:lnTo>
                        <a:lnTo>
                          <a:pt x="380" y="152"/>
                        </a:lnTo>
                        <a:lnTo>
                          <a:pt x="382" y="151"/>
                        </a:lnTo>
                        <a:lnTo>
                          <a:pt x="384" y="151"/>
                        </a:lnTo>
                        <a:lnTo>
                          <a:pt x="384" y="153"/>
                        </a:lnTo>
                        <a:lnTo>
                          <a:pt x="384" y="157"/>
                        </a:lnTo>
                        <a:lnTo>
                          <a:pt x="382" y="157"/>
                        </a:lnTo>
                        <a:lnTo>
                          <a:pt x="381" y="159"/>
                        </a:lnTo>
                        <a:lnTo>
                          <a:pt x="382" y="158"/>
                        </a:lnTo>
                        <a:lnTo>
                          <a:pt x="384" y="160"/>
                        </a:lnTo>
                        <a:lnTo>
                          <a:pt x="387" y="159"/>
                        </a:lnTo>
                        <a:lnTo>
                          <a:pt x="386" y="161"/>
                        </a:lnTo>
                        <a:lnTo>
                          <a:pt x="385" y="166"/>
                        </a:lnTo>
                        <a:lnTo>
                          <a:pt x="385" y="166"/>
                        </a:lnTo>
                        <a:lnTo>
                          <a:pt x="384" y="166"/>
                        </a:lnTo>
                        <a:lnTo>
                          <a:pt x="384" y="165"/>
                        </a:lnTo>
                        <a:lnTo>
                          <a:pt x="381" y="166"/>
                        </a:lnTo>
                        <a:lnTo>
                          <a:pt x="382" y="167"/>
                        </a:lnTo>
                        <a:lnTo>
                          <a:pt x="382" y="167"/>
                        </a:lnTo>
                        <a:lnTo>
                          <a:pt x="382" y="173"/>
                        </a:lnTo>
                        <a:lnTo>
                          <a:pt x="382" y="174"/>
                        </a:lnTo>
                        <a:lnTo>
                          <a:pt x="380" y="176"/>
                        </a:lnTo>
                        <a:lnTo>
                          <a:pt x="380" y="176"/>
                        </a:lnTo>
                        <a:lnTo>
                          <a:pt x="379" y="172"/>
                        </a:lnTo>
                        <a:lnTo>
                          <a:pt x="378" y="172"/>
                        </a:lnTo>
                        <a:lnTo>
                          <a:pt x="378" y="176"/>
                        </a:lnTo>
                        <a:lnTo>
                          <a:pt x="380" y="178"/>
                        </a:lnTo>
                        <a:lnTo>
                          <a:pt x="380" y="179"/>
                        </a:lnTo>
                        <a:lnTo>
                          <a:pt x="379" y="179"/>
                        </a:lnTo>
                        <a:lnTo>
                          <a:pt x="379" y="180"/>
                        </a:lnTo>
                        <a:lnTo>
                          <a:pt x="379" y="181"/>
                        </a:lnTo>
                        <a:lnTo>
                          <a:pt x="378" y="181"/>
                        </a:lnTo>
                        <a:lnTo>
                          <a:pt x="379" y="180"/>
                        </a:lnTo>
                        <a:lnTo>
                          <a:pt x="378" y="180"/>
                        </a:lnTo>
                        <a:lnTo>
                          <a:pt x="378" y="181"/>
                        </a:lnTo>
                        <a:lnTo>
                          <a:pt x="375" y="187"/>
                        </a:lnTo>
                        <a:lnTo>
                          <a:pt x="375" y="188"/>
                        </a:lnTo>
                        <a:lnTo>
                          <a:pt x="374" y="190"/>
                        </a:lnTo>
                        <a:lnTo>
                          <a:pt x="371" y="188"/>
                        </a:lnTo>
                        <a:lnTo>
                          <a:pt x="373" y="191"/>
                        </a:lnTo>
                        <a:lnTo>
                          <a:pt x="372" y="190"/>
                        </a:lnTo>
                        <a:lnTo>
                          <a:pt x="369" y="192"/>
                        </a:lnTo>
                        <a:lnTo>
                          <a:pt x="367" y="193"/>
                        </a:lnTo>
                        <a:lnTo>
                          <a:pt x="364" y="193"/>
                        </a:lnTo>
                        <a:lnTo>
                          <a:pt x="362" y="196"/>
                        </a:lnTo>
                        <a:lnTo>
                          <a:pt x="360" y="196"/>
                        </a:lnTo>
                        <a:lnTo>
                          <a:pt x="356" y="193"/>
                        </a:lnTo>
                        <a:lnTo>
                          <a:pt x="358" y="196"/>
                        </a:lnTo>
                        <a:lnTo>
                          <a:pt x="356" y="196"/>
                        </a:lnTo>
                        <a:lnTo>
                          <a:pt x="355" y="197"/>
                        </a:lnTo>
                        <a:lnTo>
                          <a:pt x="354" y="199"/>
                        </a:lnTo>
                        <a:lnTo>
                          <a:pt x="352" y="200"/>
                        </a:lnTo>
                        <a:lnTo>
                          <a:pt x="351" y="200"/>
                        </a:lnTo>
                        <a:lnTo>
                          <a:pt x="351" y="199"/>
                        </a:lnTo>
                        <a:lnTo>
                          <a:pt x="352" y="197"/>
                        </a:lnTo>
                        <a:lnTo>
                          <a:pt x="351" y="194"/>
                        </a:lnTo>
                        <a:lnTo>
                          <a:pt x="351" y="193"/>
                        </a:lnTo>
                        <a:lnTo>
                          <a:pt x="351" y="190"/>
                        </a:lnTo>
                        <a:lnTo>
                          <a:pt x="348" y="186"/>
                        </a:lnTo>
                        <a:lnTo>
                          <a:pt x="349" y="183"/>
                        </a:lnTo>
                        <a:lnTo>
                          <a:pt x="348" y="186"/>
                        </a:lnTo>
                        <a:lnTo>
                          <a:pt x="347" y="186"/>
                        </a:lnTo>
                        <a:lnTo>
                          <a:pt x="344" y="184"/>
                        </a:lnTo>
                        <a:lnTo>
                          <a:pt x="344" y="184"/>
                        </a:lnTo>
                        <a:lnTo>
                          <a:pt x="345" y="183"/>
                        </a:lnTo>
                        <a:lnTo>
                          <a:pt x="346" y="180"/>
                        </a:lnTo>
                        <a:lnTo>
                          <a:pt x="342" y="184"/>
                        </a:lnTo>
                        <a:lnTo>
                          <a:pt x="341" y="184"/>
                        </a:lnTo>
                        <a:lnTo>
                          <a:pt x="341" y="183"/>
                        </a:lnTo>
                        <a:lnTo>
                          <a:pt x="341" y="180"/>
                        </a:lnTo>
                        <a:lnTo>
                          <a:pt x="340" y="184"/>
                        </a:lnTo>
                        <a:lnTo>
                          <a:pt x="336" y="185"/>
                        </a:lnTo>
                        <a:lnTo>
                          <a:pt x="333" y="185"/>
                        </a:lnTo>
                        <a:lnTo>
                          <a:pt x="332" y="185"/>
                        </a:lnTo>
                        <a:lnTo>
                          <a:pt x="332" y="180"/>
                        </a:lnTo>
                        <a:lnTo>
                          <a:pt x="332" y="179"/>
                        </a:lnTo>
                        <a:lnTo>
                          <a:pt x="329" y="179"/>
                        </a:lnTo>
                        <a:lnTo>
                          <a:pt x="327" y="181"/>
                        </a:lnTo>
                        <a:lnTo>
                          <a:pt x="322" y="177"/>
                        </a:lnTo>
                        <a:lnTo>
                          <a:pt x="321" y="174"/>
                        </a:lnTo>
                        <a:lnTo>
                          <a:pt x="321" y="177"/>
                        </a:lnTo>
                        <a:lnTo>
                          <a:pt x="320" y="178"/>
                        </a:lnTo>
                        <a:lnTo>
                          <a:pt x="320" y="178"/>
                        </a:lnTo>
                        <a:lnTo>
                          <a:pt x="320" y="179"/>
                        </a:lnTo>
                        <a:lnTo>
                          <a:pt x="319" y="183"/>
                        </a:lnTo>
                        <a:lnTo>
                          <a:pt x="318" y="181"/>
                        </a:lnTo>
                        <a:lnTo>
                          <a:pt x="316" y="183"/>
                        </a:lnTo>
                        <a:lnTo>
                          <a:pt x="314" y="184"/>
                        </a:lnTo>
                        <a:lnTo>
                          <a:pt x="312" y="185"/>
                        </a:lnTo>
                        <a:lnTo>
                          <a:pt x="309" y="183"/>
                        </a:lnTo>
                        <a:lnTo>
                          <a:pt x="307" y="183"/>
                        </a:lnTo>
                        <a:lnTo>
                          <a:pt x="306" y="183"/>
                        </a:lnTo>
                        <a:lnTo>
                          <a:pt x="302" y="187"/>
                        </a:lnTo>
                        <a:lnTo>
                          <a:pt x="300" y="187"/>
                        </a:lnTo>
                        <a:lnTo>
                          <a:pt x="299" y="187"/>
                        </a:lnTo>
                        <a:lnTo>
                          <a:pt x="299" y="183"/>
                        </a:lnTo>
                        <a:lnTo>
                          <a:pt x="299" y="180"/>
                        </a:lnTo>
                        <a:lnTo>
                          <a:pt x="299" y="177"/>
                        </a:lnTo>
                        <a:lnTo>
                          <a:pt x="298" y="173"/>
                        </a:lnTo>
                        <a:lnTo>
                          <a:pt x="298" y="171"/>
                        </a:lnTo>
                        <a:lnTo>
                          <a:pt x="296" y="173"/>
                        </a:lnTo>
                        <a:lnTo>
                          <a:pt x="296" y="174"/>
                        </a:lnTo>
                        <a:lnTo>
                          <a:pt x="294" y="177"/>
                        </a:lnTo>
                        <a:lnTo>
                          <a:pt x="293" y="174"/>
                        </a:lnTo>
                        <a:lnTo>
                          <a:pt x="291" y="174"/>
                        </a:lnTo>
                        <a:lnTo>
                          <a:pt x="285" y="177"/>
                        </a:lnTo>
                        <a:lnTo>
                          <a:pt x="282" y="178"/>
                        </a:lnTo>
                        <a:lnTo>
                          <a:pt x="280" y="177"/>
                        </a:lnTo>
                        <a:lnTo>
                          <a:pt x="280" y="176"/>
                        </a:lnTo>
                        <a:lnTo>
                          <a:pt x="284" y="174"/>
                        </a:lnTo>
                        <a:lnTo>
                          <a:pt x="280" y="174"/>
                        </a:lnTo>
                        <a:lnTo>
                          <a:pt x="279" y="177"/>
                        </a:lnTo>
                        <a:lnTo>
                          <a:pt x="278" y="178"/>
                        </a:lnTo>
                        <a:lnTo>
                          <a:pt x="278" y="177"/>
                        </a:lnTo>
                        <a:lnTo>
                          <a:pt x="278" y="176"/>
                        </a:lnTo>
                        <a:lnTo>
                          <a:pt x="277" y="173"/>
                        </a:lnTo>
                        <a:lnTo>
                          <a:pt x="277" y="173"/>
                        </a:lnTo>
                        <a:lnTo>
                          <a:pt x="275" y="173"/>
                        </a:lnTo>
                        <a:lnTo>
                          <a:pt x="271" y="176"/>
                        </a:lnTo>
                        <a:lnTo>
                          <a:pt x="271" y="176"/>
                        </a:lnTo>
                        <a:lnTo>
                          <a:pt x="269" y="173"/>
                        </a:lnTo>
                        <a:lnTo>
                          <a:pt x="271" y="172"/>
                        </a:lnTo>
                        <a:lnTo>
                          <a:pt x="271" y="170"/>
                        </a:lnTo>
                        <a:lnTo>
                          <a:pt x="269" y="169"/>
                        </a:lnTo>
                        <a:lnTo>
                          <a:pt x="269" y="166"/>
                        </a:lnTo>
                        <a:lnTo>
                          <a:pt x="271" y="166"/>
                        </a:lnTo>
                        <a:lnTo>
                          <a:pt x="271" y="166"/>
                        </a:lnTo>
                        <a:lnTo>
                          <a:pt x="271" y="166"/>
                        </a:lnTo>
                        <a:lnTo>
                          <a:pt x="269" y="165"/>
                        </a:lnTo>
                        <a:lnTo>
                          <a:pt x="268" y="161"/>
                        </a:lnTo>
                        <a:lnTo>
                          <a:pt x="267" y="160"/>
                        </a:lnTo>
                        <a:lnTo>
                          <a:pt x="268" y="157"/>
                        </a:lnTo>
                        <a:lnTo>
                          <a:pt x="267" y="154"/>
                        </a:lnTo>
                        <a:lnTo>
                          <a:pt x="265" y="152"/>
                        </a:lnTo>
                        <a:lnTo>
                          <a:pt x="266" y="150"/>
                        </a:lnTo>
                        <a:lnTo>
                          <a:pt x="267" y="144"/>
                        </a:lnTo>
                        <a:lnTo>
                          <a:pt x="267" y="141"/>
                        </a:lnTo>
                        <a:lnTo>
                          <a:pt x="265" y="140"/>
                        </a:lnTo>
                        <a:lnTo>
                          <a:pt x="265" y="137"/>
                        </a:lnTo>
                        <a:lnTo>
                          <a:pt x="262" y="137"/>
                        </a:lnTo>
                        <a:lnTo>
                          <a:pt x="261" y="133"/>
                        </a:lnTo>
                        <a:lnTo>
                          <a:pt x="261" y="132"/>
                        </a:lnTo>
                        <a:lnTo>
                          <a:pt x="260" y="134"/>
                        </a:lnTo>
                        <a:lnTo>
                          <a:pt x="260" y="134"/>
                        </a:lnTo>
                        <a:lnTo>
                          <a:pt x="259" y="132"/>
                        </a:lnTo>
                        <a:lnTo>
                          <a:pt x="258" y="132"/>
                        </a:lnTo>
                        <a:lnTo>
                          <a:pt x="255" y="132"/>
                        </a:lnTo>
                        <a:lnTo>
                          <a:pt x="255" y="133"/>
                        </a:lnTo>
                        <a:lnTo>
                          <a:pt x="254" y="133"/>
                        </a:lnTo>
                        <a:lnTo>
                          <a:pt x="253" y="132"/>
                        </a:lnTo>
                        <a:lnTo>
                          <a:pt x="252" y="129"/>
                        </a:lnTo>
                        <a:lnTo>
                          <a:pt x="253" y="129"/>
                        </a:lnTo>
                        <a:lnTo>
                          <a:pt x="257" y="130"/>
                        </a:lnTo>
                        <a:lnTo>
                          <a:pt x="257" y="130"/>
                        </a:lnTo>
                        <a:lnTo>
                          <a:pt x="254" y="127"/>
                        </a:lnTo>
                        <a:lnTo>
                          <a:pt x="254" y="127"/>
                        </a:lnTo>
                        <a:lnTo>
                          <a:pt x="251" y="126"/>
                        </a:lnTo>
                        <a:lnTo>
                          <a:pt x="249" y="125"/>
                        </a:lnTo>
                        <a:lnTo>
                          <a:pt x="249" y="121"/>
                        </a:lnTo>
                        <a:lnTo>
                          <a:pt x="251" y="121"/>
                        </a:lnTo>
                        <a:lnTo>
                          <a:pt x="248" y="119"/>
                        </a:lnTo>
                        <a:lnTo>
                          <a:pt x="249" y="119"/>
                        </a:lnTo>
                        <a:lnTo>
                          <a:pt x="252" y="119"/>
                        </a:lnTo>
                        <a:lnTo>
                          <a:pt x="252" y="116"/>
                        </a:lnTo>
                        <a:lnTo>
                          <a:pt x="251" y="114"/>
                        </a:lnTo>
                        <a:lnTo>
                          <a:pt x="251" y="113"/>
                        </a:lnTo>
                        <a:lnTo>
                          <a:pt x="253" y="114"/>
                        </a:lnTo>
                        <a:lnTo>
                          <a:pt x="252" y="113"/>
                        </a:lnTo>
                        <a:lnTo>
                          <a:pt x="252" y="111"/>
                        </a:lnTo>
                        <a:lnTo>
                          <a:pt x="249" y="110"/>
                        </a:lnTo>
                        <a:lnTo>
                          <a:pt x="248" y="109"/>
                        </a:lnTo>
                        <a:lnTo>
                          <a:pt x="248" y="107"/>
                        </a:lnTo>
                        <a:lnTo>
                          <a:pt x="246" y="109"/>
                        </a:lnTo>
                        <a:lnTo>
                          <a:pt x="246" y="107"/>
                        </a:lnTo>
                        <a:lnTo>
                          <a:pt x="249" y="105"/>
                        </a:lnTo>
                        <a:lnTo>
                          <a:pt x="248" y="101"/>
                        </a:lnTo>
                        <a:lnTo>
                          <a:pt x="245" y="98"/>
                        </a:lnTo>
                        <a:lnTo>
                          <a:pt x="246" y="98"/>
                        </a:lnTo>
                        <a:lnTo>
                          <a:pt x="247" y="96"/>
                        </a:lnTo>
                        <a:lnTo>
                          <a:pt x="247" y="94"/>
                        </a:lnTo>
                        <a:lnTo>
                          <a:pt x="247" y="92"/>
                        </a:lnTo>
                        <a:lnTo>
                          <a:pt x="246" y="91"/>
                        </a:lnTo>
                        <a:lnTo>
                          <a:pt x="246" y="90"/>
                        </a:lnTo>
                        <a:lnTo>
                          <a:pt x="249" y="90"/>
                        </a:lnTo>
                        <a:lnTo>
                          <a:pt x="252" y="86"/>
                        </a:lnTo>
                        <a:lnTo>
                          <a:pt x="252" y="86"/>
                        </a:lnTo>
                        <a:lnTo>
                          <a:pt x="251" y="89"/>
                        </a:lnTo>
                        <a:lnTo>
                          <a:pt x="247" y="90"/>
                        </a:lnTo>
                        <a:lnTo>
                          <a:pt x="247" y="89"/>
                        </a:lnTo>
                        <a:lnTo>
                          <a:pt x="249" y="86"/>
                        </a:lnTo>
                        <a:lnTo>
                          <a:pt x="249" y="84"/>
                        </a:lnTo>
                        <a:lnTo>
                          <a:pt x="251" y="83"/>
                        </a:lnTo>
                        <a:lnTo>
                          <a:pt x="252" y="80"/>
                        </a:lnTo>
                        <a:lnTo>
                          <a:pt x="255" y="78"/>
                        </a:lnTo>
                        <a:lnTo>
                          <a:pt x="254" y="83"/>
                        </a:lnTo>
                        <a:lnTo>
                          <a:pt x="257" y="74"/>
                        </a:lnTo>
                        <a:lnTo>
                          <a:pt x="259" y="73"/>
                        </a:lnTo>
                        <a:lnTo>
                          <a:pt x="260" y="72"/>
                        </a:lnTo>
                        <a:lnTo>
                          <a:pt x="258" y="77"/>
                        </a:lnTo>
                        <a:lnTo>
                          <a:pt x="259" y="78"/>
                        </a:lnTo>
                        <a:lnTo>
                          <a:pt x="260" y="78"/>
                        </a:lnTo>
                        <a:lnTo>
                          <a:pt x="260" y="81"/>
                        </a:lnTo>
                        <a:lnTo>
                          <a:pt x="264" y="85"/>
                        </a:lnTo>
                        <a:lnTo>
                          <a:pt x="265" y="85"/>
                        </a:lnTo>
                        <a:lnTo>
                          <a:pt x="267" y="90"/>
                        </a:lnTo>
                        <a:lnTo>
                          <a:pt x="271" y="91"/>
                        </a:lnTo>
                        <a:lnTo>
                          <a:pt x="273" y="94"/>
                        </a:lnTo>
                        <a:lnTo>
                          <a:pt x="274" y="96"/>
                        </a:lnTo>
                        <a:lnTo>
                          <a:pt x="275" y="97"/>
                        </a:lnTo>
                        <a:lnTo>
                          <a:pt x="277" y="97"/>
                        </a:lnTo>
                        <a:lnTo>
                          <a:pt x="281" y="94"/>
                        </a:lnTo>
                        <a:lnTo>
                          <a:pt x="282" y="93"/>
                        </a:lnTo>
                        <a:lnTo>
                          <a:pt x="288" y="92"/>
                        </a:lnTo>
                        <a:lnTo>
                          <a:pt x="292" y="93"/>
                        </a:lnTo>
                        <a:lnTo>
                          <a:pt x="293" y="93"/>
                        </a:lnTo>
                        <a:lnTo>
                          <a:pt x="294" y="94"/>
                        </a:lnTo>
                        <a:lnTo>
                          <a:pt x="296" y="93"/>
                        </a:lnTo>
                        <a:lnTo>
                          <a:pt x="299" y="94"/>
                        </a:lnTo>
                        <a:lnTo>
                          <a:pt x="300" y="93"/>
                        </a:lnTo>
                        <a:lnTo>
                          <a:pt x="301" y="91"/>
                        </a:lnTo>
                        <a:lnTo>
                          <a:pt x="305" y="91"/>
                        </a:lnTo>
                        <a:lnTo>
                          <a:pt x="306" y="85"/>
                        </a:lnTo>
                        <a:lnTo>
                          <a:pt x="308" y="84"/>
                        </a:lnTo>
                        <a:lnTo>
                          <a:pt x="312" y="83"/>
                        </a:lnTo>
                        <a:lnTo>
                          <a:pt x="321" y="83"/>
                        </a:lnTo>
                        <a:lnTo>
                          <a:pt x="321" y="84"/>
                        </a:lnTo>
                        <a:lnTo>
                          <a:pt x="320" y="85"/>
                        </a:lnTo>
                        <a:lnTo>
                          <a:pt x="322" y="85"/>
                        </a:lnTo>
                        <a:lnTo>
                          <a:pt x="328" y="87"/>
                        </a:lnTo>
                        <a:lnTo>
                          <a:pt x="331" y="87"/>
                        </a:lnTo>
                        <a:lnTo>
                          <a:pt x="333" y="89"/>
                        </a:lnTo>
                        <a:lnTo>
                          <a:pt x="335" y="87"/>
                        </a:lnTo>
                        <a:lnTo>
                          <a:pt x="338" y="85"/>
                        </a:lnTo>
                        <a:lnTo>
                          <a:pt x="341" y="84"/>
                        </a:lnTo>
                        <a:lnTo>
                          <a:pt x="342" y="85"/>
                        </a:lnTo>
                        <a:lnTo>
                          <a:pt x="346" y="84"/>
                        </a:lnTo>
                        <a:lnTo>
                          <a:pt x="349" y="85"/>
                        </a:lnTo>
                        <a:lnTo>
                          <a:pt x="349" y="85"/>
                        </a:lnTo>
                        <a:lnTo>
                          <a:pt x="352" y="80"/>
                        </a:lnTo>
                        <a:lnTo>
                          <a:pt x="352" y="78"/>
                        </a:lnTo>
                        <a:lnTo>
                          <a:pt x="352" y="77"/>
                        </a:lnTo>
                        <a:lnTo>
                          <a:pt x="354" y="76"/>
                        </a:lnTo>
                        <a:lnTo>
                          <a:pt x="355" y="72"/>
                        </a:lnTo>
                        <a:lnTo>
                          <a:pt x="354" y="73"/>
                        </a:lnTo>
                        <a:lnTo>
                          <a:pt x="353" y="70"/>
                        </a:lnTo>
                        <a:lnTo>
                          <a:pt x="354" y="69"/>
                        </a:lnTo>
                        <a:lnTo>
                          <a:pt x="356" y="67"/>
                        </a:lnTo>
                        <a:lnTo>
                          <a:pt x="356" y="66"/>
                        </a:lnTo>
                        <a:lnTo>
                          <a:pt x="359" y="65"/>
                        </a:lnTo>
                        <a:lnTo>
                          <a:pt x="360" y="64"/>
                        </a:lnTo>
                        <a:lnTo>
                          <a:pt x="361" y="64"/>
                        </a:lnTo>
                        <a:lnTo>
                          <a:pt x="361" y="63"/>
                        </a:lnTo>
                        <a:lnTo>
                          <a:pt x="360" y="61"/>
                        </a:lnTo>
                        <a:lnTo>
                          <a:pt x="359" y="61"/>
                        </a:lnTo>
                        <a:lnTo>
                          <a:pt x="359" y="60"/>
                        </a:lnTo>
                        <a:lnTo>
                          <a:pt x="360" y="58"/>
                        </a:lnTo>
                        <a:lnTo>
                          <a:pt x="360" y="56"/>
                        </a:lnTo>
                        <a:lnTo>
                          <a:pt x="360" y="54"/>
                        </a:lnTo>
                        <a:lnTo>
                          <a:pt x="362" y="52"/>
                        </a:lnTo>
                        <a:lnTo>
                          <a:pt x="364" y="53"/>
                        </a:lnTo>
                        <a:lnTo>
                          <a:pt x="366" y="52"/>
                        </a:lnTo>
                        <a:lnTo>
                          <a:pt x="366" y="52"/>
                        </a:lnTo>
                        <a:close/>
                        <a:moveTo>
                          <a:pt x="133" y="89"/>
                        </a:moveTo>
                        <a:lnTo>
                          <a:pt x="129" y="86"/>
                        </a:lnTo>
                        <a:lnTo>
                          <a:pt x="126" y="85"/>
                        </a:lnTo>
                        <a:lnTo>
                          <a:pt x="125" y="85"/>
                        </a:lnTo>
                        <a:lnTo>
                          <a:pt x="124" y="83"/>
                        </a:lnTo>
                        <a:lnTo>
                          <a:pt x="124" y="81"/>
                        </a:lnTo>
                        <a:lnTo>
                          <a:pt x="132" y="84"/>
                        </a:lnTo>
                        <a:lnTo>
                          <a:pt x="133" y="84"/>
                        </a:lnTo>
                        <a:lnTo>
                          <a:pt x="133" y="85"/>
                        </a:lnTo>
                        <a:lnTo>
                          <a:pt x="133" y="89"/>
                        </a:lnTo>
                        <a:lnTo>
                          <a:pt x="133" y="89"/>
                        </a:lnTo>
                        <a:lnTo>
                          <a:pt x="133" y="89"/>
                        </a:lnTo>
                        <a:close/>
                        <a:moveTo>
                          <a:pt x="647" y="125"/>
                        </a:moveTo>
                        <a:lnTo>
                          <a:pt x="646" y="125"/>
                        </a:lnTo>
                        <a:lnTo>
                          <a:pt x="646" y="123"/>
                        </a:lnTo>
                        <a:lnTo>
                          <a:pt x="646" y="121"/>
                        </a:lnTo>
                        <a:lnTo>
                          <a:pt x="643" y="123"/>
                        </a:lnTo>
                        <a:lnTo>
                          <a:pt x="643" y="125"/>
                        </a:lnTo>
                        <a:lnTo>
                          <a:pt x="642" y="121"/>
                        </a:lnTo>
                        <a:lnTo>
                          <a:pt x="639" y="121"/>
                        </a:lnTo>
                        <a:lnTo>
                          <a:pt x="636" y="120"/>
                        </a:lnTo>
                        <a:lnTo>
                          <a:pt x="638" y="120"/>
                        </a:lnTo>
                        <a:lnTo>
                          <a:pt x="640" y="120"/>
                        </a:lnTo>
                        <a:lnTo>
                          <a:pt x="641" y="120"/>
                        </a:lnTo>
                        <a:lnTo>
                          <a:pt x="640" y="119"/>
                        </a:lnTo>
                        <a:lnTo>
                          <a:pt x="640" y="119"/>
                        </a:lnTo>
                        <a:lnTo>
                          <a:pt x="639" y="119"/>
                        </a:lnTo>
                        <a:lnTo>
                          <a:pt x="639" y="118"/>
                        </a:lnTo>
                        <a:lnTo>
                          <a:pt x="639" y="118"/>
                        </a:lnTo>
                        <a:lnTo>
                          <a:pt x="641" y="118"/>
                        </a:lnTo>
                        <a:lnTo>
                          <a:pt x="645" y="117"/>
                        </a:lnTo>
                        <a:lnTo>
                          <a:pt x="648" y="116"/>
                        </a:lnTo>
                        <a:lnTo>
                          <a:pt x="654" y="118"/>
                        </a:lnTo>
                        <a:lnTo>
                          <a:pt x="656" y="120"/>
                        </a:lnTo>
                        <a:lnTo>
                          <a:pt x="656" y="120"/>
                        </a:lnTo>
                        <a:lnTo>
                          <a:pt x="658" y="121"/>
                        </a:lnTo>
                        <a:lnTo>
                          <a:pt x="655" y="124"/>
                        </a:lnTo>
                        <a:lnTo>
                          <a:pt x="653" y="123"/>
                        </a:lnTo>
                        <a:lnTo>
                          <a:pt x="651" y="123"/>
                        </a:lnTo>
                        <a:lnTo>
                          <a:pt x="649" y="121"/>
                        </a:lnTo>
                        <a:lnTo>
                          <a:pt x="649" y="121"/>
                        </a:lnTo>
                        <a:lnTo>
                          <a:pt x="647" y="120"/>
                        </a:lnTo>
                        <a:lnTo>
                          <a:pt x="646" y="118"/>
                        </a:lnTo>
                        <a:lnTo>
                          <a:pt x="645" y="118"/>
                        </a:lnTo>
                        <a:lnTo>
                          <a:pt x="646" y="121"/>
                        </a:lnTo>
                        <a:lnTo>
                          <a:pt x="649" y="123"/>
                        </a:lnTo>
                        <a:lnTo>
                          <a:pt x="651" y="124"/>
                        </a:lnTo>
                        <a:lnTo>
                          <a:pt x="647" y="125"/>
                        </a:lnTo>
                        <a:lnTo>
                          <a:pt x="647" y="125"/>
                        </a:lnTo>
                        <a:close/>
                        <a:moveTo>
                          <a:pt x="114" y="79"/>
                        </a:moveTo>
                        <a:lnTo>
                          <a:pt x="113" y="78"/>
                        </a:lnTo>
                        <a:lnTo>
                          <a:pt x="112" y="76"/>
                        </a:lnTo>
                        <a:lnTo>
                          <a:pt x="112" y="73"/>
                        </a:lnTo>
                        <a:lnTo>
                          <a:pt x="113" y="72"/>
                        </a:lnTo>
                        <a:lnTo>
                          <a:pt x="115" y="71"/>
                        </a:lnTo>
                        <a:lnTo>
                          <a:pt x="118" y="71"/>
                        </a:lnTo>
                        <a:lnTo>
                          <a:pt x="119" y="74"/>
                        </a:lnTo>
                        <a:lnTo>
                          <a:pt x="118" y="78"/>
                        </a:lnTo>
                        <a:lnTo>
                          <a:pt x="115" y="79"/>
                        </a:lnTo>
                        <a:lnTo>
                          <a:pt x="114" y="79"/>
                        </a:lnTo>
                        <a:lnTo>
                          <a:pt x="114" y="79"/>
                        </a:lnTo>
                        <a:close/>
                        <a:moveTo>
                          <a:pt x="47" y="103"/>
                        </a:moveTo>
                        <a:lnTo>
                          <a:pt x="46" y="103"/>
                        </a:lnTo>
                        <a:lnTo>
                          <a:pt x="44" y="98"/>
                        </a:lnTo>
                        <a:lnTo>
                          <a:pt x="41" y="96"/>
                        </a:lnTo>
                        <a:lnTo>
                          <a:pt x="40" y="96"/>
                        </a:lnTo>
                        <a:lnTo>
                          <a:pt x="40" y="94"/>
                        </a:lnTo>
                        <a:lnTo>
                          <a:pt x="37" y="89"/>
                        </a:lnTo>
                        <a:lnTo>
                          <a:pt x="34" y="86"/>
                        </a:lnTo>
                        <a:lnTo>
                          <a:pt x="34" y="85"/>
                        </a:lnTo>
                        <a:lnTo>
                          <a:pt x="37" y="86"/>
                        </a:lnTo>
                        <a:lnTo>
                          <a:pt x="39" y="84"/>
                        </a:lnTo>
                        <a:lnTo>
                          <a:pt x="39" y="84"/>
                        </a:lnTo>
                        <a:lnTo>
                          <a:pt x="41" y="85"/>
                        </a:lnTo>
                        <a:lnTo>
                          <a:pt x="45" y="90"/>
                        </a:lnTo>
                        <a:lnTo>
                          <a:pt x="48" y="93"/>
                        </a:lnTo>
                        <a:lnTo>
                          <a:pt x="50" y="94"/>
                        </a:lnTo>
                        <a:lnTo>
                          <a:pt x="50" y="96"/>
                        </a:lnTo>
                        <a:lnTo>
                          <a:pt x="48" y="99"/>
                        </a:lnTo>
                        <a:lnTo>
                          <a:pt x="48" y="101"/>
                        </a:lnTo>
                        <a:lnTo>
                          <a:pt x="47" y="103"/>
                        </a:lnTo>
                        <a:lnTo>
                          <a:pt x="47" y="103"/>
                        </a:lnTo>
                        <a:close/>
                        <a:moveTo>
                          <a:pt x="834" y="169"/>
                        </a:moveTo>
                        <a:lnTo>
                          <a:pt x="834" y="183"/>
                        </a:lnTo>
                        <a:lnTo>
                          <a:pt x="833" y="196"/>
                        </a:lnTo>
                        <a:lnTo>
                          <a:pt x="832" y="210"/>
                        </a:lnTo>
                        <a:lnTo>
                          <a:pt x="832" y="223"/>
                        </a:lnTo>
                        <a:lnTo>
                          <a:pt x="830" y="237"/>
                        </a:lnTo>
                        <a:lnTo>
                          <a:pt x="830" y="244"/>
                        </a:lnTo>
                        <a:lnTo>
                          <a:pt x="829" y="244"/>
                        </a:lnTo>
                        <a:lnTo>
                          <a:pt x="829" y="245"/>
                        </a:lnTo>
                        <a:lnTo>
                          <a:pt x="828" y="248"/>
                        </a:lnTo>
                        <a:lnTo>
                          <a:pt x="828" y="248"/>
                        </a:lnTo>
                        <a:lnTo>
                          <a:pt x="828" y="253"/>
                        </a:lnTo>
                        <a:lnTo>
                          <a:pt x="830" y="254"/>
                        </a:lnTo>
                        <a:lnTo>
                          <a:pt x="829" y="270"/>
                        </a:lnTo>
                        <a:lnTo>
                          <a:pt x="828" y="285"/>
                        </a:lnTo>
                        <a:lnTo>
                          <a:pt x="827" y="296"/>
                        </a:lnTo>
                        <a:lnTo>
                          <a:pt x="827" y="300"/>
                        </a:lnTo>
                        <a:lnTo>
                          <a:pt x="825" y="307"/>
                        </a:lnTo>
                        <a:lnTo>
                          <a:pt x="822" y="306"/>
                        </a:lnTo>
                        <a:lnTo>
                          <a:pt x="819" y="306"/>
                        </a:lnTo>
                        <a:lnTo>
                          <a:pt x="816" y="303"/>
                        </a:lnTo>
                        <a:lnTo>
                          <a:pt x="816" y="300"/>
                        </a:lnTo>
                        <a:lnTo>
                          <a:pt x="814" y="301"/>
                        </a:lnTo>
                        <a:lnTo>
                          <a:pt x="813" y="298"/>
                        </a:lnTo>
                        <a:lnTo>
                          <a:pt x="812" y="296"/>
                        </a:lnTo>
                        <a:lnTo>
                          <a:pt x="812" y="294"/>
                        </a:lnTo>
                        <a:lnTo>
                          <a:pt x="809" y="294"/>
                        </a:lnTo>
                        <a:lnTo>
                          <a:pt x="807" y="293"/>
                        </a:lnTo>
                        <a:lnTo>
                          <a:pt x="807" y="291"/>
                        </a:lnTo>
                        <a:lnTo>
                          <a:pt x="805" y="291"/>
                        </a:lnTo>
                        <a:lnTo>
                          <a:pt x="802" y="288"/>
                        </a:lnTo>
                        <a:lnTo>
                          <a:pt x="801" y="285"/>
                        </a:lnTo>
                        <a:lnTo>
                          <a:pt x="800" y="284"/>
                        </a:lnTo>
                        <a:lnTo>
                          <a:pt x="796" y="283"/>
                        </a:lnTo>
                        <a:lnTo>
                          <a:pt x="795" y="281"/>
                        </a:lnTo>
                        <a:lnTo>
                          <a:pt x="793" y="279"/>
                        </a:lnTo>
                        <a:lnTo>
                          <a:pt x="789" y="278"/>
                        </a:lnTo>
                        <a:lnTo>
                          <a:pt x="787" y="280"/>
                        </a:lnTo>
                        <a:lnTo>
                          <a:pt x="786" y="281"/>
                        </a:lnTo>
                        <a:lnTo>
                          <a:pt x="783" y="283"/>
                        </a:lnTo>
                        <a:lnTo>
                          <a:pt x="783" y="280"/>
                        </a:lnTo>
                        <a:lnTo>
                          <a:pt x="783" y="278"/>
                        </a:lnTo>
                        <a:lnTo>
                          <a:pt x="788" y="277"/>
                        </a:lnTo>
                        <a:lnTo>
                          <a:pt x="785" y="276"/>
                        </a:lnTo>
                        <a:lnTo>
                          <a:pt x="786" y="273"/>
                        </a:lnTo>
                        <a:lnTo>
                          <a:pt x="783" y="270"/>
                        </a:lnTo>
                        <a:lnTo>
                          <a:pt x="782" y="268"/>
                        </a:lnTo>
                        <a:lnTo>
                          <a:pt x="781" y="267"/>
                        </a:lnTo>
                        <a:lnTo>
                          <a:pt x="781" y="266"/>
                        </a:lnTo>
                        <a:lnTo>
                          <a:pt x="780" y="264"/>
                        </a:lnTo>
                        <a:lnTo>
                          <a:pt x="780" y="261"/>
                        </a:lnTo>
                        <a:lnTo>
                          <a:pt x="780" y="260"/>
                        </a:lnTo>
                        <a:lnTo>
                          <a:pt x="778" y="261"/>
                        </a:lnTo>
                        <a:lnTo>
                          <a:pt x="776" y="260"/>
                        </a:lnTo>
                        <a:lnTo>
                          <a:pt x="776" y="259"/>
                        </a:lnTo>
                        <a:lnTo>
                          <a:pt x="776" y="258"/>
                        </a:lnTo>
                        <a:lnTo>
                          <a:pt x="778" y="257"/>
                        </a:lnTo>
                        <a:lnTo>
                          <a:pt x="778" y="256"/>
                        </a:lnTo>
                        <a:lnTo>
                          <a:pt x="778" y="254"/>
                        </a:lnTo>
                        <a:lnTo>
                          <a:pt x="778" y="253"/>
                        </a:lnTo>
                        <a:lnTo>
                          <a:pt x="778" y="252"/>
                        </a:lnTo>
                        <a:lnTo>
                          <a:pt x="776" y="251"/>
                        </a:lnTo>
                        <a:lnTo>
                          <a:pt x="776" y="250"/>
                        </a:lnTo>
                        <a:lnTo>
                          <a:pt x="778" y="248"/>
                        </a:lnTo>
                        <a:lnTo>
                          <a:pt x="776" y="247"/>
                        </a:lnTo>
                        <a:lnTo>
                          <a:pt x="775" y="247"/>
                        </a:lnTo>
                        <a:lnTo>
                          <a:pt x="774" y="246"/>
                        </a:lnTo>
                        <a:lnTo>
                          <a:pt x="773" y="241"/>
                        </a:lnTo>
                        <a:lnTo>
                          <a:pt x="773" y="244"/>
                        </a:lnTo>
                        <a:lnTo>
                          <a:pt x="773" y="245"/>
                        </a:lnTo>
                        <a:lnTo>
                          <a:pt x="772" y="245"/>
                        </a:lnTo>
                        <a:lnTo>
                          <a:pt x="773" y="243"/>
                        </a:lnTo>
                        <a:lnTo>
                          <a:pt x="773" y="240"/>
                        </a:lnTo>
                        <a:lnTo>
                          <a:pt x="774" y="238"/>
                        </a:lnTo>
                        <a:lnTo>
                          <a:pt x="773" y="237"/>
                        </a:lnTo>
                        <a:lnTo>
                          <a:pt x="772" y="237"/>
                        </a:lnTo>
                        <a:lnTo>
                          <a:pt x="772" y="237"/>
                        </a:lnTo>
                        <a:lnTo>
                          <a:pt x="772" y="234"/>
                        </a:lnTo>
                        <a:lnTo>
                          <a:pt x="772" y="234"/>
                        </a:lnTo>
                        <a:lnTo>
                          <a:pt x="770" y="232"/>
                        </a:lnTo>
                        <a:lnTo>
                          <a:pt x="769" y="232"/>
                        </a:lnTo>
                        <a:lnTo>
                          <a:pt x="768" y="232"/>
                        </a:lnTo>
                        <a:lnTo>
                          <a:pt x="767" y="230"/>
                        </a:lnTo>
                        <a:lnTo>
                          <a:pt x="767" y="227"/>
                        </a:lnTo>
                        <a:lnTo>
                          <a:pt x="765" y="226"/>
                        </a:lnTo>
                        <a:lnTo>
                          <a:pt x="763" y="225"/>
                        </a:lnTo>
                        <a:lnTo>
                          <a:pt x="763" y="224"/>
                        </a:lnTo>
                        <a:lnTo>
                          <a:pt x="762" y="223"/>
                        </a:lnTo>
                        <a:lnTo>
                          <a:pt x="761" y="223"/>
                        </a:lnTo>
                        <a:lnTo>
                          <a:pt x="758" y="220"/>
                        </a:lnTo>
                        <a:lnTo>
                          <a:pt x="755" y="219"/>
                        </a:lnTo>
                        <a:lnTo>
                          <a:pt x="752" y="218"/>
                        </a:lnTo>
                        <a:lnTo>
                          <a:pt x="750" y="218"/>
                        </a:lnTo>
                        <a:lnTo>
                          <a:pt x="749" y="217"/>
                        </a:lnTo>
                        <a:lnTo>
                          <a:pt x="747" y="217"/>
                        </a:lnTo>
                        <a:lnTo>
                          <a:pt x="746" y="214"/>
                        </a:lnTo>
                        <a:lnTo>
                          <a:pt x="746" y="213"/>
                        </a:lnTo>
                        <a:lnTo>
                          <a:pt x="743" y="212"/>
                        </a:lnTo>
                        <a:lnTo>
                          <a:pt x="741" y="211"/>
                        </a:lnTo>
                        <a:lnTo>
                          <a:pt x="738" y="210"/>
                        </a:lnTo>
                        <a:lnTo>
                          <a:pt x="736" y="210"/>
                        </a:lnTo>
                        <a:lnTo>
                          <a:pt x="735" y="210"/>
                        </a:lnTo>
                        <a:lnTo>
                          <a:pt x="731" y="208"/>
                        </a:lnTo>
                        <a:lnTo>
                          <a:pt x="728" y="208"/>
                        </a:lnTo>
                        <a:lnTo>
                          <a:pt x="725" y="205"/>
                        </a:lnTo>
                        <a:lnTo>
                          <a:pt x="720" y="206"/>
                        </a:lnTo>
                        <a:lnTo>
                          <a:pt x="719" y="205"/>
                        </a:lnTo>
                        <a:lnTo>
                          <a:pt x="718" y="204"/>
                        </a:lnTo>
                        <a:lnTo>
                          <a:pt x="718" y="201"/>
                        </a:lnTo>
                        <a:lnTo>
                          <a:pt x="714" y="201"/>
                        </a:lnTo>
                        <a:lnTo>
                          <a:pt x="713" y="199"/>
                        </a:lnTo>
                        <a:lnTo>
                          <a:pt x="711" y="199"/>
                        </a:lnTo>
                        <a:lnTo>
                          <a:pt x="708" y="198"/>
                        </a:lnTo>
                        <a:lnTo>
                          <a:pt x="708" y="197"/>
                        </a:lnTo>
                        <a:lnTo>
                          <a:pt x="705" y="197"/>
                        </a:lnTo>
                        <a:lnTo>
                          <a:pt x="703" y="197"/>
                        </a:lnTo>
                        <a:lnTo>
                          <a:pt x="702" y="197"/>
                        </a:lnTo>
                        <a:lnTo>
                          <a:pt x="702" y="194"/>
                        </a:lnTo>
                        <a:lnTo>
                          <a:pt x="701" y="193"/>
                        </a:lnTo>
                        <a:lnTo>
                          <a:pt x="702" y="193"/>
                        </a:lnTo>
                        <a:lnTo>
                          <a:pt x="699" y="192"/>
                        </a:lnTo>
                        <a:lnTo>
                          <a:pt x="700" y="190"/>
                        </a:lnTo>
                        <a:lnTo>
                          <a:pt x="700" y="188"/>
                        </a:lnTo>
                        <a:lnTo>
                          <a:pt x="699" y="186"/>
                        </a:lnTo>
                        <a:lnTo>
                          <a:pt x="699" y="186"/>
                        </a:lnTo>
                        <a:lnTo>
                          <a:pt x="700" y="185"/>
                        </a:lnTo>
                        <a:lnTo>
                          <a:pt x="700" y="180"/>
                        </a:lnTo>
                        <a:lnTo>
                          <a:pt x="701" y="180"/>
                        </a:lnTo>
                        <a:lnTo>
                          <a:pt x="702" y="178"/>
                        </a:lnTo>
                        <a:lnTo>
                          <a:pt x="703" y="179"/>
                        </a:lnTo>
                        <a:lnTo>
                          <a:pt x="703" y="178"/>
                        </a:lnTo>
                        <a:lnTo>
                          <a:pt x="702" y="178"/>
                        </a:lnTo>
                        <a:lnTo>
                          <a:pt x="703" y="176"/>
                        </a:lnTo>
                        <a:lnTo>
                          <a:pt x="702" y="174"/>
                        </a:lnTo>
                        <a:lnTo>
                          <a:pt x="701" y="177"/>
                        </a:lnTo>
                        <a:lnTo>
                          <a:pt x="700" y="178"/>
                        </a:lnTo>
                        <a:lnTo>
                          <a:pt x="699" y="179"/>
                        </a:lnTo>
                        <a:lnTo>
                          <a:pt x="699" y="184"/>
                        </a:lnTo>
                        <a:lnTo>
                          <a:pt x="699" y="185"/>
                        </a:lnTo>
                        <a:lnTo>
                          <a:pt x="698" y="185"/>
                        </a:lnTo>
                        <a:lnTo>
                          <a:pt x="696" y="184"/>
                        </a:lnTo>
                        <a:lnTo>
                          <a:pt x="696" y="185"/>
                        </a:lnTo>
                        <a:lnTo>
                          <a:pt x="698" y="186"/>
                        </a:lnTo>
                        <a:lnTo>
                          <a:pt x="698" y="187"/>
                        </a:lnTo>
                        <a:lnTo>
                          <a:pt x="698" y="188"/>
                        </a:lnTo>
                        <a:lnTo>
                          <a:pt x="695" y="191"/>
                        </a:lnTo>
                        <a:lnTo>
                          <a:pt x="694" y="192"/>
                        </a:lnTo>
                        <a:lnTo>
                          <a:pt x="695" y="194"/>
                        </a:lnTo>
                        <a:lnTo>
                          <a:pt x="687" y="196"/>
                        </a:lnTo>
                        <a:lnTo>
                          <a:pt x="687" y="199"/>
                        </a:lnTo>
                        <a:lnTo>
                          <a:pt x="686" y="199"/>
                        </a:lnTo>
                        <a:lnTo>
                          <a:pt x="683" y="197"/>
                        </a:lnTo>
                        <a:lnTo>
                          <a:pt x="680" y="198"/>
                        </a:lnTo>
                        <a:lnTo>
                          <a:pt x="679" y="194"/>
                        </a:lnTo>
                        <a:lnTo>
                          <a:pt x="679" y="192"/>
                        </a:lnTo>
                        <a:lnTo>
                          <a:pt x="682" y="190"/>
                        </a:lnTo>
                        <a:lnTo>
                          <a:pt x="682" y="190"/>
                        </a:lnTo>
                        <a:lnTo>
                          <a:pt x="685" y="190"/>
                        </a:lnTo>
                        <a:lnTo>
                          <a:pt x="685" y="188"/>
                        </a:lnTo>
                        <a:lnTo>
                          <a:pt x="683" y="186"/>
                        </a:lnTo>
                        <a:lnTo>
                          <a:pt x="682" y="185"/>
                        </a:lnTo>
                        <a:lnTo>
                          <a:pt x="683" y="183"/>
                        </a:lnTo>
                        <a:lnTo>
                          <a:pt x="683" y="183"/>
                        </a:lnTo>
                        <a:lnTo>
                          <a:pt x="682" y="183"/>
                        </a:lnTo>
                        <a:lnTo>
                          <a:pt x="682" y="184"/>
                        </a:lnTo>
                        <a:lnTo>
                          <a:pt x="682" y="184"/>
                        </a:lnTo>
                        <a:lnTo>
                          <a:pt x="679" y="186"/>
                        </a:lnTo>
                        <a:lnTo>
                          <a:pt x="678" y="184"/>
                        </a:lnTo>
                        <a:lnTo>
                          <a:pt x="675" y="183"/>
                        </a:lnTo>
                        <a:lnTo>
                          <a:pt x="674" y="179"/>
                        </a:lnTo>
                        <a:lnTo>
                          <a:pt x="673" y="174"/>
                        </a:lnTo>
                        <a:lnTo>
                          <a:pt x="671" y="176"/>
                        </a:lnTo>
                        <a:lnTo>
                          <a:pt x="667" y="174"/>
                        </a:lnTo>
                        <a:lnTo>
                          <a:pt x="666" y="172"/>
                        </a:lnTo>
                        <a:lnTo>
                          <a:pt x="666" y="171"/>
                        </a:lnTo>
                        <a:lnTo>
                          <a:pt x="668" y="172"/>
                        </a:lnTo>
                        <a:lnTo>
                          <a:pt x="668" y="172"/>
                        </a:lnTo>
                        <a:lnTo>
                          <a:pt x="669" y="172"/>
                        </a:lnTo>
                        <a:lnTo>
                          <a:pt x="672" y="171"/>
                        </a:lnTo>
                        <a:lnTo>
                          <a:pt x="672" y="171"/>
                        </a:lnTo>
                        <a:lnTo>
                          <a:pt x="673" y="170"/>
                        </a:lnTo>
                        <a:lnTo>
                          <a:pt x="676" y="171"/>
                        </a:lnTo>
                        <a:lnTo>
                          <a:pt x="676" y="172"/>
                        </a:lnTo>
                        <a:lnTo>
                          <a:pt x="679" y="171"/>
                        </a:lnTo>
                        <a:lnTo>
                          <a:pt x="682" y="173"/>
                        </a:lnTo>
                        <a:lnTo>
                          <a:pt x="683" y="172"/>
                        </a:lnTo>
                        <a:lnTo>
                          <a:pt x="682" y="171"/>
                        </a:lnTo>
                        <a:lnTo>
                          <a:pt x="683" y="169"/>
                        </a:lnTo>
                        <a:lnTo>
                          <a:pt x="685" y="166"/>
                        </a:lnTo>
                        <a:lnTo>
                          <a:pt x="686" y="165"/>
                        </a:lnTo>
                        <a:lnTo>
                          <a:pt x="689" y="165"/>
                        </a:lnTo>
                        <a:lnTo>
                          <a:pt x="692" y="165"/>
                        </a:lnTo>
                        <a:lnTo>
                          <a:pt x="693" y="165"/>
                        </a:lnTo>
                        <a:lnTo>
                          <a:pt x="694" y="167"/>
                        </a:lnTo>
                        <a:lnTo>
                          <a:pt x="694" y="170"/>
                        </a:lnTo>
                        <a:lnTo>
                          <a:pt x="695" y="166"/>
                        </a:lnTo>
                        <a:lnTo>
                          <a:pt x="695" y="166"/>
                        </a:lnTo>
                        <a:lnTo>
                          <a:pt x="695" y="170"/>
                        </a:lnTo>
                        <a:lnTo>
                          <a:pt x="695" y="167"/>
                        </a:lnTo>
                        <a:lnTo>
                          <a:pt x="695" y="167"/>
                        </a:lnTo>
                        <a:lnTo>
                          <a:pt x="696" y="169"/>
                        </a:lnTo>
                        <a:lnTo>
                          <a:pt x="699" y="167"/>
                        </a:lnTo>
                        <a:lnTo>
                          <a:pt x="700" y="167"/>
                        </a:lnTo>
                        <a:lnTo>
                          <a:pt x="700" y="171"/>
                        </a:lnTo>
                        <a:lnTo>
                          <a:pt x="700" y="166"/>
                        </a:lnTo>
                        <a:lnTo>
                          <a:pt x="700" y="166"/>
                        </a:lnTo>
                        <a:lnTo>
                          <a:pt x="701" y="170"/>
                        </a:lnTo>
                        <a:lnTo>
                          <a:pt x="702" y="169"/>
                        </a:lnTo>
                        <a:lnTo>
                          <a:pt x="702" y="166"/>
                        </a:lnTo>
                        <a:lnTo>
                          <a:pt x="701" y="166"/>
                        </a:lnTo>
                        <a:lnTo>
                          <a:pt x="701" y="165"/>
                        </a:lnTo>
                        <a:lnTo>
                          <a:pt x="703" y="166"/>
                        </a:lnTo>
                        <a:lnTo>
                          <a:pt x="702" y="165"/>
                        </a:lnTo>
                        <a:lnTo>
                          <a:pt x="706" y="165"/>
                        </a:lnTo>
                        <a:lnTo>
                          <a:pt x="705" y="164"/>
                        </a:lnTo>
                        <a:lnTo>
                          <a:pt x="703" y="164"/>
                        </a:lnTo>
                        <a:lnTo>
                          <a:pt x="705" y="163"/>
                        </a:lnTo>
                        <a:lnTo>
                          <a:pt x="703" y="163"/>
                        </a:lnTo>
                        <a:lnTo>
                          <a:pt x="705" y="163"/>
                        </a:lnTo>
                        <a:lnTo>
                          <a:pt x="705" y="161"/>
                        </a:lnTo>
                        <a:lnTo>
                          <a:pt x="705" y="161"/>
                        </a:lnTo>
                        <a:lnTo>
                          <a:pt x="705" y="161"/>
                        </a:lnTo>
                        <a:lnTo>
                          <a:pt x="702" y="163"/>
                        </a:lnTo>
                        <a:lnTo>
                          <a:pt x="701" y="161"/>
                        </a:lnTo>
                        <a:lnTo>
                          <a:pt x="703" y="160"/>
                        </a:lnTo>
                        <a:lnTo>
                          <a:pt x="705" y="159"/>
                        </a:lnTo>
                        <a:lnTo>
                          <a:pt x="703" y="159"/>
                        </a:lnTo>
                        <a:lnTo>
                          <a:pt x="698" y="161"/>
                        </a:lnTo>
                        <a:lnTo>
                          <a:pt x="695" y="160"/>
                        </a:lnTo>
                        <a:lnTo>
                          <a:pt x="692" y="161"/>
                        </a:lnTo>
                        <a:lnTo>
                          <a:pt x="688" y="161"/>
                        </a:lnTo>
                        <a:lnTo>
                          <a:pt x="686" y="163"/>
                        </a:lnTo>
                        <a:lnTo>
                          <a:pt x="685" y="161"/>
                        </a:lnTo>
                        <a:lnTo>
                          <a:pt x="682" y="163"/>
                        </a:lnTo>
                        <a:lnTo>
                          <a:pt x="680" y="160"/>
                        </a:lnTo>
                        <a:lnTo>
                          <a:pt x="678" y="160"/>
                        </a:lnTo>
                        <a:lnTo>
                          <a:pt x="675" y="161"/>
                        </a:lnTo>
                        <a:lnTo>
                          <a:pt x="674" y="161"/>
                        </a:lnTo>
                        <a:lnTo>
                          <a:pt x="672" y="159"/>
                        </a:lnTo>
                        <a:lnTo>
                          <a:pt x="671" y="160"/>
                        </a:lnTo>
                        <a:lnTo>
                          <a:pt x="668" y="159"/>
                        </a:lnTo>
                        <a:lnTo>
                          <a:pt x="669" y="157"/>
                        </a:lnTo>
                        <a:lnTo>
                          <a:pt x="668" y="158"/>
                        </a:lnTo>
                        <a:lnTo>
                          <a:pt x="667" y="157"/>
                        </a:lnTo>
                        <a:lnTo>
                          <a:pt x="667" y="156"/>
                        </a:lnTo>
                        <a:lnTo>
                          <a:pt x="667" y="154"/>
                        </a:lnTo>
                        <a:lnTo>
                          <a:pt x="666" y="154"/>
                        </a:lnTo>
                        <a:lnTo>
                          <a:pt x="663" y="153"/>
                        </a:lnTo>
                        <a:lnTo>
                          <a:pt x="663" y="153"/>
                        </a:lnTo>
                        <a:lnTo>
                          <a:pt x="665" y="152"/>
                        </a:lnTo>
                        <a:lnTo>
                          <a:pt x="666" y="151"/>
                        </a:lnTo>
                        <a:lnTo>
                          <a:pt x="663" y="149"/>
                        </a:lnTo>
                        <a:lnTo>
                          <a:pt x="663" y="147"/>
                        </a:lnTo>
                        <a:lnTo>
                          <a:pt x="663" y="146"/>
                        </a:lnTo>
                        <a:lnTo>
                          <a:pt x="661" y="146"/>
                        </a:lnTo>
                        <a:lnTo>
                          <a:pt x="659" y="147"/>
                        </a:lnTo>
                        <a:lnTo>
                          <a:pt x="656" y="146"/>
                        </a:lnTo>
                        <a:lnTo>
                          <a:pt x="655" y="146"/>
                        </a:lnTo>
                        <a:lnTo>
                          <a:pt x="654" y="146"/>
                        </a:lnTo>
                        <a:lnTo>
                          <a:pt x="653" y="145"/>
                        </a:lnTo>
                        <a:lnTo>
                          <a:pt x="651" y="145"/>
                        </a:lnTo>
                        <a:lnTo>
                          <a:pt x="651" y="145"/>
                        </a:lnTo>
                        <a:lnTo>
                          <a:pt x="651" y="145"/>
                        </a:lnTo>
                        <a:lnTo>
                          <a:pt x="653" y="143"/>
                        </a:lnTo>
                        <a:lnTo>
                          <a:pt x="653" y="141"/>
                        </a:lnTo>
                        <a:lnTo>
                          <a:pt x="654" y="140"/>
                        </a:lnTo>
                        <a:lnTo>
                          <a:pt x="655" y="138"/>
                        </a:lnTo>
                        <a:lnTo>
                          <a:pt x="655" y="133"/>
                        </a:lnTo>
                        <a:lnTo>
                          <a:pt x="658" y="132"/>
                        </a:lnTo>
                        <a:lnTo>
                          <a:pt x="661" y="131"/>
                        </a:lnTo>
                        <a:lnTo>
                          <a:pt x="661" y="131"/>
                        </a:lnTo>
                        <a:lnTo>
                          <a:pt x="660" y="132"/>
                        </a:lnTo>
                        <a:lnTo>
                          <a:pt x="665" y="129"/>
                        </a:lnTo>
                        <a:lnTo>
                          <a:pt x="667" y="127"/>
                        </a:lnTo>
                        <a:lnTo>
                          <a:pt x="669" y="125"/>
                        </a:lnTo>
                        <a:lnTo>
                          <a:pt x="672" y="125"/>
                        </a:lnTo>
                        <a:lnTo>
                          <a:pt x="674" y="123"/>
                        </a:lnTo>
                        <a:lnTo>
                          <a:pt x="676" y="123"/>
                        </a:lnTo>
                        <a:lnTo>
                          <a:pt x="683" y="124"/>
                        </a:lnTo>
                        <a:lnTo>
                          <a:pt x="686" y="125"/>
                        </a:lnTo>
                        <a:lnTo>
                          <a:pt x="687" y="125"/>
                        </a:lnTo>
                        <a:lnTo>
                          <a:pt x="688" y="126"/>
                        </a:lnTo>
                        <a:lnTo>
                          <a:pt x="692" y="127"/>
                        </a:lnTo>
                        <a:lnTo>
                          <a:pt x="694" y="131"/>
                        </a:lnTo>
                        <a:lnTo>
                          <a:pt x="701" y="131"/>
                        </a:lnTo>
                        <a:lnTo>
                          <a:pt x="701" y="131"/>
                        </a:lnTo>
                        <a:lnTo>
                          <a:pt x="703" y="131"/>
                        </a:lnTo>
                        <a:lnTo>
                          <a:pt x="705" y="131"/>
                        </a:lnTo>
                        <a:lnTo>
                          <a:pt x="708" y="133"/>
                        </a:lnTo>
                        <a:lnTo>
                          <a:pt x="707" y="133"/>
                        </a:lnTo>
                        <a:lnTo>
                          <a:pt x="707" y="134"/>
                        </a:lnTo>
                        <a:lnTo>
                          <a:pt x="706" y="136"/>
                        </a:lnTo>
                        <a:lnTo>
                          <a:pt x="705" y="139"/>
                        </a:lnTo>
                        <a:lnTo>
                          <a:pt x="707" y="143"/>
                        </a:lnTo>
                        <a:lnTo>
                          <a:pt x="711" y="144"/>
                        </a:lnTo>
                        <a:lnTo>
                          <a:pt x="709" y="146"/>
                        </a:lnTo>
                        <a:lnTo>
                          <a:pt x="708" y="149"/>
                        </a:lnTo>
                        <a:lnTo>
                          <a:pt x="707" y="150"/>
                        </a:lnTo>
                        <a:lnTo>
                          <a:pt x="708" y="152"/>
                        </a:lnTo>
                        <a:lnTo>
                          <a:pt x="706" y="154"/>
                        </a:lnTo>
                        <a:lnTo>
                          <a:pt x="708" y="157"/>
                        </a:lnTo>
                        <a:lnTo>
                          <a:pt x="707" y="158"/>
                        </a:lnTo>
                        <a:lnTo>
                          <a:pt x="708" y="163"/>
                        </a:lnTo>
                        <a:lnTo>
                          <a:pt x="708" y="166"/>
                        </a:lnTo>
                        <a:lnTo>
                          <a:pt x="709" y="169"/>
                        </a:lnTo>
                        <a:lnTo>
                          <a:pt x="712" y="171"/>
                        </a:lnTo>
                        <a:lnTo>
                          <a:pt x="714" y="173"/>
                        </a:lnTo>
                        <a:lnTo>
                          <a:pt x="714" y="173"/>
                        </a:lnTo>
                        <a:lnTo>
                          <a:pt x="715" y="173"/>
                        </a:lnTo>
                        <a:lnTo>
                          <a:pt x="714" y="167"/>
                        </a:lnTo>
                        <a:lnTo>
                          <a:pt x="714" y="167"/>
                        </a:lnTo>
                        <a:lnTo>
                          <a:pt x="715" y="166"/>
                        </a:lnTo>
                        <a:lnTo>
                          <a:pt x="716" y="166"/>
                        </a:lnTo>
                        <a:lnTo>
                          <a:pt x="718" y="170"/>
                        </a:lnTo>
                        <a:lnTo>
                          <a:pt x="716" y="173"/>
                        </a:lnTo>
                        <a:lnTo>
                          <a:pt x="716" y="176"/>
                        </a:lnTo>
                        <a:lnTo>
                          <a:pt x="716" y="177"/>
                        </a:lnTo>
                        <a:lnTo>
                          <a:pt x="718" y="176"/>
                        </a:lnTo>
                        <a:lnTo>
                          <a:pt x="719" y="177"/>
                        </a:lnTo>
                        <a:lnTo>
                          <a:pt x="720" y="176"/>
                        </a:lnTo>
                        <a:lnTo>
                          <a:pt x="720" y="174"/>
                        </a:lnTo>
                        <a:lnTo>
                          <a:pt x="721" y="174"/>
                        </a:lnTo>
                        <a:lnTo>
                          <a:pt x="721" y="177"/>
                        </a:lnTo>
                        <a:lnTo>
                          <a:pt x="720" y="179"/>
                        </a:lnTo>
                        <a:lnTo>
                          <a:pt x="719" y="181"/>
                        </a:lnTo>
                        <a:lnTo>
                          <a:pt x="721" y="181"/>
                        </a:lnTo>
                        <a:lnTo>
                          <a:pt x="722" y="181"/>
                        </a:lnTo>
                        <a:lnTo>
                          <a:pt x="723" y="184"/>
                        </a:lnTo>
                        <a:lnTo>
                          <a:pt x="725" y="184"/>
                        </a:lnTo>
                        <a:lnTo>
                          <a:pt x="727" y="184"/>
                        </a:lnTo>
                        <a:lnTo>
                          <a:pt x="729" y="185"/>
                        </a:lnTo>
                        <a:lnTo>
                          <a:pt x="729" y="183"/>
                        </a:lnTo>
                        <a:lnTo>
                          <a:pt x="732" y="183"/>
                        </a:lnTo>
                        <a:lnTo>
                          <a:pt x="732" y="180"/>
                        </a:lnTo>
                        <a:lnTo>
                          <a:pt x="734" y="178"/>
                        </a:lnTo>
                        <a:lnTo>
                          <a:pt x="734" y="177"/>
                        </a:lnTo>
                        <a:lnTo>
                          <a:pt x="736" y="176"/>
                        </a:lnTo>
                        <a:lnTo>
                          <a:pt x="739" y="176"/>
                        </a:lnTo>
                        <a:lnTo>
                          <a:pt x="738" y="173"/>
                        </a:lnTo>
                        <a:lnTo>
                          <a:pt x="740" y="173"/>
                        </a:lnTo>
                        <a:lnTo>
                          <a:pt x="740" y="172"/>
                        </a:lnTo>
                        <a:lnTo>
                          <a:pt x="741" y="170"/>
                        </a:lnTo>
                        <a:lnTo>
                          <a:pt x="743" y="167"/>
                        </a:lnTo>
                        <a:lnTo>
                          <a:pt x="743" y="165"/>
                        </a:lnTo>
                        <a:lnTo>
                          <a:pt x="745" y="161"/>
                        </a:lnTo>
                        <a:lnTo>
                          <a:pt x="746" y="161"/>
                        </a:lnTo>
                        <a:lnTo>
                          <a:pt x="748" y="160"/>
                        </a:lnTo>
                        <a:lnTo>
                          <a:pt x="748" y="160"/>
                        </a:lnTo>
                        <a:lnTo>
                          <a:pt x="750" y="160"/>
                        </a:lnTo>
                        <a:lnTo>
                          <a:pt x="750" y="161"/>
                        </a:lnTo>
                        <a:lnTo>
                          <a:pt x="754" y="159"/>
                        </a:lnTo>
                        <a:lnTo>
                          <a:pt x="755" y="158"/>
                        </a:lnTo>
                        <a:lnTo>
                          <a:pt x="758" y="158"/>
                        </a:lnTo>
                        <a:lnTo>
                          <a:pt x="759" y="156"/>
                        </a:lnTo>
                        <a:lnTo>
                          <a:pt x="759" y="154"/>
                        </a:lnTo>
                        <a:lnTo>
                          <a:pt x="760" y="154"/>
                        </a:lnTo>
                        <a:lnTo>
                          <a:pt x="761" y="154"/>
                        </a:lnTo>
                        <a:lnTo>
                          <a:pt x="761" y="153"/>
                        </a:lnTo>
                        <a:lnTo>
                          <a:pt x="761" y="150"/>
                        </a:lnTo>
                        <a:lnTo>
                          <a:pt x="762" y="150"/>
                        </a:lnTo>
                        <a:lnTo>
                          <a:pt x="763" y="149"/>
                        </a:lnTo>
                        <a:lnTo>
                          <a:pt x="767" y="147"/>
                        </a:lnTo>
                        <a:lnTo>
                          <a:pt x="766" y="146"/>
                        </a:lnTo>
                        <a:lnTo>
                          <a:pt x="769" y="144"/>
                        </a:lnTo>
                        <a:lnTo>
                          <a:pt x="772" y="144"/>
                        </a:lnTo>
                        <a:lnTo>
                          <a:pt x="774" y="146"/>
                        </a:lnTo>
                        <a:lnTo>
                          <a:pt x="776" y="146"/>
                        </a:lnTo>
                        <a:lnTo>
                          <a:pt x="779" y="149"/>
                        </a:lnTo>
                        <a:lnTo>
                          <a:pt x="787" y="152"/>
                        </a:lnTo>
                        <a:lnTo>
                          <a:pt x="789" y="152"/>
                        </a:lnTo>
                        <a:lnTo>
                          <a:pt x="793" y="156"/>
                        </a:lnTo>
                        <a:lnTo>
                          <a:pt x="798" y="157"/>
                        </a:lnTo>
                        <a:lnTo>
                          <a:pt x="806" y="161"/>
                        </a:lnTo>
                        <a:lnTo>
                          <a:pt x="809" y="164"/>
                        </a:lnTo>
                        <a:lnTo>
                          <a:pt x="814" y="164"/>
                        </a:lnTo>
                        <a:lnTo>
                          <a:pt x="816" y="163"/>
                        </a:lnTo>
                        <a:lnTo>
                          <a:pt x="819" y="165"/>
                        </a:lnTo>
                        <a:lnTo>
                          <a:pt x="820" y="165"/>
                        </a:lnTo>
                        <a:lnTo>
                          <a:pt x="820" y="165"/>
                        </a:lnTo>
                        <a:lnTo>
                          <a:pt x="826" y="166"/>
                        </a:lnTo>
                        <a:lnTo>
                          <a:pt x="827" y="166"/>
                        </a:lnTo>
                        <a:lnTo>
                          <a:pt x="827" y="167"/>
                        </a:lnTo>
                        <a:lnTo>
                          <a:pt x="826" y="169"/>
                        </a:lnTo>
                        <a:lnTo>
                          <a:pt x="827" y="170"/>
                        </a:lnTo>
                        <a:lnTo>
                          <a:pt x="828" y="169"/>
                        </a:lnTo>
                        <a:lnTo>
                          <a:pt x="834" y="169"/>
                        </a:lnTo>
                        <a:lnTo>
                          <a:pt x="834" y="169"/>
                        </a:lnTo>
                        <a:close/>
                        <a:moveTo>
                          <a:pt x="232" y="40"/>
                        </a:moveTo>
                        <a:lnTo>
                          <a:pt x="231" y="39"/>
                        </a:lnTo>
                        <a:lnTo>
                          <a:pt x="232" y="38"/>
                        </a:lnTo>
                        <a:lnTo>
                          <a:pt x="233" y="38"/>
                        </a:lnTo>
                        <a:lnTo>
                          <a:pt x="234" y="39"/>
                        </a:lnTo>
                        <a:lnTo>
                          <a:pt x="233" y="37"/>
                        </a:lnTo>
                        <a:lnTo>
                          <a:pt x="229" y="37"/>
                        </a:lnTo>
                        <a:lnTo>
                          <a:pt x="228" y="33"/>
                        </a:lnTo>
                        <a:lnTo>
                          <a:pt x="233" y="29"/>
                        </a:lnTo>
                        <a:lnTo>
                          <a:pt x="233" y="29"/>
                        </a:lnTo>
                        <a:lnTo>
                          <a:pt x="234" y="32"/>
                        </a:lnTo>
                        <a:lnTo>
                          <a:pt x="235" y="33"/>
                        </a:lnTo>
                        <a:lnTo>
                          <a:pt x="235" y="34"/>
                        </a:lnTo>
                        <a:lnTo>
                          <a:pt x="235" y="36"/>
                        </a:lnTo>
                        <a:lnTo>
                          <a:pt x="237" y="36"/>
                        </a:lnTo>
                        <a:lnTo>
                          <a:pt x="234" y="40"/>
                        </a:lnTo>
                        <a:lnTo>
                          <a:pt x="232" y="40"/>
                        </a:lnTo>
                        <a:lnTo>
                          <a:pt x="232" y="40"/>
                        </a:lnTo>
                        <a:close/>
                        <a:moveTo>
                          <a:pt x="551" y="46"/>
                        </a:moveTo>
                        <a:lnTo>
                          <a:pt x="549" y="46"/>
                        </a:lnTo>
                        <a:lnTo>
                          <a:pt x="549" y="45"/>
                        </a:lnTo>
                        <a:lnTo>
                          <a:pt x="548" y="45"/>
                        </a:lnTo>
                        <a:lnTo>
                          <a:pt x="548" y="44"/>
                        </a:lnTo>
                        <a:lnTo>
                          <a:pt x="548" y="41"/>
                        </a:lnTo>
                        <a:lnTo>
                          <a:pt x="547" y="41"/>
                        </a:lnTo>
                        <a:lnTo>
                          <a:pt x="546" y="40"/>
                        </a:lnTo>
                        <a:lnTo>
                          <a:pt x="546" y="39"/>
                        </a:lnTo>
                        <a:lnTo>
                          <a:pt x="548" y="39"/>
                        </a:lnTo>
                        <a:lnTo>
                          <a:pt x="549" y="40"/>
                        </a:lnTo>
                        <a:lnTo>
                          <a:pt x="549" y="41"/>
                        </a:lnTo>
                        <a:lnTo>
                          <a:pt x="552" y="44"/>
                        </a:lnTo>
                        <a:lnTo>
                          <a:pt x="551" y="46"/>
                        </a:lnTo>
                        <a:lnTo>
                          <a:pt x="551" y="46"/>
                        </a:lnTo>
                        <a:close/>
                        <a:moveTo>
                          <a:pt x="149" y="103"/>
                        </a:moveTo>
                        <a:lnTo>
                          <a:pt x="147" y="100"/>
                        </a:lnTo>
                        <a:lnTo>
                          <a:pt x="144" y="100"/>
                        </a:lnTo>
                        <a:lnTo>
                          <a:pt x="141" y="100"/>
                        </a:lnTo>
                        <a:lnTo>
                          <a:pt x="139" y="99"/>
                        </a:lnTo>
                        <a:lnTo>
                          <a:pt x="139" y="98"/>
                        </a:lnTo>
                        <a:lnTo>
                          <a:pt x="140" y="97"/>
                        </a:lnTo>
                        <a:lnTo>
                          <a:pt x="139" y="94"/>
                        </a:lnTo>
                        <a:lnTo>
                          <a:pt x="140" y="93"/>
                        </a:lnTo>
                        <a:lnTo>
                          <a:pt x="141" y="93"/>
                        </a:lnTo>
                        <a:lnTo>
                          <a:pt x="142" y="94"/>
                        </a:lnTo>
                        <a:lnTo>
                          <a:pt x="142" y="96"/>
                        </a:lnTo>
                        <a:lnTo>
                          <a:pt x="142" y="97"/>
                        </a:lnTo>
                        <a:lnTo>
                          <a:pt x="145" y="96"/>
                        </a:lnTo>
                        <a:lnTo>
                          <a:pt x="149" y="99"/>
                        </a:lnTo>
                        <a:lnTo>
                          <a:pt x="149" y="100"/>
                        </a:lnTo>
                        <a:lnTo>
                          <a:pt x="149" y="101"/>
                        </a:lnTo>
                        <a:lnTo>
                          <a:pt x="149" y="103"/>
                        </a:lnTo>
                        <a:lnTo>
                          <a:pt x="149" y="103"/>
                        </a:lnTo>
                        <a:close/>
                        <a:moveTo>
                          <a:pt x="153" y="98"/>
                        </a:moveTo>
                        <a:lnTo>
                          <a:pt x="151" y="97"/>
                        </a:lnTo>
                        <a:lnTo>
                          <a:pt x="147" y="93"/>
                        </a:lnTo>
                        <a:lnTo>
                          <a:pt x="145" y="94"/>
                        </a:lnTo>
                        <a:lnTo>
                          <a:pt x="145" y="93"/>
                        </a:lnTo>
                        <a:lnTo>
                          <a:pt x="146" y="91"/>
                        </a:lnTo>
                        <a:lnTo>
                          <a:pt x="147" y="91"/>
                        </a:lnTo>
                        <a:lnTo>
                          <a:pt x="151" y="93"/>
                        </a:lnTo>
                        <a:lnTo>
                          <a:pt x="154" y="97"/>
                        </a:lnTo>
                        <a:lnTo>
                          <a:pt x="154" y="97"/>
                        </a:lnTo>
                        <a:lnTo>
                          <a:pt x="153" y="98"/>
                        </a:lnTo>
                        <a:lnTo>
                          <a:pt x="153" y="98"/>
                        </a:lnTo>
                        <a:close/>
                        <a:moveTo>
                          <a:pt x="167" y="99"/>
                        </a:moveTo>
                        <a:lnTo>
                          <a:pt x="166" y="99"/>
                        </a:lnTo>
                        <a:lnTo>
                          <a:pt x="165" y="96"/>
                        </a:lnTo>
                        <a:lnTo>
                          <a:pt x="166" y="96"/>
                        </a:lnTo>
                        <a:lnTo>
                          <a:pt x="165" y="94"/>
                        </a:lnTo>
                        <a:lnTo>
                          <a:pt x="162" y="96"/>
                        </a:lnTo>
                        <a:lnTo>
                          <a:pt x="161" y="96"/>
                        </a:lnTo>
                        <a:lnTo>
                          <a:pt x="161" y="94"/>
                        </a:lnTo>
                        <a:lnTo>
                          <a:pt x="164" y="92"/>
                        </a:lnTo>
                        <a:lnTo>
                          <a:pt x="166" y="92"/>
                        </a:lnTo>
                        <a:lnTo>
                          <a:pt x="167" y="91"/>
                        </a:lnTo>
                        <a:lnTo>
                          <a:pt x="168" y="96"/>
                        </a:lnTo>
                        <a:lnTo>
                          <a:pt x="167" y="99"/>
                        </a:lnTo>
                        <a:lnTo>
                          <a:pt x="167" y="99"/>
                        </a:lnTo>
                        <a:close/>
                        <a:moveTo>
                          <a:pt x="743" y="140"/>
                        </a:moveTo>
                        <a:lnTo>
                          <a:pt x="742" y="139"/>
                        </a:lnTo>
                        <a:lnTo>
                          <a:pt x="740" y="140"/>
                        </a:lnTo>
                        <a:lnTo>
                          <a:pt x="739" y="139"/>
                        </a:lnTo>
                        <a:lnTo>
                          <a:pt x="738" y="133"/>
                        </a:lnTo>
                        <a:lnTo>
                          <a:pt x="736" y="132"/>
                        </a:lnTo>
                        <a:lnTo>
                          <a:pt x="735" y="134"/>
                        </a:lnTo>
                        <a:lnTo>
                          <a:pt x="731" y="131"/>
                        </a:lnTo>
                        <a:lnTo>
                          <a:pt x="729" y="130"/>
                        </a:lnTo>
                        <a:lnTo>
                          <a:pt x="731" y="129"/>
                        </a:lnTo>
                        <a:lnTo>
                          <a:pt x="732" y="130"/>
                        </a:lnTo>
                        <a:lnTo>
                          <a:pt x="738" y="131"/>
                        </a:lnTo>
                        <a:lnTo>
                          <a:pt x="739" y="130"/>
                        </a:lnTo>
                        <a:lnTo>
                          <a:pt x="740" y="131"/>
                        </a:lnTo>
                        <a:lnTo>
                          <a:pt x="746" y="138"/>
                        </a:lnTo>
                        <a:lnTo>
                          <a:pt x="746" y="137"/>
                        </a:lnTo>
                        <a:lnTo>
                          <a:pt x="748" y="138"/>
                        </a:lnTo>
                        <a:lnTo>
                          <a:pt x="746" y="140"/>
                        </a:lnTo>
                        <a:lnTo>
                          <a:pt x="743" y="140"/>
                        </a:lnTo>
                        <a:lnTo>
                          <a:pt x="743" y="140"/>
                        </a:lnTo>
                        <a:close/>
                        <a:moveTo>
                          <a:pt x="593" y="86"/>
                        </a:moveTo>
                        <a:lnTo>
                          <a:pt x="592" y="89"/>
                        </a:lnTo>
                        <a:lnTo>
                          <a:pt x="588" y="93"/>
                        </a:lnTo>
                        <a:lnTo>
                          <a:pt x="587" y="94"/>
                        </a:lnTo>
                        <a:lnTo>
                          <a:pt x="586" y="96"/>
                        </a:lnTo>
                        <a:lnTo>
                          <a:pt x="589" y="98"/>
                        </a:lnTo>
                        <a:lnTo>
                          <a:pt x="589" y="98"/>
                        </a:lnTo>
                        <a:lnTo>
                          <a:pt x="592" y="98"/>
                        </a:lnTo>
                        <a:lnTo>
                          <a:pt x="592" y="93"/>
                        </a:lnTo>
                        <a:lnTo>
                          <a:pt x="594" y="92"/>
                        </a:lnTo>
                        <a:lnTo>
                          <a:pt x="595" y="92"/>
                        </a:lnTo>
                        <a:lnTo>
                          <a:pt x="596" y="91"/>
                        </a:lnTo>
                        <a:lnTo>
                          <a:pt x="596" y="90"/>
                        </a:lnTo>
                        <a:lnTo>
                          <a:pt x="594" y="90"/>
                        </a:lnTo>
                        <a:lnTo>
                          <a:pt x="596" y="87"/>
                        </a:lnTo>
                        <a:lnTo>
                          <a:pt x="600" y="84"/>
                        </a:lnTo>
                        <a:lnTo>
                          <a:pt x="603" y="83"/>
                        </a:lnTo>
                        <a:lnTo>
                          <a:pt x="606" y="83"/>
                        </a:lnTo>
                        <a:lnTo>
                          <a:pt x="606" y="84"/>
                        </a:lnTo>
                        <a:lnTo>
                          <a:pt x="605" y="85"/>
                        </a:lnTo>
                        <a:lnTo>
                          <a:pt x="606" y="87"/>
                        </a:lnTo>
                        <a:lnTo>
                          <a:pt x="606" y="93"/>
                        </a:lnTo>
                        <a:lnTo>
                          <a:pt x="599" y="97"/>
                        </a:lnTo>
                        <a:lnTo>
                          <a:pt x="596" y="98"/>
                        </a:lnTo>
                        <a:lnTo>
                          <a:pt x="598" y="100"/>
                        </a:lnTo>
                        <a:lnTo>
                          <a:pt x="599" y="101"/>
                        </a:lnTo>
                        <a:lnTo>
                          <a:pt x="605" y="104"/>
                        </a:lnTo>
                        <a:lnTo>
                          <a:pt x="605" y="107"/>
                        </a:lnTo>
                        <a:lnTo>
                          <a:pt x="608" y="110"/>
                        </a:lnTo>
                        <a:lnTo>
                          <a:pt x="609" y="111"/>
                        </a:lnTo>
                        <a:lnTo>
                          <a:pt x="606" y="109"/>
                        </a:lnTo>
                        <a:lnTo>
                          <a:pt x="602" y="109"/>
                        </a:lnTo>
                        <a:lnTo>
                          <a:pt x="601" y="106"/>
                        </a:lnTo>
                        <a:lnTo>
                          <a:pt x="596" y="106"/>
                        </a:lnTo>
                        <a:lnTo>
                          <a:pt x="593" y="105"/>
                        </a:lnTo>
                        <a:lnTo>
                          <a:pt x="592" y="105"/>
                        </a:lnTo>
                        <a:lnTo>
                          <a:pt x="591" y="109"/>
                        </a:lnTo>
                        <a:lnTo>
                          <a:pt x="592" y="112"/>
                        </a:lnTo>
                        <a:lnTo>
                          <a:pt x="591" y="113"/>
                        </a:lnTo>
                        <a:lnTo>
                          <a:pt x="591" y="116"/>
                        </a:lnTo>
                        <a:lnTo>
                          <a:pt x="594" y="125"/>
                        </a:lnTo>
                        <a:lnTo>
                          <a:pt x="600" y="132"/>
                        </a:lnTo>
                        <a:lnTo>
                          <a:pt x="601" y="133"/>
                        </a:lnTo>
                        <a:lnTo>
                          <a:pt x="598" y="132"/>
                        </a:lnTo>
                        <a:lnTo>
                          <a:pt x="596" y="132"/>
                        </a:lnTo>
                        <a:lnTo>
                          <a:pt x="598" y="131"/>
                        </a:lnTo>
                        <a:lnTo>
                          <a:pt x="595" y="130"/>
                        </a:lnTo>
                        <a:lnTo>
                          <a:pt x="593" y="129"/>
                        </a:lnTo>
                        <a:lnTo>
                          <a:pt x="591" y="123"/>
                        </a:lnTo>
                        <a:lnTo>
                          <a:pt x="587" y="119"/>
                        </a:lnTo>
                        <a:lnTo>
                          <a:pt x="587" y="113"/>
                        </a:lnTo>
                        <a:lnTo>
                          <a:pt x="587" y="112"/>
                        </a:lnTo>
                        <a:lnTo>
                          <a:pt x="588" y="109"/>
                        </a:lnTo>
                        <a:lnTo>
                          <a:pt x="588" y="109"/>
                        </a:lnTo>
                        <a:lnTo>
                          <a:pt x="585" y="106"/>
                        </a:lnTo>
                        <a:lnTo>
                          <a:pt x="585" y="103"/>
                        </a:lnTo>
                        <a:lnTo>
                          <a:pt x="586" y="98"/>
                        </a:lnTo>
                        <a:lnTo>
                          <a:pt x="586" y="97"/>
                        </a:lnTo>
                        <a:lnTo>
                          <a:pt x="583" y="97"/>
                        </a:lnTo>
                        <a:lnTo>
                          <a:pt x="583" y="93"/>
                        </a:lnTo>
                        <a:lnTo>
                          <a:pt x="582" y="94"/>
                        </a:lnTo>
                        <a:lnTo>
                          <a:pt x="582" y="93"/>
                        </a:lnTo>
                        <a:lnTo>
                          <a:pt x="582" y="92"/>
                        </a:lnTo>
                        <a:lnTo>
                          <a:pt x="582" y="90"/>
                        </a:lnTo>
                        <a:lnTo>
                          <a:pt x="585" y="85"/>
                        </a:lnTo>
                        <a:lnTo>
                          <a:pt x="585" y="79"/>
                        </a:lnTo>
                        <a:lnTo>
                          <a:pt x="591" y="72"/>
                        </a:lnTo>
                        <a:lnTo>
                          <a:pt x="592" y="70"/>
                        </a:lnTo>
                        <a:lnTo>
                          <a:pt x="594" y="70"/>
                        </a:lnTo>
                        <a:lnTo>
                          <a:pt x="594" y="71"/>
                        </a:lnTo>
                        <a:lnTo>
                          <a:pt x="591" y="76"/>
                        </a:lnTo>
                        <a:lnTo>
                          <a:pt x="591" y="78"/>
                        </a:lnTo>
                        <a:lnTo>
                          <a:pt x="593" y="79"/>
                        </a:lnTo>
                        <a:lnTo>
                          <a:pt x="593" y="80"/>
                        </a:lnTo>
                        <a:lnTo>
                          <a:pt x="593" y="81"/>
                        </a:lnTo>
                        <a:lnTo>
                          <a:pt x="593" y="84"/>
                        </a:lnTo>
                        <a:lnTo>
                          <a:pt x="593" y="86"/>
                        </a:lnTo>
                        <a:lnTo>
                          <a:pt x="593" y="86"/>
                        </a:lnTo>
                        <a:close/>
                        <a:moveTo>
                          <a:pt x="1" y="2"/>
                        </a:moveTo>
                        <a:lnTo>
                          <a:pt x="4" y="0"/>
                        </a:lnTo>
                        <a:lnTo>
                          <a:pt x="5" y="0"/>
                        </a:lnTo>
                        <a:lnTo>
                          <a:pt x="13" y="3"/>
                        </a:lnTo>
                        <a:lnTo>
                          <a:pt x="14" y="5"/>
                        </a:lnTo>
                        <a:lnTo>
                          <a:pt x="17" y="7"/>
                        </a:lnTo>
                        <a:lnTo>
                          <a:pt x="24" y="9"/>
                        </a:lnTo>
                        <a:lnTo>
                          <a:pt x="26" y="9"/>
                        </a:lnTo>
                        <a:lnTo>
                          <a:pt x="30" y="7"/>
                        </a:lnTo>
                        <a:lnTo>
                          <a:pt x="34" y="7"/>
                        </a:lnTo>
                        <a:lnTo>
                          <a:pt x="35" y="9"/>
                        </a:lnTo>
                        <a:lnTo>
                          <a:pt x="35" y="10"/>
                        </a:lnTo>
                        <a:lnTo>
                          <a:pt x="37" y="10"/>
                        </a:lnTo>
                        <a:lnTo>
                          <a:pt x="41" y="9"/>
                        </a:lnTo>
                        <a:lnTo>
                          <a:pt x="44" y="11"/>
                        </a:lnTo>
                        <a:lnTo>
                          <a:pt x="48" y="14"/>
                        </a:lnTo>
                        <a:lnTo>
                          <a:pt x="48" y="16"/>
                        </a:lnTo>
                        <a:lnTo>
                          <a:pt x="50" y="18"/>
                        </a:lnTo>
                        <a:lnTo>
                          <a:pt x="51" y="23"/>
                        </a:lnTo>
                        <a:lnTo>
                          <a:pt x="53" y="23"/>
                        </a:lnTo>
                        <a:lnTo>
                          <a:pt x="55" y="25"/>
                        </a:lnTo>
                        <a:lnTo>
                          <a:pt x="55" y="30"/>
                        </a:lnTo>
                        <a:lnTo>
                          <a:pt x="54" y="31"/>
                        </a:lnTo>
                        <a:lnTo>
                          <a:pt x="55" y="30"/>
                        </a:lnTo>
                        <a:lnTo>
                          <a:pt x="57" y="32"/>
                        </a:lnTo>
                        <a:lnTo>
                          <a:pt x="58" y="32"/>
                        </a:lnTo>
                        <a:lnTo>
                          <a:pt x="60" y="33"/>
                        </a:lnTo>
                        <a:lnTo>
                          <a:pt x="61" y="34"/>
                        </a:lnTo>
                        <a:lnTo>
                          <a:pt x="62" y="34"/>
                        </a:lnTo>
                        <a:lnTo>
                          <a:pt x="64" y="38"/>
                        </a:lnTo>
                        <a:lnTo>
                          <a:pt x="69" y="40"/>
                        </a:lnTo>
                        <a:lnTo>
                          <a:pt x="72" y="43"/>
                        </a:lnTo>
                        <a:lnTo>
                          <a:pt x="79" y="49"/>
                        </a:lnTo>
                        <a:lnTo>
                          <a:pt x="82" y="50"/>
                        </a:lnTo>
                        <a:lnTo>
                          <a:pt x="86" y="54"/>
                        </a:lnTo>
                        <a:lnTo>
                          <a:pt x="86" y="54"/>
                        </a:lnTo>
                        <a:lnTo>
                          <a:pt x="87" y="58"/>
                        </a:lnTo>
                        <a:lnTo>
                          <a:pt x="86" y="60"/>
                        </a:lnTo>
                        <a:lnTo>
                          <a:pt x="87" y="61"/>
                        </a:lnTo>
                        <a:lnTo>
                          <a:pt x="87" y="61"/>
                        </a:lnTo>
                        <a:lnTo>
                          <a:pt x="86" y="60"/>
                        </a:lnTo>
                        <a:lnTo>
                          <a:pt x="87" y="59"/>
                        </a:lnTo>
                        <a:lnTo>
                          <a:pt x="88" y="59"/>
                        </a:lnTo>
                        <a:lnTo>
                          <a:pt x="89" y="64"/>
                        </a:lnTo>
                        <a:lnTo>
                          <a:pt x="89" y="63"/>
                        </a:lnTo>
                        <a:lnTo>
                          <a:pt x="88" y="61"/>
                        </a:lnTo>
                        <a:lnTo>
                          <a:pt x="89" y="60"/>
                        </a:lnTo>
                        <a:lnTo>
                          <a:pt x="89" y="59"/>
                        </a:lnTo>
                        <a:lnTo>
                          <a:pt x="91" y="60"/>
                        </a:lnTo>
                        <a:lnTo>
                          <a:pt x="95" y="70"/>
                        </a:lnTo>
                        <a:lnTo>
                          <a:pt x="98" y="71"/>
                        </a:lnTo>
                        <a:lnTo>
                          <a:pt x="99" y="71"/>
                        </a:lnTo>
                        <a:lnTo>
                          <a:pt x="101" y="73"/>
                        </a:lnTo>
                        <a:lnTo>
                          <a:pt x="104" y="78"/>
                        </a:lnTo>
                        <a:lnTo>
                          <a:pt x="102" y="73"/>
                        </a:lnTo>
                        <a:lnTo>
                          <a:pt x="101" y="72"/>
                        </a:lnTo>
                        <a:lnTo>
                          <a:pt x="101" y="70"/>
                        </a:lnTo>
                        <a:lnTo>
                          <a:pt x="101" y="69"/>
                        </a:lnTo>
                        <a:lnTo>
                          <a:pt x="104" y="67"/>
                        </a:lnTo>
                        <a:lnTo>
                          <a:pt x="106" y="69"/>
                        </a:lnTo>
                        <a:lnTo>
                          <a:pt x="106" y="70"/>
                        </a:lnTo>
                        <a:lnTo>
                          <a:pt x="109" y="72"/>
                        </a:lnTo>
                        <a:lnTo>
                          <a:pt x="111" y="73"/>
                        </a:lnTo>
                        <a:lnTo>
                          <a:pt x="112" y="78"/>
                        </a:lnTo>
                        <a:lnTo>
                          <a:pt x="112" y="79"/>
                        </a:lnTo>
                        <a:lnTo>
                          <a:pt x="114" y="80"/>
                        </a:lnTo>
                        <a:lnTo>
                          <a:pt x="118" y="80"/>
                        </a:lnTo>
                        <a:lnTo>
                          <a:pt x="120" y="83"/>
                        </a:lnTo>
                        <a:lnTo>
                          <a:pt x="125" y="86"/>
                        </a:lnTo>
                        <a:lnTo>
                          <a:pt x="126" y="93"/>
                        </a:lnTo>
                        <a:lnTo>
                          <a:pt x="131" y="99"/>
                        </a:lnTo>
                        <a:lnTo>
                          <a:pt x="133" y="99"/>
                        </a:lnTo>
                        <a:lnTo>
                          <a:pt x="138" y="100"/>
                        </a:lnTo>
                        <a:lnTo>
                          <a:pt x="139" y="100"/>
                        </a:lnTo>
                        <a:lnTo>
                          <a:pt x="140" y="101"/>
                        </a:lnTo>
                        <a:lnTo>
                          <a:pt x="140" y="103"/>
                        </a:lnTo>
                        <a:lnTo>
                          <a:pt x="138" y="106"/>
                        </a:lnTo>
                        <a:lnTo>
                          <a:pt x="142" y="104"/>
                        </a:lnTo>
                        <a:lnTo>
                          <a:pt x="142" y="103"/>
                        </a:lnTo>
                        <a:lnTo>
                          <a:pt x="145" y="103"/>
                        </a:lnTo>
                        <a:lnTo>
                          <a:pt x="147" y="104"/>
                        </a:lnTo>
                        <a:lnTo>
                          <a:pt x="147" y="104"/>
                        </a:lnTo>
                        <a:lnTo>
                          <a:pt x="151" y="106"/>
                        </a:lnTo>
                        <a:lnTo>
                          <a:pt x="154" y="109"/>
                        </a:lnTo>
                        <a:lnTo>
                          <a:pt x="155" y="114"/>
                        </a:lnTo>
                        <a:lnTo>
                          <a:pt x="155" y="114"/>
                        </a:lnTo>
                        <a:lnTo>
                          <a:pt x="152" y="114"/>
                        </a:lnTo>
                        <a:lnTo>
                          <a:pt x="152" y="117"/>
                        </a:lnTo>
                        <a:lnTo>
                          <a:pt x="146" y="119"/>
                        </a:lnTo>
                        <a:lnTo>
                          <a:pt x="147" y="119"/>
                        </a:lnTo>
                        <a:lnTo>
                          <a:pt x="149" y="119"/>
                        </a:lnTo>
                        <a:lnTo>
                          <a:pt x="149" y="119"/>
                        </a:lnTo>
                        <a:lnTo>
                          <a:pt x="148" y="121"/>
                        </a:lnTo>
                        <a:lnTo>
                          <a:pt x="147" y="121"/>
                        </a:lnTo>
                        <a:lnTo>
                          <a:pt x="151" y="123"/>
                        </a:lnTo>
                        <a:lnTo>
                          <a:pt x="152" y="123"/>
                        </a:lnTo>
                        <a:lnTo>
                          <a:pt x="151" y="124"/>
                        </a:lnTo>
                        <a:lnTo>
                          <a:pt x="148" y="125"/>
                        </a:lnTo>
                        <a:lnTo>
                          <a:pt x="147" y="124"/>
                        </a:lnTo>
                        <a:lnTo>
                          <a:pt x="148" y="126"/>
                        </a:lnTo>
                        <a:lnTo>
                          <a:pt x="147" y="129"/>
                        </a:lnTo>
                        <a:lnTo>
                          <a:pt x="147" y="129"/>
                        </a:lnTo>
                        <a:lnTo>
                          <a:pt x="149" y="130"/>
                        </a:lnTo>
                        <a:lnTo>
                          <a:pt x="148" y="131"/>
                        </a:lnTo>
                        <a:lnTo>
                          <a:pt x="151" y="131"/>
                        </a:lnTo>
                        <a:lnTo>
                          <a:pt x="154" y="134"/>
                        </a:lnTo>
                        <a:lnTo>
                          <a:pt x="155" y="134"/>
                        </a:lnTo>
                        <a:lnTo>
                          <a:pt x="155" y="137"/>
                        </a:lnTo>
                        <a:lnTo>
                          <a:pt x="157" y="134"/>
                        </a:lnTo>
                        <a:lnTo>
                          <a:pt x="158" y="134"/>
                        </a:lnTo>
                        <a:lnTo>
                          <a:pt x="162" y="137"/>
                        </a:lnTo>
                        <a:lnTo>
                          <a:pt x="165" y="134"/>
                        </a:lnTo>
                        <a:lnTo>
                          <a:pt x="166" y="136"/>
                        </a:lnTo>
                        <a:lnTo>
                          <a:pt x="166" y="138"/>
                        </a:lnTo>
                        <a:lnTo>
                          <a:pt x="166" y="139"/>
                        </a:lnTo>
                        <a:lnTo>
                          <a:pt x="167" y="141"/>
                        </a:lnTo>
                        <a:lnTo>
                          <a:pt x="167" y="146"/>
                        </a:lnTo>
                        <a:lnTo>
                          <a:pt x="168" y="150"/>
                        </a:lnTo>
                        <a:lnTo>
                          <a:pt x="167" y="152"/>
                        </a:lnTo>
                        <a:lnTo>
                          <a:pt x="168" y="153"/>
                        </a:lnTo>
                        <a:lnTo>
                          <a:pt x="168" y="152"/>
                        </a:lnTo>
                        <a:lnTo>
                          <a:pt x="169" y="152"/>
                        </a:lnTo>
                        <a:lnTo>
                          <a:pt x="171" y="153"/>
                        </a:lnTo>
                        <a:lnTo>
                          <a:pt x="169" y="156"/>
                        </a:lnTo>
                        <a:lnTo>
                          <a:pt x="171" y="154"/>
                        </a:lnTo>
                        <a:lnTo>
                          <a:pt x="171" y="156"/>
                        </a:lnTo>
                        <a:lnTo>
                          <a:pt x="173" y="154"/>
                        </a:lnTo>
                        <a:lnTo>
                          <a:pt x="174" y="156"/>
                        </a:lnTo>
                        <a:lnTo>
                          <a:pt x="174" y="157"/>
                        </a:lnTo>
                        <a:lnTo>
                          <a:pt x="174" y="158"/>
                        </a:lnTo>
                        <a:lnTo>
                          <a:pt x="173" y="161"/>
                        </a:lnTo>
                        <a:lnTo>
                          <a:pt x="169" y="163"/>
                        </a:lnTo>
                        <a:lnTo>
                          <a:pt x="172" y="163"/>
                        </a:lnTo>
                        <a:lnTo>
                          <a:pt x="172" y="163"/>
                        </a:lnTo>
                        <a:lnTo>
                          <a:pt x="172" y="166"/>
                        </a:lnTo>
                        <a:lnTo>
                          <a:pt x="169" y="167"/>
                        </a:lnTo>
                        <a:lnTo>
                          <a:pt x="168" y="170"/>
                        </a:lnTo>
                        <a:lnTo>
                          <a:pt x="168" y="171"/>
                        </a:lnTo>
                        <a:lnTo>
                          <a:pt x="169" y="169"/>
                        </a:lnTo>
                        <a:lnTo>
                          <a:pt x="172" y="167"/>
                        </a:lnTo>
                        <a:lnTo>
                          <a:pt x="173" y="165"/>
                        </a:lnTo>
                        <a:lnTo>
                          <a:pt x="173" y="163"/>
                        </a:lnTo>
                        <a:lnTo>
                          <a:pt x="174" y="160"/>
                        </a:lnTo>
                        <a:lnTo>
                          <a:pt x="175" y="160"/>
                        </a:lnTo>
                        <a:lnTo>
                          <a:pt x="175" y="163"/>
                        </a:lnTo>
                        <a:lnTo>
                          <a:pt x="177" y="161"/>
                        </a:lnTo>
                        <a:lnTo>
                          <a:pt x="179" y="163"/>
                        </a:lnTo>
                        <a:lnTo>
                          <a:pt x="181" y="161"/>
                        </a:lnTo>
                        <a:lnTo>
                          <a:pt x="187" y="164"/>
                        </a:lnTo>
                        <a:lnTo>
                          <a:pt x="188" y="163"/>
                        </a:lnTo>
                        <a:lnTo>
                          <a:pt x="188" y="163"/>
                        </a:lnTo>
                        <a:lnTo>
                          <a:pt x="188" y="166"/>
                        </a:lnTo>
                        <a:lnTo>
                          <a:pt x="188" y="167"/>
                        </a:lnTo>
                        <a:lnTo>
                          <a:pt x="191" y="169"/>
                        </a:lnTo>
                        <a:lnTo>
                          <a:pt x="191" y="172"/>
                        </a:lnTo>
                        <a:lnTo>
                          <a:pt x="192" y="173"/>
                        </a:lnTo>
                        <a:lnTo>
                          <a:pt x="194" y="174"/>
                        </a:lnTo>
                        <a:lnTo>
                          <a:pt x="195" y="176"/>
                        </a:lnTo>
                        <a:lnTo>
                          <a:pt x="197" y="180"/>
                        </a:lnTo>
                        <a:lnTo>
                          <a:pt x="193" y="183"/>
                        </a:lnTo>
                        <a:lnTo>
                          <a:pt x="192" y="188"/>
                        </a:lnTo>
                        <a:lnTo>
                          <a:pt x="192" y="190"/>
                        </a:lnTo>
                        <a:lnTo>
                          <a:pt x="194" y="191"/>
                        </a:lnTo>
                        <a:lnTo>
                          <a:pt x="194" y="192"/>
                        </a:lnTo>
                        <a:lnTo>
                          <a:pt x="192" y="199"/>
                        </a:lnTo>
                        <a:lnTo>
                          <a:pt x="192" y="201"/>
                        </a:lnTo>
                        <a:lnTo>
                          <a:pt x="191" y="205"/>
                        </a:lnTo>
                        <a:lnTo>
                          <a:pt x="192" y="210"/>
                        </a:lnTo>
                        <a:lnTo>
                          <a:pt x="191" y="214"/>
                        </a:lnTo>
                        <a:lnTo>
                          <a:pt x="192" y="217"/>
                        </a:lnTo>
                        <a:lnTo>
                          <a:pt x="189" y="218"/>
                        </a:lnTo>
                        <a:lnTo>
                          <a:pt x="191" y="223"/>
                        </a:lnTo>
                        <a:lnTo>
                          <a:pt x="191" y="226"/>
                        </a:lnTo>
                        <a:lnTo>
                          <a:pt x="192" y="228"/>
                        </a:lnTo>
                        <a:lnTo>
                          <a:pt x="189" y="233"/>
                        </a:lnTo>
                        <a:lnTo>
                          <a:pt x="188" y="233"/>
                        </a:lnTo>
                        <a:lnTo>
                          <a:pt x="187" y="237"/>
                        </a:lnTo>
                        <a:lnTo>
                          <a:pt x="186" y="237"/>
                        </a:lnTo>
                        <a:lnTo>
                          <a:pt x="185" y="237"/>
                        </a:lnTo>
                        <a:lnTo>
                          <a:pt x="185" y="234"/>
                        </a:lnTo>
                        <a:lnTo>
                          <a:pt x="185" y="231"/>
                        </a:lnTo>
                        <a:lnTo>
                          <a:pt x="187" y="228"/>
                        </a:lnTo>
                        <a:lnTo>
                          <a:pt x="186" y="230"/>
                        </a:lnTo>
                        <a:lnTo>
                          <a:pt x="185" y="230"/>
                        </a:lnTo>
                        <a:lnTo>
                          <a:pt x="184" y="226"/>
                        </a:lnTo>
                        <a:lnTo>
                          <a:pt x="182" y="225"/>
                        </a:lnTo>
                        <a:lnTo>
                          <a:pt x="182" y="231"/>
                        </a:lnTo>
                        <a:lnTo>
                          <a:pt x="181" y="227"/>
                        </a:lnTo>
                        <a:lnTo>
                          <a:pt x="180" y="227"/>
                        </a:lnTo>
                        <a:lnTo>
                          <a:pt x="181" y="230"/>
                        </a:lnTo>
                        <a:lnTo>
                          <a:pt x="180" y="230"/>
                        </a:lnTo>
                        <a:lnTo>
                          <a:pt x="180" y="231"/>
                        </a:lnTo>
                        <a:lnTo>
                          <a:pt x="181" y="231"/>
                        </a:lnTo>
                        <a:lnTo>
                          <a:pt x="179" y="231"/>
                        </a:lnTo>
                        <a:lnTo>
                          <a:pt x="179" y="233"/>
                        </a:lnTo>
                        <a:lnTo>
                          <a:pt x="177" y="234"/>
                        </a:lnTo>
                        <a:lnTo>
                          <a:pt x="175" y="232"/>
                        </a:lnTo>
                        <a:lnTo>
                          <a:pt x="173" y="232"/>
                        </a:lnTo>
                        <a:lnTo>
                          <a:pt x="172" y="230"/>
                        </a:lnTo>
                        <a:lnTo>
                          <a:pt x="169" y="225"/>
                        </a:lnTo>
                        <a:lnTo>
                          <a:pt x="168" y="226"/>
                        </a:lnTo>
                        <a:lnTo>
                          <a:pt x="168" y="226"/>
                        </a:lnTo>
                        <a:lnTo>
                          <a:pt x="168" y="228"/>
                        </a:lnTo>
                        <a:lnTo>
                          <a:pt x="169" y="232"/>
                        </a:lnTo>
                        <a:lnTo>
                          <a:pt x="172" y="234"/>
                        </a:lnTo>
                        <a:lnTo>
                          <a:pt x="173" y="233"/>
                        </a:lnTo>
                        <a:lnTo>
                          <a:pt x="173" y="234"/>
                        </a:lnTo>
                        <a:lnTo>
                          <a:pt x="173" y="237"/>
                        </a:lnTo>
                        <a:lnTo>
                          <a:pt x="172" y="239"/>
                        </a:lnTo>
                        <a:lnTo>
                          <a:pt x="172" y="239"/>
                        </a:lnTo>
                        <a:lnTo>
                          <a:pt x="169" y="238"/>
                        </a:lnTo>
                        <a:lnTo>
                          <a:pt x="167" y="237"/>
                        </a:lnTo>
                        <a:lnTo>
                          <a:pt x="164" y="234"/>
                        </a:lnTo>
                        <a:lnTo>
                          <a:pt x="161" y="231"/>
                        </a:lnTo>
                        <a:lnTo>
                          <a:pt x="157" y="227"/>
                        </a:lnTo>
                        <a:lnTo>
                          <a:pt x="157" y="223"/>
                        </a:lnTo>
                        <a:lnTo>
                          <a:pt x="155" y="221"/>
                        </a:lnTo>
                        <a:lnTo>
                          <a:pt x="155" y="219"/>
                        </a:lnTo>
                        <a:lnTo>
                          <a:pt x="155" y="216"/>
                        </a:lnTo>
                        <a:lnTo>
                          <a:pt x="154" y="216"/>
                        </a:lnTo>
                        <a:lnTo>
                          <a:pt x="153" y="219"/>
                        </a:lnTo>
                        <a:lnTo>
                          <a:pt x="152" y="218"/>
                        </a:lnTo>
                        <a:lnTo>
                          <a:pt x="151" y="217"/>
                        </a:lnTo>
                        <a:lnTo>
                          <a:pt x="149" y="216"/>
                        </a:lnTo>
                        <a:lnTo>
                          <a:pt x="146" y="212"/>
                        </a:lnTo>
                        <a:lnTo>
                          <a:pt x="145" y="210"/>
                        </a:lnTo>
                        <a:lnTo>
                          <a:pt x="141" y="206"/>
                        </a:lnTo>
                        <a:lnTo>
                          <a:pt x="139" y="205"/>
                        </a:lnTo>
                        <a:lnTo>
                          <a:pt x="134" y="205"/>
                        </a:lnTo>
                        <a:lnTo>
                          <a:pt x="132" y="200"/>
                        </a:lnTo>
                        <a:lnTo>
                          <a:pt x="129" y="194"/>
                        </a:lnTo>
                        <a:lnTo>
                          <a:pt x="128" y="194"/>
                        </a:lnTo>
                        <a:lnTo>
                          <a:pt x="127" y="188"/>
                        </a:lnTo>
                        <a:lnTo>
                          <a:pt x="126" y="187"/>
                        </a:lnTo>
                        <a:lnTo>
                          <a:pt x="124" y="190"/>
                        </a:lnTo>
                        <a:lnTo>
                          <a:pt x="121" y="185"/>
                        </a:lnTo>
                        <a:lnTo>
                          <a:pt x="120" y="183"/>
                        </a:lnTo>
                        <a:lnTo>
                          <a:pt x="119" y="183"/>
                        </a:lnTo>
                        <a:lnTo>
                          <a:pt x="117" y="180"/>
                        </a:lnTo>
                        <a:lnTo>
                          <a:pt x="118" y="178"/>
                        </a:lnTo>
                        <a:lnTo>
                          <a:pt x="113" y="177"/>
                        </a:lnTo>
                        <a:lnTo>
                          <a:pt x="112" y="173"/>
                        </a:lnTo>
                        <a:lnTo>
                          <a:pt x="112" y="172"/>
                        </a:lnTo>
                        <a:lnTo>
                          <a:pt x="111" y="170"/>
                        </a:lnTo>
                        <a:lnTo>
                          <a:pt x="107" y="166"/>
                        </a:lnTo>
                        <a:lnTo>
                          <a:pt x="105" y="164"/>
                        </a:lnTo>
                        <a:lnTo>
                          <a:pt x="105" y="163"/>
                        </a:lnTo>
                        <a:lnTo>
                          <a:pt x="104" y="161"/>
                        </a:lnTo>
                        <a:lnTo>
                          <a:pt x="101" y="158"/>
                        </a:lnTo>
                        <a:lnTo>
                          <a:pt x="102" y="156"/>
                        </a:lnTo>
                        <a:lnTo>
                          <a:pt x="102" y="153"/>
                        </a:lnTo>
                        <a:lnTo>
                          <a:pt x="100" y="150"/>
                        </a:lnTo>
                        <a:lnTo>
                          <a:pt x="99" y="150"/>
                        </a:lnTo>
                        <a:lnTo>
                          <a:pt x="98" y="145"/>
                        </a:lnTo>
                        <a:lnTo>
                          <a:pt x="98" y="144"/>
                        </a:lnTo>
                        <a:lnTo>
                          <a:pt x="97" y="141"/>
                        </a:lnTo>
                        <a:lnTo>
                          <a:pt x="95" y="140"/>
                        </a:lnTo>
                        <a:lnTo>
                          <a:pt x="94" y="140"/>
                        </a:lnTo>
                        <a:lnTo>
                          <a:pt x="94" y="138"/>
                        </a:lnTo>
                        <a:lnTo>
                          <a:pt x="93" y="137"/>
                        </a:lnTo>
                        <a:lnTo>
                          <a:pt x="94" y="136"/>
                        </a:lnTo>
                        <a:lnTo>
                          <a:pt x="93" y="134"/>
                        </a:lnTo>
                        <a:lnTo>
                          <a:pt x="93" y="132"/>
                        </a:lnTo>
                        <a:lnTo>
                          <a:pt x="93" y="131"/>
                        </a:lnTo>
                        <a:lnTo>
                          <a:pt x="92" y="130"/>
                        </a:lnTo>
                        <a:lnTo>
                          <a:pt x="89" y="126"/>
                        </a:lnTo>
                        <a:lnTo>
                          <a:pt x="87" y="124"/>
                        </a:lnTo>
                        <a:lnTo>
                          <a:pt x="86" y="123"/>
                        </a:lnTo>
                        <a:lnTo>
                          <a:pt x="84" y="120"/>
                        </a:lnTo>
                        <a:lnTo>
                          <a:pt x="82" y="116"/>
                        </a:lnTo>
                        <a:lnTo>
                          <a:pt x="79" y="111"/>
                        </a:lnTo>
                        <a:lnTo>
                          <a:pt x="80" y="112"/>
                        </a:lnTo>
                        <a:lnTo>
                          <a:pt x="78" y="112"/>
                        </a:lnTo>
                        <a:lnTo>
                          <a:pt x="75" y="110"/>
                        </a:lnTo>
                        <a:lnTo>
                          <a:pt x="74" y="113"/>
                        </a:lnTo>
                        <a:lnTo>
                          <a:pt x="73" y="111"/>
                        </a:lnTo>
                        <a:lnTo>
                          <a:pt x="72" y="110"/>
                        </a:lnTo>
                        <a:lnTo>
                          <a:pt x="71" y="109"/>
                        </a:lnTo>
                        <a:lnTo>
                          <a:pt x="72" y="107"/>
                        </a:lnTo>
                        <a:lnTo>
                          <a:pt x="71" y="107"/>
                        </a:lnTo>
                        <a:lnTo>
                          <a:pt x="71" y="106"/>
                        </a:lnTo>
                        <a:lnTo>
                          <a:pt x="71" y="101"/>
                        </a:lnTo>
                        <a:lnTo>
                          <a:pt x="69" y="101"/>
                        </a:lnTo>
                        <a:lnTo>
                          <a:pt x="69" y="99"/>
                        </a:lnTo>
                        <a:lnTo>
                          <a:pt x="71" y="97"/>
                        </a:lnTo>
                        <a:lnTo>
                          <a:pt x="68" y="96"/>
                        </a:lnTo>
                        <a:lnTo>
                          <a:pt x="67" y="93"/>
                        </a:lnTo>
                        <a:lnTo>
                          <a:pt x="66" y="90"/>
                        </a:lnTo>
                        <a:lnTo>
                          <a:pt x="66" y="89"/>
                        </a:lnTo>
                        <a:lnTo>
                          <a:pt x="66" y="89"/>
                        </a:lnTo>
                        <a:lnTo>
                          <a:pt x="65" y="85"/>
                        </a:lnTo>
                        <a:lnTo>
                          <a:pt x="64" y="83"/>
                        </a:lnTo>
                        <a:lnTo>
                          <a:pt x="64" y="83"/>
                        </a:lnTo>
                        <a:lnTo>
                          <a:pt x="65" y="84"/>
                        </a:lnTo>
                        <a:lnTo>
                          <a:pt x="66" y="81"/>
                        </a:lnTo>
                        <a:lnTo>
                          <a:pt x="66" y="80"/>
                        </a:lnTo>
                        <a:lnTo>
                          <a:pt x="64" y="79"/>
                        </a:lnTo>
                        <a:lnTo>
                          <a:pt x="64" y="79"/>
                        </a:lnTo>
                        <a:lnTo>
                          <a:pt x="64" y="79"/>
                        </a:lnTo>
                        <a:lnTo>
                          <a:pt x="60" y="76"/>
                        </a:lnTo>
                        <a:lnTo>
                          <a:pt x="59" y="73"/>
                        </a:lnTo>
                        <a:lnTo>
                          <a:pt x="55" y="72"/>
                        </a:lnTo>
                        <a:lnTo>
                          <a:pt x="54" y="72"/>
                        </a:lnTo>
                        <a:lnTo>
                          <a:pt x="53" y="70"/>
                        </a:lnTo>
                        <a:lnTo>
                          <a:pt x="50" y="69"/>
                        </a:lnTo>
                        <a:lnTo>
                          <a:pt x="50" y="69"/>
                        </a:lnTo>
                        <a:lnTo>
                          <a:pt x="47" y="67"/>
                        </a:lnTo>
                        <a:lnTo>
                          <a:pt x="46" y="69"/>
                        </a:lnTo>
                        <a:lnTo>
                          <a:pt x="45" y="66"/>
                        </a:lnTo>
                        <a:lnTo>
                          <a:pt x="46" y="61"/>
                        </a:lnTo>
                        <a:lnTo>
                          <a:pt x="46" y="59"/>
                        </a:lnTo>
                        <a:lnTo>
                          <a:pt x="45" y="58"/>
                        </a:lnTo>
                        <a:lnTo>
                          <a:pt x="44" y="57"/>
                        </a:lnTo>
                        <a:lnTo>
                          <a:pt x="44" y="56"/>
                        </a:lnTo>
                        <a:lnTo>
                          <a:pt x="40" y="56"/>
                        </a:lnTo>
                        <a:lnTo>
                          <a:pt x="39" y="53"/>
                        </a:lnTo>
                        <a:lnTo>
                          <a:pt x="38" y="50"/>
                        </a:lnTo>
                        <a:lnTo>
                          <a:pt x="35" y="49"/>
                        </a:lnTo>
                        <a:lnTo>
                          <a:pt x="31" y="40"/>
                        </a:lnTo>
                        <a:lnTo>
                          <a:pt x="30" y="39"/>
                        </a:lnTo>
                        <a:lnTo>
                          <a:pt x="27" y="38"/>
                        </a:lnTo>
                        <a:lnTo>
                          <a:pt x="25" y="39"/>
                        </a:lnTo>
                        <a:lnTo>
                          <a:pt x="24" y="38"/>
                        </a:lnTo>
                        <a:lnTo>
                          <a:pt x="21" y="34"/>
                        </a:lnTo>
                        <a:lnTo>
                          <a:pt x="18" y="31"/>
                        </a:lnTo>
                        <a:lnTo>
                          <a:pt x="14" y="27"/>
                        </a:lnTo>
                        <a:lnTo>
                          <a:pt x="8" y="20"/>
                        </a:lnTo>
                        <a:lnTo>
                          <a:pt x="6" y="20"/>
                        </a:lnTo>
                        <a:lnTo>
                          <a:pt x="2" y="11"/>
                        </a:lnTo>
                        <a:lnTo>
                          <a:pt x="1" y="7"/>
                        </a:lnTo>
                        <a:lnTo>
                          <a:pt x="0" y="7"/>
                        </a:lnTo>
                        <a:lnTo>
                          <a:pt x="1" y="4"/>
                        </a:lnTo>
                        <a:lnTo>
                          <a:pt x="0" y="3"/>
                        </a:lnTo>
                        <a:lnTo>
                          <a:pt x="1" y="2"/>
                        </a:lnTo>
                        <a:lnTo>
                          <a:pt x="1" y="2"/>
                        </a:lnTo>
                        <a:close/>
                        <a:moveTo>
                          <a:pt x="314" y="267"/>
                        </a:moveTo>
                        <a:lnTo>
                          <a:pt x="314" y="267"/>
                        </a:lnTo>
                        <a:lnTo>
                          <a:pt x="312" y="265"/>
                        </a:lnTo>
                        <a:lnTo>
                          <a:pt x="312" y="263"/>
                        </a:lnTo>
                        <a:lnTo>
                          <a:pt x="314" y="259"/>
                        </a:lnTo>
                        <a:lnTo>
                          <a:pt x="318" y="260"/>
                        </a:lnTo>
                        <a:lnTo>
                          <a:pt x="321" y="261"/>
                        </a:lnTo>
                        <a:lnTo>
                          <a:pt x="324" y="261"/>
                        </a:lnTo>
                        <a:lnTo>
                          <a:pt x="327" y="260"/>
                        </a:lnTo>
                        <a:lnTo>
                          <a:pt x="329" y="259"/>
                        </a:lnTo>
                        <a:lnTo>
                          <a:pt x="331" y="260"/>
                        </a:lnTo>
                        <a:lnTo>
                          <a:pt x="332" y="260"/>
                        </a:lnTo>
                        <a:lnTo>
                          <a:pt x="334" y="261"/>
                        </a:lnTo>
                        <a:lnTo>
                          <a:pt x="334" y="261"/>
                        </a:lnTo>
                        <a:lnTo>
                          <a:pt x="333" y="263"/>
                        </a:lnTo>
                        <a:lnTo>
                          <a:pt x="331" y="264"/>
                        </a:lnTo>
                        <a:lnTo>
                          <a:pt x="328" y="264"/>
                        </a:lnTo>
                        <a:lnTo>
                          <a:pt x="328" y="265"/>
                        </a:lnTo>
                        <a:lnTo>
                          <a:pt x="326" y="266"/>
                        </a:lnTo>
                        <a:lnTo>
                          <a:pt x="322" y="266"/>
                        </a:lnTo>
                        <a:lnTo>
                          <a:pt x="319" y="265"/>
                        </a:lnTo>
                        <a:lnTo>
                          <a:pt x="316" y="266"/>
                        </a:lnTo>
                        <a:lnTo>
                          <a:pt x="314" y="267"/>
                        </a:lnTo>
                        <a:lnTo>
                          <a:pt x="314" y="267"/>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524" name="Freeform 302">
                    <a:extLst>
                      <a:ext uri="{FF2B5EF4-FFF2-40B4-BE49-F238E27FC236}">
                        <a16:creationId xmlns:a16="http://schemas.microsoft.com/office/drawing/2014/main" id="{1DDDDFE2-9B0D-A946-A278-3A980C442910}"/>
                      </a:ext>
                    </a:extLst>
                  </p:cNvPr>
                  <p:cNvSpPr>
                    <a:spLocks/>
                  </p:cNvSpPr>
                  <p:nvPr/>
                </p:nvSpPr>
                <p:spPr bwMode="auto">
                  <a:xfrm>
                    <a:off x="8491647" y="4277786"/>
                    <a:ext cx="186503" cy="244383"/>
                  </a:xfrm>
                  <a:custGeom>
                    <a:avLst/>
                    <a:gdLst>
                      <a:gd name="T0" fmla="*/ 91 w 116"/>
                      <a:gd name="T1" fmla="*/ 18 h 152"/>
                      <a:gd name="T2" fmla="*/ 104 w 116"/>
                      <a:gd name="T3" fmla="*/ 12 h 152"/>
                      <a:gd name="T4" fmla="*/ 105 w 116"/>
                      <a:gd name="T5" fmla="*/ 6 h 152"/>
                      <a:gd name="T6" fmla="*/ 112 w 116"/>
                      <a:gd name="T7" fmla="*/ 0 h 152"/>
                      <a:gd name="T8" fmla="*/ 116 w 116"/>
                      <a:gd name="T9" fmla="*/ 6 h 152"/>
                      <a:gd name="T10" fmla="*/ 92 w 116"/>
                      <a:gd name="T11" fmla="*/ 29 h 152"/>
                      <a:gd name="T12" fmla="*/ 77 w 116"/>
                      <a:gd name="T13" fmla="*/ 25 h 152"/>
                      <a:gd name="T14" fmla="*/ 51 w 116"/>
                      <a:gd name="T15" fmla="*/ 24 h 152"/>
                      <a:gd name="T16" fmla="*/ 34 w 116"/>
                      <a:gd name="T17" fmla="*/ 25 h 152"/>
                      <a:gd name="T18" fmla="*/ 22 w 116"/>
                      <a:gd name="T19" fmla="*/ 43 h 152"/>
                      <a:gd name="T20" fmla="*/ 31 w 116"/>
                      <a:gd name="T21" fmla="*/ 56 h 152"/>
                      <a:gd name="T22" fmla="*/ 37 w 116"/>
                      <a:gd name="T23" fmla="*/ 63 h 152"/>
                      <a:gd name="T24" fmla="*/ 48 w 116"/>
                      <a:gd name="T25" fmla="*/ 53 h 152"/>
                      <a:gd name="T26" fmla="*/ 60 w 116"/>
                      <a:gd name="T27" fmla="*/ 55 h 152"/>
                      <a:gd name="T28" fmla="*/ 75 w 116"/>
                      <a:gd name="T29" fmla="*/ 51 h 152"/>
                      <a:gd name="T30" fmla="*/ 83 w 116"/>
                      <a:gd name="T31" fmla="*/ 49 h 152"/>
                      <a:gd name="T32" fmla="*/ 78 w 116"/>
                      <a:gd name="T33" fmla="*/ 52 h 152"/>
                      <a:gd name="T34" fmla="*/ 71 w 116"/>
                      <a:gd name="T35" fmla="*/ 58 h 152"/>
                      <a:gd name="T36" fmla="*/ 56 w 116"/>
                      <a:gd name="T37" fmla="*/ 70 h 152"/>
                      <a:gd name="T38" fmla="*/ 47 w 116"/>
                      <a:gd name="T39" fmla="*/ 71 h 152"/>
                      <a:gd name="T40" fmla="*/ 47 w 116"/>
                      <a:gd name="T41" fmla="*/ 75 h 152"/>
                      <a:gd name="T42" fmla="*/ 56 w 116"/>
                      <a:gd name="T43" fmla="*/ 85 h 152"/>
                      <a:gd name="T44" fmla="*/ 64 w 116"/>
                      <a:gd name="T45" fmla="*/ 95 h 152"/>
                      <a:gd name="T46" fmla="*/ 64 w 116"/>
                      <a:gd name="T47" fmla="*/ 100 h 152"/>
                      <a:gd name="T48" fmla="*/ 64 w 116"/>
                      <a:gd name="T49" fmla="*/ 104 h 152"/>
                      <a:gd name="T50" fmla="*/ 62 w 116"/>
                      <a:gd name="T51" fmla="*/ 107 h 152"/>
                      <a:gd name="T52" fmla="*/ 70 w 116"/>
                      <a:gd name="T53" fmla="*/ 115 h 152"/>
                      <a:gd name="T54" fmla="*/ 70 w 116"/>
                      <a:gd name="T55" fmla="*/ 119 h 152"/>
                      <a:gd name="T56" fmla="*/ 74 w 116"/>
                      <a:gd name="T57" fmla="*/ 117 h 152"/>
                      <a:gd name="T58" fmla="*/ 71 w 116"/>
                      <a:gd name="T59" fmla="*/ 125 h 152"/>
                      <a:gd name="T60" fmla="*/ 67 w 116"/>
                      <a:gd name="T61" fmla="*/ 125 h 152"/>
                      <a:gd name="T62" fmla="*/ 61 w 116"/>
                      <a:gd name="T63" fmla="*/ 132 h 152"/>
                      <a:gd name="T64" fmla="*/ 50 w 116"/>
                      <a:gd name="T65" fmla="*/ 133 h 152"/>
                      <a:gd name="T66" fmla="*/ 50 w 116"/>
                      <a:gd name="T67" fmla="*/ 122 h 152"/>
                      <a:gd name="T68" fmla="*/ 44 w 116"/>
                      <a:gd name="T69" fmla="*/ 113 h 152"/>
                      <a:gd name="T70" fmla="*/ 37 w 116"/>
                      <a:gd name="T71" fmla="*/ 105 h 152"/>
                      <a:gd name="T72" fmla="*/ 41 w 116"/>
                      <a:gd name="T73" fmla="*/ 92 h 152"/>
                      <a:gd name="T74" fmla="*/ 36 w 116"/>
                      <a:gd name="T75" fmla="*/ 89 h 152"/>
                      <a:gd name="T76" fmla="*/ 27 w 116"/>
                      <a:gd name="T77" fmla="*/ 99 h 152"/>
                      <a:gd name="T78" fmla="*/ 30 w 116"/>
                      <a:gd name="T79" fmla="*/ 118 h 152"/>
                      <a:gd name="T80" fmla="*/ 28 w 116"/>
                      <a:gd name="T81" fmla="*/ 133 h 152"/>
                      <a:gd name="T82" fmla="*/ 30 w 116"/>
                      <a:gd name="T83" fmla="*/ 149 h 152"/>
                      <a:gd name="T84" fmla="*/ 20 w 116"/>
                      <a:gd name="T85" fmla="*/ 152 h 152"/>
                      <a:gd name="T86" fmla="*/ 14 w 116"/>
                      <a:gd name="T87" fmla="*/ 150 h 152"/>
                      <a:gd name="T88" fmla="*/ 10 w 116"/>
                      <a:gd name="T89" fmla="*/ 146 h 152"/>
                      <a:gd name="T90" fmla="*/ 14 w 116"/>
                      <a:gd name="T91" fmla="*/ 135 h 152"/>
                      <a:gd name="T92" fmla="*/ 15 w 116"/>
                      <a:gd name="T93" fmla="*/ 116 h 152"/>
                      <a:gd name="T94" fmla="*/ 9 w 116"/>
                      <a:gd name="T95" fmla="*/ 105 h 152"/>
                      <a:gd name="T96" fmla="*/ 1 w 116"/>
                      <a:gd name="T97" fmla="*/ 100 h 152"/>
                      <a:gd name="T98" fmla="*/ 2 w 116"/>
                      <a:gd name="T99" fmla="*/ 93 h 152"/>
                      <a:gd name="T100" fmla="*/ 4 w 116"/>
                      <a:gd name="T101" fmla="*/ 88 h 152"/>
                      <a:gd name="T102" fmla="*/ 9 w 116"/>
                      <a:gd name="T103" fmla="*/ 75 h 152"/>
                      <a:gd name="T104" fmla="*/ 10 w 116"/>
                      <a:gd name="T105" fmla="*/ 60 h 152"/>
                      <a:gd name="T106" fmla="*/ 17 w 116"/>
                      <a:gd name="T107" fmla="*/ 49 h 152"/>
                      <a:gd name="T108" fmla="*/ 18 w 116"/>
                      <a:gd name="T109" fmla="*/ 38 h 152"/>
                      <a:gd name="T110" fmla="*/ 18 w 116"/>
                      <a:gd name="T111" fmla="*/ 37 h 152"/>
                      <a:gd name="T112" fmla="*/ 18 w 116"/>
                      <a:gd name="T113" fmla="*/ 30 h 152"/>
                      <a:gd name="T114" fmla="*/ 23 w 116"/>
                      <a:gd name="T115" fmla="*/ 20 h 152"/>
                      <a:gd name="T116" fmla="*/ 28 w 116"/>
                      <a:gd name="T117" fmla="*/ 16 h 152"/>
                      <a:gd name="T118" fmla="*/ 35 w 116"/>
                      <a:gd name="T119" fmla="*/ 16 h 152"/>
                      <a:gd name="T120" fmla="*/ 44 w 116"/>
                      <a:gd name="T121" fmla="*/ 10 h 152"/>
                      <a:gd name="T122" fmla="*/ 49 w 116"/>
                      <a:gd name="T123" fmla="*/ 13 h 152"/>
                      <a:gd name="T124" fmla="*/ 60 w 116"/>
                      <a:gd name="T125" fmla="*/ 15 h 1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16" h="152">
                        <a:moveTo>
                          <a:pt x="74" y="19"/>
                        </a:moveTo>
                        <a:lnTo>
                          <a:pt x="75" y="17"/>
                        </a:lnTo>
                        <a:lnTo>
                          <a:pt x="75" y="16"/>
                        </a:lnTo>
                        <a:lnTo>
                          <a:pt x="82" y="17"/>
                        </a:lnTo>
                        <a:lnTo>
                          <a:pt x="91" y="18"/>
                        </a:lnTo>
                        <a:lnTo>
                          <a:pt x="94" y="18"/>
                        </a:lnTo>
                        <a:lnTo>
                          <a:pt x="99" y="15"/>
                        </a:lnTo>
                        <a:lnTo>
                          <a:pt x="101" y="12"/>
                        </a:lnTo>
                        <a:lnTo>
                          <a:pt x="103" y="11"/>
                        </a:lnTo>
                        <a:lnTo>
                          <a:pt x="104" y="12"/>
                        </a:lnTo>
                        <a:lnTo>
                          <a:pt x="105" y="11"/>
                        </a:lnTo>
                        <a:lnTo>
                          <a:pt x="105" y="10"/>
                        </a:lnTo>
                        <a:lnTo>
                          <a:pt x="104" y="10"/>
                        </a:lnTo>
                        <a:lnTo>
                          <a:pt x="103" y="9"/>
                        </a:lnTo>
                        <a:lnTo>
                          <a:pt x="105" y="6"/>
                        </a:lnTo>
                        <a:lnTo>
                          <a:pt x="108" y="6"/>
                        </a:lnTo>
                        <a:lnTo>
                          <a:pt x="109" y="6"/>
                        </a:lnTo>
                        <a:lnTo>
                          <a:pt x="109" y="4"/>
                        </a:lnTo>
                        <a:lnTo>
                          <a:pt x="111" y="0"/>
                        </a:lnTo>
                        <a:lnTo>
                          <a:pt x="112" y="0"/>
                        </a:lnTo>
                        <a:lnTo>
                          <a:pt x="112" y="2"/>
                        </a:lnTo>
                        <a:lnTo>
                          <a:pt x="115" y="2"/>
                        </a:lnTo>
                        <a:lnTo>
                          <a:pt x="115" y="4"/>
                        </a:lnTo>
                        <a:lnTo>
                          <a:pt x="116" y="5"/>
                        </a:lnTo>
                        <a:lnTo>
                          <a:pt x="116" y="6"/>
                        </a:lnTo>
                        <a:lnTo>
                          <a:pt x="114" y="8"/>
                        </a:lnTo>
                        <a:lnTo>
                          <a:pt x="110" y="16"/>
                        </a:lnTo>
                        <a:lnTo>
                          <a:pt x="107" y="19"/>
                        </a:lnTo>
                        <a:lnTo>
                          <a:pt x="102" y="26"/>
                        </a:lnTo>
                        <a:lnTo>
                          <a:pt x="92" y="29"/>
                        </a:lnTo>
                        <a:lnTo>
                          <a:pt x="88" y="30"/>
                        </a:lnTo>
                        <a:lnTo>
                          <a:pt x="87" y="29"/>
                        </a:lnTo>
                        <a:lnTo>
                          <a:pt x="82" y="30"/>
                        </a:lnTo>
                        <a:lnTo>
                          <a:pt x="81" y="29"/>
                        </a:lnTo>
                        <a:lnTo>
                          <a:pt x="77" y="25"/>
                        </a:lnTo>
                        <a:lnTo>
                          <a:pt x="76" y="26"/>
                        </a:lnTo>
                        <a:lnTo>
                          <a:pt x="67" y="25"/>
                        </a:lnTo>
                        <a:lnTo>
                          <a:pt x="58" y="26"/>
                        </a:lnTo>
                        <a:lnTo>
                          <a:pt x="55" y="26"/>
                        </a:lnTo>
                        <a:lnTo>
                          <a:pt x="51" y="24"/>
                        </a:lnTo>
                        <a:lnTo>
                          <a:pt x="45" y="26"/>
                        </a:lnTo>
                        <a:lnTo>
                          <a:pt x="44" y="26"/>
                        </a:lnTo>
                        <a:lnTo>
                          <a:pt x="42" y="28"/>
                        </a:lnTo>
                        <a:lnTo>
                          <a:pt x="35" y="26"/>
                        </a:lnTo>
                        <a:lnTo>
                          <a:pt x="34" y="25"/>
                        </a:lnTo>
                        <a:lnTo>
                          <a:pt x="31" y="25"/>
                        </a:lnTo>
                        <a:lnTo>
                          <a:pt x="29" y="26"/>
                        </a:lnTo>
                        <a:lnTo>
                          <a:pt x="24" y="31"/>
                        </a:lnTo>
                        <a:lnTo>
                          <a:pt x="22" y="39"/>
                        </a:lnTo>
                        <a:lnTo>
                          <a:pt x="22" y="43"/>
                        </a:lnTo>
                        <a:lnTo>
                          <a:pt x="23" y="49"/>
                        </a:lnTo>
                        <a:lnTo>
                          <a:pt x="27" y="53"/>
                        </a:lnTo>
                        <a:lnTo>
                          <a:pt x="28" y="55"/>
                        </a:lnTo>
                        <a:lnTo>
                          <a:pt x="29" y="53"/>
                        </a:lnTo>
                        <a:lnTo>
                          <a:pt x="31" y="56"/>
                        </a:lnTo>
                        <a:lnTo>
                          <a:pt x="32" y="58"/>
                        </a:lnTo>
                        <a:lnTo>
                          <a:pt x="32" y="60"/>
                        </a:lnTo>
                        <a:lnTo>
                          <a:pt x="34" y="64"/>
                        </a:lnTo>
                        <a:lnTo>
                          <a:pt x="35" y="63"/>
                        </a:lnTo>
                        <a:lnTo>
                          <a:pt x="37" y="63"/>
                        </a:lnTo>
                        <a:lnTo>
                          <a:pt x="37" y="63"/>
                        </a:lnTo>
                        <a:lnTo>
                          <a:pt x="41" y="64"/>
                        </a:lnTo>
                        <a:lnTo>
                          <a:pt x="42" y="64"/>
                        </a:lnTo>
                        <a:lnTo>
                          <a:pt x="47" y="56"/>
                        </a:lnTo>
                        <a:lnTo>
                          <a:pt x="48" y="53"/>
                        </a:lnTo>
                        <a:lnTo>
                          <a:pt x="51" y="52"/>
                        </a:lnTo>
                        <a:lnTo>
                          <a:pt x="51" y="52"/>
                        </a:lnTo>
                        <a:lnTo>
                          <a:pt x="52" y="55"/>
                        </a:lnTo>
                        <a:lnTo>
                          <a:pt x="56" y="55"/>
                        </a:lnTo>
                        <a:lnTo>
                          <a:pt x="60" y="55"/>
                        </a:lnTo>
                        <a:lnTo>
                          <a:pt x="61" y="51"/>
                        </a:lnTo>
                        <a:lnTo>
                          <a:pt x="62" y="51"/>
                        </a:lnTo>
                        <a:lnTo>
                          <a:pt x="69" y="51"/>
                        </a:lnTo>
                        <a:lnTo>
                          <a:pt x="71" y="51"/>
                        </a:lnTo>
                        <a:lnTo>
                          <a:pt x="75" y="51"/>
                        </a:lnTo>
                        <a:lnTo>
                          <a:pt x="75" y="50"/>
                        </a:lnTo>
                        <a:lnTo>
                          <a:pt x="71" y="49"/>
                        </a:lnTo>
                        <a:lnTo>
                          <a:pt x="71" y="49"/>
                        </a:lnTo>
                        <a:lnTo>
                          <a:pt x="80" y="48"/>
                        </a:lnTo>
                        <a:lnTo>
                          <a:pt x="83" y="49"/>
                        </a:lnTo>
                        <a:lnTo>
                          <a:pt x="84" y="52"/>
                        </a:lnTo>
                        <a:lnTo>
                          <a:pt x="82" y="57"/>
                        </a:lnTo>
                        <a:lnTo>
                          <a:pt x="82" y="57"/>
                        </a:lnTo>
                        <a:lnTo>
                          <a:pt x="81" y="57"/>
                        </a:lnTo>
                        <a:lnTo>
                          <a:pt x="78" y="52"/>
                        </a:lnTo>
                        <a:lnTo>
                          <a:pt x="77" y="53"/>
                        </a:lnTo>
                        <a:lnTo>
                          <a:pt x="76" y="53"/>
                        </a:lnTo>
                        <a:lnTo>
                          <a:pt x="74" y="53"/>
                        </a:lnTo>
                        <a:lnTo>
                          <a:pt x="72" y="55"/>
                        </a:lnTo>
                        <a:lnTo>
                          <a:pt x="71" y="58"/>
                        </a:lnTo>
                        <a:lnTo>
                          <a:pt x="70" y="59"/>
                        </a:lnTo>
                        <a:lnTo>
                          <a:pt x="67" y="63"/>
                        </a:lnTo>
                        <a:lnTo>
                          <a:pt x="61" y="69"/>
                        </a:lnTo>
                        <a:lnTo>
                          <a:pt x="58" y="69"/>
                        </a:lnTo>
                        <a:lnTo>
                          <a:pt x="56" y="70"/>
                        </a:lnTo>
                        <a:lnTo>
                          <a:pt x="55" y="70"/>
                        </a:lnTo>
                        <a:lnTo>
                          <a:pt x="52" y="73"/>
                        </a:lnTo>
                        <a:lnTo>
                          <a:pt x="52" y="75"/>
                        </a:lnTo>
                        <a:lnTo>
                          <a:pt x="50" y="75"/>
                        </a:lnTo>
                        <a:lnTo>
                          <a:pt x="47" y="71"/>
                        </a:lnTo>
                        <a:lnTo>
                          <a:pt x="45" y="71"/>
                        </a:lnTo>
                        <a:lnTo>
                          <a:pt x="45" y="72"/>
                        </a:lnTo>
                        <a:lnTo>
                          <a:pt x="47" y="72"/>
                        </a:lnTo>
                        <a:lnTo>
                          <a:pt x="47" y="76"/>
                        </a:lnTo>
                        <a:lnTo>
                          <a:pt x="47" y="75"/>
                        </a:lnTo>
                        <a:lnTo>
                          <a:pt x="49" y="77"/>
                        </a:lnTo>
                        <a:lnTo>
                          <a:pt x="50" y="79"/>
                        </a:lnTo>
                        <a:lnTo>
                          <a:pt x="50" y="79"/>
                        </a:lnTo>
                        <a:lnTo>
                          <a:pt x="52" y="79"/>
                        </a:lnTo>
                        <a:lnTo>
                          <a:pt x="56" y="85"/>
                        </a:lnTo>
                        <a:lnTo>
                          <a:pt x="58" y="89"/>
                        </a:lnTo>
                        <a:lnTo>
                          <a:pt x="58" y="90"/>
                        </a:lnTo>
                        <a:lnTo>
                          <a:pt x="62" y="93"/>
                        </a:lnTo>
                        <a:lnTo>
                          <a:pt x="63" y="93"/>
                        </a:lnTo>
                        <a:lnTo>
                          <a:pt x="64" y="95"/>
                        </a:lnTo>
                        <a:lnTo>
                          <a:pt x="63" y="97"/>
                        </a:lnTo>
                        <a:lnTo>
                          <a:pt x="65" y="99"/>
                        </a:lnTo>
                        <a:lnTo>
                          <a:pt x="67" y="99"/>
                        </a:lnTo>
                        <a:lnTo>
                          <a:pt x="65" y="102"/>
                        </a:lnTo>
                        <a:lnTo>
                          <a:pt x="64" y="100"/>
                        </a:lnTo>
                        <a:lnTo>
                          <a:pt x="63" y="102"/>
                        </a:lnTo>
                        <a:lnTo>
                          <a:pt x="63" y="103"/>
                        </a:lnTo>
                        <a:lnTo>
                          <a:pt x="64" y="104"/>
                        </a:lnTo>
                        <a:lnTo>
                          <a:pt x="65" y="105"/>
                        </a:lnTo>
                        <a:lnTo>
                          <a:pt x="64" y="104"/>
                        </a:lnTo>
                        <a:lnTo>
                          <a:pt x="63" y="104"/>
                        </a:lnTo>
                        <a:lnTo>
                          <a:pt x="63" y="104"/>
                        </a:lnTo>
                        <a:lnTo>
                          <a:pt x="63" y="105"/>
                        </a:lnTo>
                        <a:lnTo>
                          <a:pt x="63" y="106"/>
                        </a:lnTo>
                        <a:lnTo>
                          <a:pt x="62" y="107"/>
                        </a:lnTo>
                        <a:lnTo>
                          <a:pt x="62" y="109"/>
                        </a:lnTo>
                        <a:lnTo>
                          <a:pt x="64" y="111"/>
                        </a:lnTo>
                        <a:lnTo>
                          <a:pt x="65" y="111"/>
                        </a:lnTo>
                        <a:lnTo>
                          <a:pt x="68" y="113"/>
                        </a:lnTo>
                        <a:lnTo>
                          <a:pt x="70" y="115"/>
                        </a:lnTo>
                        <a:lnTo>
                          <a:pt x="69" y="116"/>
                        </a:lnTo>
                        <a:lnTo>
                          <a:pt x="68" y="116"/>
                        </a:lnTo>
                        <a:lnTo>
                          <a:pt x="70" y="117"/>
                        </a:lnTo>
                        <a:lnTo>
                          <a:pt x="70" y="119"/>
                        </a:lnTo>
                        <a:lnTo>
                          <a:pt x="70" y="119"/>
                        </a:lnTo>
                        <a:lnTo>
                          <a:pt x="72" y="119"/>
                        </a:lnTo>
                        <a:lnTo>
                          <a:pt x="72" y="118"/>
                        </a:lnTo>
                        <a:lnTo>
                          <a:pt x="71" y="117"/>
                        </a:lnTo>
                        <a:lnTo>
                          <a:pt x="72" y="117"/>
                        </a:lnTo>
                        <a:lnTo>
                          <a:pt x="74" y="117"/>
                        </a:lnTo>
                        <a:lnTo>
                          <a:pt x="75" y="120"/>
                        </a:lnTo>
                        <a:lnTo>
                          <a:pt x="74" y="125"/>
                        </a:lnTo>
                        <a:lnTo>
                          <a:pt x="74" y="125"/>
                        </a:lnTo>
                        <a:lnTo>
                          <a:pt x="70" y="124"/>
                        </a:lnTo>
                        <a:lnTo>
                          <a:pt x="71" y="125"/>
                        </a:lnTo>
                        <a:lnTo>
                          <a:pt x="71" y="126"/>
                        </a:lnTo>
                        <a:lnTo>
                          <a:pt x="70" y="126"/>
                        </a:lnTo>
                        <a:lnTo>
                          <a:pt x="69" y="125"/>
                        </a:lnTo>
                        <a:lnTo>
                          <a:pt x="69" y="124"/>
                        </a:lnTo>
                        <a:lnTo>
                          <a:pt x="67" y="125"/>
                        </a:lnTo>
                        <a:lnTo>
                          <a:pt x="65" y="125"/>
                        </a:lnTo>
                        <a:lnTo>
                          <a:pt x="60" y="127"/>
                        </a:lnTo>
                        <a:lnTo>
                          <a:pt x="58" y="130"/>
                        </a:lnTo>
                        <a:lnTo>
                          <a:pt x="58" y="131"/>
                        </a:lnTo>
                        <a:lnTo>
                          <a:pt x="61" y="132"/>
                        </a:lnTo>
                        <a:lnTo>
                          <a:pt x="58" y="133"/>
                        </a:lnTo>
                        <a:lnTo>
                          <a:pt x="56" y="133"/>
                        </a:lnTo>
                        <a:lnTo>
                          <a:pt x="54" y="133"/>
                        </a:lnTo>
                        <a:lnTo>
                          <a:pt x="52" y="133"/>
                        </a:lnTo>
                        <a:lnTo>
                          <a:pt x="50" y="133"/>
                        </a:lnTo>
                        <a:lnTo>
                          <a:pt x="49" y="130"/>
                        </a:lnTo>
                        <a:lnTo>
                          <a:pt x="49" y="126"/>
                        </a:lnTo>
                        <a:lnTo>
                          <a:pt x="49" y="125"/>
                        </a:lnTo>
                        <a:lnTo>
                          <a:pt x="50" y="122"/>
                        </a:lnTo>
                        <a:lnTo>
                          <a:pt x="50" y="122"/>
                        </a:lnTo>
                        <a:lnTo>
                          <a:pt x="51" y="119"/>
                        </a:lnTo>
                        <a:lnTo>
                          <a:pt x="50" y="117"/>
                        </a:lnTo>
                        <a:lnTo>
                          <a:pt x="47" y="116"/>
                        </a:lnTo>
                        <a:lnTo>
                          <a:pt x="45" y="115"/>
                        </a:lnTo>
                        <a:lnTo>
                          <a:pt x="44" y="113"/>
                        </a:lnTo>
                        <a:lnTo>
                          <a:pt x="44" y="113"/>
                        </a:lnTo>
                        <a:lnTo>
                          <a:pt x="43" y="110"/>
                        </a:lnTo>
                        <a:lnTo>
                          <a:pt x="41" y="110"/>
                        </a:lnTo>
                        <a:lnTo>
                          <a:pt x="38" y="107"/>
                        </a:lnTo>
                        <a:lnTo>
                          <a:pt x="37" y="105"/>
                        </a:lnTo>
                        <a:lnTo>
                          <a:pt x="40" y="104"/>
                        </a:lnTo>
                        <a:lnTo>
                          <a:pt x="40" y="102"/>
                        </a:lnTo>
                        <a:lnTo>
                          <a:pt x="41" y="100"/>
                        </a:lnTo>
                        <a:lnTo>
                          <a:pt x="42" y="93"/>
                        </a:lnTo>
                        <a:lnTo>
                          <a:pt x="41" y="92"/>
                        </a:lnTo>
                        <a:lnTo>
                          <a:pt x="41" y="93"/>
                        </a:lnTo>
                        <a:lnTo>
                          <a:pt x="40" y="92"/>
                        </a:lnTo>
                        <a:lnTo>
                          <a:pt x="42" y="91"/>
                        </a:lnTo>
                        <a:lnTo>
                          <a:pt x="41" y="90"/>
                        </a:lnTo>
                        <a:lnTo>
                          <a:pt x="36" y="89"/>
                        </a:lnTo>
                        <a:lnTo>
                          <a:pt x="32" y="90"/>
                        </a:lnTo>
                        <a:lnTo>
                          <a:pt x="30" y="92"/>
                        </a:lnTo>
                        <a:lnTo>
                          <a:pt x="29" y="96"/>
                        </a:lnTo>
                        <a:lnTo>
                          <a:pt x="25" y="96"/>
                        </a:lnTo>
                        <a:lnTo>
                          <a:pt x="27" y="99"/>
                        </a:lnTo>
                        <a:lnTo>
                          <a:pt x="30" y="102"/>
                        </a:lnTo>
                        <a:lnTo>
                          <a:pt x="29" y="106"/>
                        </a:lnTo>
                        <a:lnTo>
                          <a:pt x="30" y="111"/>
                        </a:lnTo>
                        <a:lnTo>
                          <a:pt x="28" y="115"/>
                        </a:lnTo>
                        <a:lnTo>
                          <a:pt x="30" y="118"/>
                        </a:lnTo>
                        <a:lnTo>
                          <a:pt x="29" y="120"/>
                        </a:lnTo>
                        <a:lnTo>
                          <a:pt x="28" y="125"/>
                        </a:lnTo>
                        <a:lnTo>
                          <a:pt x="30" y="129"/>
                        </a:lnTo>
                        <a:lnTo>
                          <a:pt x="29" y="133"/>
                        </a:lnTo>
                        <a:lnTo>
                          <a:pt x="28" y="133"/>
                        </a:lnTo>
                        <a:lnTo>
                          <a:pt x="28" y="137"/>
                        </a:lnTo>
                        <a:lnTo>
                          <a:pt x="27" y="139"/>
                        </a:lnTo>
                        <a:lnTo>
                          <a:pt x="27" y="144"/>
                        </a:lnTo>
                        <a:lnTo>
                          <a:pt x="30" y="146"/>
                        </a:lnTo>
                        <a:lnTo>
                          <a:pt x="30" y="149"/>
                        </a:lnTo>
                        <a:lnTo>
                          <a:pt x="29" y="149"/>
                        </a:lnTo>
                        <a:lnTo>
                          <a:pt x="25" y="150"/>
                        </a:lnTo>
                        <a:lnTo>
                          <a:pt x="24" y="150"/>
                        </a:lnTo>
                        <a:lnTo>
                          <a:pt x="23" y="150"/>
                        </a:lnTo>
                        <a:lnTo>
                          <a:pt x="20" y="152"/>
                        </a:lnTo>
                        <a:lnTo>
                          <a:pt x="18" y="151"/>
                        </a:lnTo>
                        <a:lnTo>
                          <a:pt x="16" y="151"/>
                        </a:lnTo>
                        <a:lnTo>
                          <a:pt x="15" y="149"/>
                        </a:lnTo>
                        <a:lnTo>
                          <a:pt x="15" y="149"/>
                        </a:lnTo>
                        <a:lnTo>
                          <a:pt x="14" y="150"/>
                        </a:lnTo>
                        <a:lnTo>
                          <a:pt x="14" y="147"/>
                        </a:lnTo>
                        <a:lnTo>
                          <a:pt x="11" y="149"/>
                        </a:lnTo>
                        <a:lnTo>
                          <a:pt x="12" y="149"/>
                        </a:lnTo>
                        <a:lnTo>
                          <a:pt x="11" y="149"/>
                        </a:lnTo>
                        <a:lnTo>
                          <a:pt x="10" y="146"/>
                        </a:lnTo>
                        <a:lnTo>
                          <a:pt x="10" y="145"/>
                        </a:lnTo>
                        <a:lnTo>
                          <a:pt x="10" y="142"/>
                        </a:lnTo>
                        <a:lnTo>
                          <a:pt x="11" y="139"/>
                        </a:lnTo>
                        <a:lnTo>
                          <a:pt x="12" y="137"/>
                        </a:lnTo>
                        <a:lnTo>
                          <a:pt x="14" y="135"/>
                        </a:lnTo>
                        <a:lnTo>
                          <a:pt x="12" y="131"/>
                        </a:lnTo>
                        <a:lnTo>
                          <a:pt x="15" y="127"/>
                        </a:lnTo>
                        <a:lnTo>
                          <a:pt x="15" y="117"/>
                        </a:lnTo>
                        <a:lnTo>
                          <a:pt x="16" y="116"/>
                        </a:lnTo>
                        <a:lnTo>
                          <a:pt x="15" y="116"/>
                        </a:lnTo>
                        <a:lnTo>
                          <a:pt x="14" y="113"/>
                        </a:lnTo>
                        <a:lnTo>
                          <a:pt x="12" y="111"/>
                        </a:lnTo>
                        <a:lnTo>
                          <a:pt x="14" y="107"/>
                        </a:lnTo>
                        <a:lnTo>
                          <a:pt x="12" y="106"/>
                        </a:lnTo>
                        <a:lnTo>
                          <a:pt x="9" y="105"/>
                        </a:lnTo>
                        <a:lnTo>
                          <a:pt x="8" y="106"/>
                        </a:lnTo>
                        <a:lnTo>
                          <a:pt x="4" y="106"/>
                        </a:lnTo>
                        <a:lnTo>
                          <a:pt x="3" y="107"/>
                        </a:lnTo>
                        <a:lnTo>
                          <a:pt x="1" y="104"/>
                        </a:lnTo>
                        <a:lnTo>
                          <a:pt x="1" y="100"/>
                        </a:lnTo>
                        <a:lnTo>
                          <a:pt x="0" y="98"/>
                        </a:lnTo>
                        <a:lnTo>
                          <a:pt x="1" y="97"/>
                        </a:lnTo>
                        <a:lnTo>
                          <a:pt x="1" y="98"/>
                        </a:lnTo>
                        <a:lnTo>
                          <a:pt x="2" y="95"/>
                        </a:lnTo>
                        <a:lnTo>
                          <a:pt x="2" y="93"/>
                        </a:lnTo>
                        <a:lnTo>
                          <a:pt x="0" y="93"/>
                        </a:lnTo>
                        <a:lnTo>
                          <a:pt x="0" y="90"/>
                        </a:lnTo>
                        <a:lnTo>
                          <a:pt x="1" y="89"/>
                        </a:lnTo>
                        <a:lnTo>
                          <a:pt x="2" y="90"/>
                        </a:lnTo>
                        <a:lnTo>
                          <a:pt x="4" y="88"/>
                        </a:lnTo>
                        <a:lnTo>
                          <a:pt x="4" y="86"/>
                        </a:lnTo>
                        <a:lnTo>
                          <a:pt x="7" y="85"/>
                        </a:lnTo>
                        <a:lnTo>
                          <a:pt x="7" y="80"/>
                        </a:lnTo>
                        <a:lnTo>
                          <a:pt x="8" y="76"/>
                        </a:lnTo>
                        <a:lnTo>
                          <a:pt x="9" y="75"/>
                        </a:lnTo>
                        <a:lnTo>
                          <a:pt x="10" y="76"/>
                        </a:lnTo>
                        <a:lnTo>
                          <a:pt x="10" y="72"/>
                        </a:lnTo>
                        <a:lnTo>
                          <a:pt x="9" y="70"/>
                        </a:lnTo>
                        <a:lnTo>
                          <a:pt x="9" y="64"/>
                        </a:lnTo>
                        <a:lnTo>
                          <a:pt x="10" y="60"/>
                        </a:lnTo>
                        <a:lnTo>
                          <a:pt x="12" y="55"/>
                        </a:lnTo>
                        <a:lnTo>
                          <a:pt x="14" y="53"/>
                        </a:lnTo>
                        <a:lnTo>
                          <a:pt x="16" y="51"/>
                        </a:lnTo>
                        <a:lnTo>
                          <a:pt x="16" y="50"/>
                        </a:lnTo>
                        <a:lnTo>
                          <a:pt x="17" y="49"/>
                        </a:lnTo>
                        <a:lnTo>
                          <a:pt x="20" y="53"/>
                        </a:lnTo>
                        <a:lnTo>
                          <a:pt x="20" y="52"/>
                        </a:lnTo>
                        <a:lnTo>
                          <a:pt x="17" y="43"/>
                        </a:lnTo>
                        <a:lnTo>
                          <a:pt x="18" y="38"/>
                        </a:lnTo>
                        <a:lnTo>
                          <a:pt x="18" y="38"/>
                        </a:lnTo>
                        <a:lnTo>
                          <a:pt x="17" y="38"/>
                        </a:lnTo>
                        <a:lnTo>
                          <a:pt x="16" y="37"/>
                        </a:lnTo>
                        <a:lnTo>
                          <a:pt x="15" y="36"/>
                        </a:lnTo>
                        <a:lnTo>
                          <a:pt x="16" y="35"/>
                        </a:lnTo>
                        <a:lnTo>
                          <a:pt x="18" y="37"/>
                        </a:lnTo>
                        <a:lnTo>
                          <a:pt x="20" y="37"/>
                        </a:lnTo>
                        <a:lnTo>
                          <a:pt x="20" y="35"/>
                        </a:lnTo>
                        <a:lnTo>
                          <a:pt x="20" y="33"/>
                        </a:lnTo>
                        <a:lnTo>
                          <a:pt x="18" y="31"/>
                        </a:lnTo>
                        <a:lnTo>
                          <a:pt x="18" y="30"/>
                        </a:lnTo>
                        <a:lnTo>
                          <a:pt x="20" y="30"/>
                        </a:lnTo>
                        <a:lnTo>
                          <a:pt x="20" y="26"/>
                        </a:lnTo>
                        <a:lnTo>
                          <a:pt x="23" y="25"/>
                        </a:lnTo>
                        <a:lnTo>
                          <a:pt x="22" y="22"/>
                        </a:lnTo>
                        <a:lnTo>
                          <a:pt x="23" y="20"/>
                        </a:lnTo>
                        <a:lnTo>
                          <a:pt x="25" y="19"/>
                        </a:lnTo>
                        <a:lnTo>
                          <a:pt x="27" y="18"/>
                        </a:lnTo>
                        <a:lnTo>
                          <a:pt x="27" y="16"/>
                        </a:lnTo>
                        <a:lnTo>
                          <a:pt x="27" y="16"/>
                        </a:lnTo>
                        <a:lnTo>
                          <a:pt x="28" y="16"/>
                        </a:lnTo>
                        <a:lnTo>
                          <a:pt x="29" y="18"/>
                        </a:lnTo>
                        <a:lnTo>
                          <a:pt x="30" y="19"/>
                        </a:lnTo>
                        <a:lnTo>
                          <a:pt x="32" y="19"/>
                        </a:lnTo>
                        <a:lnTo>
                          <a:pt x="34" y="16"/>
                        </a:lnTo>
                        <a:lnTo>
                          <a:pt x="35" y="16"/>
                        </a:lnTo>
                        <a:lnTo>
                          <a:pt x="36" y="12"/>
                        </a:lnTo>
                        <a:lnTo>
                          <a:pt x="37" y="10"/>
                        </a:lnTo>
                        <a:lnTo>
                          <a:pt x="37" y="9"/>
                        </a:lnTo>
                        <a:lnTo>
                          <a:pt x="42" y="9"/>
                        </a:lnTo>
                        <a:lnTo>
                          <a:pt x="44" y="10"/>
                        </a:lnTo>
                        <a:lnTo>
                          <a:pt x="47" y="10"/>
                        </a:lnTo>
                        <a:lnTo>
                          <a:pt x="48" y="9"/>
                        </a:lnTo>
                        <a:lnTo>
                          <a:pt x="48" y="10"/>
                        </a:lnTo>
                        <a:lnTo>
                          <a:pt x="48" y="11"/>
                        </a:lnTo>
                        <a:lnTo>
                          <a:pt x="49" y="13"/>
                        </a:lnTo>
                        <a:lnTo>
                          <a:pt x="51" y="15"/>
                        </a:lnTo>
                        <a:lnTo>
                          <a:pt x="57" y="13"/>
                        </a:lnTo>
                        <a:lnTo>
                          <a:pt x="57" y="15"/>
                        </a:lnTo>
                        <a:lnTo>
                          <a:pt x="58" y="15"/>
                        </a:lnTo>
                        <a:lnTo>
                          <a:pt x="60" y="15"/>
                        </a:lnTo>
                        <a:lnTo>
                          <a:pt x="65" y="15"/>
                        </a:lnTo>
                        <a:lnTo>
                          <a:pt x="70" y="16"/>
                        </a:lnTo>
                        <a:lnTo>
                          <a:pt x="74" y="19"/>
                        </a:lnTo>
                        <a:lnTo>
                          <a:pt x="74" y="19"/>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grpSp>
            <p:grpSp>
              <p:nvGrpSpPr>
                <p:cNvPr id="397" name="India">
                  <a:extLst>
                    <a:ext uri="{FF2B5EF4-FFF2-40B4-BE49-F238E27FC236}">
                      <a16:creationId xmlns:a16="http://schemas.microsoft.com/office/drawing/2014/main" id="{53B5B7FB-3CF6-8045-8D6E-71641D26F2BC}"/>
                    </a:ext>
                  </a:extLst>
                </p:cNvPr>
                <p:cNvGrpSpPr/>
                <p:nvPr/>
              </p:nvGrpSpPr>
              <p:grpSpPr>
                <a:xfrm>
                  <a:off x="8120616" y="2909107"/>
                  <a:ext cx="731890" cy="879145"/>
                  <a:chOff x="6970680" y="3145903"/>
                  <a:chExt cx="807109" cy="969498"/>
                </a:xfrm>
                <a:grpFill/>
              </p:grpSpPr>
              <p:sp>
                <p:nvSpPr>
                  <p:cNvPr id="518" name="Freeform 152">
                    <a:extLst>
                      <a:ext uri="{FF2B5EF4-FFF2-40B4-BE49-F238E27FC236}">
                        <a16:creationId xmlns:a16="http://schemas.microsoft.com/office/drawing/2014/main" id="{A6E17B1C-C5A7-D34F-A680-54043BCD15E4}"/>
                      </a:ext>
                    </a:extLst>
                  </p:cNvPr>
                  <p:cNvSpPr>
                    <a:spLocks/>
                  </p:cNvSpPr>
                  <p:nvPr/>
                </p:nvSpPr>
                <p:spPr bwMode="auto">
                  <a:xfrm>
                    <a:off x="6970680" y="3145903"/>
                    <a:ext cx="807109" cy="924478"/>
                  </a:xfrm>
                  <a:custGeom>
                    <a:avLst/>
                    <a:gdLst>
                      <a:gd name="T0" fmla="*/ 353 w 502"/>
                      <a:gd name="T1" fmla="*/ 167 h 575"/>
                      <a:gd name="T2" fmla="*/ 319 w 502"/>
                      <a:gd name="T3" fmla="*/ 195 h 575"/>
                      <a:gd name="T4" fmla="*/ 283 w 502"/>
                      <a:gd name="T5" fmla="*/ 185 h 575"/>
                      <a:gd name="T6" fmla="*/ 230 w 502"/>
                      <a:gd name="T7" fmla="*/ 167 h 575"/>
                      <a:gd name="T8" fmla="*/ 199 w 502"/>
                      <a:gd name="T9" fmla="*/ 149 h 575"/>
                      <a:gd name="T10" fmla="*/ 185 w 502"/>
                      <a:gd name="T11" fmla="*/ 106 h 575"/>
                      <a:gd name="T12" fmla="*/ 162 w 502"/>
                      <a:gd name="T13" fmla="*/ 61 h 575"/>
                      <a:gd name="T14" fmla="*/ 152 w 502"/>
                      <a:gd name="T15" fmla="*/ 5 h 575"/>
                      <a:gd name="T16" fmla="*/ 70 w 502"/>
                      <a:gd name="T17" fmla="*/ 26 h 575"/>
                      <a:gd name="T18" fmla="*/ 79 w 502"/>
                      <a:gd name="T19" fmla="*/ 66 h 575"/>
                      <a:gd name="T20" fmla="*/ 87 w 502"/>
                      <a:gd name="T21" fmla="*/ 102 h 575"/>
                      <a:gd name="T22" fmla="*/ 22 w 502"/>
                      <a:gd name="T23" fmla="*/ 171 h 575"/>
                      <a:gd name="T24" fmla="*/ 46 w 502"/>
                      <a:gd name="T25" fmla="*/ 241 h 575"/>
                      <a:gd name="T26" fmla="*/ 1 w 502"/>
                      <a:gd name="T27" fmla="*/ 254 h 575"/>
                      <a:gd name="T28" fmla="*/ 7 w 502"/>
                      <a:gd name="T29" fmla="*/ 258 h 575"/>
                      <a:gd name="T30" fmla="*/ 34 w 502"/>
                      <a:gd name="T31" fmla="*/ 268 h 575"/>
                      <a:gd name="T32" fmla="*/ 32 w 502"/>
                      <a:gd name="T33" fmla="*/ 279 h 575"/>
                      <a:gd name="T34" fmla="*/ 26 w 502"/>
                      <a:gd name="T35" fmla="*/ 289 h 575"/>
                      <a:gd name="T36" fmla="*/ 69 w 502"/>
                      <a:gd name="T37" fmla="*/ 307 h 575"/>
                      <a:gd name="T38" fmla="*/ 76 w 502"/>
                      <a:gd name="T39" fmla="*/ 289 h 575"/>
                      <a:gd name="T40" fmla="*/ 80 w 502"/>
                      <a:gd name="T41" fmla="*/ 282 h 575"/>
                      <a:gd name="T42" fmla="*/ 85 w 502"/>
                      <a:gd name="T43" fmla="*/ 294 h 575"/>
                      <a:gd name="T44" fmla="*/ 87 w 502"/>
                      <a:gd name="T45" fmla="*/ 305 h 575"/>
                      <a:gd name="T46" fmla="*/ 90 w 502"/>
                      <a:gd name="T47" fmla="*/ 321 h 575"/>
                      <a:gd name="T48" fmla="*/ 98 w 502"/>
                      <a:gd name="T49" fmla="*/ 343 h 575"/>
                      <a:gd name="T50" fmla="*/ 98 w 502"/>
                      <a:gd name="T51" fmla="*/ 349 h 575"/>
                      <a:gd name="T52" fmla="*/ 99 w 502"/>
                      <a:gd name="T53" fmla="*/ 363 h 575"/>
                      <a:gd name="T54" fmla="*/ 105 w 502"/>
                      <a:gd name="T55" fmla="*/ 383 h 575"/>
                      <a:gd name="T56" fmla="*/ 110 w 502"/>
                      <a:gd name="T57" fmla="*/ 407 h 575"/>
                      <a:gd name="T58" fmla="*/ 121 w 502"/>
                      <a:gd name="T59" fmla="*/ 425 h 575"/>
                      <a:gd name="T60" fmla="*/ 130 w 502"/>
                      <a:gd name="T61" fmla="*/ 440 h 575"/>
                      <a:gd name="T62" fmla="*/ 137 w 502"/>
                      <a:gd name="T63" fmla="*/ 463 h 575"/>
                      <a:gd name="T64" fmla="*/ 152 w 502"/>
                      <a:gd name="T65" fmla="*/ 493 h 575"/>
                      <a:gd name="T66" fmla="*/ 170 w 502"/>
                      <a:gd name="T67" fmla="*/ 529 h 575"/>
                      <a:gd name="T68" fmla="*/ 172 w 502"/>
                      <a:gd name="T69" fmla="*/ 536 h 575"/>
                      <a:gd name="T70" fmla="*/ 187 w 502"/>
                      <a:gd name="T71" fmla="*/ 567 h 575"/>
                      <a:gd name="T72" fmla="*/ 221 w 502"/>
                      <a:gd name="T73" fmla="*/ 550 h 575"/>
                      <a:gd name="T74" fmla="*/ 230 w 502"/>
                      <a:gd name="T75" fmla="*/ 529 h 575"/>
                      <a:gd name="T76" fmla="*/ 235 w 502"/>
                      <a:gd name="T77" fmla="*/ 499 h 575"/>
                      <a:gd name="T78" fmla="*/ 235 w 502"/>
                      <a:gd name="T79" fmla="*/ 459 h 575"/>
                      <a:gd name="T80" fmla="*/ 232 w 502"/>
                      <a:gd name="T81" fmla="*/ 428 h 575"/>
                      <a:gd name="T82" fmla="*/ 253 w 502"/>
                      <a:gd name="T83" fmla="*/ 403 h 575"/>
                      <a:gd name="T84" fmla="*/ 273 w 502"/>
                      <a:gd name="T85" fmla="*/ 385 h 575"/>
                      <a:gd name="T86" fmla="*/ 307 w 502"/>
                      <a:gd name="T87" fmla="*/ 349 h 575"/>
                      <a:gd name="T88" fmla="*/ 312 w 502"/>
                      <a:gd name="T89" fmla="*/ 338 h 575"/>
                      <a:gd name="T90" fmla="*/ 330 w 502"/>
                      <a:gd name="T91" fmla="*/ 327 h 575"/>
                      <a:gd name="T92" fmla="*/ 340 w 502"/>
                      <a:gd name="T93" fmla="*/ 312 h 575"/>
                      <a:gd name="T94" fmla="*/ 357 w 502"/>
                      <a:gd name="T95" fmla="*/ 282 h 575"/>
                      <a:gd name="T96" fmla="*/ 366 w 502"/>
                      <a:gd name="T97" fmla="*/ 293 h 575"/>
                      <a:gd name="T98" fmla="*/ 368 w 502"/>
                      <a:gd name="T99" fmla="*/ 286 h 575"/>
                      <a:gd name="T100" fmla="*/ 376 w 502"/>
                      <a:gd name="T101" fmla="*/ 292 h 575"/>
                      <a:gd name="T102" fmla="*/ 363 w 502"/>
                      <a:gd name="T103" fmla="*/ 242 h 575"/>
                      <a:gd name="T104" fmla="*/ 354 w 502"/>
                      <a:gd name="T105" fmla="*/ 214 h 575"/>
                      <a:gd name="T106" fmla="*/ 381 w 502"/>
                      <a:gd name="T107" fmla="*/ 219 h 575"/>
                      <a:gd name="T108" fmla="*/ 422 w 502"/>
                      <a:gd name="T109" fmla="*/ 229 h 575"/>
                      <a:gd name="T110" fmla="*/ 412 w 502"/>
                      <a:gd name="T111" fmla="*/ 262 h 575"/>
                      <a:gd name="T112" fmla="*/ 440 w 502"/>
                      <a:gd name="T113" fmla="*/ 286 h 575"/>
                      <a:gd name="T114" fmla="*/ 448 w 502"/>
                      <a:gd name="T115" fmla="*/ 245 h 575"/>
                      <a:gd name="T116" fmla="*/ 470 w 502"/>
                      <a:gd name="T117" fmla="*/ 205 h 575"/>
                      <a:gd name="T118" fmla="*/ 494 w 502"/>
                      <a:gd name="T119" fmla="*/ 174 h 575"/>
                      <a:gd name="T120" fmla="*/ 476 w 502"/>
                      <a:gd name="T121" fmla="*/ 146 h 575"/>
                      <a:gd name="T122" fmla="*/ 402 w 502"/>
                      <a:gd name="T123" fmla="*/ 171 h 5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502" h="575">
                        <a:moveTo>
                          <a:pt x="410" y="184"/>
                        </a:moveTo>
                        <a:lnTo>
                          <a:pt x="412" y="185"/>
                        </a:lnTo>
                        <a:lnTo>
                          <a:pt x="410" y="186"/>
                        </a:lnTo>
                        <a:lnTo>
                          <a:pt x="409" y="186"/>
                        </a:lnTo>
                        <a:lnTo>
                          <a:pt x="408" y="186"/>
                        </a:lnTo>
                        <a:lnTo>
                          <a:pt x="408" y="186"/>
                        </a:lnTo>
                        <a:lnTo>
                          <a:pt x="407" y="186"/>
                        </a:lnTo>
                        <a:lnTo>
                          <a:pt x="404" y="187"/>
                        </a:lnTo>
                        <a:lnTo>
                          <a:pt x="401" y="187"/>
                        </a:lnTo>
                        <a:lnTo>
                          <a:pt x="400" y="186"/>
                        </a:lnTo>
                        <a:lnTo>
                          <a:pt x="399" y="186"/>
                        </a:lnTo>
                        <a:lnTo>
                          <a:pt x="399" y="187"/>
                        </a:lnTo>
                        <a:lnTo>
                          <a:pt x="397" y="188"/>
                        </a:lnTo>
                        <a:lnTo>
                          <a:pt x="386" y="188"/>
                        </a:lnTo>
                        <a:lnTo>
                          <a:pt x="381" y="186"/>
                        </a:lnTo>
                        <a:lnTo>
                          <a:pt x="380" y="186"/>
                        </a:lnTo>
                        <a:lnTo>
                          <a:pt x="376" y="188"/>
                        </a:lnTo>
                        <a:lnTo>
                          <a:pt x="373" y="188"/>
                        </a:lnTo>
                        <a:lnTo>
                          <a:pt x="370" y="189"/>
                        </a:lnTo>
                        <a:lnTo>
                          <a:pt x="367" y="189"/>
                        </a:lnTo>
                        <a:lnTo>
                          <a:pt x="367" y="188"/>
                        </a:lnTo>
                        <a:lnTo>
                          <a:pt x="362" y="186"/>
                        </a:lnTo>
                        <a:lnTo>
                          <a:pt x="360" y="187"/>
                        </a:lnTo>
                        <a:lnTo>
                          <a:pt x="357" y="187"/>
                        </a:lnTo>
                        <a:lnTo>
                          <a:pt x="354" y="184"/>
                        </a:lnTo>
                        <a:lnTo>
                          <a:pt x="353" y="185"/>
                        </a:lnTo>
                        <a:lnTo>
                          <a:pt x="353" y="181"/>
                        </a:lnTo>
                        <a:lnTo>
                          <a:pt x="353" y="181"/>
                        </a:lnTo>
                        <a:lnTo>
                          <a:pt x="350" y="180"/>
                        </a:lnTo>
                        <a:lnTo>
                          <a:pt x="352" y="179"/>
                        </a:lnTo>
                        <a:lnTo>
                          <a:pt x="354" y="178"/>
                        </a:lnTo>
                        <a:lnTo>
                          <a:pt x="355" y="174"/>
                        </a:lnTo>
                        <a:lnTo>
                          <a:pt x="354" y="169"/>
                        </a:lnTo>
                        <a:lnTo>
                          <a:pt x="353" y="167"/>
                        </a:lnTo>
                        <a:lnTo>
                          <a:pt x="352" y="166"/>
                        </a:lnTo>
                        <a:lnTo>
                          <a:pt x="349" y="166"/>
                        </a:lnTo>
                        <a:lnTo>
                          <a:pt x="347" y="167"/>
                        </a:lnTo>
                        <a:lnTo>
                          <a:pt x="343" y="174"/>
                        </a:lnTo>
                        <a:lnTo>
                          <a:pt x="345" y="175"/>
                        </a:lnTo>
                        <a:lnTo>
                          <a:pt x="343" y="181"/>
                        </a:lnTo>
                        <a:lnTo>
                          <a:pt x="342" y="184"/>
                        </a:lnTo>
                        <a:lnTo>
                          <a:pt x="343" y="185"/>
                        </a:lnTo>
                        <a:lnTo>
                          <a:pt x="346" y="187"/>
                        </a:lnTo>
                        <a:lnTo>
                          <a:pt x="346" y="192"/>
                        </a:lnTo>
                        <a:lnTo>
                          <a:pt x="345" y="196"/>
                        </a:lnTo>
                        <a:lnTo>
                          <a:pt x="342" y="198"/>
                        </a:lnTo>
                        <a:lnTo>
                          <a:pt x="341" y="196"/>
                        </a:lnTo>
                        <a:lnTo>
                          <a:pt x="339" y="196"/>
                        </a:lnTo>
                        <a:lnTo>
                          <a:pt x="337" y="198"/>
                        </a:lnTo>
                        <a:lnTo>
                          <a:pt x="336" y="196"/>
                        </a:lnTo>
                        <a:lnTo>
                          <a:pt x="335" y="198"/>
                        </a:lnTo>
                        <a:lnTo>
                          <a:pt x="334" y="196"/>
                        </a:lnTo>
                        <a:lnTo>
                          <a:pt x="333" y="196"/>
                        </a:lnTo>
                        <a:lnTo>
                          <a:pt x="332" y="196"/>
                        </a:lnTo>
                        <a:lnTo>
                          <a:pt x="332" y="198"/>
                        </a:lnTo>
                        <a:lnTo>
                          <a:pt x="329" y="198"/>
                        </a:lnTo>
                        <a:lnTo>
                          <a:pt x="329" y="196"/>
                        </a:lnTo>
                        <a:lnTo>
                          <a:pt x="328" y="196"/>
                        </a:lnTo>
                        <a:lnTo>
                          <a:pt x="326" y="196"/>
                        </a:lnTo>
                        <a:lnTo>
                          <a:pt x="326" y="193"/>
                        </a:lnTo>
                        <a:lnTo>
                          <a:pt x="325" y="194"/>
                        </a:lnTo>
                        <a:lnTo>
                          <a:pt x="322" y="194"/>
                        </a:lnTo>
                        <a:lnTo>
                          <a:pt x="323" y="195"/>
                        </a:lnTo>
                        <a:lnTo>
                          <a:pt x="322" y="195"/>
                        </a:lnTo>
                        <a:lnTo>
                          <a:pt x="321" y="196"/>
                        </a:lnTo>
                        <a:lnTo>
                          <a:pt x="321" y="195"/>
                        </a:lnTo>
                        <a:lnTo>
                          <a:pt x="320" y="196"/>
                        </a:lnTo>
                        <a:lnTo>
                          <a:pt x="319" y="195"/>
                        </a:lnTo>
                        <a:lnTo>
                          <a:pt x="317" y="194"/>
                        </a:lnTo>
                        <a:lnTo>
                          <a:pt x="316" y="195"/>
                        </a:lnTo>
                        <a:lnTo>
                          <a:pt x="314" y="193"/>
                        </a:lnTo>
                        <a:lnTo>
                          <a:pt x="313" y="194"/>
                        </a:lnTo>
                        <a:lnTo>
                          <a:pt x="312" y="192"/>
                        </a:lnTo>
                        <a:lnTo>
                          <a:pt x="312" y="193"/>
                        </a:lnTo>
                        <a:lnTo>
                          <a:pt x="309" y="192"/>
                        </a:lnTo>
                        <a:lnTo>
                          <a:pt x="309" y="193"/>
                        </a:lnTo>
                        <a:lnTo>
                          <a:pt x="308" y="195"/>
                        </a:lnTo>
                        <a:lnTo>
                          <a:pt x="307" y="192"/>
                        </a:lnTo>
                        <a:lnTo>
                          <a:pt x="306" y="192"/>
                        </a:lnTo>
                        <a:lnTo>
                          <a:pt x="306" y="192"/>
                        </a:lnTo>
                        <a:lnTo>
                          <a:pt x="303" y="194"/>
                        </a:lnTo>
                        <a:lnTo>
                          <a:pt x="302" y="192"/>
                        </a:lnTo>
                        <a:lnTo>
                          <a:pt x="301" y="193"/>
                        </a:lnTo>
                        <a:lnTo>
                          <a:pt x="300" y="189"/>
                        </a:lnTo>
                        <a:lnTo>
                          <a:pt x="300" y="188"/>
                        </a:lnTo>
                        <a:lnTo>
                          <a:pt x="299" y="188"/>
                        </a:lnTo>
                        <a:lnTo>
                          <a:pt x="297" y="188"/>
                        </a:lnTo>
                        <a:lnTo>
                          <a:pt x="295" y="188"/>
                        </a:lnTo>
                        <a:lnTo>
                          <a:pt x="295" y="189"/>
                        </a:lnTo>
                        <a:lnTo>
                          <a:pt x="295" y="189"/>
                        </a:lnTo>
                        <a:lnTo>
                          <a:pt x="293" y="189"/>
                        </a:lnTo>
                        <a:lnTo>
                          <a:pt x="293" y="189"/>
                        </a:lnTo>
                        <a:lnTo>
                          <a:pt x="292" y="187"/>
                        </a:lnTo>
                        <a:lnTo>
                          <a:pt x="290" y="187"/>
                        </a:lnTo>
                        <a:lnTo>
                          <a:pt x="289" y="187"/>
                        </a:lnTo>
                        <a:lnTo>
                          <a:pt x="288" y="187"/>
                        </a:lnTo>
                        <a:lnTo>
                          <a:pt x="288" y="187"/>
                        </a:lnTo>
                        <a:lnTo>
                          <a:pt x="286" y="186"/>
                        </a:lnTo>
                        <a:lnTo>
                          <a:pt x="286" y="186"/>
                        </a:lnTo>
                        <a:lnTo>
                          <a:pt x="286" y="185"/>
                        </a:lnTo>
                        <a:lnTo>
                          <a:pt x="285" y="184"/>
                        </a:lnTo>
                        <a:lnTo>
                          <a:pt x="283" y="185"/>
                        </a:lnTo>
                        <a:lnTo>
                          <a:pt x="281" y="184"/>
                        </a:lnTo>
                        <a:lnTo>
                          <a:pt x="282" y="181"/>
                        </a:lnTo>
                        <a:lnTo>
                          <a:pt x="281" y="180"/>
                        </a:lnTo>
                        <a:lnTo>
                          <a:pt x="279" y="179"/>
                        </a:lnTo>
                        <a:lnTo>
                          <a:pt x="274" y="176"/>
                        </a:lnTo>
                        <a:lnTo>
                          <a:pt x="273" y="175"/>
                        </a:lnTo>
                        <a:lnTo>
                          <a:pt x="270" y="175"/>
                        </a:lnTo>
                        <a:lnTo>
                          <a:pt x="268" y="175"/>
                        </a:lnTo>
                        <a:lnTo>
                          <a:pt x="267" y="175"/>
                        </a:lnTo>
                        <a:lnTo>
                          <a:pt x="267" y="175"/>
                        </a:lnTo>
                        <a:lnTo>
                          <a:pt x="266" y="176"/>
                        </a:lnTo>
                        <a:lnTo>
                          <a:pt x="266" y="176"/>
                        </a:lnTo>
                        <a:lnTo>
                          <a:pt x="266" y="178"/>
                        </a:lnTo>
                        <a:lnTo>
                          <a:pt x="261" y="175"/>
                        </a:lnTo>
                        <a:lnTo>
                          <a:pt x="260" y="175"/>
                        </a:lnTo>
                        <a:lnTo>
                          <a:pt x="260" y="176"/>
                        </a:lnTo>
                        <a:lnTo>
                          <a:pt x="256" y="178"/>
                        </a:lnTo>
                        <a:lnTo>
                          <a:pt x="254" y="178"/>
                        </a:lnTo>
                        <a:lnTo>
                          <a:pt x="253" y="175"/>
                        </a:lnTo>
                        <a:lnTo>
                          <a:pt x="249" y="175"/>
                        </a:lnTo>
                        <a:lnTo>
                          <a:pt x="249" y="174"/>
                        </a:lnTo>
                        <a:lnTo>
                          <a:pt x="246" y="174"/>
                        </a:lnTo>
                        <a:lnTo>
                          <a:pt x="246" y="173"/>
                        </a:lnTo>
                        <a:lnTo>
                          <a:pt x="245" y="171"/>
                        </a:lnTo>
                        <a:lnTo>
                          <a:pt x="245" y="169"/>
                        </a:lnTo>
                        <a:lnTo>
                          <a:pt x="241" y="171"/>
                        </a:lnTo>
                        <a:lnTo>
                          <a:pt x="240" y="171"/>
                        </a:lnTo>
                        <a:lnTo>
                          <a:pt x="237" y="169"/>
                        </a:lnTo>
                        <a:lnTo>
                          <a:pt x="237" y="168"/>
                        </a:lnTo>
                        <a:lnTo>
                          <a:pt x="234" y="167"/>
                        </a:lnTo>
                        <a:lnTo>
                          <a:pt x="233" y="166"/>
                        </a:lnTo>
                        <a:lnTo>
                          <a:pt x="233" y="166"/>
                        </a:lnTo>
                        <a:lnTo>
                          <a:pt x="230" y="166"/>
                        </a:lnTo>
                        <a:lnTo>
                          <a:pt x="230" y="167"/>
                        </a:lnTo>
                        <a:lnTo>
                          <a:pt x="229" y="167"/>
                        </a:lnTo>
                        <a:lnTo>
                          <a:pt x="227" y="165"/>
                        </a:lnTo>
                        <a:lnTo>
                          <a:pt x="227" y="165"/>
                        </a:lnTo>
                        <a:lnTo>
                          <a:pt x="225" y="165"/>
                        </a:lnTo>
                        <a:lnTo>
                          <a:pt x="221" y="161"/>
                        </a:lnTo>
                        <a:lnTo>
                          <a:pt x="221" y="161"/>
                        </a:lnTo>
                        <a:lnTo>
                          <a:pt x="221" y="161"/>
                        </a:lnTo>
                        <a:lnTo>
                          <a:pt x="219" y="161"/>
                        </a:lnTo>
                        <a:lnTo>
                          <a:pt x="219" y="161"/>
                        </a:lnTo>
                        <a:lnTo>
                          <a:pt x="217" y="161"/>
                        </a:lnTo>
                        <a:lnTo>
                          <a:pt x="217" y="161"/>
                        </a:lnTo>
                        <a:lnTo>
                          <a:pt x="217" y="161"/>
                        </a:lnTo>
                        <a:lnTo>
                          <a:pt x="217" y="160"/>
                        </a:lnTo>
                        <a:lnTo>
                          <a:pt x="216" y="158"/>
                        </a:lnTo>
                        <a:lnTo>
                          <a:pt x="215" y="156"/>
                        </a:lnTo>
                        <a:lnTo>
                          <a:pt x="212" y="156"/>
                        </a:lnTo>
                        <a:lnTo>
                          <a:pt x="212" y="155"/>
                        </a:lnTo>
                        <a:lnTo>
                          <a:pt x="212" y="154"/>
                        </a:lnTo>
                        <a:lnTo>
                          <a:pt x="209" y="154"/>
                        </a:lnTo>
                        <a:lnTo>
                          <a:pt x="209" y="154"/>
                        </a:lnTo>
                        <a:lnTo>
                          <a:pt x="209" y="154"/>
                        </a:lnTo>
                        <a:lnTo>
                          <a:pt x="209" y="154"/>
                        </a:lnTo>
                        <a:lnTo>
                          <a:pt x="207" y="153"/>
                        </a:lnTo>
                        <a:lnTo>
                          <a:pt x="207" y="152"/>
                        </a:lnTo>
                        <a:lnTo>
                          <a:pt x="206" y="152"/>
                        </a:lnTo>
                        <a:lnTo>
                          <a:pt x="206" y="151"/>
                        </a:lnTo>
                        <a:lnTo>
                          <a:pt x="203" y="151"/>
                        </a:lnTo>
                        <a:lnTo>
                          <a:pt x="203" y="151"/>
                        </a:lnTo>
                        <a:lnTo>
                          <a:pt x="202" y="151"/>
                        </a:lnTo>
                        <a:lnTo>
                          <a:pt x="202" y="152"/>
                        </a:lnTo>
                        <a:lnTo>
                          <a:pt x="202" y="152"/>
                        </a:lnTo>
                        <a:lnTo>
                          <a:pt x="201" y="151"/>
                        </a:lnTo>
                        <a:lnTo>
                          <a:pt x="199" y="151"/>
                        </a:lnTo>
                        <a:lnTo>
                          <a:pt x="199" y="149"/>
                        </a:lnTo>
                        <a:lnTo>
                          <a:pt x="197" y="149"/>
                        </a:lnTo>
                        <a:lnTo>
                          <a:pt x="196" y="148"/>
                        </a:lnTo>
                        <a:lnTo>
                          <a:pt x="195" y="147"/>
                        </a:lnTo>
                        <a:lnTo>
                          <a:pt x="194" y="146"/>
                        </a:lnTo>
                        <a:lnTo>
                          <a:pt x="193" y="145"/>
                        </a:lnTo>
                        <a:lnTo>
                          <a:pt x="193" y="145"/>
                        </a:lnTo>
                        <a:lnTo>
                          <a:pt x="195" y="144"/>
                        </a:lnTo>
                        <a:lnTo>
                          <a:pt x="194" y="142"/>
                        </a:lnTo>
                        <a:lnTo>
                          <a:pt x="195" y="140"/>
                        </a:lnTo>
                        <a:lnTo>
                          <a:pt x="195" y="139"/>
                        </a:lnTo>
                        <a:lnTo>
                          <a:pt x="195" y="136"/>
                        </a:lnTo>
                        <a:lnTo>
                          <a:pt x="193" y="134"/>
                        </a:lnTo>
                        <a:lnTo>
                          <a:pt x="195" y="132"/>
                        </a:lnTo>
                        <a:lnTo>
                          <a:pt x="194" y="132"/>
                        </a:lnTo>
                        <a:lnTo>
                          <a:pt x="196" y="129"/>
                        </a:lnTo>
                        <a:lnTo>
                          <a:pt x="195" y="127"/>
                        </a:lnTo>
                        <a:lnTo>
                          <a:pt x="197" y="126"/>
                        </a:lnTo>
                        <a:lnTo>
                          <a:pt x="197" y="124"/>
                        </a:lnTo>
                        <a:lnTo>
                          <a:pt x="200" y="124"/>
                        </a:lnTo>
                        <a:lnTo>
                          <a:pt x="201" y="124"/>
                        </a:lnTo>
                        <a:lnTo>
                          <a:pt x="201" y="121"/>
                        </a:lnTo>
                        <a:lnTo>
                          <a:pt x="202" y="120"/>
                        </a:lnTo>
                        <a:lnTo>
                          <a:pt x="201" y="119"/>
                        </a:lnTo>
                        <a:lnTo>
                          <a:pt x="202" y="119"/>
                        </a:lnTo>
                        <a:lnTo>
                          <a:pt x="202" y="119"/>
                        </a:lnTo>
                        <a:lnTo>
                          <a:pt x="205" y="118"/>
                        </a:lnTo>
                        <a:lnTo>
                          <a:pt x="199" y="114"/>
                        </a:lnTo>
                        <a:lnTo>
                          <a:pt x="195" y="113"/>
                        </a:lnTo>
                        <a:lnTo>
                          <a:pt x="188" y="112"/>
                        </a:lnTo>
                        <a:lnTo>
                          <a:pt x="188" y="111"/>
                        </a:lnTo>
                        <a:lnTo>
                          <a:pt x="187" y="108"/>
                        </a:lnTo>
                        <a:lnTo>
                          <a:pt x="188" y="108"/>
                        </a:lnTo>
                        <a:lnTo>
                          <a:pt x="187" y="106"/>
                        </a:lnTo>
                        <a:lnTo>
                          <a:pt x="185" y="106"/>
                        </a:lnTo>
                        <a:lnTo>
                          <a:pt x="182" y="104"/>
                        </a:lnTo>
                        <a:lnTo>
                          <a:pt x="182" y="104"/>
                        </a:lnTo>
                        <a:lnTo>
                          <a:pt x="181" y="102"/>
                        </a:lnTo>
                        <a:lnTo>
                          <a:pt x="179" y="102"/>
                        </a:lnTo>
                        <a:lnTo>
                          <a:pt x="176" y="102"/>
                        </a:lnTo>
                        <a:lnTo>
                          <a:pt x="174" y="102"/>
                        </a:lnTo>
                        <a:lnTo>
                          <a:pt x="172" y="101"/>
                        </a:lnTo>
                        <a:lnTo>
                          <a:pt x="169" y="99"/>
                        </a:lnTo>
                        <a:lnTo>
                          <a:pt x="169" y="98"/>
                        </a:lnTo>
                        <a:lnTo>
                          <a:pt x="168" y="96"/>
                        </a:lnTo>
                        <a:lnTo>
                          <a:pt x="166" y="94"/>
                        </a:lnTo>
                        <a:lnTo>
                          <a:pt x="165" y="93"/>
                        </a:lnTo>
                        <a:lnTo>
                          <a:pt x="165" y="95"/>
                        </a:lnTo>
                        <a:lnTo>
                          <a:pt x="160" y="96"/>
                        </a:lnTo>
                        <a:lnTo>
                          <a:pt x="159" y="93"/>
                        </a:lnTo>
                        <a:lnTo>
                          <a:pt x="159" y="92"/>
                        </a:lnTo>
                        <a:lnTo>
                          <a:pt x="160" y="89"/>
                        </a:lnTo>
                        <a:lnTo>
                          <a:pt x="159" y="87"/>
                        </a:lnTo>
                        <a:lnTo>
                          <a:pt x="156" y="87"/>
                        </a:lnTo>
                        <a:lnTo>
                          <a:pt x="156" y="82"/>
                        </a:lnTo>
                        <a:lnTo>
                          <a:pt x="149" y="76"/>
                        </a:lnTo>
                        <a:lnTo>
                          <a:pt x="149" y="74"/>
                        </a:lnTo>
                        <a:lnTo>
                          <a:pt x="148" y="69"/>
                        </a:lnTo>
                        <a:lnTo>
                          <a:pt x="149" y="69"/>
                        </a:lnTo>
                        <a:lnTo>
                          <a:pt x="154" y="68"/>
                        </a:lnTo>
                        <a:lnTo>
                          <a:pt x="155" y="72"/>
                        </a:lnTo>
                        <a:lnTo>
                          <a:pt x="159" y="74"/>
                        </a:lnTo>
                        <a:lnTo>
                          <a:pt x="162" y="72"/>
                        </a:lnTo>
                        <a:lnTo>
                          <a:pt x="165" y="72"/>
                        </a:lnTo>
                        <a:lnTo>
                          <a:pt x="163" y="71"/>
                        </a:lnTo>
                        <a:lnTo>
                          <a:pt x="166" y="67"/>
                        </a:lnTo>
                        <a:lnTo>
                          <a:pt x="166" y="66"/>
                        </a:lnTo>
                        <a:lnTo>
                          <a:pt x="166" y="65"/>
                        </a:lnTo>
                        <a:lnTo>
                          <a:pt x="162" y="61"/>
                        </a:lnTo>
                        <a:lnTo>
                          <a:pt x="161" y="58"/>
                        </a:lnTo>
                        <a:lnTo>
                          <a:pt x="159" y="58"/>
                        </a:lnTo>
                        <a:lnTo>
                          <a:pt x="157" y="57"/>
                        </a:lnTo>
                        <a:lnTo>
                          <a:pt x="155" y="57"/>
                        </a:lnTo>
                        <a:lnTo>
                          <a:pt x="153" y="53"/>
                        </a:lnTo>
                        <a:lnTo>
                          <a:pt x="152" y="48"/>
                        </a:lnTo>
                        <a:lnTo>
                          <a:pt x="154" y="48"/>
                        </a:lnTo>
                        <a:lnTo>
                          <a:pt x="149" y="41"/>
                        </a:lnTo>
                        <a:lnTo>
                          <a:pt x="150" y="40"/>
                        </a:lnTo>
                        <a:lnTo>
                          <a:pt x="152" y="41"/>
                        </a:lnTo>
                        <a:lnTo>
                          <a:pt x="153" y="40"/>
                        </a:lnTo>
                        <a:lnTo>
                          <a:pt x="157" y="40"/>
                        </a:lnTo>
                        <a:lnTo>
                          <a:pt x="159" y="39"/>
                        </a:lnTo>
                        <a:lnTo>
                          <a:pt x="159" y="37"/>
                        </a:lnTo>
                        <a:lnTo>
                          <a:pt x="160" y="37"/>
                        </a:lnTo>
                        <a:lnTo>
                          <a:pt x="156" y="32"/>
                        </a:lnTo>
                        <a:lnTo>
                          <a:pt x="162" y="32"/>
                        </a:lnTo>
                        <a:lnTo>
                          <a:pt x="163" y="32"/>
                        </a:lnTo>
                        <a:lnTo>
                          <a:pt x="160" y="31"/>
                        </a:lnTo>
                        <a:lnTo>
                          <a:pt x="162" y="28"/>
                        </a:lnTo>
                        <a:lnTo>
                          <a:pt x="162" y="27"/>
                        </a:lnTo>
                        <a:lnTo>
                          <a:pt x="166" y="27"/>
                        </a:lnTo>
                        <a:lnTo>
                          <a:pt x="166" y="25"/>
                        </a:lnTo>
                        <a:lnTo>
                          <a:pt x="166" y="24"/>
                        </a:lnTo>
                        <a:lnTo>
                          <a:pt x="166" y="22"/>
                        </a:lnTo>
                        <a:lnTo>
                          <a:pt x="167" y="9"/>
                        </a:lnTo>
                        <a:lnTo>
                          <a:pt x="162" y="8"/>
                        </a:lnTo>
                        <a:lnTo>
                          <a:pt x="160" y="12"/>
                        </a:lnTo>
                        <a:lnTo>
                          <a:pt x="160" y="13"/>
                        </a:lnTo>
                        <a:lnTo>
                          <a:pt x="159" y="8"/>
                        </a:lnTo>
                        <a:lnTo>
                          <a:pt x="155" y="8"/>
                        </a:lnTo>
                        <a:lnTo>
                          <a:pt x="155" y="7"/>
                        </a:lnTo>
                        <a:lnTo>
                          <a:pt x="153" y="7"/>
                        </a:lnTo>
                        <a:lnTo>
                          <a:pt x="152" y="5"/>
                        </a:lnTo>
                        <a:lnTo>
                          <a:pt x="152" y="4"/>
                        </a:lnTo>
                        <a:lnTo>
                          <a:pt x="146" y="1"/>
                        </a:lnTo>
                        <a:lnTo>
                          <a:pt x="146" y="0"/>
                        </a:lnTo>
                        <a:lnTo>
                          <a:pt x="136" y="1"/>
                        </a:lnTo>
                        <a:lnTo>
                          <a:pt x="133" y="5"/>
                        </a:lnTo>
                        <a:lnTo>
                          <a:pt x="132" y="5"/>
                        </a:lnTo>
                        <a:lnTo>
                          <a:pt x="130" y="5"/>
                        </a:lnTo>
                        <a:lnTo>
                          <a:pt x="129" y="6"/>
                        </a:lnTo>
                        <a:lnTo>
                          <a:pt x="129" y="6"/>
                        </a:lnTo>
                        <a:lnTo>
                          <a:pt x="127" y="9"/>
                        </a:lnTo>
                        <a:lnTo>
                          <a:pt x="126" y="8"/>
                        </a:lnTo>
                        <a:lnTo>
                          <a:pt x="125" y="9"/>
                        </a:lnTo>
                        <a:lnTo>
                          <a:pt x="125" y="9"/>
                        </a:lnTo>
                        <a:lnTo>
                          <a:pt x="125" y="11"/>
                        </a:lnTo>
                        <a:lnTo>
                          <a:pt x="122" y="9"/>
                        </a:lnTo>
                        <a:lnTo>
                          <a:pt x="112" y="24"/>
                        </a:lnTo>
                        <a:lnTo>
                          <a:pt x="110" y="25"/>
                        </a:lnTo>
                        <a:lnTo>
                          <a:pt x="109" y="25"/>
                        </a:lnTo>
                        <a:lnTo>
                          <a:pt x="108" y="25"/>
                        </a:lnTo>
                        <a:lnTo>
                          <a:pt x="106" y="25"/>
                        </a:lnTo>
                        <a:lnTo>
                          <a:pt x="103" y="25"/>
                        </a:lnTo>
                        <a:lnTo>
                          <a:pt x="102" y="26"/>
                        </a:lnTo>
                        <a:lnTo>
                          <a:pt x="102" y="27"/>
                        </a:lnTo>
                        <a:lnTo>
                          <a:pt x="99" y="27"/>
                        </a:lnTo>
                        <a:lnTo>
                          <a:pt x="93" y="31"/>
                        </a:lnTo>
                        <a:lnTo>
                          <a:pt x="89" y="33"/>
                        </a:lnTo>
                        <a:lnTo>
                          <a:pt x="86" y="29"/>
                        </a:lnTo>
                        <a:lnTo>
                          <a:pt x="83" y="28"/>
                        </a:lnTo>
                        <a:lnTo>
                          <a:pt x="81" y="27"/>
                        </a:lnTo>
                        <a:lnTo>
                          <a:pt x="78" y="27"/>
                        </a:lnTo>
                        <a:lnTo>
                          <a:pt x="75" y="26"/>
                        </a:lnTo>
                        <a:lnTo>
                          <a:pt x="73" y="27"/>
                        </a:lnTo>
                        <a:lnTo>
                          <a:pt x="70" y="26"/>
                        </a:lnTo>
                        <a:lnTo>
                          <a:pt x="70" y="26"/>
                        </a:lnTo>
                        <a:lnTo>
                          <a:pt x="67" y="25"/>
                        </a:lnTo>
                        <a:lnTo>
                          <a:pt x="66" y="25"/>
                        </a:lnTo>
                        <a:lnTo>
                          <a:pt x="65" y="26"/>
                        </a:lnTo>
                        <a:lnTo>
                          <a:pt x="65" y="27"/>
                        </a:lnTo>
                        <a:lnTo>
                          <a:pt x="62" y="27"/>
                        </a:lnTo>
                        <a:lnTo>
                          <a:pt x="60" y="28"/>
                        </a:lnTo>
                        <a:lnTo>
                          <a:pt x="61" y="29"/>
                        </a:lnTo>
                        <a:lnTo>
                          <a:pt x="59" y="33"/>
                        </a:lnTo>
                        <a:lnTo>
                          <a:pt x="59" y="34"/>
                        </a:lnTo>
                        <a:lnTo>
                          <a:pt x="61" y="33"/>
                        </a:lnTo>
                        <a:lnTo>
                          <a:pt x="63" y="33"/>
                        </a:lnTo>
                        <a:lnTo>
                          <a:pt x="65" y="34"/>
                        </a:lnTo>
                        <a:lnTo>
                          <a:pt x="65" y="37"/>
                        </a:lnTo>
                        <a:lnTo>
                          <a:pt x="63" y="39"/>
                        </a:lnTo>
                        <a:lnTo>
                          <a:pt x="65" y="40"/>
                        </a:lnTo>
                        <a:lnTo>
                          <a:pt x="68" y="40"/>
                        </a:lnTo>
                        <a:lnTo>
                          <a:pt x="70" y="41"/>
                        </a:lnTo>
                        <a:lnTo>
                          <a:pt x="70" y="41"/>
                        </a:lnTo>
                        <a:lnTo>
                          <a:pt x="69" y="42"/>
                        </a:lnTo>
                        <a:lnTo>
                          <a:pt x="67" y="45"/>
                        </a:lnTo>
                        <a:lnTo>
                          <a:pt x="66" y="46"/>
                        </a:lnTo>
                        <a:lnTo>
                          <a:pt x="67" y="48"/>
                        </a:lnTo>
                        <a:lnTo>
                          <a:pt x="68" y="48"/>
                        </a:lnTo>
                        <a:lnTo>
                          <a:pt x="69" y="48"/>
                        </a:lnTo>
                        <a:lnTo>
                          <a:pt x="72" y="52"/>
                        </a:lnTo>
                        <a:lnTo>
                          <a:pt x="70" y="54"/>
                        </a:lnTo>
                        <a:lnTo>
                          <a:pt x="70" y="55"/>
                        </a:lnTo>
                        <a:lnTo>
                          <a:pt x="68" y="55"/>
                        </a:lnTo>
                        <a:lnTo>
                          <a:pt x="69" y="57"/>
                        </a:lnTo>
                        <a:lnTo>
                          <a:pt x="70" y="58"/>
                        </a:lnTo>
                        <a:lnTo>
                          <a:pt x="74" y="60"/>
                        </a:lnTo>
                        <a:lnTo>
                          <a:pt x="75" y="60"/>
                        </a:lnTo>
                        <a:lnTo>
                          <a:pt x="78" y="66"/>
                        </a:lnTo>
                        <a:lnTo>
                          <a:pt x="79" y="66"/>
                        </a:lnTo>
                        <a:lnTo>
                          <a:pt x="81" y="66"/>
                        </a:lnTo>
                        <a:lnTo>
                          <a:pt x="81" y="64"/>
                        </a:lnTo>
                        <a:lnTo>
                          <a:pt x="83" y="64"/>
                        </a:lnTo>
                        <a:lnTo>
                          <a:pt x="82" y="66"/>
                        </a:lnTo>
                        <a:lnTo>
                          <a:pt x="83" y="68"/>
                        </a:lnTo>
                        <a:lnTo>
                          <a:pt x="85" y="72"/>
                        </a:lnTo>
                        <a:lnTo>
                          <a:pt x="85" y="72"/>
                        </a:lnTo>
                        <a:lnTo>
                          <a:pt x="87" y="72"/>
                        </a:lnTo>
                        <a:lnTo>
                          <a:pt x="90" y="72"/>
                        </a:lnTo>
                        <a:lnTo>
                          <a:pt x="93" y="73"/>
                        </a:lnTo>
                        <a:lnTo>
                          <a:pt x="96" y="74"/>
                        </a:lnTo>
                        <a:lnTo>
                          <a:pt x="96" y="75"/>
                        </a:lnTo>
                        <a:lnTo>
                          <a:pt x="96" y="79"/>
                        </a:lnTo>
                        <a:lnTo>
                          <a:pt x="95" y="79"/>
                        </a:lnTo>
                        <a:lnTo>
                          <a:pt x="94" y="80"/>
                        </a:lnTo>
                        <a:lnTo>
                          <a:pt x="93" y="80"/>
                        </a:lnTo>
                        <a:lnTo>
                          <a:pt x="92" y="80"/>
                        </a:lnTo>
                        <a:lnTo>
                          <a:pt x="92" y="80"/>
                        </a:lnTo>
                        <a:lnTo>
                          <a:pt x="92" y="80"/>
                        </a:lnTo>
                        <a:lnTo>
                          <a:pt x="89" y="81"/>
                        </a:lnTo>
                        <a:lnTo>
                          <a:pt x="89" y="81"/>
                        </a:lnTo>
                        <a:lnTo>
                          <a:pt x="89" y="82"/>
                        </a:lnTo>
                        <a:lnTo>
                          <a:pt x="87" y="84"/>
                        </a:lnTo>
                        <a:lnTo>
                          <a:pt x="85" y="86"/>
                        </a:lnTo>
                        <a:lnTo>
                          <a:pt x="85" y="86"/>
                        </a:lnTo>
                        <a:lnTo>
                          <a:pt x="86" y="89"/>
                        </a:lnTo>
                        <a:lnTo>
                          <a:pt x="88" y="92"/>
                        </a:lnTo>
                        <a:lnTo>
                          <a:pt x="87" y="96"/>
                        </a:lnTo>
                        <a:lnTo>
                          <a:pt x="87" y="99"/>
                        </a:lnTo>
                        <a:lnTo>
                          <a:pt x="88" y="100"/>
                        </a:lnTo>
                        <a:lnTo>
                          <a:pt x="90" y="100"/>
                        </a:lnTo>
                        <a:lnTo>
                          <a:pt x="88" y="100"/>
                        </a:lnTo>
                        <a:lnTo>
                          <a:pt x="88" y="102"/>
                        </a:lnTo>
                        <a:lnTo>
                          <a:pt x="87" y="102"/>
                        </a:lnTo>
                        <a:lnTo>
                          <a:pt x="87" y="105"/>
                        </a:lnTo>
                        <a:lnTo>
                          <a:pt x="85" y="105"/>
                        </a:lnTo>
                        <a:lnTo>
                          <a:pt x="85" y="106"/>
                        </a:lnTo>
                        <a:lnTo>
                          <a:pt x="83" y="108"/>
                        </a:lnTo>
                        <a:lnTo>
                          <a:pt x="82" y="111"/>
                        </a:lnTo>
                        <a:lnTo>
                          <a:pt x="82" y="112"/>
                        </a:lnTo>
                        <a:lnTo>
                          <a:pt x="81" y="112"/>
                        </a:lnTo>
                        <a:lnTo>
                          <a:pt x="81" y="113"/>
                        </a:lnTo>
                        <a:lnTo>
                          <a:pt x="79" y="114"/>
                        </a:lnTo>
                        <a:lnTo>
                          <a:pt x="82" y="119"/>
                        </a:lnTo>
                        <a:lnTo>
                          <a:pt x="79" y="121"/>
                        </a:lnTo>
                        <a:lnTo>
                          <a:pt x="75" y="122"/>
                        </a:lnTo>
                        <a:lnTo>
                          <a:pt x="72" y="124"/>
                        </a:lnTo>
                        <a:lnTo>
                          <a:pt x="72" y="132"/>
                        </a:lnTo>
                        <a:lnTo>
                          <a:pt x="69" y="142"/>
                        </a:lnTo>
                        <a:lnTo>
                          <a:pt x="60" y="148"/>
                        </a:lnTo>
                        <a:lnTo>
                          <a:pt x="59" y="151"/>
                        </a:lnTo>
                        <a:lnTo>
                          <a:pt x="58" y="156"/>
                        </a:lnTo>
                        <a:lnTo>
                          <a:pt x="58" y="158"/>
                        </a:lnTo>
                        <a:lnTo>
                          <a:pt x="55" y="159"/>
                        </a:lnTo>
                        <a:lnTo>
                          <a:pt x="54" y="161"/>
                        </a:lnTo>
                        <a:lnTo>
                          <a:pt x="54" y="165"/>
                        </a:lnTo>
                        <a:lnTo>
                          <a:pt x="49" y="166"/>
                        </a:lnTo>
                        <a:lnTo>
                          <a:pt x="45" y="166"/>
                        </a:lnTo>
                        <a:lnTo>
                          <a:pt x="39" y="169"/>
                        </a:lnTo>
                        <a:lnTo>
                          <a:pt x="34" y="169"/>
                        </a:lnTo>
                        <a:lnTo>
                          <a:pt x="33" y="165"/>
                        </a:lnTo>
                        <a:lnTo>
                          <a:pt x="30" y="164"/>
                        </a:lnTo>
                        <a:lnTo>
                          <a:pt x="29" y="162"/>
                        </a:lnTo>
                        <a:lnTo>
                          <a:pt x="28" y="162"/>
                        </a:lnTo>
                        <a:lnTo>
                          <a:pt x="27" y="164"/>
                        </a:lnTo>
                        <a:lnTo>
                          <a:pt x="26" y="165"/>
                        </a:lnTo>
                        <a:lnTo>
                          <a:pt x="23" y="167"/>
                        </a:lnTo>
                        <a:lnTo>
                          <a:pt x="22" y="171"/>
                        </a:lnTo>
                        <a:lnTo>
                          <a:pt x="21" y="175"/>
                        </a:lnTo>
                        <a:lnTo>
                          <a:pt x="19" y="178"/>
                        </a:lnTo>
                        <a:lnTo>
                          <a:pt x="18" y="179"/>
                        </a:lnTo>
                        <a:lnTo>
                          <a:pt x="15" y="181"/>
                        </a:lnTo>
                        <a:lnTo>
                          <a:pt x="14" y="185"/>
                        </a:lnTo>
                        <a:lnTo>
                          <a:pt x="15" y="188"/>
                        </a:lnTo>
                        <a:lnTo>
                          <a:pt x="16" y="189"/>
                        </a:lnTo>
                        <a:lnTo>
                          <a:pt x="20" y="192"/>
                        </a:lnTo>
                        <a:lnTo>
                          <a:pt x="21" y="193"/>
                        </a:lnTo>
                        <a:lnTo>
                          <a:pt x="22" y="193"/>
                        </a:lnTo>
                        <a:lnTo>
                          <a:pt x="26" y="193"/>
                        </a:lnTo>
                        <a:lnTo>
                          <a:pt x="30" y="194"/>
                        </a:lnTo>
                        <a:lnTo>
                          <a:pt x="29" y="199"/>
                        </a:lnTo>
                        <a:lnTo>
                          <a:pt x="28" y="206"/>
                        </a:lnTo>
                        <a:lnTo>
                          <a:pt x="29" y="207"/>
                        </a:lnTo>
                        <a:lnTo>
                          <a:pt x="29" y="208"/>
                        </a:lnTo>
                        <a:lnTo>
                          <a:pt x="32" y="211"/>
                        </a:lnTo>
                        <a:lnTo>
                          <a:pt x="33" y="212"/>
                        </a:lnTo>
                        <a:lnTo>
                          <a:pt x="40" y="212"/>
                        </a:lnTo>
                        <a:lnTo>
                          <a:pt x="41" y="220"/>
                        </a:lnTo>
                        <a:lnTo>
                          <a:pt x="45" y="222"/>
                        </a:lnTo>
                        <a:lnTo>
                          <a:pt x="47" y="227"/>
                        </a:lnTo>
                        <a:lnTo>
                          <a:pt x="48" y="229"/>
                        </a:lnTo>
                        <a:lnTo>
                          <a:pt x="49" y="231"/>
                        </a:lnTo>
                        <a:lnTo>
                          <a:pt x="49" y="232"/>
                        </a:lnTo>
                        <a:lnTo>
                          <a:pt x="48" y="233"/>
                        </a:lnTo>
                        <a:lnTo>
                          <a:pt x="48" y="236"/>
                        </a:lnTo>
                        <a:lnTo>
                          <a:pt x="50" y="236"/>
                        </a:lnTo>
                        <a:lnTo>
                          <a:pt x="50" y="238"/>
                        </a:lnTo>
                        <a:lnTo>
                          <a:pt x="49" y="239"/>
                        </a:lnTo>
                        <a:lnTo>
                          <a:pt x="47" y="239"/>
                        </a:lnTo>
                        <a:lnTo>
                          <a:pt x="47" y="241"/>
                        </a:lnTo>
                        <a:lnTo>
                          <a:pt x="47" y="241"/>
                        </a:lnTo>
                        <a:lnTo>
                          <a:pt x="46" y="241"/>
                        </a:lnTo>
                        <a:lnTo>
                          <a:pt x="43" y="241"/>
                        </a:lnTo>
                        <a:lnTo>
                          <a:pt x="41" y="241"/>
                        </a:lnTo>
                        <a:lnTo>
                          <a:pt x="41" y="238"/>
                        </a:lnTo>
                        <a:lnTo>
                          <a:pt x="39" y="238"/>
                        </a:lnTo>
                        <a:lnTo>
                          <a:pt x="38" y="238"/>
                        </a:lnTo>
                        <a:lnTo>
                          <a:pt x="36" y="239"/>
                        </a:lnTo>
                        <a:lnTo>
                          <a:pt x="33" y="239"/>
                        </a:lnTo>
                        <a:lnTo>
                          <a:pt x="33" y="242"/>
                        </a:lnTo>
                        <a:lnTo>
                          <a:pt x="27" y="242"/>
                        </a:lnTo>
                        <a:lnTo>
                          <a:pt x="25" y="241"/>
                        </a:lnTo>
                        <a:lnTo>
                          <a:pt x="19" y="241"/>
                        </a:lnTo>
                        <a:lnTo>
                          <a:pt x="18" y="241"/>
                        </a:lnTo>
                        <a:lnTo>
                          <a:pt x="15" y="241"/>
                        </a:lnTo>
                        <a:lnTo>
                          <a:pt x="14" y="241"/>
                        </a:lnTo>
                        <a:lnTo>
                          <a:pt x="12" y="239"/>
                        </a:lnTo>
                        <a:lnTo>
                          <a:pt x="12" y="239"/>
                        </a:lnTo>
                        <a:lnTo>
                          <a:pt x="10" y="242"/>
                        </a:lnTo>
                        <a:lnTo>
                          <a:pt x="10" y="239"/>
                        </a:lnTo>
                        <a:lnTo>
                          <a:pt x="9" y="239"/>
                        </a:lnTo>
                        <a:lnTo>
                          <a:pt x="9" y="239"/>
                        </a:lnTo>
                        <a:lnTo>
                          <a:pt x="9" y="247"/>
                        </a:lnTo>
                        <a:lnTo>
                          <a:pt x="5" y="247"/>
                        </a:lnTo>
                        <a:lnTo>
                          <a:pt x="2" y="248"/>
                        </a:lnTo>
                        <a:lnTo>
                          <a:pt x="1" y="248"/>
                        </a:lnTo>
                        <a:lnTo>
                          <a:pt x="1" y="251"/>
                        </a:lnTo>
                        <a:lnTo>
                          <a:pt x="2" y="251"/>
                        </a:lnTo>
                        <a:lnTo>
                          <a:pt x="2" y="252"/>
                        </a:lnTo>
                        <a:lnTo>
                          <a:pt x="2" y="252"/>
                        </a:lnTo>
                        <a:lnTo>
                          <a:pt x="2" y="253"/>
                        </a:lnTo>
                        <a:lnTo>
                          <a:pt x="1" y="252"/>
                        </a:lnTo>
                        <a:lnTo>
                          <a:pt x="1" y="253"/>
                        </a:lnTo>
                        <a:lnTo>
                          <a:pt x="0" y="253"/>
                        </a:lnTo>
                        <a:lnTo>
                          <a:pt x="1" y="254"/>
                        </a:lnTo>
                        <a:lnTo>
                          <a:pt x="1" y="254"/>
                        </a:lnTo>
                        <a:lnTo>
                          <a:pt x="3" y="254"/>
                        </a:lnTo>
                        <a:lnTo>
                          <a:pt x="5" y="254"/>
                        </a:lnTo>
                        <a:lnTo>
                          <a:pt x="3" y="253"/>
                        </a:lnTo>
                        <a:lnTo>
                          <a:pt x="5" y="253"/>
                        </a:lnTo>
                        <a:lnTo>
                          <a:pt x="5" y="253"/>
                        </a:lnTo>
                        <a:lnTo>
                          <a:pt x="5" y="252"/>
                        </a:lnTo>
                        <a:lnTo>
                          <a:pt x="6" y="252"/>
                        </a:lnTo>
                        <a:lnTo>
                          <a:pt x="6" y="251"/>
                        </a:lnTo>
                        <a:lnTo>
                          <a:pt x="8" y="251"/>
                        </a:lnTo>
                        <a:lnTo>
                          <a:pt x="8" y="249"/>
                        </a:lnTo>
                        <a:lnTo>
                          <a:pt x="10" y="249"/>
                        </a:lnTo>
                        <a:lnTo>
                          <a:pt x="10" y="249"/>
                        </a:lnTo>
                        <a:lnTo>
                          <a:pt x="12" y="248"/>
                        </a:lnTo>
                        <a:lnTo>
                          <a:pt x="12" y="249"/>
                        </a:lnTo>
                        <a:lnTo>
                          <a:pt x="10" y="249"/>
                        </a:lnTo>
                        <a:lnTo>
                          <a:pt x="9" y="249"/>
                        </a:lnTo>
                        <a:lnTo>
                          <a:pt x="9" y="251"/>
                        </a:lnTo>
                        <a:lnTo>
                          <a:pt x="8" y="252"/>
                        </a:lnTo>
                        <a:lnTo>
                          <a:pt x="7" y="252"/>
                        </a:lnTo>
                        <a:lnTo>
                          <a:pt x="7" y="253"/>
                        </a:lnTo>
                        <a:lnTo>
                          <a:pt x="7" y="253"/>
                        </a:lnTo>
                        <a:lnTo>
                          <a:pt x="6" y="253"/>
                        </a:lnTo>
                        <a:lnTo>
                          <a:pt x="5" y="254"/>
                        </a:lnTo>
                        <a:lnTo>
                          <a:pt x="5" y="255"/>
                        </a:lnTo>
                        <a:lnTo>
                          <a:pt x="5" y="256"/>
                        </a:lnTo>
                        <a:lnTo>
                          <a:pt x="6" y="255"/>
                        </a:lnTo>
                        <a:lnTo>
                          <a:pt x="6" y="255"/>
                        </a:lnTo>
                        <a:lnTo>
                          <a:pt x="6" y="255"/>
                        </a:lnTo>
                        <a:lnTo>
                          <a:pt x="6" y="256"/>
                        </a:lnTo>
                        <a:lnTo>
                          <a:pt x="6" y="258"/>
                        </a:lnTo>
                        <a:lnTo>
                          <a:pt x="6" y="258"/>
                        </a:lnTo>
                        <a:lnTo>
                          <a:pt x="7" y="258"/>
                        </a:lnTo>
                        <a:lnTo>
                          <a:pt x="7" y="258"/>
                        </a:lnTo>
                        <a:lnTo>
                          <a:pt x="7" y="258"/>
                        </a:lnTo>
                        <a:lnTo>
                          <a:pt x="7" y="259"/>
                        </a:lnTo>
                        <a:lnTo>
                          <a:pt x="7" y="260"/>
                        </a:lnTo>
                        <a:lnTo>
                          <a:pt x="8" y="260"/>
                        </a:lnTo>
                        <a:lnTo>
                          <a:pt x="8" y="260"/>
                        </a:lnTo>
                        <a:lnTo>
                          <a:pt x="8" y="260"/>
                        </a:lnTo>
                        <a:lnTo>
                          <a:pt x="8" y="261"/>
                        </a:lnTo>
                        <a:lnTo>
                          <a:pt x="9" y="261"/>
                        </a:lnTo>
                        <a:lnTo>
                          <a:pt x="9" y="261"/>
                        </a:lnTo>
                        <a:lnTo>
                          <a:pt x="10" y="262"/>
                        </a:lnTo>
                        <a:lnTo>
                          <a:pt x="9" y="262"/>
                        </a:lnTo>
                        <a:lnTo>
                          <a:pt x="10" y="262"/>
                        </a:lnTo>
                        <a:lnTo>
                          <a:pt x="10" y="263"/>
                        </a:lnTo>
                        <a:lnTo>
                          <a:pt x="10" y="263"/>
                        </a:lnTo>
                        <a:lnTo>
                          <a:pt x="13" y="265"/>
                        </a:lnTo>
                        <a:lnTo>
                          <a:pt x="13" y="265"/>
                        </a:lnTo>
                        <a:lnTo>
                          <a:pt x="14" y="266"/>
                        </a:lnTo>
                        <a:lnTo>
                          <a:pt x="14" y="266"/>
                        </a:lnTo>
                        <a:lnTo>
                          <a:pt x="14" y="266"/>
                        </a:lnTo>
                        <a:lnTo>
                          <a:pt x="15" y="267"/>
                        </a:lnTo>
                        <a:lnTo>
                          <a:pt x="18" y="267"/>
                        </a:lnTo>
                        <a:lnTo>
                          <a:pt x="19" y="268"/>
                        </a:lnTo>
                        <a:lnTo>
                          <a:pt x="21" y="269"/>
                        </a:lnTo>
                        <a:lnTo>
                          <a:pt x="21" y="269"/>
                        </a:lnTo>
                        <a:lnTo>
                          <a:pt x="22" y="271"/>
                        </a:lnTo>
                        <a:lnTo>
                          <a:pt x="23" y="269"/>
                        </a:lnTo>
                        <a:lnTo>
                          <a:pt x="26" y="271"/>
                        </a:lnTo>
                        <a:lnTo>
                          <a:pt x="27" y="271"/>
                        </a:lnTo>
                        <a:lnTo>
                          <a:pt x="27" y="272"/>
                        </a:lnTo>
                        <a:lnTo>
                          <a:pt x="29" y="272"/>
                        </a:lnTo>
                        <a:lnTo>
                          <a:pt x="30" y="271"/>
                        </a:lnTo>
                        <a:lnTo>
                          <a:pt x="30" y="271"/>
                        </a:lnTo>
                        <a:lnTo>
                          <a:pt x="30" y="269"/>
                        </a:lnTo>
                        <a:lnTo>
                          <a:pt x="32" y="269"/>
                        </a:lnTo>
                        <a:lnTo>
                          <a:pt x="34" y="268"/>
                        </a:lnTo>
                        <a:lnTo>
                          <a:pt x="36" y="268"/>
                        </a:lnTo>
                        <a:lnTo>
                          <a:pt x="36" y="268"/>
                        </a:lnTo>
                        <a:lnTo>
                          <a:pt x="38" y="267"/>
                        </a:lnTo>
                        <a:lnTo>
                          <a:pt x="38" y="266"/>
                        </a:lnTo>
                        <a:lnTo>
                          <a:pt x="38" y="267"/>
                        </a:lnTo>
                        <a:lnTo>
                          <a:pt x="38" y="268"/>
                        </a:lnTo>
                        <a:lnTo>
                          <a:pt x="39" y="267"/>
                        </a:lnTo>
                        <a:lnTo>
                          <a:pt x="39" y="267"/>
                        </a:lnTo>
                        <a:lnTo>
                          <a:pt x="39" y="267"/>
                        </a:lnTo>
                        <a:lnTo>
                          <a:pt x="39" y="267"/>
                        </a:lnTo>
                        <a:lnTo>
                          <a:pt x="41" y="267"/>
                        </a:lnTo>
                        <a:lnTo>
                          <a:pt x="42" y="266"/>
                        </a:lnTo>
                        <a:lnTo>
                          <a:pt x="41" y="266"/>
                        </a:lnTo>
                        <a:lnTo>
                          <a:pt x="41" y="265"/>
                        </a:lnTo>
                        <a:lnTo>
                          <a:pt x="43" y="263"/>
                        </a:lnTo>
                        <a:lnTo>
                          <a:pt x="43" y="265"/>
                        </a:lnTo>
                        <a:lnTo>
                          <a:pt x="43" y="266"/>
                        </a:lnTo>
                        <a:lnTo>
                          <a:pt x="45" y="266"/>
                        </a:lnTo>
                        <a:lnTo>
                          <a:pt x="43" y="267"/>
                        </a:lnTo>
                        <a:lnTo>
                          <a:pt x="42" y="267"/>
                        </a:lnTo>
                        <a:lnTo>
                          <a:pt x="42" y="267"/>
                        </a:lnTo>
                        <a:lnTo>
                          <a:pt x="41" y="268"/>
                        </a:lnTo>
                        <a:lnTo>
                          <a:pt x="40" y="271"/>
                        </a:lnTo>
                        <a:lnTo>
                          <a:pt x="40" y="271"/>
                        </a:lnTo>
                        <a:lnTo>
                          <a:pt x="40" y="272"/>
                        </a:lnTo>
                        <a:lnTo>
                          <a:pt x="40" y="272"/>
                        </a:lnTo>
                        <a:lnTo>
                          <a:pt x="40" y="274"/>
                        </a:lnTo>
                        <a:lnTo>
                          <a:pt x="39" y="276"/>
                        </a:lnTo>
                        <a:lnTo>
                          <a:pt x="36" y="276"/>
                        </a:lnTo>
                        <a:lnTo>
                          <a:pt x="36" y="276"/>
                        </a:lnTo>
                        <a:lnTo>
                          <a:pt x="34" y="276"/>
                        </a:lnTo>
                        <a:lnTo>
                          <a:pt x="34" y="276"/>
                        </a:lnTo>
                        <a:lnTo>
                          <a:pt x="33" y="278"/>
                        </a:lnTo>
                        <a:lnTo>
                          <a:pt x="32" y="279"/>
                        </a:lnTo>
                        <a:lnTo>
                          <a:pt x="32" y="278"/>
                        </a:lnTo>
                        <a:lnTo>
                          <a:pt x="30" y="279"/>
                        </a:lnTo>
                        <a:lnTo>
                          <a:pt x="30" y="280"/>
                        </a:lnTo>
                        <a:lnTo>
                          <a:pt x="29" y="280"/>
                        </a:lnTo>
                        <a:lnTo>
                          <a:pt x="29" y="280"/>
                        </a:lnTo>
                        <a:lnTo>
                          <a:pt x="28" y="279"/>
                        </a:lnTo>
                        <a:lnTo>
                          <a:pt x="28" y="278"/>
                        </a:lnTo>
                        <a:lnTo>
                          <a:pt x="27" y="278"/>
                        </a:lnTo>
                        <a:lnTo>
                          <a:pt x="26" y="278"/>
                        </a:lnTo>
                        <a:lnTo>
                          <a:pt x="27" y="278"/>
                        </a:lnTo>
                        <a:lnTo>
                          <a:pt x="27" y="279"/>
                        </a:lnTo>
                        <a:lnTo>
                          <a:pt x="27" y="280"/>
                        </a:lnTo>
                        <a:lnTo>
                          <a:pt x="26" y="281"/>
                        </a:lnTo>
                        <a:lnTo>
                          <a:pt x="25" y="280"/>
                        </a:lnTo>
                        <a:lnTo>
                          <a:pt x="25" y="281"/>
                        </a:lnTo>
                        <a:lnTo>
                          <a:pt x="23" y="282"/>
                        </a:lnTo>
                        <a:lnTo>
                          <a:pt x="22" y="281"/>
                        </a:lnTo>
                        <a:lnTo>
                          <a:pt x="22" y="280"/>
                        </a:lnTo>
                        <a:lnTo>
                          <a:pt x="22" y="279"/>
                        </a:lnTo>
                        <a:lnTo>
                          <a:pt x="22" y="279"/>
                        </a:lnTo>
                        <a:lnTo>
                          <a:pt x="22" y="279"/>
                        </a:lnTo>
                        <a:lnTo>
                          <a:pt x="20" y="279"/>
                        </a:lnTo>
                        <a:lnTo>
                          <a:pt x="19" y="279"/>
                        </a:lnTo>
                        <a:lnTo>
                          <a:pt x="19" y="278"/>
                        </a:lnTo>
                        <a:lnTo>
                          <a:pt x="20" y="278"/>
                        </a:lnTo>
                        <a:lnTo>
                          <a:pt x="19" y="276"/>
                        </a:lnTo>
                        <a:lnTo>
                          <a:pt x="18" y="278"/>
                        </a:lnTo>
                        <a:lnTo>
                          <a:pt x="18" y="279"/>
                        </a:lnTo>
                        <a:lnTo>
                          <a:pt x="18" y="280"/>
                        </a:lnTo>
                        <a:lnTo>
                          <a:pt x="18" y="281"/>
                        </a:lnTo>
                        <a:lnTo>
                          <a:pt x="19" y="283"/>
                        </a:lnTo>
                        <a:lnTo>
                          <a:pt x="23" y="287"/>
                        </a:lnTo>
                        <a:lnTo>
                          <a:pt x="26" y="289"/>
                        </a:lnTo>
                        <a:lnTo>
                          <a:pt x="26" y="289"/>
                        </a:lnTo>
                        <a:lnTo>
                          <a:pt x="26" y="291"/>
                        </a:lnTo>
                        <a:lnTo>
                          <a:pt x="27" y="292"/>
                        </a:lnTo>
                        <a:lnTo>
                          <a:pt x="28" y="293"/>
                        </a:lnTo>
                        <a:lnTo>
                          <a:pt x="29" y="294"/>
                        </a:lnTo>
                        <a:lnTo>
                          <a:pt x="30" y="295"/>
                        </a:lnTo>
                        <a:lnTo>
                          <a:pt x="34" y="298"/>
                        </a:lnTo>
                        <a:lnTo>
                          <a:pt x="34" y="298"/>
                        </a:lnTo>
                        <a:lnTo>
                          <a:pt x="34" y="299"/>
                        </a:lnTo>
                        <a:lnTo>
                          <a:pt x="38" y="301"/>
                        </a:lnTo>
                        <a:lnTo>
                          <a:pt x="38" y="302"/>
                        </a:lnTo>
                        <a:lnTo>
                          <a:pt x="39" y="303"/>
                        </a:lnTo>
                        <a:lnTo>
                          <a:pt x="41" y="306"/>
                        </a:lnTo>
                        <a:lnTo>
                          <a:pt x="46" y="309"/>
                        </a:lnTo>
                        <a:lnTo>
                          <a:pt x="47" y="309"/>
                        </a:lnTo>
                        <a:lnTo>
                          <a:pt x="47" y="311"/>
                        </a:lnTo>
                        <a:lnTo>
                          <a:pt x="50" y="312"/>
                        </a:lnTo>
                        <a:lnTo>
                          <a:pt x="52" y="313"/>
                        </a:lnTo>
                        <a:lnTo>
                          <a:pt x="53" y="314"/>
                        </a:lnTo>
                        <a:lnTo>
                          <a:pt x="54" y="314"/>
                        </a:lnTo>
                        <a:lnTo>
                          <a:pt x="54" y="314"/>
                        </a:lnTo>
                        <a:lnTo>
                          <a:pt x="55" y="315"/>
                        </a:lnTo>
                        <a:lnTo>
                          <a:pt x="58" y="314"/>
                        </a:lnTo>
                        <a:lnTo>
                          <a:pt x="59" y="313"/>
                        </a:lnTo>
                        <a:lnTo>
                          <a:pt x="60" y="312"/>
                        </a:lnTo>
                        <a:lnTo>
                          <a:pt x="61" y="313"/>
                        </a:lnTo>
                        <a:lnTo>
                          <a:pt x="63" y="312"/>
                        </a:lnTo>
                        <a:lnTo>
                          <a:pt x="65" y="311"/>
                        </a:lnTo>
                        <a:lnTo>
                          <a:pt x="66" y="311"/>
                        </a:lnTo>
                        <a:lnTo>
                          <a:pt x="66" y="309"/>
                        </a:lnTo>
                        <a:lnTo>
                          <a:pt x="67" y="308"/>
                        </a:lnTo>
                        <a:lnTo>
                          <a:pt x="67" y="308"/>
                        </a:lnTo>
                        <a:lnTo>
                          <a:pt x="68" y="309"/>
                        </a:lnTo>
                        <a:lnTo>
                          <a:pt x="69" y="307"/>
                        </a:lnTo>
                        <a:lnTo>
                          <a:pt x="69" y="307"/>
                        </a:lnTo>
                        <a:lnTo>
                          <a:pt x="70" y="307"/>
                        </a:lnTo>
                        <a:lnTo>
                          <a:pt x="70" y="306"/>
                        </a:lnTo>
                        <a:lnTo>
                          <a:pt x="72" y="305"/>
                        </a:lnTo>
                        <a:lnTo>
                          <a:pt x="73" y="305"/>
                        </a:lnTo>
                        <a:lnTo>
                          <a:pt x="75" y="305"/>
                        </a:lnTo>
                        <a:lnTo>
                          <a:pt x="76" y="305"/>
                        </a:lnTo>
                        <a:lnTo>
                          <a:pt x="76" y="303"/>
                        </a:lnTo>
                        <a:lnTo>
                          <a:pt x="75" y="302"/>
                        </a:lnTo>
                        <a:lnTo>
                          <a:pt x="76" y="300"/>
                        </a:lnTo>
                        <a:lnTo>
                          <a:pt x="78" y="299"/>
                        </a:lnTo>
                        <a:lnTo>
                          <a:pt x="78" y="298"/>
                        </a:lnTo>
                        <a:lnTo>
                          <a:pt x="79" y="296"/>
                        </a:lnTo>
                        <a:lnTo>
                          <a:pt x="79" y="295"/>
                        </a:lnTo>
                        <a:lnTo>
                          <a:pt x="79" y="295"/>
                        </a:lnTo>
                        <a:lnTo>
                          <a:pt x="79" y="294"/>
                        </a:lnTo>
                        <a:lnTo>
                          <a:pt x="78" y="293"/>
                        </a:lnTo>
                        <a:lnTo>
                          <a:pt x="78" y="293"/>
                        </a:lnTo>
                        <a:lnTo>
                          <a:pt x="76" y="292"/>
                        </a:lnTo>
                        <a:lnTo>
                          <a:pt x="76" y="292"/>
                        </a:lnTo>
                        <a:lnTo>
                          <a:pt x="74" y="292"/>
                        </a:lnTo>
                        <a:lnTo>
                          <a:pt x="74" y="293"/>
                        </a:lnTo>
                        <a:lnTo>
                          <a:pt x="73" y="292"/>
                        </a:lnTo>
                        <a:lnTo>
                          <a:pt x="73" y="292"/>
                        </a:lnTo>
                        <a:lnTo>
                          <a:pt x="73" y="291"/>
                        </a:lnTo>
                        <a:lnTo>
                          <a:pt x="73" y="289"/>
                        </a:lnTo>
                        <a:lnTo>
                          <a:pt x="74" y="291"/>
                        </a:lnTo>
                        <a:lnTo>
                          <a:pt x="74" y="289"/>
                        </a:lnTo>
                        <a:lnTo>
                          <a:pt x="74" y="289"/>
                        </a:lnTo>
                        <a:lnTo>
                          <a:pt x="74" y="288"/>
                        </a:lnTo>
                        <a:lnTo>
                          <a:pt x="74" y="289"/>
                        </a:lnTo>
                        <a:lnTo>
                          <a:pt x="75" y="289"/>
                        </a:lnTo>
                        <a:lnTo>
                          <a:pt x="75" y="291"/>
                        </a:lnTo>
                        <a:lnTo>
                          <a:pt x="75" y="289"/>
                        </a:lnTo>
                        <a:lnTo>
                          <a:pt x="76" y="289"/>
                        </a:lnTo>
                        <a:lnTo>
                          <a:pt x="75" y="288"/>
                        </a:lnTo>
                        <a:lnTo>
                          <a:pt x="76" y="288"/>
                        </a:lnTo>
                        <a:lnTo>
                          <a:pt x="75" y="288"/>
                        </a:lnTo>
                        <a:lnTo>
                          <a:pt x="74" y="288"/>
                        </a:lnTo>
                        <a:lnTo>
                          <a:pt x="73" y="288"/>
                        </a:lnTo>
                        <a:lnTo>
                          <a:pt x="74" y="288"/>
                        </a:lnTo>
                        <a:lnTo>
                          <a:pt x="74" y="287"/>
                        </a:lnTo>
                        <a:lnTo>
                          <a:pt x="74" y="287"/>
                        </a:lnTo>
                        <a:lnTo>
                          <a:pt x="75" y="287"/>
                        </a:lnTo>
                        <a:lnTo>
                          <a:pt x="75" y="287"/>
                        </a:lnTo>
                        <a:lnTo>
                          <a:pt x="75" y="287"/>
                        </a:lnTo>
                        <a:lnTo>
                          <a:pt x="76" y="287"/>
                        </a:lnTo>
                        <a:lnTo>
                          <a:pt x="76" y="287"/>
                        </a:lnTo>
                        <a:lnTo>
                          <a:pt x="78" y="287"/>
                        </a:lnTo>
                        <a:lnTo>
                          <a:pt x="78" y="286"/>
                        </a:lnTo>
                        <a:lnTo>
                          <a:pt x="78" y="285"/>
                        </a:lnTo>
                        <a:lnTo>
                          <a:pt x="78" y="283"/>
                        </a:lnTo>
                        <a:lnTo>
                          <a:pt x="76" y="283"/>
                        </a:lnTo>
                        <a:lnTo>
                          <a:pt x="76" y="282"/>
                        </a:lnTo>
                        <a:lnTo>
                          <a:pt x="76" y="281"/>
                        </a:lnTo>
                        <a:lnTo>
                          <a:pt x="75" y="282"/>
                        </a:lnTo>
                        <a:lnTo>
                          <a:pt x="75" y="281"/>
                        </a:lnTo>
                        <a:lnTo>
                          <a:pt x="76" y="280"/>
                        </a:lnTo>
                        <a:lnTo>
                          <a:pt x="76" y="281"/>
                        </a:lnTo>
                        <a:lnTo>
                          <a:pt x="76" y="282"/>
                        </a:lnTo>
                        <a:lnTo>
                          <a:pt x="78" y="282"/>
                        </a:lnTo>
                        <a:lnTo>
                          <a:pt x="78" y="282"/>
                        </a:lnTo>
                        <a:lnTo>
                          <a:pt x="78" y="281"/>
                        </a:lnTo>
                        <a:lnTo>
                          <a:pt x="79" y="280"/>
                        </a:lnTo>
                        <a:lnTo>
                          <a:pt x="79" y="280"/>
                        </a:lnTo>
                        <a:lnTo>
                          <a:pt x="79" y="281"/>
                        </a:lnTo>
                        <a:lnTo>
                          <a:pt x="79" y="282"/>
                        </a:lnTo>
                        <a:lnTo>
                          <a:pt x="80" y="282"/>
                        </a:lnTo>
                        <a:lnTo>
                          <a:pt x="80" y="282"/>
                        </a:lnTo>
                        <a:lnTo>
                          <a:pt x="80" y="282"/>
                        </a:lnTo>
                        <a:lnTo>
                          <a:pt x="81" y="282"/>
                        </a:lnTo>
                        <a:lnTo>
                          <a:pt x="82" y="281"/>
                        </a:lnTo>
                        <a:lnTo>
                          <a:pt x="83" y="282"/>
                        </a:lnTo>
                        <a:lnTo>
                          <a:pt x="83" y="282"/>
                        </a:lnTo>
                        <a:lnTo>
                          <a:pt x="85" y="282"/>
                        </a:lnTo>
                        <a:lnTo>
                          <a:pt x="87" y="281"/>
                        </a:lnTo>
                        <a:lnTo>
                          <a:pt x="87" y="281"/>
                        </a:lnTo>
                        <a:lnTo>
                          <a:pt x="88" y="281"/>
                        </a:lnTo>
                        <a:lnTo>
                          <a:pt x="88" y="282"/>
                        </a:lnTo>
                        <a:lnTo>
                          <a:pt x="88" y="282"/>
                        </a:lnTo>
                        <a:lnTo>
                          <a:pt x="87" y="282"/>
                        </a:lnTo>
                        <a:lnTo>
                          <a:pt x="87" y="282"/>
                        </a:lnTo>
                        <a:lnTo>
                          <a:pt x="85" y="283"/>
                        </a:lnTo>
                        <a:lnTo>
                          <a:pt x="83" y="283"/>
                        </a:lnTo>
                        <a:lnTo>
                          <a:pt x="83" y="282"/>
                        </a:lnTo>
                        <a:lnTo>
                          <a:pt x="82" y="283"/>
                        </a:lnTo>
                        <a:lnTo>
                          <a:pt x="81" y="285"/>
                        </a:lnTo>
                        <a:lnTo>
                          <a:pt x="81" y="287"/>
                        </a:lnTo>
                        <a:lnTo>
                          <a:pt x="82" y="288"/>
                        </a:lnTo>
                        <a:lnTo>
                          <a:pt x="82" y="288"/>
                        </a:lnTo>
                        <a:lnTo>
                          <a:pt x="83" y="287"/>
                        </a:lnTo>
                        <a:lnTo>
                          <a:pt x="85" y="287"/>
                        </a:lnTo>
                        <a:lnTo>
                          <a:pt x="86" y="287"/>
                        </a:lnTo>
                        <a:lnTo>
                          <a:pt x="86" y="287"/>
                        </a:lnTo>
                        <a:lnTo>
                          <a:pt x="85" y="287"/>
                        </a:lnTo>
                        <a:lnTo>
                          <a:pt x="85" y="288"/>
                        </a:lnTo>
                        <a:lnTo>
                          <a:pt x="83" y="288"/>
                        </a:lnTo>
                        <a:lnTo>
                          <a:pt x="83" y="289"/>
                        </a:lnTo>
                        <a:lnTo>
                          <a:pt x="82" y="292"/>
                        </a:lnTo>
                        <a:lnTo>
                          <a:pt x="82" y="293"/>
                        </a:lnTo>
                        <a:lnTo>
                          <a:pt x="82" y="294"/>
                        </a:lnTo>
                        <a:lnTo>
                          <a:pt x="83" y="293"/>
                        </a:lnTo>
                        <a:lnTo>
                          <a:pt x="85" y="294"/>
                        </a:lnTo>
                        <a:lnTo>
                          <a:pt x="85" y="294"/>
                        </a:lnTo>
                        <a:lnTo>
                          <a:pt x="87" y="294"/>
                        </a:lnTo>
                        <a:lnTo>
                          <a:pt x="88" y="294"/>
                        </a:lnTo>
                        <a:lnTo>
                          <a:pt x="88" y="294"/>
                        </a:lnTo>
                        <a:lnTo>
                          <a:pt x="90" y="293"/>
                        </a:lnTo>
                        <a:lnTo>
                          <a:pt x="93" y="292"/>
                        </a:lnTo>
                        <a:lnTo>
                          <a:pt x="93" y="293"/>
                        </a:lnTo>
                        <a:lnTo>
                          <a:pt x="92" y="294"/>
                        </a:lnTo>
                        <a:lnTo>
                          <a:pt x="90" y="295"/>
                        </a:lnTo>
                        <a:lnTo>
                          <a:pt x="89" y="294"/>
                        </a:lnTo>
                        <a:lnTo>
                          <a:pt x="88" y="295"/>
                        </a:lnTo>
                        <a:lnTo>
                          <a:pt x="87" y="295"/>
                        </a:lnTo>
                        <a:lnTo>
                          <a:pt x="86" y="296"/>
                        </a:lnTo>
                        <a:lnTo>
                          <a:pt x="85" y="298"/>
                        </a:lnTo>
                        <a:lnTo>
                          <a:pt x="85" y="299"/>
                        </a:lnTo>
                        <a:lnTo>
                          <a:pt x="85" y="299"/>
                        </a:lnTo>
                        <a:lnTo>
                          <a:pt x="86" y="298"/>
                        </a:lnTo>
                        <a:lnTo>
                          <a:pt x="87" y="298"/>
                        </a:lnTo>
                        <a:lnTo>
                          <a:pt x="87" y="299"/>
                        </a:lnTo>
                        <a:lnTo>
                          <a:pt x="86" y="299"/>
                        </a:lnTo>
                        <a:lnTo>
                          <a:pt x="86" y="299"/>
                        </a:lnTo>
                        <a:lnTo>
                          <a:pt x="85" y="300"/>
                        </a:lnTo>
                        <a:lnTo>
                          <a:pt x="85" y="300"/>
                        </a:lnTo>
                        <a:lnTo>
                          <a:pt x="86" y="300"/>
                        </a:lnTo>
                        <a:lnTo>
                          <a:pt x="85" y="300"/>
                        </a:lnTo>
                        <a:lnTo>
                          <a:pt x="85" y="302"/>
                        </a:lnTo>
                        <a:lnTo>
                          <a:pt x="87" y="303"/>
                        </a:lnTo>
                        <a:lnTo>
                          <a:pt x="86" y="305"/>
                        </a:lnTo>
                        <a:lnTo>
                          <a:pt x="86" y="305"/>
                        </a:lnTo>
                        <a:lnTo>
                          <a:pt x="86" y="306"/>
                        </a:lnTo>
                        <a:lnTo>
                          <a:pt x="87" y="305"/>
                        </a:lnTo>
                        <a:lnTo>
                          <a:pt x="87" y="305"/>
                        </a:lnTo>
                        <a:lnTo>
                          <a:pt x="87" y="305"/>
                        </a:lnTo>
                        <a:lnTo>
                          <a:pt x="87" y="305"/>
                        </a:lnTo>
                        <a:lnTo>
                          <a:pt x="87" y="306"/>
                        </a:lnTo>
                        <a:lnTo>
                          <a:pt x="88" y="306"/>
                        </a:lnTo>
                        <a:lnTo>
                          <a:pt x="88" y="305"/>
                        </a:lnTo>
                        <a:lnTo>
                          <a:pt x="89" y="305"/>
                        </a:lnTo>
                        <a:lnTo>
                          <a:pt x="89" y="305"/>
                        </a:lnTo>
                        <a:lnTo>
                          <a:pt x="89" y="305"/>
                        </a:lnTo>
                        <a:lnTo>
                          <a:pt x="89" y="306"/>
                        </a:lnTo>
                        <a:lnTo>
                          <a:pt x="89" y="306"/>
                        </a:lnTo>
                        <a:lnTo>
                          <a:pt x="88" y="307"/>
                        </a:lnTo>
                        <a:lnTo>
                          <a:pt x="88" y="307"/>
                        </a:lnTo>
                        <a:lnTo>
                          <a:pt x="89" y="307"/>
                        </a:lnTo>
                        <a:lnTo>
                          <a:pt x="89" y="307"/>
                        </a:lnTo>
                        <a:lnTo>
                          <a:pt x="90" y="308"/>
                        </a:lnTo>
                        <a:lnTo>
                          <a:pt x="90" y="308"/>
                        </a:lnTo>
                        <a:lnTo>
                          <a:pt x="90" y="309"/>
                        </a:lnTo>
                        <a:lnTo>
                          <a:pt x="90" y="309"/>
                        </a:lnTo>
                        <a:lnTo>
                          <a:pt x="90" y="309"/>
                        </a:lnTo>
                        <a:lnTo>
                          <a:pt x="90" y="311"/>
                        </a:lnTo>
                        <a:lnTo>
                          <a:pt x="90" y="311"/>
                        </a:lnTo>
                        <a:lnTo>
                          <a:pt x="90" y="312"/>
                        </a:lnTo>
                        <a:lnTo>
                          <a:pt x="92" y="311"/>
                        </a:lnTo>
                        <a:lnTo>
                          <a:pt x="92" y="311"/>
                        </a:lnTo>
                        <a:lnTo>
                          <a:pt x="92" y="311"/>
                        </a:lnTo>
                        <a:lnTo>
                          <a:pt x="92" y="312"/>
                        </a:lnTo>
                        <a:lnTo>
                          <a:pt x="90" y="312"/>
                        </a:lnTo>
                        <a:lnTo>
                          <a:pt x="90" y="312"/>
                        </a:lnTo>
                        <a:lnTo>
                          <a:pt x="92" y="313"/>
                        </a:lnTo>
                        <a:lnTo>
                          <a:pt x="92" y="314"/>
                        </a:lnTo>
                        <a:lnTo>
                          <a:pt x="92" y="314"/>
                        </a:lnTo>
                        <a:lnTo>
                          <a:pt x="92" y="315"/>
                        </a:lnTo>
                        <a:lnTo>
                          <a:pt x="92" y="318"/>
                        </a:lnTo>
                        <a:lnTo>
                          <a:pt x="92" y="319"/>
                        </a:lnTo>
                        <a:lnTo>
                          <a:pt x="92" y="320"/>
                        </a:lnTo>
                        <a:lnTo>
                          <a:pt x="90" y="321"/>
                        </a:lnTo>
                        <a:lnTo>
                          <a:pt x="89" y="320"/>
                        </a:lnTo>
                        <a:lnTo>
                          <a:pt x="89" y="322"/>
                        </a:lnTo>
                        <a:lnTo>
                          <a:pt x="89" y="323"/>
                        </a:lnTo>
                        <a:lnTo>
                          <a:pt x="90" y="325"/>
                        </a:lnTo>
                        <a:lnTo>
                          <a:pt x="89" y="327"/>
                        </a:lnTo>
                        <a:lnTo>
                          <a:pt x="89" y="327"/>
                        </a:lnTo>
                        <a:lnTo>
                          <a:pt x="89" y="328"/>
                        </a:lnTo>
                        <a:lnTo>
                          <a:pt x="89" y="329"/>
                        </a:lnTo>
                        <a:lnTo>
                          <a:pt x="89" y="331"/>
                        </a:lnTo>
                        <a:lnTo>
                          <a:pt x="89" y="332"/>
                        </a:lnTo>
                        <a:lnTo>
                          <a:pt x="89" y="333"/>
                        </a:lnTo>
                        <a:lnTo>
                          <a:pt x="90" y="333"/>
                        </a:lnTo>
                        <a:lnTo>
                          <a:pt x="90" y="333"/>
                        </a:lnTo>
                        <a:lnTo>
                          <a:pt x="90" y="333"/>
                        </a:lnTo>
                        <a:lnTo>
                          <a:pt x="90" y="333"/>
                        </a:lnTo>
                        <a:lnTo>
                          <a:pt x="90" y="335"/>
                        </a:lnTo>
                        <a:lnTo>
                          <a:pt x="89" y="335"/>
                        </a:lnTo>
                        <a:lnTo>
                          <a:pt x="89" y="335"/>
                        </a:lnTo>
                        <a:lnTo>
                          <a:pt x="90" y="335"/>
                        </a:lnTo>
                        <a:lnTo>
                          <a:pt x="90" y="336"/>
                        </a:lnTo>
                        <a:lnTo>
                          <a:pt x="90" y="338"/>
                        </a:lnTo>
                        <a:lnTo>
                          <a:pt x="92" y="338"/>
                        </a:lnTo>
                        <a:lnTo>
                          <a:pt x="92" y="338"/>
                        </a:lnTo>
                        <a:lnTo>
                          <a:pt x="93" y="338"/>
                        </a:lnTo>
                        <a:lnTo>
                          <a:pt x="93" y="338"/>
                        </a:lnTo>
                        <a:lnTo>
                          <a:pt x="94" y="338"/>
                        </a:lnTo>
                        <a:lnTo>
                          <a:pt x="94" y="339"/>
                        </a:lnTo>
                        <a:lnTo>
                          <a:pt x="92" y="341"/>
                        </a:lnTo>
                        <a:lnTo>
                          <a:pt x="94" y="341"/>
                        </a:lnTo>
                        <a:lnTo>
                          <a:pt x="94" y="342"/>
                        </a:lnTo>
                        <a:lnTo>
                          <a:pt x="95" y="342"/>
                        </a:lnTo>
                        <a:lnTo>
                          <a:pt x="96" y="342"/>
                        </a:lnTo>
                        <a:lnTo>
                          <a:pt x="98" y="342"/>
                        </a:lnTo>
                        <a:lnTo>
                          <a:pt x="98" y="343"/>
                        </a:lnTo>
                        <a:lnTo>
                          <a:pt x="98" y="343"/>
                        </a:lnTo>
                        <a:lnTo>
                          <a:pt x="98" y="345"/>
                        </a:lnTo>
                        <a:lnTo>
                          <a:pt x="98" y="345"/>
                        </a:lnTo>
                        <a:lnTo>
                          <a:pt x="96" y="345"/>
                        </a:lnTo>
                        <a:lnTo>
                          <a:pt x="96" y="343"/>
                        </a:lnTo>
                        <a:lnTo>
                          <a:pt x="95" y="343"/>
                        </a:lnTo>
                        <a:lnTo>
                          <a:pt x="94" y="342"/>
                        </a:lnTo>
                        <a:lnTo>
                          <a:pt x="93" y="342"/>
                        </a:lnTo>
                        <a:lnTo>
                          <a:pt x="93" y="342"/>
                        </a:lnTo>
                        <a:lnTo>
                          <a:pt x="93" y="343"/>
                        </a:lnTo>
                        <a:lnTo>
                          <a:pt x="93" y="345"/>
                        </a:lnTo>
                        <a:lnTo>
                          <a:pt x="94" y="345"/>
                        </a:lnTo>
                        <a:lnTo>
                          <a:pt x="94" y="345"/>
                        </a:lnTo>
                        <a:lnTo>
                          <a:pt x="94" y="346"/>
                        </a:lnTo>
                        <a:lnTo>
                          <a:pt x="94" y="345"/>
                        </a:lnTo>
                        <a:lnTo>
                          <a:pt x="94" y="347"/>
                        </a:lnTo>
                        <a:lnTo>
                          <a:pt x="94" y="348"/>
                        </a:lnTo>
                        <a:lnTo>
                          <a:pt x="94" y="349"/>
                        </a:lnTo>
                        <a:lnTo>
                          <a:pt x="94" y="349"/>
                        </a:lnTo>
                        <a:lnTo>
                          <a:pt x="94" y="349"/>
                        </a:lnTo>
                        <a:lnTo>
                          <a:pt x="95" y="351"/>
                        </a:lnTo>
                        <a:lnTo>
                          <a:pt x="94" y="349"/>
                        </a:lnTo>
                        <a:lnTo>
                          <a:pt x="95" y="349"/>
                        </a:lnTo>
                        <a:lnTo>
                          <a:pt x="95" y="349"/>
                        </a:lnTo>
                        <a:lnTo>
                          <a:pt x="95" y="348"/>
                        </a:lnTo>
                        <a:lnTo>
                          <a:pt x="96" y="348"/>
                        </a:lnTo>
                        <a:lnTo>
                          <a:pt x="96" y="347"/>
                        </a:lnTo>
                        <a:lnTo>
                          <a:pt x="96" y="347"/>
                        </a:lnTo>
                        <a:lnTo>
                          <a:pt x="96" y="346"/>
                        </a:lnTo>
                        <a:lnTo>
                          <a:pt x="98" y="347"/>
                        </a:lnTo>
                        <a:lnTo>
                          <a:pt x="98" y="347"/>
                        </a:lnTo>
                        <a:lnTo>
                          <a:pt x="98" y="349"/>
                        </a:lnTo>
                        <a:lnTo>
                          <a:pt x="98" y="348"/>
                        </a:lnTo>
                        <a:lnTo>
                          <a:pt x="98" y="349"/>
                        </a:lnTo>
                        <a:lnTo>
                          <a:pt x="98" y="349"/>
                        </a:lnTo>
                        <a:lnTo>
                          <a:pt x="98" y="351"/>
                        </a:lnTo>
                        <a:lnTo>
                          <a:pt x="96" y="349"/>
                        </a:lnTo>
                        <a:lnTo>
                          <a:pt x="96" y="351"/>
                        </a:lnTo>
                        <a:lnTo>
                          <a:pt x="96" y="351"/>
                        </a:lnTo>
                        <a:lnTo>
                          <a:pt x="95" y="351"/>
                        </a:lnTo>
                        <a:lnTo>
                          <a:pt x="95" y="352"/>
                        </a:lnTo>
                        <a:lnTo>
                          <a:pt x="96" y="352"/>
                        </a:lnTo>
                        <a:lnTo>
                          <a:pt x="98" y="352"/>
                        </a:lnTo>
                        <a:lnTo>
                          <a:pt x="98" y="352"/>
                        </a:lnTo>
                        <a:lnTo>
                          <a:pt x="98" y="352"/>
                        </a:lnTo>
                        <a:lnTo>
                          <a:pt x="98" y="353"/>
                        </a:lnTo>
                        <a:lnTo>
                          <a:pt x="98" y="354"/>
                        </a:lnTo>
                        <a:lnTo>
                          <a:pt x="98" y="355"/>
                        </a:lnTo>
                        <a:lnTo>
                          <a:pt x="96" y="353"/>
                        </a:lnTo>
                        <a:lnTo>
                          <a:pt x="96" y="353"/>
                        </a:lnTo>
                        <a:lnTo>
                          <a:pt x="96" y="353"/>
                        </a:lnTo>
                        <a:lnTo>
                          <a:pt x="95" y="353"/>
                        </a:lnTo>
                        <a:lnTo>
                          <a:pt x="95" y="355"/>
                        </a:lnTo>
                        <a:lnTo>
                          <a:pt x="96" y="356"/>
                        </a:lnTo>
                        <a:lnTo>
                          <a:pt x="96" y="358"/>
                        </a:lnTo>
                        <a:lnTo>
                          <a:pt x="99" y="358"/>
                        </a:lnTo>
                        <a:lnTo>
                          <a:pt x="99" y="359"/>
                        </a:lnTo>
                        <a:lnTo>
                          <a:pt x="99" y="360"/>
                        </a:lnTo>
                        <a:lnTo>
                          <a:pt x="98" y="360"/>
                        </a:lnTo>
                        <a:lnTo>
                          <a:pt x="98" y="359"/>
                        </a:lnTo>
                        <a:lnTo>
                          <a:pt x="96" y="358"/>
                        </a:lnTo>
                        <a:lnTo>
                          <a:pt x="96" y="360"/>
                        </a:lnTo>
                        <a:lnTo>
                          <a:pt x="96" y="361"/>
                        </a:lnTo>
                        <a:lnTo>
                          <a:pt x="96" y="361"/>
                        </a:lnTo>
                        <a:lnTo>
                          <a:pt x="96" y="362"/>
                        </a:lnTo>
                        <a:lnTo>
                          <a:pt x="99" y="362"/>
                        </a:lnTo>
                        <a:lnTo>
                          <a:pt x="99" y="363"/>
                        </a:lnTo>
                        <a:lnTo>
                          <a:pt x="99" y="363"/>
                        </a:lnTo>
                        <a:lnTo>
                          <a:pt x="100" y="362"/>
                        </a:lnTo>
                        <a:lnTo>
                          <a:pt x="100" y="363"/>
                        </a:lnTo>
                        <a:lnTo>
                          <a:pt x="100" y="363"/>
                        </a:lnTo>
                        <a:lnTo>
                          <a:pt x="101" y="365"/>
                        </a:lnTo>
                        <a:lnTo>
                          <a:pt x="100" y="365"/>
                        </a:lnTo>
                        <a:lnTo>
                          <a:pt x="100" y="365"/>
                        </a:lnTo>
                        <a:lnTo>
                          <a:pt x="99" y="365"/>
                        </a:lnTo>
                        <a:lnTo>
                          <a:pt x="99" y="365"/>
                        </a:lnTo>
                        <a:lnTo>
                          <a:pt x="99" y="363"/>
                        </a:lnTo>
                        <a:lnTo>
                          <a:pt x="99" y="363"/>
                        </a:lnTo>
                        <a:lnTo>
                          <a:pt x="98" y="365"/>
                        </a:lnTo>
                        <a:lnTo>
                          <a:pt x="99" y="365"/>
                        </a:lnTo>
                        <a:lnTo>
                          <a:pt x="99" y="366"/>
                        </a:lnTo>
                        <a:lnTo>
                          <a:pt x="99" y="367"/>
                        </a:lnTo>
                        <a:lnTo>
                          <a:pt x="99" y="368"/>
                        </a:lnTo>
                        <a:lnTo>
                          <a:pt x="99" y="368"/>
                        </a:lnTo>
                        <a:lnTo>
                          <a:pt x="100" y="368"/>
                        </a:lnTo>
                        <a:lnTo>
                          <a:pt x="99" y="369"/>
                        </a:lnTo>
                        <a:lnTo>
                          <a:pt x="100" y="369"/>
                        </a:lnTo>
                        <a:lnTo>
                          <a:pt x="100" y="369"/>
                        </a:lnTo>
                        <a:lnTo>
                          <a:pt x="101" y="370"/>
                        </a:lnTo>
                        <a:lnTo>
                          <a:pt x="100" y="370"/>
                        </a:lnTo>
                        <a:lnTo>
                          <a:pt x="102" y="374"/>
                        </a:lnTo>
                        <a:lnTo>
                          <a:pt x="102" y="375"/>
                        </a:lnTo>
                        <a:lnTo>
                          <a:pt x="102" y="376"/>
                        </a:lnTo>
                        <a:lnTo>
                          <a:pt x="102" y="378"/>
                        </a:lnTo>
                        <a:lnTo>
                          <a:pt x="103" y="378"/>
                        </a:lnTo>
                        <a:lnTo>
                          <a:pt x="102" y="379"/>
                        </a:lnTo>
                        <a:lnTo>
                          <a:pt x="102" y="379"/>
                        </a:lnTo>
                        <a:lnTo>
                          <a:pt x="103" y="380"/>
                        </a:lnTo>
                        <a:lnTo>
                          <a:pt x="103" y="381"/>
                        </a:lnTo>
                        <a:lnTo>
                          <a:pt x="103" y="382"/>
                        </a:lnTo>
                        <a:lnTo>
                          <a:pt x="103" y="382"/>
                        </a:lnTo>
                        <a:lnTo>
                          <a:pt x="105" y="383"/>
                        </a:lnTo>
                        <a:lnTo>
                          <a:pt x="105" y="385"/>
                        </a:lnTo>
                        <a:lnTo>
                          <a:pt x="105" y="386"/>
                        </a:lnTo>
                        <a:lnTo>
                          <a:pt x="105" y="386"/>
                        </a:lnTo>
                        <a:lnTo>
                          <a:pt x="106" y="388"/>
                        </a:lnTo>
                        <a:lnTo>
                          <a:pt x="106" y="388"/>
                        </a:lnTo>
                        <a:lnTo>
                          <a:pt x="105" y="388"/>
                        </a:lnTo>
                        <a:lnTo>
                          <a:pt x="105" y="389"/>
                        </a:lnTo>
                        <a:lnTo>
                          <a:pt x="106" y="390"/>
                        </a:lnTo>
                        <a:lnTo>
                          <a:pt x="106" y="390"/>
                        </a:lnTo>
                        <a:lnTo>
                          <a:pt x="107" y="392"/>
                        </a:lnTo>
                        <a:lnTo>
                          <a:pt x="107" y="393"/>
                        </a:lnTo>
                        <a:lnTo>
                          <a:pt x="107" y="394"/>
                        </a:lnTo>
                        <a:lnTo>
                          <a:pt x="107" y="394"/>
                        </a:lnTo>
                        <a:lnTo>
                          <a:pt x="107" y="395"/>
                        </a:lnTo>
                        <a:lnTo>
                          <a:pt x="108" y="396"/>
                        </a:lnTo>
                        <a:lnTo>
                          <a:pt x="108" y="396"/>
                        </a:lnTo>
                        <a:lnTo>
                          <a:pt x="108" y="398"/>
                        </a:lnTo>
                        <a:lnTo>
                          <a:pt x="108" y="398"/>
                        </a:lnTo>
                        <a:lnTo>
                          <a:pt x="108" y="399"/>
                        </a:lnTo>
                        <a:lnTo>
                          <a:pt x="108" y="398"/>
                        </a:lnTo>
                        <a:lnTo>
                          <a:pt x="108" y="399"/>
                        </a:lnTo>
                        <a:lnTo>
                          <a:pt x="109" y="399"/>
                        </a:lnTo>
                        <a:lnTo>
                          <a:pt x="108" y="399"/>
                        </a:lnTo>
                        <a:lnTo>
                          <a:pt x="108" y="400"/>
                        </a:lnTo>
                        <a:lnTo>
                          <a:pt x="108" y="400"/>
                        </a:lnTo>
                        <a:lnTo>
                          <a:pt x="108" y="400"/>
                        </a:lnTo>
                        <a:lnTo>
                          <a:pt x="109" y="400"/>
                        </a:lnTo>
                        <a:lnTo>
                          <a:pt x="108" y="402"/>
                        </a:lnTo>
                        <a:lnTo>
                          <a:pt x="108" y="403"/>
                        </a:lnTo>
                        <a:lnTo>
                          <a:pt x="109" y="403"/>
                        </a:lnTo>
                        <a:lnTo>
                          <a:pt x="110" y="403"/>
                        </a:lnTo>
                        <a:lnTo>
                          <a:pt x="110" y="406"/>
                        </a:lnTo>
                        <a:lnTo>
                          <a:pt x="110" y="406"/>
                        </a:lnTo>
                        <a:lnTo>
                          <a:pt x="110" y="407"/>
                        </a:lnTo>
                        <a:lnTo>
                          <a:pt x="110" y="407"/>
                        </a:lnTo>
                        <a:lnTo>
                          <a:pt x="112" y="408"/>
                        </a:lnTo>
                        <a:lnTo>
                          <a:pt x="112" y="409"/>
                        </a:lnTo>
                        <a:lnTo>
                          <a:pt x="110" y="409"/>
                        </a:lnTo>
                        <a:lnTo>
                          <a:pt x="112" y="410"/>
                        </a:lnTo>
                        <a:lnTo>
                          <a:pt x="112" y="412"/>
                        </a:lnTo>
                        <a:lnTo>
                          <a:pt x="113" y="413"/>
                        </a:lnTo>
                        <a:lnTo>
                          <a:pt x="114" y="414"/>
                        </a:lnTo>
                        <a:lnTo>
                          <a:pt x="115" y="414"/>
                        </a:lnTo>
                        <a:lnTo>
                          <a:pt x="115" y="415"/>
                        </a:lnTo>
                        <a:lnTo>
                          <a:pt x="115" y="416"/>
                        </a:lnTo>
                        <a:lnTo>
                          <a:pt x="116" y="418"/>
                        </a:lnTo>
                        <a:lnTo>
                          <a:pt x="118" y="416"/>
                        </a:lnTo>
                        <a:lnTo>
                          <a:pt x="119" y="419"/>
                        </a:lnTo>
                        <a:lnTo>
                          <a:pt x="116" y="419"/>
                        </a:lnTo>
                        <a:lnTo>
                          <a:pt x="119" y="418"/>
                        </a:lnTo>
                        <a:lnTo>
                          <a:pt x="119" y="418"/>
                        </a:lnTo>
                        <a:lnTo>
                          <a:pt x="119" y="418"/>
                        </a:lnTo>
                        <a:lnTo>
                          <a:pt x="116" y="419"/>
                        </a:lnTo>
                        <a:lnTo>
                          <a:pt x="118" y="420"/>
                        </a:lnTo>
                        <a:lnTo>
                          <a:pt x="119" y="420"/>
                        </a:lnTo>
                        <a:lnTo>
                          <a:pt x="120" y="420"/>
                        </a:lnTo>
                        <a:lnTo>
                          <a:pt x="120" y="421"/>
                        </a:lnTo>
                        <a:lnTo>
                          <a:pt x="120" y="421"/>
                        </a:lnTo>
                        <a:lnTo>
                          <a:pt x="119" y="421"/>
                        </a:lnTo>
                        <a:lnTo>
                          <a:pt x="120" y="422"/>
                        </a:lnTo>
                        <a:lnTo>
                          <a:pt x="121" y="422"/>
                        </a:lnTo>
                        <a:lnTo>
                          <a:pt x="122" y="423"/>
                        </a:lnTo>
                        <a:lnTo>
                          <a:pt x="121" y="422"/>
                        </a:lnTo>
                        <a:lnTo>
                          <a:pt x="120" y="423"/>
                        </a:lnTo>
                        <a:lnTo>
                          <a:pt x="119" y="423"/>
                        </a:lnTo>
                        <a:lnTo>
                          <a:pt x="120" y="423"/>
                        </a:lnTo>
                        <a:lnTo>
                          <a:pt x="120" y="423"/>
                        </a:lnTo>
                        <a:lnTo>
                          <a:pt x="121" y="425"/>
                        </a:lnTo>
                        <a:lnTo>
                          <a:pt x="122" y="426"/>
                        </a:lnTo>
                        <a:lnTo>
                          <a:pt x="122" y="427"/>
                        </a:lnTo>
                        <a:lnTo>
                          <a:pt x="122" y="428"/>
                        </a:lnTo>
                        <a:lnTo>
                          <a:pt x="122" y="429"/>
                        </a:lnTo>
                        <a:lnTo>
                          <a:pt x="122" y="429"/>
                        </a:lnTo>
                        <a:lnTo>
                          <a:pt x="122" y="429"/>
                        </a:lnTo>
                        <a:lnTo>
                          <a:pt x="122" y="430"/>
                        </a:lnTo>
                        <a:lnTo>
                          <a:pt x="122" y="430"/>
                        </a:lnTo>
                        <a:lnTo>
                          <a:pt x="123" y="432"/>
                        </a:lnTo>
                        <a:lnTo>
                          <a:pt x="123" y="432"/>
                        </a:lnTo>
                        <a:lnTo>
                          <a:pt x="125" y="433"/>
                        </a:lnTo>
                        <a:lnTo>
                          <a:pt x="125" y="433"/>
                        </a:lnTo>
                        <a:lnTo>
                          <a:pt x="126" y="434"/>
                        </a:lnTo>
                        <a:lnTo>
                          <a:pt x="126" y="434"/>
                        </a:lnTo>
                        <a:lnTo>
                          <a:pt x="127" y="434"/>
                        </a:lnTo>
                        <a:lnTo>
                          <a:pt x="127" y="434"/>
                        </a:lnTo>
                        <a:lnTo>
                          <a:pt x="128" y="434"/>
                        </a:lnTo>
                        <a:lnTo>
                          <a:pt x="127" y="435"/>
                        </a:lnTo>
                        <a:lnTo>
                          <a:pt x="126" y="434"/>
                        </a:lnTo>
                        <a:lnTo>
                          <a:pt x="126" y="435"/>
                        </a:lnTo>
                        <a:lnTo>
                          <a:pt x="126" y="435"/>
                        </a:lnTo>
                        <a:lnTo>
                          <a:pt x="127" y="436"/>
                        </a:lnTo>
                        <a:lnTo>
                          <a:pt x="127" y="436"/>
                        </a:lnTo>
                        <a:lnTo>
                          <a:pt x="128" y="436"/>
                        </a:lnTo>
                        <a:lnTo>
                          <a:pt x="128" y="436"/>
                        </a:lnTo>
                        <a:lnTo>
                          <a:pt x="129" y="438"/>
                        </a:lnTo>
                        <a:lnTo>
                          <a:pt x="129" y="439"/>
                        </a:lnTo>
                        <a:lnTo>
                          <a:pt x="129" y="440"/>
                        </a:lnTo>
                        <a:lnTo>
                          <a:pt x="129" y="439"/>
                        </a:lnTo>
                        <a:lnTo>
                          <a:pt x="129" y="440"/>
                        </a:lnTo>
                        <a:lnTo>
                          <a:pt x="129" y="440"/>
                        </a:lnTo>
                        <a:lnTo>
                          <a:pt x="129" y="440"/>
                        </a:lnTo>
                        <a:lnTo>
                          <a:pt x="129" y="440"/>
                        </a:lnTo>
                        <a:lnTo>
                          <a:pt x="130" y="440"/>
                        </a:lnTo>
                        <a:lnTo>
                          <a:pt x="130" y="440"/>
                        </a:lnTo>
                        <a:lnTo>
                          <a:pt x="130" y="441"/>
                        </a:lnTo>
                        <a:lnTo>
                          <a:pt x="132" y="441"/>
                        </a:lnTo>
                        <a:lnTo>
                          <a:pt x="132" y="441"/>
                        </a:lnTo>
                        <a:lnTo>
                          <a:pt x="132" y="442"/>
                        </a:lnTo>
                        <a:lnTo>
                          <a:pt x="132" y="442"/>
                        </a:lnTo>
                        <a:lnTo>
                          <a:pt x="132" y="441"/>
                        </a:lnTo>
                        <a:lnTo>
                          <a:pt x="130" y="441"/>
                        </a:lnTo>
                        <a:lnTo>
                          <a:pt x="130" y="442"/>
                        </a:lnTo>
                        <a:lnTo>
                          <a:pt x="132" y="443"/>
                        </a:lnTo>
                        <a:lnTo>
                          <a:pt x="132" y="446"/>
                        </a:lnTo>
                        <a:lnTo>
                          <a:pt x="133" y="446"/>
                        </a:lnTo>
                        <a:lnTo>
                          <a:pt x="133" y="447"/>
                        </a:lnTo>
                        <a:lnTo>
                          <a:pt x="133" y="448"/>
                        </a:lnTo>
                        <a:lnTo>
                          <a:pt x="134" y="450"/>
                        </a:lnTo>
                        <a:lnTo>
                          <a:pt x="134" y="452"/>
                        </a:lnTo>
                        <a:lnTo>
                          <a:pt x="134" y="452"/>
                        </a:lnTo>
                        <a:lnTo>
                          <a:pt x="135" y="453"/>
                        </a:lnTo>
                        <a:lnTo>
                          <a:pt x="135" y="455"/>
                        </a:lnTo>
                        <a:lnTo>
                          <a:pt x="137" y="458"/>
                        </a:lnTo>
                        <a:lnTo>
                          <a:pt x="137" y="458"/>
                        </a:lnTo>
                        <a:lnTo>
                          <a:pt x="139" y="458"/>
                        </a:lnTo>
                        <a:lnTo>
                          <a:pt x="139" y="458"/>
                        </a:lnTo>
                        <a:lnTo>
                          <a:pt x="139" y="459"/>
                        </a:lnTo>
                        <a:lnTo>
                          <a:pt x="139" y="459"/>
                        </a:lnTo>
                        <a:lnTo>
                          <a:pt x="137" y="459"/>
                        </a:lnTo>
                        <a:lnTo>
                          <a:pt x="137" y="460"/>
                        </a:lnTo>
                        <a:lnTo>
                          <a:pt x="137" y="460"/>
                        </a:lnTo>
                        <a:lnTo>
                          <a:pt x="137" y="461"/>
                        </a:lnTo>
                        <a:lnTo>
                          <a:pt x="139" y="461"/>
                        </a:lnTo>
                        <a:lnTo>
                          <a:pt x="139" y="462"/>
                        </a:lnTo>
                        <a:lnTo>
                          <a:pt x="139" y="462"/>
                        </a:lnTo>
                        <a:lnTo>
                          <a:pt x="139" y="463"/>
                        </a:lnTo>
                        <a:lnTo>
                          <a:pt x="137" y="463"/>
                        </a:lnTo>
                        <a:lnTo>
                          <a:pt x="139" y="463"/>
                        </a:lnTo>
                        <a:lnTo>
                          <a:pt x="137" y="463"/>
                        </a:lnTo>
                        <a:lnTo>
                          <a:pt x="139" y="465"/>
                        </a:lnTo>
                        <a:lnTo>
                          <a:pt x="139" y="465"/>
                        </a:lnTo>
                        <a:lnTo>
                          <a:pt x="139" y="466"/>
                        </a:lnTo>
                        <a:lnTo>
                          <a:pt x="140" y="468"/>
                        </a:lnTo>
                        <a:lnTo>
                          <a:pt x="140" y="470"/>
                        </a:lnTo>
                        <a:lnTo>
                          <a:pt x="141" y="472"/>
                        </a:lnTo>
                        <a:lnTo>
                          <a:pt x="140" y="472"/>
                        </a:lnTo>
                        <a:lnTo>
                          <a:pt x="140" y="473"/>
                        </a:lnTo>
                        <a:lnTo>
                          <a:pt x="142" y="475"/>
                        </a:lnTo>
                        <a:lnTo>
                          <a:pt x="142" y="475"/>
                        </a:lnTo>
                        <a:lnTo>
                          <a:pt x="143" y="475"/>
                        </a:lnTo>
                        <a:lnTo>
                          <a:pt x="143" y="475"/>
                        </a:lnTo>
                        <a:lnTo>
                          <a:pt x="143" y="475"/>
                        </a:lnTo>
                        <a:lnTo>
                          <a:pt x="143" y="475"/>
                        </a:lnTo>
                        <a:lnTo>
                          <a:pt x="142" y="476"/>
                        </a:lnTo>
                        <a:lnTo>
                          <a:pt x="142" y="478"/>
                        </a:lnTo>
                        <a:lnTo>
                          <a:pt x="142" y="478"/>
                        </a:lnTo>
                        <a:lnTo>
                          <a:pt x="143" y="480"/>
                        </a:lnTo>
                        <a:lnTo>
                          <a:pt x="145" y="482"/>
                        </a:lnTo>
                        <a:lnTo>
                          <a:pt x="146" y="483"/>
                        </a:lnTo>
                        <a:lnTo>
                          <a:pt x="147" y="486"/>
                        </a:lnTo>
                        <a:lnTo>
                          <a:pt x="147" y="487"/>
                        </a:lnTo>
                        <a:lnTo>
                          <a:pt x="148" y="488"/>
                        </a:lnTo>
                        <a:lnTo>
                          <a:pt x="148" y="488"/>
                        </a:lnTo>
                        <a:lnTo>
                          <a:pt x="149" y="490"/>
                        </a:lnTo>
                        <a:lnTo>
                          <a:pt x="148" y="492"/>
                        </a:lnTo>
                        <a:lnTo>
                          <a:pt x="149" y="492"/>
                        </a:lnTo>
                        <a:lnTo>
                          <a:pt x="149" y="493"/>
                        </a:lnTo>
                        <a:lnTo>
                          <a:pt x="149" y="493"/>
                        </a:lnTo>
                        <a:lnTo>
                          <a:pt x="150" y="492"/>
                        </a:lnTo>
                        <a:lnTo>
                          <a:pt x="152" y="492"/>
                        </a:lnTo>
                        <a:lnTo>
                          <a:pt x="152" y="493"/>
                        </a:lnTo>
                        <a:lnTo>
                          <a:pt x="150" y="493"/>
                        </a:lnTo>
                        <a:lnTo>
                          <a:pt x="152" y="493"/>
                        </a:lnTo>
                        <a:lnTo>
                          <a:pt x="150" y="494"/>
                        </a:lnTo>
                        <a:lnTo>
                          <a:pt x="152" y="494"/>
                        </a:lnTo>
                        <a:lnTo>
                          <a:pt x="152" y="494"/>
                        </a:lnTo>
                        <a:lnTo>
                          <a:pt x="152" y="495"/>
                        </a:lnTo>
                        <a:lnTo>
                          <a:pt x="153" y="495"/>
                        </a:lnTo>
                        <a:lnTo>
                          <a:pt x="153" y="495"/>
                        </a:lnTo>
                        <a:lnTo>
                          <a:pt x="153" y="496"/>
                        </a:lnTo>
                        <a:lnTo>
                          <a:pt x="154" y="498"/>
                        </a:lnTo>
                        <a:lnTo>
                          <a:pt x="155" y="499"/>
                        </a:lnTo>
                        <a:lnTo>
                          <a:pt x="157" y="502"/>
                        </a:lnTo>
                        <a:lnTo>
                          <a:pt x="159" y="503"/>
                        </a:lnTo>
                        <a:lnTo>
                          <a:pt x="159" y="505"/>
                        </a:lnTo>
                        <a:lnTo>
                          <a:pt x="160" y="506"/>
                        </a:lnTo>
                        <a:lnTo>
                          <a:pt x="160" y="507"/>
                        </a:lnTo>
                        <a:lnTo>
                          <a:pt x="160" y="509"/>
                        </a:lnTo>
                        <a:lnTo>
                          <a:pt x="161" y="512"/>
                        </a:lnTo>
                        <a:lnTo>
                          <a:pt x="163" y="515"/>
                        </a:lnTo>
                        <a:lnTo>
                          <a:pt x="163" y="515"/>
                        </a:lnTo>
                        <a:lnTo>
                          <a:pt x="165" y="516"/>
                        </a:lnTo>
                        <a:lnTo>
                          <a:pt x="165" y="517"/>
                        </a:lnTo>
                        <a:lnTo>
                          <a:pt x="165" y="517"/>
                        </a:lnTo>
                        <a:lnTo>
                          <a:pt x="165" y="519"/>
                        </a:lnTo>
                        <a:lnTo>
                          <a:pt x="167" y="521"/>
                        </a:lnTo>
                        <a:lnTo>
                          <a:pt x="167" y="522"/>
                        </a:lnTo>
                        <a:lnTo>
                          <a:pt x="167" y="523"/>
                        </a:lnTo>
                        <a:lnTo>
                          <a:pt x="168" y="526"/>
                        </a:lnTo>
                        <a:lnTo>
                          <a:pt x="168" y="526"/>
                        </a:lnTo>
                        <a:lnTo>
                          <a:pt x="168" y="529"/>
                        </a:lnTo>
                        <a:lnTo>
                          <a:pt x="169" y="529"/>
                        </a:lnTo>
                        <a:lnTo>
                          <a:pt x="169" y="529"/>
                        </a:lnTo>
                        <a:lnTo>
                          <a:pt x="170" y="529"/>
                        </a:lnTo>
                        <a:lnTo>
                          <a:pt x="170" y="529"/>
                        </a:lnTo>
                        <a:lnTo>
                          <a:pt x="170" y="530"/>
                        </a:lnTo>
                        <a:lnTo>
                          <a:pt x="169" y="530"/>
                        </a:lnTo>
                        <a:lnTo>
                          <a:pt x="169" y="532"/>
                        </a:lnTo>
                        <a:lnTo>
                          <a:pt x="169" y="533"/>
                        </a:lnTo>
                        <a:lnTo>
                          <a:pt x="170" y="533"/>
                        </a:lnTo>
                        <a:lnTo>
                          <a:pt x="170" y="532"/>
                        </a:lnTo>
                        <a:lnTo>
                          <a:pt x="170" y="532"/>
                        </a:lnTo>
                        <a:lnTo>
                          <a:pt x="172" y="532"/>
                        </a:lnTo>
                        <a:lnTo>
                          <a:pt x="172" y="532"/>
                        </a:lnTo>
                        <a:lnTo>
                          <a:pt x="172" y="533"/>
                        </a:lnTo>
                        <a:lnTo>
                          <a:pt x="172" y="533"/>
                        </a:lnTo>
                        <a:lnTo>
                          <a:pt x="172" y="534"/>
                        </a:lnTo>
                        <a:lnTo>
                          <a:pt x="173" y="535"/>
                        </a:lnTo>
                        <a:lnTo>
                          <a:pt x="173" y="535"/>
                        </a:lnTo>
                        <a:lnTo>
                          <a:pt x="173" y="536"/>
                        </a:lnTo>
                        <a:lnTo>
                          <a:pt x="174" y="537"/>
                        </a:lnTo>
                        <a:lnTo>
                          <a:pt x="174" y="539"/>
                        </a:lnTo>
                        <a:lnTo>
                          <a:pt x="174" y="539"/>
                        </a:lnTo>
                        <a:lnTo>
                          <a:pt x="174" y="540"/>
                        </a:lnTo>
                        <a:lnTo>
                          <a:pt x="174" y="539"/>
                        </a:lnTo>
                        <a:lnTo>
                          <a:pt x="174" y="537"/>
                        </a:lnTo>
                        <a:lnTo>
                          <a:pt x="173" y="537"/>
                        </a:lnTo>
                        <a:lnTo>
                          <a:pt x="172" y="536"/>
                        </a:lnTo>
                        <a:lnTo>
                          <a:pt x="173" y="537"/>
                        </a:lnTo>
                        <a:lnTo>
                          <a:pt x="173" y="537"/>
                        </a:lnTo>
                        <a:lnTo>
                          <a:pt x="173" y="539"/>
                        </a:lnTo>
                        <a:lnTo>
                          <a:pt x="173" y="539"/>
                        </a:lnTo>
                        <a:lnTo>
                          <a:pt x="172" y="537"/>
                        </a:lnTo>
                        <a:lnTo>
                          <a:pt x="172" y="536"/>
                        </a:lnTo>
                        <a:lnTo>
                          <a:pt x="172" y="536"/>
                        </a:lnTo>
                        <a:lnTo>
                          <a:pt x="170" y="537"/>
                        </a:lnTo>
                        <a:lnTo>
                          <a:pt x="170" y="536"/>
                        </a:lnTo>
                        <a:lnTo>
                          <a:pt x="170" y="536"/>
                        </a:lnTo>
                        <a:lnTo>
                          <a:pt x="172" y="536"/>
                        </a:lnTo>
                        <a:lnTo>
                          <a:pt x="172" y="535"/>
                        </a:lnTo>
                        <a:lnTo>
                          <a:pt x="169" y="535"/>
                        </a:lnTo>
                        <a:lnTo>
                          <a:pt x="169" y="536"/>
                        </a:lnTo>
                        <a:lnTo>
                          <a:pt x="172" y="539"/>
                        </a:lnTo>
                        <a:lnTo>
                          <a:pt x="172" y="540"/>
                        </a:lnTo>
                        <a:lnTo>
                          <a:pt x="170" y="541"/>
                        </a:lnTo>
                        <a:lnTo>
                          <a:pt x="170" y="543"/>
                        </a:lnTo>
                        <a:lnTo>
                          <a:pt x="173" y="543"/>
                        </a:lnTo>
                        <a:lnTo>
                          <a:pt x="173" y="545"/>
                        </a:lnTo>
                        <a:lnTo>
                          <a:pt x="173" y="546"/>
                        </a:lnTo>
                        <a:lnTo>
                          <a:pt x="173" y="546"/>
                        </a:lnTo>
                        <a:lnTo>
                          <a:pt x="174" y="547"/>
                        </a:lnTo>
                        <a:lnTo>
                          <a:pt x="174" y="548"/>
                        </a:lnTo>
                        <a:lnTo>
                          <a:pt x="175" y="548"/>
                        </a:lnTo>
                        <a:lnTo>
                          <a:pt x="176" y="549"/>
                        </a:lnTo>
                        <a:lnTo>
                          <a:pt x="176" y="549"/>
                        </a:lnTo>
                        <a:lnTo>
                          <a:pt x="176" y="550"/>
                        </a:lnTo>
                        <a:lnTo>
                          <a:pt x="177" y="552"/>
                        </a:lnTo>
                        <a:lnTo>
                          <a:pt x="177" y="553"/>
                        </a:lnTo>
                        <a:lnTo>
                          <a:pt x="177" y="554"/>
                        </a:lnTo>
                        <a:lnTo>
                          <a:pt x="177" y="554"/>
                        </a:lnTo>
                        <a:lnTo>
                          <a:pt x="177" y="555"/>
                        </a:lnTo>
                        <a:lnTo>
                          <a:pt x="179" y="556"/>
                        </a:lnTo>
                        <a:lnTo>
                          <a:pt x="180" y="557"/>
                        </a:lnTo>
                        <a:lnTo>
                          <a:pt x="181" y="559"/>
                        </a:lnTo>
                        <a:lnTo>
                          <a:pt x="181" y="560"/>
                        </a:lnTo>
                        <a:lnTo>
                          <a:pt x="181" y="560"/>
                        </a:lnTo>
                        <a:lnTo>
                          <a:pt x="182" y="561"/>
                        </a:lnTo>
                        <a:lnTo>
                          <a:pt x="182" y="562"/>
                        </a:lnTo>
                        <a:lnTo>
                          <a:pt x="183" y="565"/>
                        </a:lnTo>
                        <a:lnTo>
                          <a:pt x="183" y="565"/>
                        </a:lnTo>
                        <a:lnTo>
                          <a:pt x="185" y="566"/>
                        </a:lnTo>
                        <a:lnTo>
                          <a:pt x="186" y="566"/>
                        </a:lnTo>
                        <a:lnTo>
                          <a:pt x="187" y="567"/>
                        </a:lnTo>
                        <a:lnTo>
                          <a:pt x="188" y="568"/>
                        </a:lnTo>
                        <a:lnTo>
                          <a:pt x="188" y="569"/>
                        </a:lnTo>
                        <a:lnTo>
                          <a:pt x="189" y="570"/>
                        </a:lnTo>
                        <a:lnTo>
                          <a:pt x="192" y="570"/>
                        </a:lnTo>
                        <a:lnTo>
                          <a:pt x="193" y="572"/>
                        </a:lnTo>
                        <a:lnTo>
                          <a:pt x="194" y="573"/>
                        </a:lnTo>
                        <a:lnTo>
                          <a:pt x="195" y="573"/>
                        </a:lnTo>
                        <a:lnTo>
                          <a:pt x="196" y="574"/>
                        </a:lnTo>
                        <a:lnTo>
                          <a:pt x="199" y="574"/>
                        </a:lnTo>
                        <a:lnTo>
                          <a:pt x="200" y="575"/>
                        </a:lnTo>
                        <a:lnTo>
                          <a:pt x="202" y="574"/>
                        </a:lnTo>
                        <a:lnTo>
                          <a:pt x="203" y="574"/>
                        </a:lnTo>
                        <a:lnTo>
                          <a:pt x="206" y="573"/>
                        </a:lnTo>
                        <a:lnTo>
                          <a:pt x="208" y="573"/>
                        </a:lnTo>
                        <a:lnTo>
                          <a:pt x="207" y="572"/>
                        </a:lnTo>
                        <a:lnTo>
                          <a:pt x="209" y="570"/>
                        </a:lnTo>
                        <a:lnTo>
                          <a:pt x="209" y="568"/>
                        </a:lnTo>
                        <a:lnTo>
                          <a:pt x="210" y="567"/>
                        </a:lnTo>
                        <a:lnTo>
                          <a:pt x="210" y="566"/>
                        </a:lnTo>
                        <a:lnTo>
                          <a:pt x="212" y="563"/>
                        </a:lnTo>
                        <a:lnTo>
                          <a:pt x="210" y="562"/>
                        </a:lnTo>
                        <a:lnTo>
                          <a:pt x="210" y="561"/>
                        </a:lnTo>
                        <a:lnTo>
                          <a:pt x="212" y="560"/>
                        </a:lnTo>
                        <a:lnTo>
                          <a:pt x="212" y="560"/>
                        </a:lnTo>
                        <a:lnTo>
                          <a:pt x="212" y="557"/>
                        </a:lnTo>
                        <a:lnTo>
                          <a:pt x="213" y="557"/>
                        </a:lnTo>
                        <a:lnTo>
                          <a:pt x="214" y="556"/>
                        </a:lnTo>
                        <a:lnTo>
                          <a:pt x="214" y="556"/>
                        </a:lnTo>
                        <a:lnTo>
                          <a:pt x="215" y="555"/>
                        </a:lnTo>
                        <a:lnTo>
                          <a:pt x="215" y="555"/>
                        </a:lnTo>
                        <a:lnTo>
                          <a:pt x="217" y="554"/>
                        </a:lnTo>
                        <a:lnTo>
                          <a:pt x="217" y="552"/>
                        </a:lnTo>
                        <a:lnTo>
                          <a:pt x="219" y="550"/>
                        </a:lnTo>
                        <a:lnTo>
                          <a:pt x="221" y="550"/>
                        </a:lnTo>
                        <a:lnTo>
                          <a:pt x="223" y="550"/>
                        </a:lnTo>
                        <a:lnTo>
                          <a:pt x="226" y="549"/>
                        </a:lnTo>
                        <a:lnTo>
                          <a:pt x="227" y="549"/>
                        </a:lnTo>
                        <a:lnTo>
                          <a:pt x="228" y="550"/>
                        </a:lnTo>
                        <a:lnTo>
                          <a:pt x="228" y="550"/>
                        </a:lnTo>
                        <a:lnTo>
                          <a:pt x="232" y="553"/>
                        </a:lnTo>
                        <a:lnTo>
                          <a:pt x="232" y="552"/>
                        </a:lnTo>
                        <a:lnTo>
                          <a:pt x="229" y="550"/>
                        </a:lnTo>
                        <a:lnTo>
                          <a:pt x="228" y="549"/>
                        </a:lnTo>
                        <a:lnTo>
                          <a:pt x="228" y="548"/>
                        </a:lnTo>
                        <a:lnTo>
                          <a:pt x="227" y="548"/>
                        </a:lnTo>
                        <a:lnTo>
                          <a:pt x="225" y="548"/>
                        </a:lnTo>
                        <a:lnTo>
                          <a:pt x="223" y="548"/>
                        </a:lnTo>
                        <a:lnTo>
                          <a:pt x="222" y="547"/>
                        </a:lnTo>
                        <a:lnTo>
                          <a:pt x="222" y="546"/>
                        </a:lnTo>
                        <a:lnTo>
                          <a:pt x="220" y="547"/>
                        </a:lnTo>
                        <a:lnTo>
                          <a:pt x="223" y="545"/>
                        </a:lnTo>
                        <a:lnTo>
                          <a:pt x="223" y="543"/>
                        </a:lnTo>
                        <a:lnTo>
                          <a:pt x="222" y="543"/>
                        </a:lnTo>
                        <a:lnTo>
                          <a:pt x="223" y="542"/>
                        </a:lnTo>
                        <a:lnTo>
                          <a:pt x="223" y="541"/>
                        </a:lnTo>
                        <a:lnTo>
                          <a:pt x="226" y="540"/>
                        </a:lnTo>
                        <a:lnTo>
                          <a:pt x="227" y="539"/>
                        </a:lnTo>
                        <a:lnTo>
                          <a:pt x="228" y="537"/>
                        </a:lnTo>
                        <a:lnTo>
                          <a:pt x="228" y="535"/>
                        </a:lnTo>
                        <a:lnTo>
                          <a:pt x="228" y="535"/>
                        </a:lnTo>
                        <a:lnTo>
                          <a:pt x="228" y="536"/>
                        </a:lnTo>
                        <a:lnTo>
                          <a:pt x="228" y="536"/>
                        </a:lnTo>
                        <a:lnTo>
                          <a:pt x="229" y="534"/>
                        </a:lnTo>
                        <a:lnTo>
                          <a:pt x="229" y="533"/>
                        </a:lnTo>
                        <a:lnTo>
                          <a:pt x="229" y="532"/>
                        </a:lnTo>
                        <a:lnTo>
                          <a:pt x="228" y="532"/>
                        </a:lnTo>
                        <a:lnTo>
                          <a:pt x="229" y="530"/>
                        </a:lnTo>
                        <a:lnTo>
                          <a:pt x="230" y="529"/>
                        </a:lnTo>
                        <a:lnTo>
                          <a:pt x="230" y="529"/>
                        </a:lnTo>
                        <a:lnTo>
                          <a:pt x="233" y="528"/>
                        </a:lnTo>
                        <a:lnTo>
                          <a:pt x="232" y="528"/>
                        </a:lnTo>
                        <a:lnTo>
                          <a:pt x="232" y="527"/>
                        </a:lnTo>
                        <a:lnTo>
                          <a:pt x="233" y="528"/>
                        </a:lnTo>
                        <a:lnTo>
                          <a:pt x="234" y="528"/>
                        </a:lnTo>
                        <a:lnTo>
                          <a:pt x="234" y="528"/>
                        </a:lnTo>
                        <a:lnTo>
                          <a:pt x="235" y="529"/>
                        </a:lnTo>
                        <a:lnTo>
                          <a:pt x="236" y="528"/>
                        </a:lnTo>
                        <a:lnTo>
                          <a:pt x="237" y="527"/>
                        </a:lnTo>
                        <a:lnTo>
                          <a:pt x="237" y="526"/>
                        </a:lnTo>
                        <a:lnTo>
                          <a:pt x="237" y="523"/>
                        </a:lnTo>
                        <a:lnTo>
                          <a:pt x="240" y="525"/>
                        </a:lnTo>
                        <a:lnTo>
                          <a:pt x="239" y="525"/>
                        </a:lnTo>
                        <a:lnTo>
                          <a:pt x="239" y="523"/>
                        </a:lnTo>
                        <a:lnTo>
                          <a:pt x="239" y="521"/>
                        </a:lnTo>
                        <a:lnTo>
                          <a:pt x="239" y="520"/>
                        </a:lnTo>
                        <a:lnTo>
                          <a:pt x="240" y="520"/>
                        </a:lnTo>
                        <a:lnTo>
                          <a:pt x="239" y="517"/>
                        </a:lnTo>
                        <a:lnTo>
                          <a:pt x="239" y="517"/>
                        </a:lnTo>
                        <a:lnTo>
                          <a:pt x="239" y="516"/>
                        </a:lnTo>
                        <a:lnTo>
                          <a:pt x="239" y="514"/>
                        </a:lnTo>
                        <a:lnTo>
                          <a:pt x="239" y="513"/>
                        </a:lnTo>
                        <a:lnTo>
                          <a:pt x="239" y="513"/>
                        </a:lnTo>
                        <a:lnTo>
                          <a:pt x="236" y="512"/>
                        </a:lnTo>
                        <a:lnTo>
                          <a:pt x="236" y="509"/>
                        </a:lnTo>
                        <a:lnTo>
                          <a:pt x="237" y="507"/>
                        </a:lnTo>
                        <a:lnTo>
                          <a:pt x="236" y="506"/>
                        </a:lnTo>
                        <a:lnTo>
                          <a:pt x="236" y="505"/>
                        </a:lnTo>
                        <a:lnTo>
                          <a:pt x="236" y="502"/>
                        </a:lnTo>
                        <a:lnTo>
                          <a:pt x="236" y="501"/>
                        </a:lnTo>
                        <a:lnTo>
                          <a:pt x="236" y="501"/>
                        </a:lnTo>
                        <a:lnTo>
                          <a:pt x="236" y="499"/>
                        </a:lnTo>
                        <a:lnTo>
                          <a:pt x="235" y="499"/>
                        </a:lnTo>
                        <a:lnTo>
                          <a:pt x="235" y="499"/>
                        </a:lnTo>
                        <a:lnTo>
                          <a:pt x="235" y="496"/>
                        </a:lnTo>
                        <a:lnTo>
                          <a:pt x="235" y="494"/>
                        </a:lnTo>
                        <a:lnTo>
                          <a:pt x="235" y="493"/>
                        </a:lnTo>
                        <a:lnTo>
                          <a:pt x="236" y="492"/>
                        </a:lnTo>
                        <a:lnTo>
                          <a:pt x="237" y="490"/>
                        </a:lnTo>
                        <a:lnTo>
                          <a:pt x="237" y="489"/>
                        </a:lnTo>
                        <a:lnTo>
                          <a:pt x="237" y="488"/>
                        </a:lnTo>
                        <a:lnTo>
                          <a:pt x="237" y="486"/>
                        </a:lnTo>
                        <a:lnTo>
                          <a:pt x="239" y="486"/>
                        </a:lnTo>
                        <a:lnTo>
                          <a:pt x="240" y="483"/>
                        </a:lnTo>
                        <a:lnTo>
                          <a:pt x="239" y="481"/>
                        </a:lnTo>
                        <a:lnTo>
                          <a:pt x="239" y="478"/>
                        </a:lnTo>
                        <a:lnTo>
                          <a:pt x="239" y="475"/>
                        </a:lnTo>
                        <a:lnTo>
                          <a:pt x="240" y="473"/>
                        </a:lnTo>
                        <a:lnTo>
                          <a:pt x="240" y="472"/>
                        </a:lnTo>
                        <a:lnTo>
                          <a:pt x="240" y="470"/>
                        </a:lnTo>
                        <a:lnTo>
                          <a:pt x="240" y="469"/>
                        </a:lnTo>
                        <a:lnTo>
                          <a:pt x="240" y="469"/>
                        </a:lnTo>
                        <a:lnTo>
                          <a:pt x="240" y="468"/>
                        </a:lnTo>
                        <a:lnTo>
                          <a:pt x="240" y="467"/>
                        </a:lnTo>
                        <a:lnTo>
                          <a:pt x="240" y="466"/>
                        </a:lnTo>
                        <a:lnTo>
                          <a:pt x="240" y="466"/>
                        </a:lnTo>
                        <a:lnTo>
                          <a:pt x="240" y="465"/>
                        </a:lnTo>
                        <a:lnTo>
                          <a:pt x="239" y="463"/>
                        </a:lnTo>
                        <a:lnTo>
                          <a:pt x="239" y="463"/>
                        </a:lnTo>
                        <a:lnTo>
                          <a:pt x="237" y="463"/>
                        </a:lnTo>
                        <a:lnTo>
                          <a:pt x="237" y="462"/>
                        </a:lnTo>
                        <a:lnTo>
                          <a:pt x="237" y="462"/>
                        </a:lnTo>
                        <a:lnTo>
                          <a:pt x="235" y="461"/>
                        </a:lnTo>
                        <a:lnTo>
                          <a:pt x="234" y="460"/>
                        </a:lnTo>
                        <a:lnTo>
                          <a:pt x="235" y="460"/>
                        </a:lnTo>
                        <a:lnTo>
                          <a:pt x="235" y="459"/>
                        </a:lnTo>
                        <a:lnTo>
                          <a:pt x="235" y="459"/>
                        </a:lnTo>
                        <a:lnTo>
                          <a:pt x="235" y="459"/>
                        </a:lnTo>
                        <a:lnTo>
                          <a:pt x="235" y="460"/>
                        </a:lnTo>
                        <a:lnTo>
                          <a:pt x="236" y="460"/>
                        </a:lnTo>
                        <a:lnTo>
                          <a:pt x="236" y="458"/>
                        </a:lnTo>
                        <a:lnTo>
                          <a:pt x="236" y="459"/>
                        </a:lnTo>
                        <a:lnTo>
                          <a:pt x="237" y="460"/>
                        </a:lnTo>
                        <a:lnTo>
                          <a:pt x="239" y="461"/>
                        </a:lnTo>
                        <a:lnTo>
                          <a:pt x="239" y="462"/>
                        </a:lnTo>
                        <a:lnTo>
                          <a:pt x="240" y="463"/>
                        </a:lnTo>
                        <a:lnTo>
                          <a:pt x="237" y="459"/>
                        </a:lnTo>
                        <a:lnTo>
                          <a:pt x="237" y="458"/>
                        </a:lnTo>
                        <a:lnTo>
                          <a:pt x="237" y="456"/>
                        </a:lnTo>
                        <a:lnTo>
                          <a:pt x="237" y="455"/>
                        </a:lnTo>
                        <a:lnTo>
                          <a:pt x="237" y="453"/>
                        </a:lnTo>
                        <a:lnTo>
                          <a:pt x="236" y="452"/>
                        </a:lnTo>
                        <a:lnTo>
                          <a:pt x="235" y="449"/>
                        </a:lnTo>
                        <a:lnTo>
                          <a:pt x="235" y="448"/>
                        </a:lnTo>
                        <a:lnTo>
                          <a:pt x="234" y="448"/>
                        </a:lnTo>
                        <a:lnTo>
                          <a:pt x="233" y="448"/>
                        </a:lnTo>
                        <a:lnTo>
                          <a:pt x="234" y="447"/>
                        </a:lnTo>
                        <a:lnTo>
                          <a:pt x="235" y="447"/>
                        </a:lnTo>
                        <a:lnTo>
                          <a:pt x="235" y="445"/>
                        </a:lnTo>
                        <a:lnTo>
                          <a:pt x="236" y="443"/>
                        </a:lnTo>
                        <a:lnTo>
                          <a:pt x="235" y="441"/>
                        </a:lnTo>
                        <a:lnTo>
                          <a:pt x="235" y="441"/>
                        </a:lnTo>
                        <a:lnTo>
                          <a:pt x="235" y="440"/>
                        </a:lnTo>
                        <a:lnTo>
                          <a:pt x="235" y="440"/>
                        </a:lnTo>
                        <a:lnTo>
                          <a:pt x="235" y="438"/>
                        </a:lnTo>
                        <a:lnTo>
                          <a:pt x="234" y="438"/>
                        </a:lnTo>
                        <a:lnTo>
                          <a:pt x="234" y="436"/>
                        </a:lnTo>
                        <a:lnTo>
                          <a:pt x="233" y="434"/>
                        </a:lnTo>
                        <a:lnTo>
                          <a:pt x="232" y="433"/>
                        </a:lnTo>
                        <a:lnTo>
                          <a:pt x="232" y="429"/>
                        </a:lnTo>
                        <a:lnTo>
                          <a:pt x="232" y="428"/>
                        </a:lnTo>
                        <a:lnTo>
                          <a:pt x="232" y="427"/>
                        </a:lnTo>
                        <a:lnTo>
                          <a:pt x="232" y="425"/>
                        </a:lnTo>
                        <a:lnTo>
                          <a:pt x="233" y="422"/>
                        </a:lnTo>
                        <a:lnTo>
                          <a:pt x="233" y="421"/>
                        </a:lnTo>
                        <a:lnTo>
                          <a:pt x="234" y="418"/>
                        </a:lnTo>
                        <a:lnTo>
                          <a:pt x="236" y="415"/>
                        </a:lnTo>
                        <a:lnTo>
                          <a:pt x="239" y="415"/>
                        </a:lnTo>
                        <a:lnTo>
                          <a:pt x="239" y="414"/>
                        </a:lnTo>
                        <a:lnTo>
                          <a:pt x="240" y="414"/>
                        </a:lnTo>
                        <a:lnTo>
                          <a:pt x="242" y="414"/>
                        </a:lnTo>
                        <a:lnTo>
                          <a:pt x="242" y="413"/>
                        </a:lnTo>
                        <a:lnTo>
                          <a:pt x="243" y="414"/>
                        </a:lnTo>
                        <a:lnTo>
                          <a:pt x="243" y="415"/>
                        </a:lnTo>
                        <a:lnTo>
                          <a:pt x="242" y="416"/>
                        </a:lnTo>
                        <a:lnTo>
                          <a:pt x="242" y="416"/>
                        </a:lnTo>
                        <a:lnTo>
                          <a:pt x="243" y="416"/>
                        </a:lnTo>
                        <a:lnTo>
                          <a:pt x="245" y="415"/>
                        </a:lnTo>
                        <a:lnTo>
                          <a:pt x="245" y="413"/>
                        </a:lnTo>
                        <a:lnTo>
                          <a:pt x="246" y="412"/>
                        </a:lnTo>
                        <a:lnTo>
                          <a:pt x="246" y="413"/>
                        </a:lnTo>
                        <a:lnTo>
                          <a:pt x="246" y="414"/>
                        </a:lnTo>
                        <a:lnTo>
                          <a:pt x="246" y="416"/>
                        </a:lnTo>
                        <a:lnTo>
                          <a:pt x="248" y="415"/>
                        </a:lnTo>
                        <a:lnTo>
                          <a:pt x="249" y="415"/>
                        </a:lnTo>
                        <a:lnTo>
                          <a:pt x="247" y="414"/>
                        </a:lnTo>
                        <a:lnTo>
                          <a:pt x="249" y="412"/>
                        </a:lnTo>
                        <a:lnTo>
                          <a:pt x="249" y="409"/>
                        </a:lnTo>
                        <a:lnTo>
                          <a:pt x="250" y="407"/>
                        </a:lnTo>
                        <a:lnTo>
                          <a:pt x="252" y="406"/>
                        </a:lnTo>
                        <a:lnTo>
                          <a:pt x="250" y="405"/>
                        </a:lnTo>
                        <a:lnTo>
                          <a:pt x="252" y="403"/>
                        </a:lnTo>
                        <a:lnTo>
                          <a:pt x="253" y="402"/>
                        </a:lnTo>
                        <a:lnTo>
                          <a:pt x="254" y="403"/>
                        </a:lnTo>
                        <a:lnTo>
                          <a:pt x="253" y="403"/>
                        </a:lnTo>
                        <a:lnTo>
                          <a:pt x="254" y="403"/>
                        </a:lnTo>
                        <a:lnTo>
                          <a:pt x="256" y="403"/>
                        </a:lnTo>
                        <a:lnTo>
                          <a:pt x="255" y="403"/>
                        </a:lnTo>
                        <a:lnTo>
                          <a:pt x="256" y="403"/>
                        </a:lnTo>
                        <a:lnTo>
                          <a:pt x="257" y="403"/>
                        </a:lnTo>
                        <a:lnTo>
                          <a:pt x="259" y="403"/>
                        </a:lnTo>
                        <a:lnTo>
                          <a:pt x="259" y="405"/>
                        </a:lnTo>
                        <a:lnTo>
                          <a:pt x="261" y="403"/>
                        </a:lnTo>
                        <a:lnTo>
                          <a:pt x="263" y="403"/>
                        </a:lnTo>
                        <a:lnTo>
                          <a:pt x="263" y="402"/>
                        </a:lnTo>
                        <a:lnTo>
                          <a:pt x="265" y="401"/>
                        </a:lnTo>
                        <a:lnTo>
                          <a:pt x="266" y="401"/>
                        </a:lnTo>
                        <a:lnTo>
                          <a:pt x="267" y="401"/>
                        </a:lnTo>
                        <a:lnTo>
                          <a:pt x="266" y="399"/>
                        </a:lnTo>
                        <a:lnTo>
                          <a:pt x="267" y="399"/>
                        </a:lnTo>
                        <a:lnTo>
                          <a:pt x="268" y="400"/>
                        </a:lnTo>
                        <a:lnTo>
                          <a:pt x="268" y="399"/>
                        </a:lnTo>
                        <a:lnTo>
                          <a:pt x="270" y="398"/>
                        </a:lnTo>
                        <a:lnTo>
                          <a:pt x="272" y="395"/>
                        </a:lnTo>
                        <a:lnTo>
                          <a:pt x="272" y="394"/>
                        </a:lnTo>
                        <a:lnTo>
                          <a:pt x="272" y="394"/>
                        </a:lnTo>
                        <a:lnTo>
                          <a:pt x="272" y="392"/>
                        </a:lnTo>
                        <a:lnTo>
                          <a:pt x="272" y="389"/>
                        </a:lnTo>
                        <a:lnTo>
                          <a:pt x="270" y="389"/>
                        </a:lnTo>
                        <a:lnTo>
                          <a:pt x="269" y="390"/>
                        </a:lnTo>
                        <a:lnTo>
                          <a:pt x="270" y="393"/>
                        </a:lnTo>
                        <a:lnTo>
                          <a:pt x="269" y="394"/>
                        </a:lnTo>
                        <a:lnTo>
                          <a:pt x="268" y="393"/>
                        </a:lnTo>
                        <a:lnTo>
                          <a:pt x="268" y="393"/>
                        </a:lnTo>
                        <a:lnTo>
                          <a:pt x="267" y="392"/>
                        </a:lnTo>
                        <a:lnTo>
                          <a:pt x="267" y="390"/>
                        </a:lnTo>
                        <a:lnTo>
                          <a:pt x="269" y="388"/>
                        </a:lnTo>
                        <a:lnTo>
                          <a:pt x="272" y="386"/>
                        </a:lnTo>
                        <a:lnTo>
                          <a:pt x="273" y="385"/>
                        </a:lnTo>
                        <a:lnTo>
                          <a:pt x="276" y="382"/>
                        </a:lnTo>
                        <a:lnTo>
                          <a:pt x="277" y="382"/>
                        </a:lnTo>
                        <a:lnTo>
                          <a:pt x="279" y="382"/>
                        </a:lnTo>
                        <a:lnTo>
                          <a:pt x="280" y="381"/>
                        </a:lnTo>
                        <a:lnTo>
                          <a:pt x="280" y="380"/>
                        </a:lnTo>
                        <a:lnTo>
                          <a:pt x="282" y="379"/>
                        </a:lnTo>
                        <a:lnTo>
                          <a:pt x="283" y="378"/>
                        </a:lnTo>
                        <a:lnTo>
                          <a:pt x="282" y="376"/>
                        </a:lnTo>
                        <a:lnTo>
                          <a:pt x="283" y="376"/>
                        </a:lnTo>
                        <a:lnTo>
                          <a:pt x="283" y="375"/>
                        </a:lnTo>
                        <a:lnTo>
                          <a:pt x="285" y="375"/>
                        </a:lnTo>
                        <a:lnTo>
                          <a:pt x="286" y="375"/>
                        </a:lnTo>
                        <a:lnTo>
                          <a:pt x="287" y="372"/>
                        </a:lnTo>
                        <a:lnTo>
                          <a:pt x="287" y="370"/>
                        </a:lnTo>
                        <a:lnTo>
                          <a:pt x="288" y="370"/>
                        </a:lnTo>
                        <a:lnTo>
                          <a:pt x="288" y="370"/>
                        </a:lnTo>
                        <a:lnTo>
                          <a:pt x="289" y="369"/>
                        </a:lnTo>
                        <a:lnTo>
                          <a:pt x="290" y="367"/>
                        </a:lnTo>
                        <a:lnTo>
                          <a:pt x="293" y="366"/>
                        </a:lnTo>
                        <a:lnTo>
                          <a:pt x="294" y="365"/>
                        </a:lnTo>
                        <a:lnTo>
                          <a:pt x="295" y="365"/>
                        </a:lnTo>
                        <a:lnTo>
                          <a:pt x="296" y="365"/>
                        </a:lnTo>
                        <a:lnTo>
                          <a:pt x="297" y="363"/>
                        </a:lnTo>
                        <a:lnTo>
                          <a:pt x="297" y="362"/>
                        </a:lnTo>
                        <a:lnTo>
                          <a:pt x="300" y="360"/>
                        </a:lnTo>
                        <a:lnTo>
                          <a:pt x="300" y="359"/>
                        </a:lnTo>
                        <a:lnTo>
                          <a:pt x="300" y="359"/>
                        </a:lnTo>
                        <a:lnTo>
                          <a:pt x="300" y="358"/>
                        </a:lnTo>
                        <a:lnTo>
                          <a:pt x="300" y="358"/>
                        </a:lnTo>
                        <a:lnTo>
                          <a:pt x="302" y="355"/>
                        </a:lnTo>
                        <a:lnTo>
                          <a:pt x="302" y="355"/>
                        </a:lnTo>
                        <a:lnTo>
                          <a:pt x="303" y="353"/>
                        </a:lnTo>
                        <a:lnTo>
                          <a:pt x="306" y="352"/>
                        </a:lnTo>
                        <a:lnTo>
                          <a:pt x="307" y="349"/>
                        </a:lnTo>
                        <a:lnTo>
                          <a:pt x="307" y="347"/>
                        </a:lnTo>
                        <a:lnTo>
                          <a:pt x="306" y="347"/>
                        </a:lnTo>
                        <a:lnTo>
                          <a:pt x="306" y="347"/>
                        </a:lnTo>
                        <a:lnTo>
                          <a:pt x="306" y="346"/>
                        </a:lnTo>
                        <a:lnTo>
                          <a:pt x="307" y="346"/>
                        </a:lnTo>
                        <a:lnTo>
                          <a:pt x="307" y="346"/>
                        </a:lnTo>
                        <a:lnTo>
                          <a:pt x="307" y="346"/>
                        </a:lnTo>
                        <a:lnTo>
                          <a:pt x="308" y="345"/>
                        </a:lnTo>
                        <a:lnTo>
                          <a:pt x="310" y="342"/>
                        </a:lnTo>
                        <a:lnTo>
                          <a:pt x="312" y="341"/>
                        </a:lnTo>
                        <a:lnTo>
                          <a:pt x="312" y="340"/>
                        </a:lnTo>
                        <a:lnTo>
                          <a:pt x="313" y="339"/>
                        </a:lnTo>
                        <a:lnTo>
                          <a:pt x="316" y="338"/>
                        </a:lnTo>
                        <a:lnTo>
                          <a:pt x="319" y="338"/>
                        </a:lnTo>
                        <a:lnTo>
                          <a:pt x="321" y="336"/>
                        </a:lnTo>
                        <a:lnTo>
                          <a:pt x="320" y="335"/>
                        </a:lnTo>
                        <a:lnTo>
                          <a:pt x="317" y="335"/>
                        </a:lnTo>
                        <a:lnTo>
                          <a:pt x="316" y="336"/>
                        </a:lnTo>
                        <a:lnTo>
                          <a:pt x="316" y="336"/>
                        </a:lnTo>
                        <a:lnTo>
                          <a:pt x="316" y="335"/>
                        </a:lnTo>
                        <a:lnTo>
                          <a:pt x="316" y="335"/>
                        </a:lnTo>
                        <a:lnTo>
                          <a:pt x="316" y="335"/>
                        </a:lnTo>
                        <a:lnTo>
                          <a:pt x="316" y="335"/>
                        </a:lnTo>
                        <a:lnTo>
                          <a:pt x="315" y="335"/>
                        </a:lnTo>
                        <a:lnTo>
                          <a:pt x="315" y="335"/>
                        </a:lnTo>
                        <a:lnTo>
                          <a:pt x="314" y="335"/>
                        </a:lnTo>
                        <a:lnTo>
                          <a:pt x="314" y="336"/>
                        </a:lnTo>
                        <a:lnTo>
                          <a:pt x="314" y="336"/>
                        </a:lnTo>
                        <a:lnTo>
                          <a:pt x="314" y="338"/>
                        </a:lnTo>
                        <a:lnTo>
                          <a:pt x="314" y="338"/>
                        </a:lnTo>
                        <a:lnTo>
                          <a:pt x="314" y="338"/>
                        </a:lnTo>
                        <a:lnTo>
                          <a:pt x="313" y="338"/>
                        </a:lnTo>
                        <a:lnTo>
                          <a:pt x="312" y="338"/>
                        </a:lnTo>
                        <a:lnTo>
                          <a:pt x="312" y="338"/>
                        </a:lnTo>
                        <a:lnTo>
                          <a:pt x="310" y="338"/>
                        </a:lnTo>
                        <a:lnTo>
                          <a:pt x="312" y="338"/>
                        </a:lnTo>
                        <a:lnTo>
                          <a:pt x="310" y="338"/>
                        </a:lnTo>
                        <a:lnTo>
                          <a:pt x="310" y="336"/>
                        </a:lnTo>
                        <a:lnTo>
                          <a:pt x="314" y="335"/>
                        </a:lnTo>
                        <a:lnTo>
                          <a:pt x="314" y="334"/>
                        </a:lnTo>
                        <a:lnTo>
                          <a:pt x="314" y="333"/>
                        </a:lnTo>
                        <a:lnTo>
                          <a:pt x="316" y="333"/>
                        </a:lnTo>
                        <a:lnTo>
                          <a:pt x="316" y="332"/>
                        </a:lnTo>
                        <a:lnTo>
                          <a:pt x="317" y="331"/>
                        </a:lnTo>
                        <a:lnTo>
                          <a:pt x="320" y="331"/>
                        </a:lnTo>
                        <a:lnTo>
                          <a:pt x="320" y="332"/>
                        </a:lnTo>
                        <a:lnTo>
                          <a:pt x="320" y="333"/>
                        </a:lnTo>
                        <a:lnTo>
                          <a:pt x="319" y="333"/>
                        </a:lnTo>
                        <a:lnTo>
                          <a:pt x="320" y="333"/>
                        </a:lnTo>
                        <a:lnTo>
                          <a:pt x="319" y="334"/>
                        </a:lnTo>
                        <a:lnTo>
                          <a:pt x="319" y="334"/>
                        </a:lnTo>
                        <a:lnTo>
                          <a:pt x="317" y="334"/>
                        </a:lnTo>
                        <a:lnTo>
                          <a:pt x="317" y="335"/>
                        </a:lnTo>
                        <a:lnTo>
                          <a:pt x="320" y="335"/>
                        </a:lnTo>
                        <a:lnTo>
                          <a:pt x="320" y="333"/>
                        </a:lnTo>
                        <a:lnTo>
                          <a:pt x="321" y="334"/>
                        </a:lnTo>
                        <a:lnTo>
                          <a:pt x="322" y="334"/>
                        </a:lnTo>
                        <a:lnTo>
                          <a:pt x="322" y="333"/>
                        </a:lnTo>
                        <a:lnTo>
                          <a:pt x="326" y="332"/>
                        </a:lnTo>
                        <a:lnTo>
                          <a:pt x="328" y="331"/>
                        </a:lnTo>
                        <a:lnTo>
                          <a:pt x="328" y="331"/>
                        </a:lnTo>
                        <a:lnTo>
                          <a:pt x="332" y="331"/>
                        </a:lnTo>
                        <a:lnTo>
                          <a:pt x="333" y="329"/>
                        </a:lnTo>
                        <a:lnTo>
                          <a:pt x="333" y="329"/>
                        </a:lnTo>
                        <a:lnTo>
                          <a:pt x="333" y="329"/>
                        </a:lnTo>
                        <a:lnTo>
                          <a:pt x="332" y="328"/>
                        </a:lnTo>
                        <a:lnTo>
                          <a:pt x="332" y="328"/>
                        </a:lnTo>
                        <a:lnTo>
                          <a:pt x="330" y="327"/>
                        </a:lnTo>
                        <a:lnTo>
                          <a:pt x="329" y="327"/>
                        </a:lnTo>
                        <a:lnTo>
                          <a:pt x="329" y="326"/>
                        </a:lnTo>
                        <a:lnTo>
                          <a:pt x="329" y="325"/>
                        </a:lnTo>
                        <a:lnTo>
                          <a:pt x="330" y="327"/>
                        </a:lnTo>
                        <a:lnTo>
                          <a:pt x="332" y="327"/>
                        </a:lnTo>
                        <a:lnTo>
                          <a:pt x="332" y="327"/>
                        </a:lnTo>
                        <a:lnTo>
                          <a:pt x="333" y="328"/>
                        </a:lnTo>
                        <a:lnTo>
                          <a:pt x="334" y="328"/>
                        </a:lnTo>
                        <a:lnTo>
                          <a:pt x="334" y="328"/>
                        </a:lnTo>
                        <a:lnTo>
                          <a:pt x="335" y="327"/>
                        </a:lnTo>
                        <a:lnTo>
                          <a:pt x="335" y="323"/>
                        </a:lnTo>
                        <a:lnTo>
                          <a:pt x="335" y="321"/>
                        </a:lnTo>
                        <a:lnTo>
                          <a:pt x="339" y="322"/>
                        </a:lnTo>
                        <a:lnTo>
                          <a:pt x="339" y="322"/>
                        </a:lnTo>
                        <a:lnTo>
                          <a:pt x="340" y="321"/>
                        </a:lnTo>
                        <a:lnTo>
                          <a:pt x="339" y="322"/>
                        </a:lnTo>
                        <a:lnTo>
                          <a:pt x="340" y="321"/>
                        </a:lnTo>
                        <a:lnTo>
                          <a:pt x="340" y="320"/>
                        </a:lnTo>
                        <a:lnTo>
                          <a:pt x="340" y="320"/>
                        </a:lnTo>
                        <a:lnTo>
                          <a:pt x="339" y="320"/>
                        </a:lnTo>
                        <a:lnTo>
                          <a:pt x="339" y="320"/>
                        </a:lnTo>
                        <a:lnTo>
                          <a:pt x="339" y="320"/>
                        </a:lnTo>
                        <a:lnTo>
                          <a:pt x="339" y="319"/>
                        </a:lnTo>
                        <a:lnTo>
                          <a:pt x="339" y="319"/>
                        </a:lnTo>
                        <a:lnTo>
                          <a:pt x="341" y="318"/>
                        </a:lnTo>
                        <a:lnTo>
                          <a:pt x="340" y="316"/>
                        </a:lnTo>
                        <a:lnTo>
                          <a:pt x="345" y="315"/>
                        </a:lnTo>
                        <a:lnTo>
                          <a:pt x="345" y="314"/>
                        </a:lnTo>
                        <a:lnTo>
                          <a:pt x="343" y="314"/>
                        </a:lnTo>
                        <a:lnTo>
                          <a:pt x="341" y="314"/>
                        </a:lnTo>
                        <a:lnTo>
                          <a:pt x="341" y="314"/>
                        </a:lnTo>
                        <a:lnTo>
                          <a:pt x="341" y="313"/>
                        </a:lnTo>
                        <a:lnTo>
                          <a:pt x="341" y="313"/>
                        </a:lnTo>
                        <a:lnTo>
                          <a:pt x="340" y="312"/>
                        </a:lnTo>
                        <a:lnTo>
                          <a:pt x="341" y="312"/>
                        </a:lnTo>
                        <a:lnTo>
                          <a:pt x="341" y="312"/>
                        </a:lnTo>
                        <a:lnTo>
                          <a:pt x="340" y="308"/>
                        </a:lnTo>
                        <a:lnTo>
                          <a:pt x="340" y="308"/>
                        </a:lnTo>
                        <a:lnTo>
                          <a:pt x="340" y="306"/>
                        </a:lnTo>
                        <a:lnTo>
                          <a:pt x="337" y="303"/>
                        </a:lnTo>
                        <a:lnTo>
                          <a:pt x="337" y="303"/>
                        </a:lnTo>
                        <a:lnTo>
                          <a:pt x="339" y="302"/>
                        </a:lnTo>
                        <a:lnTo>
                          <a:pt x="339" y="299"/>
                        </a:lnTo>
                        <a:lnTo>
                          <a:pt x="342" y="298"/>
                        </a:lnTo>
                        <a:lnTo>
                          <a:pt x="345" y="296"/>
                        </a:lnTo>
                        <a:lnTo>
                          <a:pt x="348" y="295"/>
                        </a:lnTo>
                        <a:lnTo>
                          <a:pt x="348" y="295"/>
                        </a:lnTo>
                        <a:lnTo>
                          <a:pt x="350" y="294"/>
                        </a:lnTo>
                        <a:lnTo>
                          <a:pt x="352" y="294"/>
                        </a:lnTo>
                        <a:lnTo>
                          <a:pt x="354" y="293"/>
                        </a:lnTo>
                        <a:lnTo>
                          <a:pt x="355" y="292"/>
                        </a:lnTo>
                        <a:lnTo>
                          <a:pt x="355" y="292"/>
                        </a:lnTo>
                        <a:lnTo>
                          <a:pt x="357" y="289"/>
                        </a:lnTo>
                        <a:lnTo>
                          <a:pt x="357" y="287"/>
                        </a:lnTo>
                        <a:lnTo>
                          <a:pt x="357" y="286"/>
                        </a:lnTo>
                        <a:lnTo>
                          <a:pt x="359" y="286"/>
                        </a:lnTo>
                        <a:lnTo>
                          <a:pt x="359" y="285"/>
                        </a:lnTo>
                        <a:lnTo>
                          <a:pt x="359" y="285"/>
                        </a:lnTo>
                        <a:lnTo>
                          <a:pt x="359" y="283"/>
                        </a:lnTo>
                        <a:lnTo>
                          <a:pt x="357" y="283"/>
                        </a:lnTo>
                        <a:lnTo>
                          <a:pt x="356" y="283"/>
                        </a:lnTo>
                        <a:lnTo>
                          <a:pt x="355" y="281"/>
                        </a:lnTo>
                        <a:lnTo>
                          <a:pt x="354" y="280"/>
                        </a:lnTo>
                        <a:lnTo>
                          <a:pt x="354" y="279"/>
                        </a:lnTo>
                        <a:lnTo>
                          <a:pt x="355" y="279"/>
                        </a:lnTo>
                        <a:lnTo>
                          <a:pt x="355" y="280"/>
                        </a:lnTo>
                        <a:lnTo>
                          <a:pt x="356" y="282"/>
                        </a:lnTo>
                        <a:lnTo>
                          <a:pt x="357" y="282"/>
                        </a:lnTo>
                        <a:lnTo>
                          <a:pt x="359" y="282"/>
                        </a:lnTo>
                        <a:lnTo>
                          <a:pt x="359" y="282"/>
                        </a:lnTo>
                        <a:lnTo>
                          <a:pt x="359" y="283"/>
                        </a:lnTo>
                        <a:lnTo>
                          <a:pt x="360" y="283"/>
                        </a:lnTo>
                        <a:lnTo>
                          <a:pt x="360" y="285"/>
                        </a:lnTo>
                        <a:lnTo>
                          <a:pt x="360" y="287"/>
                        </a:lnTo>
                        <a:lnTo>
                          <a:pt x="360" y="288"/>
                        </a:lnTo>
                        <a:lnTo>
                          <a:pt x="360" y="288"/>
                        </a:lnTo>
                        <a:lnTo>
                          <a:pt x="360" y="289"/>
                        </a:lnTo>
                        <a:lnTo>
                          <a:pt x="361" y="292"/>
                        </a:lnTo>
                        <a:lnTo>
                          <a:pt x="361" y="293"/>
                        </a:lnTo>
                        <a:lnTo>
                          <a:pt x="361" y="294"/>
                        </a:lnTo>
                        <a:lnTo>
                          <a:pt x="361" y="295"/>
                        </a:lnTo>
                        <a:lnTo>
                          <a:pt x="361" y="295"/>
                        </a:lnTo>
                        <a:lnTo>
                          <a:pt x="362" y="295"/>
                        </a:lnTo>
                        <a:lnTo>
                          <a:pt x="362" y="295"/>
                        </a:lnTo>
                        <a:lnTo>
                          <a:pt x="362" y="295"/>
                        </a:lnTo>
                        <a:lnTo>
                          <a:pt x="362" y="294"/>
                        </a:lnTo>
                        <a:lnTo>
                          <a:pt x="362" y="293"/>
                        </a:lnTo>
                        <a:lnTo>
                          <a:pt x="362" y="293"/>
                        </a:lnTo>
                        <a:lnTo>
                          <a:pt x="362" y="293"/>
                        </a:lnTo>
                        <a:lnTo>
                          <a:pt x="363" y="293"/>
                        </a:lnTo>
                        <a:lnTo>
                          <a:pt x="363" y="293"/>
                        </a:lnTo>
                        <a:lnTo>
                          <a:pt x="363" y="294"/>
                        </a:lnTo>
                        <a:lnTo>
                          <a:pt x="363" y="294"/>
                        </a:lnTo>
                        <a:lnTo>
                          <a:pt x="363" y="294"/>
                        </a:lnTo>
                        <a:lnTo>
                          <a:pt x="363" y="293"/>
                        </a:lnTo>
                        <a:lnTo>
                          <a:pt x="363" y="294"/>
                        </a:lnTo>
                        <a:lnTo>
                          <a:pt x="363" y="293"/>
                        </a:lnTo>
                        <a:lnTo>
                          <a:pt x="364" y="295"/>
                        </a:lnTo>
                        <a:lnTo>
                          <a:pt x="364" y="296"/>
                        </a:lnTo>
                        <a:lnTo>
                          <a:pt x="366" y="295"/>
                        </a:lnTo>
                        <a:lnTo>
                          <a:pt x="366" y="294"/>
                        </a:lnTo>
                        <a:lnTo>
                          <a:pt x="366" y="293"/>
                        </a:lnTo>
                        <a:lnTo>
                          <a:pt x="364" y="292"/>
                        </a:lnTo>
                        <a:lnTo>
                          <a:pt x="363" y="289"/>
                        </a:lnTo>
                        <a:lnTo>
                          <a:pt x="364" y="288"/>
                        </a:lnTo>
                        <a:lnTo>
                          <a:pt x="363" y="287"/>
                        </a:lnTo>
                        <a:lnTo>
                          <a:pt x="366" y="287"/>
                        </a:lnTo>
                        <a:lnTo>
                          <a:pt x="366" y="288"/>
                        </a:lnTo>
                        <a:lnTo>
                          <a:pt x="364" y="289"/>
                        </a:lnTo>
                        <a:lnTo>
                          <a:pt x="366" y="291"/>
                        </a:lnTo>
                        <a:lnTo>
                          <a:pt x="366" y="292"/>
                        </a:lnTo>
                        <a:lnTo>
                          <a:pt x="366" y="293"/>
                        </a:lnTo>
                        <a:lnTo>
                          <a:pt x="367" y="294"/>
                        </a:lnTo>
                        <a:lnTo>
                          <a:pt x="367" y="295"/>
                        </a:lnTo>
                        <a:lnTo>
                          <a:pt x="366" y="296"/>
                        </a:lnTo>
                        <a:lnTo>
                          <a:pt x="367" y="298"/>
                        </a:lnTo>
                        <a:lnTo>
                          <a:pt x="368" y="296"/>
                        </a:lnTo>
                        <a:lnTo>
                          <a:pt x="367" y="296"/>
                        </a:lnTo>
                        <a:lnTo>
                          <a:pt x="368" y="296"/>
                        </a:lnTo>
                        <a:lnTo>
                          <a:pt x="368" y="296"/>
                        </a:lnTo>
                        <a:lnTo>
                          <a:pt x="368" y="295"/>
                        </a:lnTo>
                        <a:lnTo>
                          <a:pt x="368" y="295"/>
                        </a:lnTo>
                        <a:lnTo>
                          <a:pt x="368" y="293"/>
                        </a:lnTo>
                        <a:lnTo>
                          <a:pt x="368" y="293"/>
                        </a:lnTo>
                        <a:lnTo>
                          <a:pt x="369" y="293"/>
                        </a:lnTo>
                        <a:lnTo>
                          <a:pt x="369" y="292"/>
                        </a:lnTo>
                        <a:lnTo>
                          <a:pt x="368" y="292"/>
                        </a:lnTo>
                        <a:lnTo>
                          <a:pt x="367" y="291"/>
                        </a:lnTo>
                        <a:lnTo>
                          <a:pt x="367" y="288"/>
                        </a:lnTo>
                        <a:lnTo>
                          <a:pt x="367" y="287"/>
                        </a:lnTo>
                        <a:lnTo>
                          <a:pt x="367" y="286"/>
                        </a:lnTo>
                        <a:lnTo>
                          <a:pt x="366" y="285"/>
                        </a:lnTo>
                        <a:lnTo>
                          <a:pt x="367" y="283"/>
                        </a:lnTo>
                        <a:lnTo>
                          <a:pt x="367" y="285"/>
                        </a:lnTo>
                        <a:lnTo>
                          <a:pt x="368" y="285"/>
                        </a:lnTo>
                        <a:lnTo>
                          <a:pt x="368" y="286"/>
                        </a:lnTo>
                        <a:lnTo>
                          <a:pt x="368" y="287"/>
                        </a:lnTo>
                        <a:lnTo>
                          <a:pt x="368" y="288"/>
                        </a:lnTo>
                        <a:lnTo>
                          <a:pt x="369" y="286"/>
                        </a:lnTo>
                        <a:lnTo>
                          <a:pt x="368" y="285"/>
                        </a:lnTo>
                        <a:lnTo>
                          <a:pt x="369" y="285"/>
                        </a:lnTo>
                        <a:lnTo>
                          <a:pt x="370" y="285"/>
                        </a:lnTo>
                        <a:lnTo>
                          <a:pt x="369" y="286"/>
                        </a:lnTo>
                        <a:lnTo>
                          <a:pt x="370" y="286"/>
                        </a:lnTo>
                        <a:lnTo>
                          <a:pt x="370" y="287"/>
                        </a:lnTo>
                        <a:lnTo>
                          <a:pt x="369" y="288"/>
                        </a:lnTo>
                        <a:lnTo>
                          <a:pt x="370" y="289"/>
                        </a:lnTo>
                        <a:lnTo>
                          <a:pt x="370" y="289"/>
                        </a:lnTo>
                        <a:lnTo>
                          <a:pt x="369" y="293"/>
                        </a:lnTo>
                        <a:lnTo>
                          <a:pt x="370" y="295"/>
                        </a:lnTo>
                        <a:lnTo>
                          <a:pt x="370" y="295"/>
                        </a:lnTo>
                        <a:lnTo>
                          <a:pt x="370" y="296"/>
                        </a:lnTo>
                        <a:lnTo>
                          <a:pt x="372" y="295"/>
                        </a:lnTo>
                        <a:lnTo>
                          <a:pt x="372" y="295"/>
                        </a:lnTo>
                        <a:lnTo>
                          <a:pt x="372" y="295"/>
                        </a:lnTo>
                        <a:lnTo>
                          <a:pt x="372" y="294"/>
                        </a:lnTo>
                        <a:lnTo>
                          <a:pt x="372" y="294"/>
                        </a:lnTo>
                        <a:lnTo>
                          <a:pt x="372" y="294"/>
                        </a:lnTo>
                        <a:lnTo>
                          <a:pt x="372" y="295"/>
                        </a:lnTo>
                        <a:lnTo>
                          <a:pt x="372" y="294"/>
                        </a:lnTo>
                        <a:lnTo>
                          <a:pt x="373" y="293"/>
                        </a:lnTo>
                        <a:lnTo>
                          <a:pt x="373" y="293"/>
                        </a:lnTo>
                        <a:lnTo>
                          <a:pt x="373" y="294"/>
                        </a:lnTo>
                        <a:lnTo>
                          <a:pt x="374" y="295"/>
                        </a:lnTo>
                        <a:lnTo>
                          <a:pt x="375" y="295"/>
                        </a:lnTo>
                        <a:lnTo>
                          <a:pt x="376" y="295"/>
                        </a:lnTo>
                        <a:lnTo>
                          <a:pt x="376" y="295"/>
                        </a:lnTo>
                        <a:lnTo>
                          <a:pt x="377" y="295"/>
                        </a:lnTo>
                        <a:lnTo>
                          <a:pt x="377" y="294"/>
                        </a:lnTo>
                        <a:lnTo>
                          <a:pt x="376" y="292"/>
                        </a:lnTo>
                        <a:lnTo>
                          <a:pt x="375" y="289"/>
                        </a:lnTo>
                        <a:lnTo>
                          <a:pt x="373" y="289"/>
                        </a:lnTo>
                        <a:lnTo>
                          <a:pt x="372" y="288"/>
                        </a:lnTo>
                        <a:lnTo>
                          <a:pt x="373" y="287"/>
                        </a:lnTo>
                        <a:lnTo>
                          <a:pt x="373" y="288"/>
                        </a:lnTo>
                        <a:lnTo>
                          <a:pt x="375" y="288"/>
                        </a:lnTo>
                        <a:lnTo>
                          <a:pt x="375" y="286"/>
                        </a:lnTo>
                        <a:lnTo>
                          <a:pt x="374" y="283"/>
                        </a:lnTo>
                        <a:lnTo>
                          <a:pt x="374" y="281"/>
                        </a:lnTo>
                        <a:lnTo>
                          <a:pt x="374" y="276"/>
                        </a:lnTo>
                        <a:lnTo>
                          <a:pt x="373" y="274"/>
                        </a:lnTo>
                        <a:lnTo>
                          <a:pt x="372" y="272"/>
                        </a:lnTo>
                        <a:lnTo>
                          <a:pt x="373" y="269"/>
                        </a:lnTo>
                        <a:lnTo>
                          <a:pt x="370" y="267"/>
                        </a:lnTo>
                        <a:lnTo>
                          <a:pt x="370" y="265"/>
                        </a:lnTo>
                        <a:lnTo>
                          <a:pt x="369" y="261"/>
                        </a:lnTo>
                        <a:lnTo>
                          <a:pt x="366" y="262"/>
                        </a:lnTo>
                        <a:lnTo>
                          <a:pt x="366" y="260"/>
                        </a:lnTo>
                        <a:lnTo>
                          <a:pt x="367" y="259"/>
                        </a:lnTo>
                        <a:lnTo>
                          <a:pt x="366" y="258"/>
                        </a:lnTo>
                        <a:lnTo>
                          <a:pt x="367" y="255"/>
                        </a:lnTo>
                        <a:lnTo>
                          <a:pt x="363" y="255"/>
                        </a:lnTo>
                        <a:lnTo>
                          <a:pt x="362" y="254"/>
                        </a:lnTo>
                        <a:lnTo>
                          <a:pt x="361" y="253"/>
                        </a:lnTo>
                        <a:lnTo>
                          <a:pt x="361" y="252"/>
                        </a:lnTo>
                        <a:lnTo>
                          <a:pt x="361" y="252"/>
                        </a:lnTo>
                        <a:lnTo>
                          <a:pt x="361" y="249"/>
                        </a:lnTo>
                        <a:lnTo>
                          <a:pt x="363" y="249"/>
                        </a:lnTo>
                        <a:lnTo>
                          <a:pt x="364" y="248"/>
                        </a:lnTo>
                        <a:lnTo>
                          <a:pt x="364" y="246"/>
                        </a:lnTo>
                        <a:lnTo>
                          <a:pt x="366" y="245"/>
                        </a:lnTo>
                        <a:lnTo>
                          <a:pt x="364" y="243"/>
                        </a:lnTo>
                        <a:lnTo>
                          <a:pt x="363" y="243"/>
                        </a:lnTo>
                        <a:lnTo>
                          <a:pt x="363" y="242"/>
                        </a:lnTo>
                        <a:lnTo>
                          <a:pt x="362" y="240"/>
                        </a:lnTo>
                        <a:lnTo>
                          <a:pt x="361" y="240"/>
                        </a:lnTo>
                        <a:lnTo>
                          <a:pt x="357" y="240"/>
                        </a:lnTo>
                        <a:lnTo>
                          <a:pt x="352" y="236"/>
                        </a:lnTo>
                        <a:lnTo>
                          <a:pt x="352" y="235"/>
                        </a:lnTo>
                        <a:lnTo>
                          <a:pt x="352" y="234"/>
                        </a:lnTo>
                        <a:lnTo>
                          <a:pt x="352" y="232"/>
                        </a:lnTo>
                        <a:lnTo>
                          <a:pt x="350" y="231"/>
                        </a:lnTo>
                        <a:lnTo>
                          <a:pt x="352" y="229"/>
                        </a:lnTo>
                        <a:lnTo>
                          <a:pt x="350" y="227"/>
                        </a:lnTo>
                        <a:lnTo>
                          <a:pt x="353" y="227"/>
                        </a:lnTo>
                        <a:lnTo>
                          <a:pt x="353" y="228"/>
                        </a:lnTo>
                        <a:lnTo>
                          <a:pt x="355" y="228"/>
                        </a:lnTo>
                        <a:lnTo>
                          <a:pt x="355" y="226"/>
                        </a:lnTo>
                        <a:lnTo>
                          <a:pt x="355" y="225"/>
                        </a:lnTo>
                        <a:lnTo>
                          <a:pt x="354" y="222"/>
                        </a:lnTo>
                        <a:lnTo>
                          <a:pt x="356" y="222"/>
                        </a:lnTo>
                        <a:lnTo>
                          <a:pt x="357" y="221"/>
                        </a:lnTo>
                        <a:lnTo>
                          <a:pt x="360" y="222"/>
                        </a:lnTo>
                        <a:lnTo>
                          <a:pt x="361" y="222"/>
                        </a:lnTo>
                        <a:lnTo>
                          <a:pt x="361" y="222"/>
                        </a:lnTo>
                        <a:lnTo>
                          <a:pt x="362" y="222"/>
                        </a:lnTo>
                        <a:lnTo>
                          <a:pt x="366" y="222"/>
                        </a:lnTo>
                        <a:lnTo>
                          <a:pt x="364" y="220"/>
                        </a:lnTo>
                        <a:lnTo>
                          <a:pt x="364" y="220"/>
                        </a:lnTo>
                        <a:lnTo>
                          <a:pt x="366" y="219"/>
                        </a:lnTo>
                        <a:lnTo>
                          <a:pt x="364" y="219"/>
                        </a:lnTo>
                        <a:lnTo>
                          <a:pt x="362" y="218"/>
                        </a:lnTo>
                        <a:lnTo>
                          <a:pt x="361" y="216"/>
                        </a:lnTo>
                        <a:lnTo>
                          <a:pt x="360" y="216"/>
                        </a:lnTo>
                        <a:lnTo>
                          <a:pt x="359" y="218"/>
                        </a:lnTo>
                        <a:lnTo>
                          <a:pt x="356" y="218"/>
                        </a:lnTo>
                        <a:lnTo>
                          <a:pt x="355" y="216"/>
                        </a:lnTo>
                        <a:lnTo>
                          <a:pt x="354" y="214"/>
                        </a:lnTo>
                        <a:lnTo>
                          <a:pt x="347" y="211"/>
                        </a:lnTo>
                        <a:lnTo>
                          <a:pt x="346" y="208"/>
                        </a:lnTo>
                        <a:lnTo>
                          <a:pt x="346" y="207"/>
                        </a:lnTo>
                        <a:lnTo>
                          <a:pt x="346" y="207"/>
                        </a:lnTo>
                        <a:lnTo>
                          <a:pt x="346" y="205"/>
                        </a:lnTo>
                        <a:lnTo>
                          <a:pt x="347" y="204"/>
                        </a:lnTo>
                        <a:lnTo>
                          <a:pt x="349" y="200"/>
                        </a:lnTo>
                        <a:lnTo>
                          <a:pt x="349" y="198"/>
                        </a:lnTo>
                        <a:lnTo>
                          <a:pt x="348" y="196"/>
                        </a:lnTo>
                        <a:lnTo>
                          <a:pt x="349" y="195"/>
                        </a:lnTo>
                        <a:lnTo>
                          <a:pt x="349" y="194"/>
                        </a:lnTo>
                        <a:lnTo>
                          <a:pt x="353" y="198"/>
                        </a:lnTo>
                        <a:lnTo>
                          <a:pt x="357" y="199"/>
                        </a:lnTo>
                        <a:lnTo>
                          <a:pt x="360" y="207"/>
                        </a:lnTo>
                        <a:lnTo>
                          <a:pt x="361" y="202"/>
                        </a:lnTo>
                        <a:lnTo>
                          <a:pt x="364" y="205"/>
                        </a:lnTo>
                        <a:lnTo>
                          <a:pt x="364" y="205"/>
                        </a:lnTo>
                        <a:lnTo>
                          <a:pt x="368" y="206"/>
                        </a:lnTo>
                        <a:lnTo>
                          <a:pt x="368" y="205"/>
                        </a:lnTo>
                        <a:lnTo>
                          <a:pt x="369" y="205"/>
                        </a:lnTo>
                        <a:lnTo>
                          <a:pt x="370" y="205"/>
                        </a:lnTo>
                        <a:lnTo>
                          <a:pt x="370" y="204"/>
                        </a:lnTo>
                        <a:lnTo>
                          <a:pt x="373" y="200"/>
                        </a:lnTo>
                        <a:lnTo>
                          <a:pt x="374" y="201"/>
                        </a:lnTo>
                        <a:lnTo>
                          <a:pt x="374" y="202"/>
                        </a:lnTo>
                        <a:lnTo>
                          <a:pt x="375" y="204"/>
                        </a:lnTo>
                        <a:lnTo>
                          <a:pt x="376" y="206"/>
                        </a:lnTo>
                        <a:lnTo>
                          <a:pt x="376" y="208"/>
                        </a:lnTo>
                        <a:lnTo>
                          <a:pt x="377" y="212"/>
                        </a:lnTo>
                        <a:lnTo>
                          <a:pt x="379" y="215"/>
                        </a:lnTo>
                        <a:lnTo>
                          <a:pt x="379" y="219"/>
                        </a:lnTo>
                        <a:lnTo>
                          <a:pt x="380" y="220"/>
                        </a:lnTo>
                        <a:lnTo>
                          <a:pt x="381" y="220"/>
                        </a:lnTo>
                        <a:lnTo>
                          <a:pt x="381" y="219"/>
                        </a:lnTo>
                        <a:lnTo>
                          <a:pt x="382" y="220"/>
                        </a:lnTo>
                        <a:lnTo>
                          <a:pt x="384" y="220"/>
                        </a:lnTo>
                        <a:lnTo>
                          <a:pt x="387" y="220"/>
                        </a:lnTo>
                        <a:lnTo>
                          <a:pt x="388" y="220"/>
                        </a:lnTo>
                        <a:lnTo>
                          <a:pt x="390" y="221"/>
                        </a:lnTo>
                        <a:lnTo>
                          <a:pt x="392" y="221"/>
                        </a:lnTo>
                        <a:lnTo>
                          <a:pt x="393" y="221"/>
                        </a:lnTo>
                        <a:lnTo>
                          <a:pt x="395" y="220"/>
                        </a:lnTo>
                        <a:lnTo>
                          <a:pt x="396" y="221"/>
                        </a:lnTo>
                        <a:lnTo>
                          <a:pt x="397" y="221"/>
                        </a:lnTo>
                        <a:lnTo>
                          <a:pt x="401" y="220"/>
                        </a:lnTo>
                        <a:lnTo>
                          <a:pt x="402" y="220"/>
                        </a:lnTo>
                        <a:lnTo>
                          <a:pt x="404" y="220"/>
                        </a:lnTo>
                        <a:lnTo>
                          <a:pt x="406" y="221"/>
                        </a:lnTo>
                        <a:lnTo>
                          <a:pt x="407" y="221"/>
                        </a:lnTo>
                        <a:lnTo>
                          <a:pt x="408" y="222"/>
                        </a:lnTo>
                        <a:lnTo>
                          <a:pt x="409" y="221"/>
                        </a:lnTo>
                        <a:lnTo>
                          <a:pt x="410" y="222"/>
                        </a:lnTo>
                        <a:lnTo>
                          <a:pt x="412" y="222"/>
                        </a:lnTo>
                        <a:lnTo>
                          <a:pt x="410" y="221"/>
                        </a:lnTo>
                        <a:lnTo>
                          <a:pt x="414" y="221"/>
                        </a:lnTo>
                        <a:lnTo>
                          <a:pt x="415" y="221"/>
                        </a:lnTo>
                        <a:lnTo>
                          <a:pt x="416" y="221"/>
                        </a:lnTo>
                        <a:lnTo>
                          <a:pt x="417" y="221"/>
                        </a:lnTo>
                        <a:lnTo>
                          <a:pt x="420" y="222"/>
                        </a:lnTo>
                        <a:lnTo>
                          <a:pt x="422" y="225"/>
                        </a:lnTo>
                        <a:lnTo>
                          <a:pt x="424" y="225"/>
                        </a:lnTo>
                        <a:lnTo>
                          <a:pt x="424" y="227"/>
                        </a:lnTo>
                        <a:lnTo>
                          <a:pt x="427" y="227"/>
                        </a:lnTo>
                        <a:lnTo>
                          <a:pt x="428" y="228"/>
                        </a:lnTo>
                        <a:lnTo>
                          <a:pt x="428" y="229"/>
                        </a:lnTo>
                        <a:lnTo>
                          <a:pt x="426" y="229"/>
                        </a:lnTo>
                        <a:lnTo>
                          <a:pt x="424" y="228"/>
                        </a:lnTo>
                        <a:lnTo>
                          <a:pt x="422" y="229"/>
                        </a:lnTo>
                        <a:lnTo>
                          <a:pt x="422" y="229"/>
                        </a:lnTo>
                        <a:lnTo>
                          <a:pt x="422" y="229"/>
                        </a:lnTo>
                        <a:lnTo>
                          <a:pt x="423" y="231"/>
                        </a:lnTo>
                        <a:lnTo>
                          <a:pt x="424" y="231"/>
                        </a:lnTo>
                        <a:lnTo>
                          <a:pt x="423" y="232"/>
                        </a:lnTo>
                        <a:lnTo>
                          <a:pt x="423" y="233"/>
                        </a:lnTo>
                        <a:lnTo>
                          <a:pt x="424" y="236"/>
                        </a:lnTo>
                        <a:lnTo>
                          <a:pt x="423" y="236"/>
                        </a:lnTo>
                        <a:lnTo>
                          <a:pt x="422" y="236"/>
                        </a:lnTo>
                        <a:lnTo>
                          <a:pt x="422" y="238"/>
                        </a:lnTo>
                        <a:lnTo>
                          <a:pt x="422" y="240"/>
                        </a:lnTo>
                        <a:lnTo>
                          <a:pt x="422" y="241"/>
                        </a:lnTo>
                        <a:lnTo>
                          <a:pt x="421" y="241"/>
                        </a:lnTo>
                        <a:lnTo>
                          <a:pt x="420" y="241"/>
                        </a:lnTo>
                        <a:lnTo>
                          <a:pt x="420" y="240"/>
                        </a:lnTo>
                        <a:lnTo>
                          <a:pt x="419" y="240"/>
                        </a:lnTo>
                        <a:lnTo>
                          <a:pt x="419" y="241"/>
                        </a:lnTo>
                        <a:lnTo>
                          <a:pt x="419" y="241"/>
                        </a:lnTo>
                        <a:lnTo>
                          <a:pt x="416" y="240"/>
                        </a:lnTo>
                        <a:lnTo>
                          <a:pt x="417" y="242"/>
                        </a:lnTo>
                        <a:lnTo>
                          <a:pt x="415" y="242"/>
                        </a:lnTo>
                        <a:lnTo>
                          <a:pt x="413" y="241"/>
                        </a:lnTo>
                        <a:lnTo>
                          <a:pt x="413" y="242"/>
                        </a:lnTo>
                        <a:lnTo>
                          <a:pt x="414" y="243"/>
                        </a:lnTo>
                        <a:lnTo>
                          <a:pt x="414" y="243"/>
                        </a:lnTo>
                        <a:lnTo>
                          <a:pt x="412" y="246"/>
                        </a:lnTo>
                        <a:lnTo>
                          <a:pt x="410" y="247"/>
                        </a:lnTo>
                        <a:lnTo>
                          <a:pt x="412" y="249"/>
                        </a:lnTo>
                        <a:lnTo>
                          <a:pt x="409" y="252"/>
                        </a:lnTo>
                        <a:lnTo>
                          <a:pt x="409" y="252"/>
                        </a:lnTo>
                        <a:lnTo>
                          <a:pt x="409" y="255"/>
                        </a:lnTo>
                        <a:lnTo>
                          <a:pt x="410" y="258"/>
                        </a:lnTo>
                        <a:lnTo>
                          <a:pt x="410" y="259"/>
                        </a:lnTo>
                        <a:lnTo>
                          <a:pt x="412" y="262"/>
                        </a:lnTo>
                        <a:lnTo>
                          <a:pt x="413" y="265"/>
                        </a:lnTo>
                        <a:lnTo>
                          <a:pt x="414" y="265"/>
                        </a:lnTo>
                        <a:lnTo>
                          <a:pt x="414" y="261"/>
                        </a:lnTo>
                        <a:lnTo>
                          <a:pt x="415" y="262"/>
                        </a:lnTo>
                        <a:lnTo>
                          <a:pt x="416" y="263"/>
                        </a:lnTo>
                        <a:lnTo>
                          <a:pt x="417" y="266"/>
                        </a:lnTo>
                        <a:lnTo>
                          <a:pt x="420" y="266"/>
                        </a:lnTo>
                        <a:lnTo>
                          <a:pt x="421" y="265"/>
                        </a:lnTo>
                        <a:lnTo>
                          <a:pt x="421" y="262"/>
                        </a:lnTo>
                        <a:lnTo>
                          <a:pt x="420" y="260"/>
                        </a:lnTo>
                        <a:lnTo>
                          <a:pt x="420" y="258"/>
                        </a:lnTo>
                        <a:lnTo>
                          <a:pt x="421" y="255"/>
                        </a:lnTo>
                        <a:lnTo>
                          <a:pt x="422" y="255"/>
                        </a:lnTo>
                        <a:lnTo>
                          <a:pt x="424" y="255"/>
                        </a:lnTo>
                        <a:lnTo>
                          <a:pt x="424" y="253"/>
                        </a:lnTo>
                        <a:lnTo>
                          <a:pt x="424" y="252"/>
                        </a:lnTo>
                        <a:lnTo>
                          <a:pt x="423" y="249"/>
                        </a:lnTo>
                        <a:lnTo>
                          <a:pt x="426" y="249"/>
                        </a:lnTo>
                        <a:lnTo>
                          <a:pt x="428" y="249"/>
                        </a:lnTo>
                        <a:lnTo>
                          <a:pt x="428" y="252"/>
                        </a:lnTo>
                        <a:lnTo>
                          <a:pt x="429" y="253"/>
                        </a:lnTo>
                        <a:lnTo>
                          <a:pt x="429" y="258"/>
                        </a:lnTo>
                        <a:lnTo>
                          <a:pt x="430" y="260"/>
                        </a:lnTo>
                        <a:lnTo>
                          <a:pt x="430" y="261"/>
                        </a:lnTo>
                        <a:lnTo>
                          <a:pt x="430" y="265"/>
                        </a:lnTo>
                        <a:lnTo>
                          <a:pt x="432" y="268"/>
                        </a:lnTo>
                        <a:lnTo>
                          <a:pt x="433" y="268"/>
                        </a:lnTo>
                        <a:lnTo>
                          <a:pt x="435" y="271"/>
                        </a:lnTo>
                        <a:lnTo>
                          <a:pt x="435" y="273"/>
                        </a:lnTo>
                        <a:lnTo>
                          <a:pt x="436" y="278"/>
                        </a:lnTo>
                        <a:lnTo>
                          <a:pt x="437" y="282"/>
                        </a:lnTo>
                        <a:lnTo>
                          <a:pt x="439" y="285"/>
                        </a:lnTo>
                        <a:lnTo>
                          <a:pt x="439" y="287"/>
                        </a:lnTo>
                        <a:lnTo>
                          <a:pt x="440" y="286"/>
                        </a:lnTo>
                        <a:lnTo>
                          <a:pt x="441" y="286"/>
                        </a:lnTo>
                        <a:lnTo>
                          <a:pt x="441" y="283"/>
                        </a:lnTo>
                        <a:lnTo>
                          <a:pt x="442" y="285"/>
                        </a:lnTo>
                        <a:lnTo>
                          <a:pt x="444" y="286"/>
                        </a:lnTo>
                        <a:lnTo>
                          <a:pt x="447" y="285"/>
                        </a:lnTo>
                        <a:lnTo>
                          <a:pt x="447" y="283"/>
                        </a:lnTo>
                        <a:lnTo>
                          <a:pt x="448" y="282"/>
                        </a:lnTo>
                        <a:lnTo>
                          <a:pt x="448" y="281"/>
                        </a:lnTo>
                        <a:lnTo>
                          <a:pt x="447" y="278"/>
                        </a:lnTo>
                        <a:lnTo>
                          <a:pt x="444" y="279"/>
                        </a:lnTo>
                        <a:lnTo>
                          <a:pt x="446" y="276"/>
                        </a:lnTo>
                        <a:lnTo>
                          <a:pt x="447" y="274"/>
                        </a:lnTo>
                        <a:lnTo>
                          <a:pt x="446" y="268"/>
                        </a:lnTo>
                        <a:lnTo>
                          <a:pt x="446" y="267"/>
                        </a:lnTo>
                        <a:lnTo>
                          <a:pt x="444" y="266"/>
                        </a:lnTo>
                        <a:lnTo>
                          <a:pt x="444" y="265"/>
                        </a:lnTo>
                        <a:lnTo>
                          <a:pt x="444" y="265"/>
                        </a:lnTo>
                        <a:lnTo>
                          <a:pt x="446" y="265"/>
                        </a:lnTo>
                        <a:lnTo>
                          <a:pt x="448" y="266"/>
                        </a:lnTo>
                        <a:lnTo>
                          <a:pt x="449" y="265"/>
                        </a:lnTo>
                        <a:lnTo>
                          <a:pt x="449" y="263"/>
                        </a:lnTo>
                        <a:lnTo>
                          <a:pt x="449" y="262"/>
                        </a:lnTo>
                        <a:lnTo>
                          <a:pt x="448" y="261"/>
                        </a:lnTo>
                        <a:lnTo>
                          <a:pt x="448" y="258"/>
                        </a:lnTo>
                        <a:lnTo>
                          <a:pt x="448" y="255"/>
                        </a:lnTo>
                        <a:lnTo>
                          <a:pt x="448" y="253"/>
                        </a:lnTo>
                        <a:lnTo>
                          <a:pt x="448" y="252"/>
                        </a:lnTo>
                        <a:lnTo>
                          <a:pt x="447" y="249"/>
                        </a:lnTo>
                        <a:lnTo>
                          <a:pt x="447" y="247"/>
                        </a:lnTo>
                        <a:lnTo>
                          <a:pt x="446" y="246"/>
                        </a:lnTo>
                        <a:lnTo>
                          <a:pt x="444" y="243"/>
                        </a:lnTo>
                        <a:lnTo>
                          <a:pt x="446" y="242"/>
                        </a:lnTo>
                        <a:lnTo>
                          <a:pt x="447" y="243"/>
                        </a:lnTo>
                        <a:lnTo>
                          <a:pt x="448" y="245"/>
                        </a:lnTo>
                        <a:lnTo>
                          <a:pt x="449" y="246"/>
                        </a:lnTo>
                        <a:lnTo>
                          <a:pt x="450" y="246"/>
                        </a:lnTo>
                        <a:lnTo>
                          <a:pt x="452" y="247"/>
                        </a:lnTo>
                        <a:lnTo>
                          <a:pt x="453" y="247"/>
                        </a:lnTo>
                        <a:lnTo>
                          <a:pt x="454" y="247"/>
                        </a:lnTo>
                        <a:lnTo>
                          <a:pt x="457" y="248"/>
                        </a:lnTo>
                        <a:lnTo>
                          <a:pt x="460" y="249"/>
                        </a:lnTo>
                        <a:lnTo>
                          <a:pt x="462" y="249"/>
                        </a:lnTo>
                        <a:lnTo>
                          <a:pt x="462" y="247"/>
                        </a:lnTo>
                        <a:lnTo>
                          <a:pt x="461" y="246"/>
                        </a:lnTo>
                        <a:lnTo>
                          <a:pt x="462" y="243"/>
                        </a:lnTo>
                        <a:lnTo>
                          <a:pt x="461" y="241"/>
                        </a:lnTo>
                        <a:lnTo>
                          <a:pt x="462" y="239"/>
                        </a:lnTo>
                        <a:lnTo>
                          <a:pt x="462" y="238"/>
                        </a:lnTo>
                        <a:lnTo>
                          <a:pt x="463" y="236"/>
                        </a:lnTo>
                        <a:lnTo>
                          <a:pt x="463" y="234"/>
                        </a:lnTo>
                        <a:lnTo>
                          <a:pt x="463" y="233"/>
                        </a:lnTo>
                        <a:lnTo>
                          <a:pt x="463" y="231"/>
                        </a:lnTo>
                        <a:lnTo>
                          <a:pt x="466" y="231"/>
                        </a:lnTo>
                        <a:lnTo>
                          <a:pt x="464" y="228"/>
                        </a:lnTo>
                        <a:lnTo>
                          <a:pt x="466" y="227"/>
                        </a:lnTo>
                        <a:lnTo>
                          <a:pt x="467" y="226"/>
                        </a:lnTo>
                        <a:lnTo>
                          <a:pt x="467" y="222"/>
                        </a:lnTo>
                        <a:lnTo>
                          <a:pt x="463" y="221"/>
                        </a:lnTo>
                        <a:lnTo>
                          <a:pt x="462" y="219"/>
                        </a:lnTo>
                        <a:lnTo>
                          <a:pt x="463" y="218"/>
                        </a:lnTo>
                        <a:lnTo>
                          <a:pt x="463" y="216"/>
                        </a:lnTo>
                        <a:lnTo>
                          <a:pt x="466" y="215"/>
                        </a:lnTo>
                        <a:lnTo>
                          <a:pt x="466" y="213"/>
                        </a:lnTo>
                        <a:lnTo>
                          <a:pt x="468" y="213"/>
                        </a:lnTo>
                        <a:lnTo>
                          <a:pt x="468" y="211"/>
                        </a:lnTo>
                        <a:lnTo>
                          <a:pt x="469" y="209"/>
                        </a:lnTo>
                        <a:lnTo>
                          <a:pt x="469" y="207"/>
                        </a:lnTo>
                        <a:lnTo>
                          <a:pt x="470" y="205"/>
                        </a:lnTo>
                        <a:lnTo>
                          <a:pt x="469" y="201"/>
                        </a:lnTo>
                        <a:lnTo>
                          <a:pt x="469" y="200"/>
                        </a:lnTo>
                        <a:lnTo>
                          <a:pt x="468" y="200"/>
                        </a:lnTo>
                        <a:lnTo>
                          <a:pt x="467" y="198"/>
                        </a:lnTo>
                        <a:lnTo>
                          <a:pt x="468" y="196"/>
                        </a:lnTo>
                        <a:lnTo>
                          <a:pt x="467" y="195"/>
                        </a:lnTo>
                        <a:lnTo>
                          <a:pt x="468" y="193"/>
                        </a:lnTo>
                        <a:lnTo>
                          <a:pt x="468" y="192"/>
                        </a:lnTo>
                        <a:lnTo>
                          <a:pt x="469" y="192"/>
                        </a:lnTo>
                        <a:lnTo>
                          <a:pt x="472" y="191"/>
                        </a:lnTo>
                        <a:lnTo>
                          <a:pt x="473" y="188"/>
                        </a:lnTo>
                        <a:lnTo>
                          <a:pt x="475" y="188"/>
                        </a:lnTo>
                        <a:lnTo>
                          <a:pt x="476" y="187"/>
                        </a:lnTo>
                        <a:lnTo>
                          <a:pt x="477" y="187"/>
                        </a:lnTo>
                        <a:lnTo>
                          <a:pt x="476" y="185"/>
                        </a:lnTo>
                        <a:lnTo>
                          <a:pt x="480" y="184"/>
                        </a:lnTo>
                        <a:lnTo>
                          <a:pt x="482" y="181"/>
                        </a:lnTo>
                        <a:lnTo>
                          <a:pt x="483" y="179"/>
                        </a:lnTo>
                        <a:lnTo>
                          <a:pt x="487" y="179"/>
                        </a:lnTo>
                        <a:lnTo>
                          <a:pt x="489" y="179"/>
                        </a:lnTo>
                        <a:lnTo>
                          <a:pt x="490" y="178"/>
                        </a:lnTo>
                        <a:lnTo>
                          <a:pt x="492" y="178"/>
                        </a:lnTo>
                        <a:lnTo>
                          <a:pt x="493" y="178"/>
                        </a:lnTo>
                        <a:lnTo>
                          <a:pt x="495" y="179"/>
                        </a:lnTo>
                        <a:lnTo>
                          <a:pt x="494" y="180"/>
                        </a:lnTo>
                        <a:lnTo>
                          <a:pt x="497" y="181"/>
                        </a:lnTo>
                        <a:lnTo>
                          <a:pt x="501" y="182"/>
                        </a:lnTo>
                        <a:lnTo>
                          <a:pt x="502" y="181"/>
                        </a:lnTo>
                        <a:lnTo>
                          <a:pt x="501" y="180"/>
                        </a:lnTo>
                        <a:lnTo>
                          <a:pt x="499" y="179"/>
                        </a:lnTo>
                        <a:lnTo>
                          <a:pt x="497" y="178"/>
                        </a:lnTo>
                        <a:lnTo>
                          <a:pt x="496" y="176"/>
                        </a:lnTo>
                        <a:lnTo>
                          <a:pt x="495" y="175"/>
                        </a:lnTo>
                        <a:lnTo>
                          <a:pt x="494" y="174"/>
                        </a:lnTo>
                        <a:lnTo>
                          <a:pt x="495" y="172"/>
                        </a:lnTo>
                        <a:lnTo>
                          <a:pt x="495" y="171"/>
                        </a:lnTo>
                        <a:lnTo>
                          <a:pt x="496" y="171"/>
                        </a:lnTo>
                        <a:lnTo>
                          <a:pt x="496" y="171"/>
                        </a:lnTo>
                        <a:lnTo>
                          <a:pt x="496" y="169"/>
                        </a:lnTo>
                        <a:lnTo>
                          <a:pt x="497" y="168"/>
                        </a:lnTo>
                        <a:lnTo>
                          <a:pt x="497" y="168"/>
                        </a:lnTo>
                        <a:lnTo>
                          <a:pt x="499" y="166"/>
                        </a:lnTo>
                        <a:lnTo>
                          <a:pt x="500" y="166"/>
                        </a:lnTo>
                        <a:lnTo>
                          <a:pt x="499" y="164"/>
                        </a:lnTo>
                        <a:lnTo>
                          <a:pt x="500" y="161"/>
                        </a:lnTo>
                        <a:lnTo>
                          <a:pt x="500" y="159"/>
                        </a:lnTo>
                        <a:lnTo>
                          <a:pt x="497" y="158"/>
                        </a:lnTo>
                        <a:lnTo>
                          <a:pt x="495" y="156"/>
                        </a:lnTo>
                        <a:lnTo>
                          <a:pt x="494" y="158"/>
                        </a:lnTo>
                        <a:lnTo>
                          <a:pt x="492" y="156"/>
                        </a:lnTo>
                        <a:lnTo>
                          <a:pt x="490" y="156"/>
                        </a:lnTo>
                        <a:lnTo>
                          <a:pt x="489" y="156"/>
                        </a:lnTo>
                        <a:lnTo>
                          <a:pt x="487" y="154"/>
                        </a:lnTo>
                        <a:lnTo>
                          <a:pt x="486" y="154"/>
                        </a:lnTo>
                        <a:lnTo>
                          <a:pt x="482" y="154"/>
                        </a:lnTo>
                        <a:lnTo>
                          <a:pt x="481" y="156"/>
                        </a:lnTo>
                        <a:lnTo>
                          <a:pt x="481" y="156"/>
                        </a:lnTo>
                        <a:lnTo>
                          <a:pt x="477" y="154"/>
                        </a:lnTo>
                        <a:lnTo>
                          <a:pt x="480" y="153"/>
                        </a:lnTo>
                        <a:lnTo>
                          <a:pt x="480" y="152"/>
                        </a:lnTo>
                        <a:lnTo>
                          <a:pt x="480" y="152"/>
                        </a:lnTo>
                        <a:lnTo>
                          <a:pt x="481" y="151"/>
                        </a:lnTo>
                        <a:lnTo>
                          <a:pt x="483" y="147"/>
                        </a:lnTo>
                        <a:lnTo>
                          <a:pt x="479" y="144"/>
                        </a:lnTo>
                        <a:lnTo>
                          <a:pt x="480" y="142"/>
                        </a:lnTo>
                        <a:lnTo>
                          <a:pt x="479" y="142"/>
                        </a:lnTo>
                        <a:lnTo>
                          <a:pt x="477" y="144"/>
                        </a:lnTo>
                        <a:lnTo>
                          <a:pt x="476" y="146"/>
                        </a:lnTo>
                        <a:lnTo>
                          <a:pt x="474" y="142"/>
                        </a:lnTo>
                        <a:lnTo>
                          <a:pt x="474" y="140"/>
                        </a:lnTo>
                        <a:lnTo>
                          <a:pt x="477" y="140"/>
                        </a:lnTo>
                        <a:lnTo>
                          <a:pt x="476" y="138"/>
                        </a:lnTo>
                        <a:lnTo>
                          <a:pt x="476" y="138"/>
                        </a:lnTo>
                        <a:lnTo>
                          <a:pt x="473" y="139"/>
                        </a:lnTo>
                        <a:lnTo>
                          <a:pt x="470" y="135"/>
                        </a:lnTo>
                        <a:lnTo>
                          <a:pt x="470" y="134"/>
                        </a:lnTo>
                        <a:lnTo>
                          <a:pt x="469" y="135"/>
                        </a:lnTo>
                        <a:lnTo>
                          <a:pt x="466" y="138"/>
                        </a:lnTo>
                        <a:lnTo>
                          <a:pt x="462" y="138"/>
                        </a:lnTo>
                        <a:lnTo>
                          <a:pt x="463" y="140"/>
                        </a:lnTo>
                        <a:lnTo>
                          <a:pt x="461" y="142"/>
                        </a:lnTo>
                        <a:lnTo>
                          <a:pt x="457" y="142"/>
                        </a:lnTo>
                        <a:lnTo>
                          <a:pt x="453" y="140"/>
                        </a:lnTo>
                        <a:lnTo>
                          <a:pt x="449" y="139"/>
                        </a:lnTo>
                        <a:lnTo>
                          <a:pt x="449" y="138"/>
                        </a:lnTo>
                        <a:lnTo>
                          <a:pt x="446" y="135"/>
                        </a:lnTo>
                        <a:lnTo>
                          <a:pt x="444" y="138"/>
                        </a:lnTo>
                        <a:lnTo>
                          <a:pt x="441" y="139"/>
                        </a:lnTo>
                        <a:lnTo>
                          <a:pt x="441" y="140"/>
                        </a:lnTo>
                        <a:lnTo>
                          <a:pt x="439" y="142"/>
                        </a:lnTo>
                        <a:lnTo>
                          <a:pt x="437" y="145"/>
                        </a:lnTo>
                        <a:lnTo>
                          <a:pt x="437" y="146"/>
                        </a:lnTo>
                        <a:lnTo>
                          <a:pt x="436" y="147"/>
                        </a:lnTo>
                        <a:lnTo>
                          <a:pt x="434" y="148"/>
                        </a:lnTo>
                        <a:lnTo>
                          <a:pt x="424" y="151"/>
                        </a:lnTo>
                        <a:lnTo>
                          <a:pt x="420" y="155"/>
                        </a:lnTo>
                        <a:lnTo>
                          <a:pt x="413" y="164"/>
                        </a:lnTo>
                        <a:lnTo>
                          <a:pt x="402" y="165"/>
                        </a:lnTo>
                        <a:lnTo>
                          <a:pt x="403" y="166"/>
                        </a:lnTo>
                        <a:lnTo>
                          <a:pt x="403" y="168"/>
                        </a:lnTo>
                        <a:lnTo>
                          <a:pt x="402" y="169"/>
                        </a:lnTo>
                        <a:lnTo>
                          <a:pt x="402" y="171"/>
                        </a:lnTo>
                        <a:lnTo>
                          <a:pt x="402" y="173"/>
                        </a:lnTo>
                        <a:lnTo>
                          <a:pt x="406" y="174"/>
                        </a:lnTo>
                        <a:lnTo>
                          <a:pt x="406" y="175"/>
                        </a:lnTo>
                        <a:lnTo>
                          <a:pt x="409" y="174"/>
                        </a:lnTo>
                        <a:lnTo>
                          <a:pt x="412" y="178"/>
                        </a:lnTo>
                        <a:lnTo>
                          <a:pt x="409" y="180"/>
                        </a:lnTo>
                        <a:lnTo>
                          <a:pt x="409" y="181"/>
                        </a:lnTo>
                        <a:lnTo>
                          <a:pt x="410" y="184"/>
                        </a:lnTo>
                        <a:lnTo>
                          <a:pt x="410" y="184"/>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519" name="Freeform 298">
                    <a:extLst>
                      <a:ext uri="{FF2B5EF4-FFF2-40B4-BE49-F238E27FC236}">
                        <a16:creationId xmlns:a16="http://schemas.microsoft.com/office/drawing/2014/main" id="{D5752B71-890E-6546-858D-8E9F53665AFE}"/>
                      </a:ext>
                    </a:extLst>
                  </p:cNvPr>
                  <p:cNvSpPr>
                    <a:spLocks/>
                  </p:cNvSpPr>
                  <p:nvPr/>
                </p:nvSpPr>
                <p:spPr bwMode="auto">
                  <a:xfrm>
                    <a:off x="7713479" y="3895133"/>
                    <a:ext cx="11254" cy="41803"/>
                  </a:xfrm>
                  <a:custGeom>
                    <a:avLst/>
                    <a:gdLst>
                      <a:gd name="T0" fmla="*/ 4 w 7"/>
                      <a:gd name="T1" fmla="*/ 13 h 26"/>
                      <a:gd name="T2" fmla="*/ 5 w 7"/>
                      <a:gd name="T3" fmla="*/ 14 h 26"/>
                      <a:gd name="T4" fmla="*/ 6 w 7"/>
                      <a:gd name="T5" fmla="*/ 20 h 26"/>
                      <a:gd name="T6" fmla="*/ 5 w 7"/>
                      <a:gd name="T7" fmla="*/ 23 h 26"/>
                      <a:gd name="T8" fmla="*/ 2 w 7"/>
                      <a:gd name="T9" fmla="*/ 22 h 26"/>
                      <a:gd name="T10" fmla="*/ 2 w 7"/>
                      <a:gd name="T11" fmla="*/ 23 h 26"/>
                      <a:gd name="T12" fmla="*/ 4 w 7"/>
                      <a:gd name="T13" fmla="*/ 24 h 26"/>
                      <a:gd name="T14" fmla="*/ 4 w 7"/>
                      <a:gd name="T15" fmla="*/ 26 h 26"/>
                      <a:gd name="T16" fmla="*/ 1 w 7"/>
                      <a:gd name="T17" fmla="*/ 26 h 26"/>
                      <a:gd name="T18" fmla="*/ 1 w 7"/>
                      <a:gd name="T19" fmla="*/ 24 h 26"/>
                      <a:gd name="T20" fmla="*/ 0 w 7"/>
                      <a:gd name="T21" fmla="*/ 23 h 26"/>
                      <a:gd name="T22" fmla="*/ 0 w 7"/>
                      <a:gd name="T23" fmla="*/ 19 h 26"/>
                      <a:gd name="T24" fmla="*/ 1 w 7"/>
                      <a:gd name="T25" fmla="*/ 17 h 26"/>
                      <a:gd name="T26" fmla="*/ 1 w 7"/>
                      <a:gd name="T27" fmla="*/ 15 h 26"/>
                      <a:gd name="T28" fmla="*/ 1 w 7"/>
                      <a:gd name="T29" fmla="*/ 13 h 26"/>
                      <a:gd name="T30" fmla="*/ 2 w 7"/>
                      <a:gd name="T31" fmla="*/ 12 h 26"/>
                      <a:gd name="T32" fmla="*/ 2 w 7"/>
                      <a:gd name="T33" fmla="*/ 8 h 26"/>
                      <a:gd name="T34" fmla="*/ 4 w 7"/>
                      <a:gd name="T35" fmla="*/ 2 h 26"/>
                      <a:gd name="T36" fmla="*/ 6 w 7"/>
                      <a:gd name="T37" fmla="*/ 0 h 26"/>
                      <a:gd name="T38" fmla="*/ 7 w 7"/>
                      <a:gd name="T39" fmla="*/ 1 h 26"/>
                      <a:gd name="T40" fmla="*/ 6 w 7"/>
                      <a:gd name="T41" fmla="*/ 3 h 26"/>
                      <a:gd name="T42" fmla="*/ 6 w 7"/>
                      <a:gd name="T43" fmla="*/ 4 h 26"/>
                      <a:gd name="T44" fmla="*/ 7 w 7"/>
                      <a:gd name="T45" fmla="*/ 6 h 26"/>
                      <a:gd name="T46" fmla="*/ 6 w 7"/>
                      <a:gd name="T47" fmla="*/ 10 h 26"/>
                      <a:gd name="T48" fmla="*/ 5 w 7"/>
                      <a:gd name="T49" fmla="*/ 9 h 26"/>
                      <a:gd name="T50" fmla="*/ 5 w 7"/>
                      <a:gd name="T51" fmla="*/ 10 h 26"/>
                      <a:gd name="T52" fmla="*/ 5 w 7"/>
                      <a:gd name="T53" fmla="*/ 12 h 26"/>
                      <a:gd name="T54" fmla="*/ 5 w 7"/>
                      <a:gd name="T55" fmla="*/ 12 h 26"/>
                      <a:gd name="T56" fmla="*/ 4 w 7"/>
                      <a:gd name="T57" fmla="*/ 13 h 26"/>
                      <a:gd name="T58" fmla="*/ 4 w 7"/>
                      <a:gd name="T59" fmla="*/ 13 h 26"/>
                      <a:gd name="T60" fmla="*/ 4 w 7"/>
                      <a:gd name="T61" fmla="*/ 13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 h="26">
                        <a:moveTo>
                          <a:pt x="4" y="13"/>
                        </a:moveTo>
                        <a:lnTo>
                          <a:pt x="5" y="14"/>
                        </a:lnTo>
                        <a:lnTo>
                          <a:pt x="6" y="20"/>
                        </a:lnTo>
                        <a:lnTo>
                          <a:pt x="5" y="23"/>
                        </a:lnTo>
                        <a:lnTo>
                          <a:pt x="2" y="22"/>
                        </a:lnTo>
                        <a:lnTo>
                          <a:pt x="2" y="23"/>
                        </a:lnTo>
                        <a:lnTo>
                          <a:pt x="4" y="24"/>
                        </a:lnTo>
                        <a:lnTo>
                          <a:pt x="4" y="26"/>
                        </a:lnTo>
                        <a:lnTo>
                          <a:pt x="1" y="26"/>
                        </a:lnTo>
                        <a:lnTo>
                          <a:pt x="1" y="24"/>
                        </a:lnTo>
                        <a:lnTo>
                          <a:pt x="0" y="23"/>
                        </a:lnTo>
                        <a:lnTo>
                          <a:pt x="0" y="19"/>
                        </a:lnTo>
                        <a:lnTo>
                          <a:pt x="1" y="17"/>
                        </a:lnTo>
                        <a:lnTo>
                          <a:pt x="1" y="15"/>
                        </a:lnTo>
                        <a:lnTo>
                          <a:pt x="1" y="13"/>
                        </a:lnTo>
                        <a:lnTo>
                          <a:pt x="2" y="12"/>
                        </a:lnTo>
                        <a:lnTo>
                          <a:pt x="2" y="8"/>
                        </a:lnTo>
                        <a:lnTo>
                          <a:pt x="4" y="2"/>
                        </a:lnTo>
                        <a:lnTo>
                          <a:pt x="6" y="0"/>
                        </a:lnTo>
                        <a:lnTo>
                          <a:pt x="7" y="1"/>
                        </a:lnTo>
                        <a:lnTo>
                          <a:pt x="6" y="3"/>
                        </a:lnTo>
                        <a:lnTo>
                          <a:pt x="6" y="4"/>
                        </a:lnTo>
                        <a:lnTo>
                          <a:pt x="7" y="6"/>
                        </a:lnTo>
                        <a:lnTo>
                          <a:pt x="6" y="10"/>
                        </a:lnTo>
                        <a:lnTo>
                          <a:pt x="5" y="9"/>
                        </a:lnTo>
                        <a:lnTo>
                          <a:pt x="5" y="10"/>
                        </a:lnTo>
                        <a:lnTo>
                          <a:pt x="5" y="12"/>
                        </a:lnTo>
                        <a:lnTo>
                          <a:pt x="5" y="12"/>
                        </a:lnTo>
                        <a:lnTo>
                          <a:pt x="4" y="13"/>
                        </a:lnTo>
                        <a:lnTo>
                          <a:pt x="4" y="13"/>
                        </a:lnTo>
                        <a:lnTo>
                          <a:pt x="4" y="13"/>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520" name="Freeform 299">
                    <a:extLst>
                      <a:ext uri="{FF2B5EF4-FFF2-40B4-BE49-F238E27FC236}">
                        <a16:creationId xmlns:a16="http://schemas.microsoft.com/office/drawing/2014/main" id="{74313A8D-2CD7-3043-9A43-B9D6EA041977}"/>
                      </a:ext>
                    </a:extLst>
                  </p:cNvPr>
                  <p:cNvSpPr>
                    <a:spLocks/>
                  </p:cNvSpPr>
                  <p:nvPr/>
                </p:nvSpPr>
                <p:spPr bwMode="auto">
                  <a:xfrm>
                    <a:off x="7742418" y="4100930"/>
                    <a:ext cx="6432" cy="14471"/>
                  </a:xfrm>
                  <a:custGeom>
                    <a:avLst/>
                    <a:gdLst>
                      <a:gd name="T0" fmla="*/ 2 w 4"/>
                      <a:gd name="T1" fmla="*/ 9 h 9"/>
                      <a:gd name="T2" fmla="*/ 2 w 4"/>
                      <a:gd name="T3" fmla="*/ 9 h 9"/>
                      <a:gd name="T4" fmla="*/ 1 w 4"/>
                      <a:gd name="T5" fmla="*/ 6 h 9"/>
                      <a:gd name="T6" fmla="*/ 0 w 4"/>
                      <a:gd name="T7" fmla="*/ 3 h 9"/>
                      <a:gd name="T8" fmla="*/ 0 w 4"/>
                      <a:gd name="T9" fmla="*/ 5 h 9"/>
                      <a:gd name="T10" fmla="*/ 0 w 4"/>
                      <a:gd name="T11" fmla="*/ 1 h 9"/>
                      <a:gd name="T12" fmla="*/ 2 w 4"/>
                      <a:gd name="T13" fmla="*/ 0 h 9"/>
                      <a:gd name="T14" fmla="*/ 3 w 4"/>
                      <a:gd name="T15" fmla="*/ 1 h 9"/>
                      <a:gd name="T16" fmla="*/ 4 w 4"/>
                      <a:gd name="T17" fmla="*/ 6 h 9"/>
                      <a:gd name="T18" fmla="*/ 2 w 4"/>
                      <a:gd name="T19" fmla="*/ 9 h 9"/>
                      <a:gd name="T20" fmla="*/ 2 w 4"/>
                      <a:gd name="T21"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 h="9">
                        <a:moveTo>
                          <a:pt x="2" y="9"/>
                        </a:moveTo>
                        <a:lnTo>
                          <a:pt x="2" y="9"/>
                        </a:lnTo>
                        <a:lnTo>
                          <a:pt x="1" y="6"/>
                        </a:lnTo>
                        <a:lnTo>
                          <a:pt x="0" y="3"/>
                        </a:lnTo>
                        <a:lnTo>
                          <a:pt x="0" y="5"/>
                        </a:lnTo>
                        <a:lnTo>
                          <a:pt x="0" y="1"/>
                        </a:lnTo>
                        <a:lnTo>
                          <a:pt x="2" y="0"/>
                        </a:lnTo>
                        <a:lnTo>
                          <a:pt x="3" y="1"/>
                        </a:lnTo>
                        <a:lnTo>
                          <a:pt x="4" y="6"/>
                        </a:lnTo>
                        <a:lnTo>
                          <a:pt x="2" y="9"/>
                        </a:lnTo>
                        <a:lnTo>
                          <a:pt x="2" y="9"/>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521" name="Freeform 300">
                    <a:extLst>
                      <a:ext uri="{FF2B5EF4-FFF2-40B4-BE49-F238E27FC236}">
                        <a16:creationId xmlns:a16="http://schemas.microsoft.com/office/drawing/2014/main" id="{DD3D0822-1852-164A-BC8F-CA9E99C3C224}"/>
                      </a:ext>
                    </a:extLst>
                  </p:cNvPr>
                  <p:cNvSpPr>
                    <a:spLocks/>
                  </p:cNvSpPr>
                  <p:nvPr/>
                </p:nvSpPr>
                <p:spPr bwMode="auto">
                  <a:xfrm>
                    <a:off x="7703832" y="3977129"/>
                    <a:ext cx="6432" cy="9647"/>
                  </a:xfrm>
                  <a:custGeom>
                    <a:avLst/>
                    <a:gdLst>
                      <a:gd name="T0" fmla="*/ 3 w 4"/>
                      <a:gd name="T1" fmla="*/ 6 h 6"/>
                      <a:gd name="T2" fmla="*/ 0 w 4"/>
                      <a:gd name="T3" fmla="*/ 6 h 6"/>
                      <a:gd name="T4" fmla="*/ 0 w 4"/>
                      <a:gd name="T5" fmla="*/ 3 h 6"/>
                      <a:gd name="T6" fmla="*/ 3 w 4"/>
                      <a:gd name="T7" fmla="*/ 0 h 6"/>
                      <a:gd name="T8" fmla="*/ 3 w 4"/>
                      <a:gd name="T9" fmla="*/ 2 h 6"/>
                      <a:gd name="T10" fmla="*/ 4 w 4"/>
                      <a:gd name="T11" fmla="*/ 3 h 6"/>
                      <a:gd name="T12" fmla="*/ 4 w 4"/>
                      <a:gd name="T13" fmla="*/ 4 h 6"/>
                      <a:gd name="T14" fmla="*/ 3 w 4"/>
                      <a:gd name="T15" fmla="*/ 6 h 6"/>
                      <a:gd name="T16" fmla="*/ 3 w 4"/>
                      <a:gd name="T17"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 h="6">
                        <a:moveTo>
                          <a:pt x="3" y="6"/>
                        </a:moveTo>
                        <a:lnTo>
                          <a:pt x="0" y="6"/>
                        </a:lnTo>
                        <a:lnTo>
                          <a:pt x="0" y="3"/>
                        </a:lnTo>
                        <a:lnTo>
                          <a:pt x="3" y="0"/>
                        </a:lnTo>
                        <a:lnTo>
                          <a:pt x="3" y="2"/>
                        </a:lnTo>
                        <a:lnTo>
                          <a:pt x="4" y="3"/>
                        </a:lnTo>
                        <a:lnTo>
                          <a:pt x="4" y="4"/>
                        </a:lnTo>
                        <a:lnTo>
                          <a:pt x="3" y="6"/>
                        </a:lnTo>
                        <a:lnTo>
                          <a:pt x="3" y="6"/>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522" name="Freeform 301">
                    <a:extLst>
                      <a:ext uri="{FF2B5EF4-FFF2-40B4-BE49-F238E27FC236}">
                        <a16:creationId xmlns:a16="http://schemas.microsoft.com/office/drawing/2014/main" id="{1CD46BF4-2698-3B4B-9C4E-2DD676246B1E}"/>
                      </a:ext>
                    </a:extLst>
                  </p:cNvPr>
                  <p:cNvSpPr>
                    <a:spLocks/>
                  </p:cNvSpPr>
                  <p:nvPr/>
                </p:nvSpPr>
                <p:spPr bwMode="auto">
                  <a:xfrm>
                    <a:off x="7710262" y="3938542"/>
                    <a:ext cx="4824" cy="22509"/>
                  </a:xfrm>
                  <a:custGeom>
                    <a:avLst/>
                    <a:gdLst>
                      <a:gd name="T0" fmla="*/ 3 w 3"/>
                      <a:gd name="T1" fmla="*/ 1 h 14"/>
                      <a:gd name="T2" fmla="*/ 3 w 3"/>
                      <a:gd name="T3" fmla="*/ 2 h 14"/>
                      <a:gd name="T4" fmla="*/ 3 w 3"/>
                      <a:gd name="T5" fmla="*/ 3 h 14"/>
                      <a:gd name="T6" fmla="*/ 2 w 3"/>
                      <a:gd name="T7" fmla="*/ 6 h 14"/>
                      <a:gd name="T8" fmla="*/ 3 w 3"/>
                      <a:gd name="T9" fmla="*/ 7 h 14"/>
                      <a:gd name="T10" fmla="*/ 3 w 3"/>
                      <a:gd name="T11" fmla="*/ 6 h 14"/>
                      <a:gd name="T12" fmla="*/ 3 w 3"/>
                      <a:gd name="T13" fmla="*/ 6 h 14"/>
                      <a:gd name="T14" fmla="*/ 3 w 3"/>
                      <a:gd name="T15" fmla="*/ 6 h 14"/>
                      <a:gd name="T16" fmla="*/ 3 w 3"/>
                      <a:gd name="T17" fmla="*/ 10 h 14"/>
                      <a:gd name="T18" fmla="*/ 2 w 3"/>
                      <a:gd name="T19" fmla="*/ 12 h 14"/>
                      <a:gd name="T20" fmla="*/ 2 w 3"/>
                      <a:gd name="T21" fmla="*/ 12 h 14"/>
                      <a:gd name="T22" fmla="*/ 3 w 3"/>
                      <a:gd name="T23" fmla="*/ 10 h 14"/>
                      <a:gd name="T24" fmla="*/ 3 w 3"/>
                      <a:gd name="T25" fmla="*/ 12 h 14"/>
                      <a:gd name="T26" fmla="*/ 2 w 3"/>
                      <a:gd name="T27" fmla="*/ 14 h 14"/>
                      <a:gd name="T28" fmla="*/ 2 w 3"/>
                      <a:gd name="T29" fmla="*/ 14 h 14"/>
                      <a:gd name="T30" fmla="*/ 1 w 3"/>
                      <a:gd name="T31" fmla="*/ 12 h 14"/>
                      <a:gd name="T32" fmla="*/ 1 w 3"/>
                      <a:gd name="T33" fmla="*/ 12 h 14"/>
                      <a:gd name="T34" fmla="*/ 0 w 3"/>
                      <a:gd name="T35" fmla="*/ 10 h 14"/>
                      <a:gd name="T36" fmla="*/ 0 w 3"/>
                      <a:gd name="T37" fmla="*/ 6 h 14"/>
                      <a:gd name="T38" fmla="*/ 0 w 3"/>
                      <a:gd name="T39" fmla="*/ 6 h 14"/>
                      <a:gd name="T40" fmla="*/ 1 w 3"/>
                      <a:gd name="T41" fmla="*/ 7 h 14"/>
                      <a:gd name="T42" fmla="*/ 1 w 3"/>
                      <a:gd name="T43" fmla="*/ 6 h 14"/>
                      <a:gd name="T44" fmla="*/ 1 w 3"/>
                      <a:gd name="T45" fmla="*/ 1 h 14"/>
                      <a:gd name="T46" fmla="*/ 2 w 3"/>
                      <a:gd name="T47" fmla="*/ 0 h 14"/>
                      <a:gd name="T48" fmla="*/ 2 w 3"/>
                      <a:gd name="T49" fmla="*/ 1 h 14"/>
                      <a:gd name="T50" fmla="*/ 3 w 3"/>
                      <a:gd name="T51" fmla="*/ 1 h 14"/>
                      <a:gd name="T52" fmla="*/ 3 w 3"/>
                      <a:gd name="T53"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3" h="14">
                        <a:moveTo>
                          <a:pt x="3" y="1"/>
                        </a:moveTo>
                        <a:lnTo>
                          <a:pt x="3" y="2"/>
                        </a:lnTo>
                        <a:lnTo>
                          <a:pt x="3" y="3"/>
                        </a:lnTo>
                        <a:lnTo>
                          <a:pt x="2" y="6"/>
                        </a:lnTo>
                        <a:lnTo>
                          <a:pt x="3" y="7"/>
                        </a:lnTo>
                        <a:lnTo>
                          <a:pt x="3" y="6"/>
                        </a:lnTo>
                        <a:lnTo>
                          <a:pt x="3" y="6"/>
                        </a:lnTo>
                        <a:lnTo>
                          <a:pt x="3" y="6"/>
                        </a:lnTo>
                        <a:lnTo>
                          <a:pt x="3" y="10"/>
                        </a:lnTo>
                        <a:lnTo>
                          <a:pt x="2" y="12"/>
                        </a:lnTo>
                        <a:lnTo>
                          <a:pt x="2" y="12"/>
                        </a:lnTo>
                        <a:lnTo>
                          <a:pt x="3" y="10"/>
                        </a:lnTo>
                        <a:lnTo>
                          <a:pt x="3" y="12"/>
                        </a:lnTo>
                        <a:lnTo>
                          <a:pt x="2" y="14"/>
                        </a:lnTo>
                        <a:lnTo>
                          <a:pt x="2" y="14"/>
                        </a:lnTo>
                        <a:lnTo>
                          <a:pt x="1" y="12"/>
                        </a:lnTo>
                        <a:lnTo>
                          <a:pt x="1" y="12"/>
                        </a:lnTo>
                        <a:lnTo>
                          <a:pt x="0" y="10"/>
                        </a:lnTo>
                        <a:lnTo>
                          <a:pt x="0" y="6"/>
                        </a:lnTo>
                        <a:lnTo>
                          <a:pt x="0" y="6"/>
                        </a:lnTo>
                        <a:lnTo>
                          <a:pt x="1" y="7"/>
                        </a:lnTo>
                        <a:lnTo>
                          <a:pt x="1" y="6"/>
                        </a:lnTo>
                        <a:lnTo>
                          <a:pt x="1" y="1"/>
                        </a:lnTo>
                        <a:lnTo>
                          <a:pt x="2" y="0"/>
                        </a:lnTo>
                        <a:lnTo>
                          <a:pt x="2" y="1"/>
                        </a:lnTo>
                        <a:lnTo>
                          <a:pt x="3" y="1"/>
                        </a:lnTo>
                        <a:lnTo>
                          <a:pt x="3" y="1"/>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grpSp>
            <p:sp>
              <p:nvSpPr>
                <p:cNvPr id="398" name="Hungary">
                  <a:extLst>
                    <a:ext uri="{FF2B5EF4-FFF2-40B4-BE49-F238E27FC236}">
                      <a16:creationId xmlns:a16="http://schemas.microsoft.com/office/drawing/2014/main" id="{C14C68D5-C33E-A04D-B494-0AF65BC510D3}"/>
                    </a:ext>
                  </a:extLst>
                </p:cNvPr>
                <p:cNvSpPr>
                  <a:spLocks/>
                </p:cNvSpPr>
                <p:nvPr/>
              </p:nvSpPr>
              <p:spPr bwMode="auto">
                <a:xfrm>
                  <a:off x="6739939" y="2535873"/>
                  <a:ext cx="154543" cy="81645"/>
                </a:xfrm>
                <a:custGeom>
                  <a:avLst/>
                  <a:gdLst>
                    <a:gd name="T0" fmla="*/ 4 w 106"/>
                    <a:gd name="T1" fmla="*/ 31 h 56"/>
                    <a:gd name="T2" fmla="*/ 7 w 106"/>
                    <a:gd name="T3" fmla="*/ 30 h 56"/>
                    <a:gd name="T4" fmla="*/ 4 w 106"/>
                    <a:gd name="T5" fmla="*/ 28 h 56"/>
                    <a:gd name="T6" fmla="*/ 5 w 106"/>
                    <a:gd name="T7" fmla="*/ 23 h 56"/>
                    <a:gd name="T8" fmla="*/ 8 w 106"/>
                    <a:gd name="T9" fmla="*/ 21 h 56"/>
                    <a:gd name="T10" fmla="*/ 4 w 106"/>
                    <a:gd name="T11" fmla="*/ 19 h 56"/>
                    <a:gd name="T12" fmla="*/ 7 w 106"/>
                    <a:gd name="T13" fmla="*/ 16 h 56"/>
                    <a:gd name="T14" fmla="*/ 11 w 106"/>
                    <a:gd name="T15" fmla="*/ 17 h 56"/>
                    <a:gd name="T16" fmla="*/ 13 w 106"/>
                    <a:gd name="T17" fmla="*/ 16 h 56"/>
                    <a:gd name="T18" fmla="*/ 14 w 106"/>
                    <a:gd name="T19" fmla="*/ 13 h 56"/>
                    <a:gd name="T20" fmla="*/ 17 w 106"/>
                    <a:gd name="T21" fmla="*/ 13 h 56"/>
                    <a:gd name="T22" fmla="*/ 24 w 106"/>
                    <a:gd name="T23" fmla="*/ 16 h 56"/>
                    <a:gd name="T24" fmla="*/ 38 w 106"/>
                    <a:gd name="T25" fmla="*/ 17 h 56"/>
                    <a:gd name="T26" fmla="*/ 42 w 106"/>
                    <a:gd name="T27" fmla="*/ 15 h 56"/>
                    <a:gd name="T28" fmla="*/ 44 w 106"/>
                    <a:gd name="T29" fmla="*/ 11 h 56"/>
                    <a:gd name="T30" fmla="*/ 51 w 106"/>
                    <a:gd name="T31" fmla="*/ 10 h 56"/>
                    <a:gd name="T32" fmla="*/ 54 w 106"/>
                    <a:gd name="T33" fmla="*/ 8 h 56"/>
                    <a:gd name="T34" fmla="*/ 61 w 106"/>
                    <a:gd name="T35" fmla="*/ 6 h 56"/>
                    <a:gd name="T36" fmla="*/ 67 w 106"/>
                    <a:gd name="T37" fmla="*/ 3 h 56"/>
                    <a:gd name="T38" fmla="*/ 74 w 106"/>
                    <a:gd name="T39" fmla="*/ 1 h 56"/>
                    <a:gd name="T40" fmla="*/ 80 w 106"/>
                    <a:gd name="T41" fmla="*/ 1 h 56"/>
                    <a:gd name="T42" fmla="*/ 85 w 106"/>
                    <a:gd name="T43" fmla="*/ 2 h 56"/>
                    <a:gd name="T44" fmla="*/ 88 w 106"/>
                    <a:gd name="T45" fmla="*/ 4 h 56"/>
                    <a:gd name="T46" fmla="*/ 105 w 106"/>
                    <a:gd name="T47" fmla="*/ 10 h 56"/>
                    <a:gd name="T48" fmla="*/ 105 w 106"/>
                    <a:gd name="T49" fmla="*/ 15 h 56"/>
                    <a:gd name="T50" fmla="*/ 98 w 106"/>
                    <a:gd name="T51" fmla="*/ 17 h 56"/>
                    <a:gd name="T52" fmla="*/ 93 w 106"/>
                    <a:gd name="T53" fmla="*/ 24 h 56"/>
                    <a:gd name="T54" fmla="*/ 89 w 106"/>
                    <a:gd name="T55" fmla="*/ 30 h 56"/>
                    <a:gd name="T56" fmla="*/ 88 w 106"/>
                    <a:gd name="T57" fmla="*/ 35 h 56"/>
                    <a:gd name="T58" fmla="*/ 87 w 106"/>
                    <a:gd name="T59" fmla="*/ 39 h 56"/>
                    <a:gd name="T60" fmla="*/ 84 w 106"/>
                    <a:gd name="T61" fmla="*/ 42 h 56"/>
                    <a:gd name="T62" fmla="*/ 81 w 106"/>
                    <a:gd name="T63" fmla="*/ 47 h 56"/>
                    <a:gd name="T64" fmla="*/ 75 w 106"/>
                    <a:gd name="T65" fmla="*/ 47 h 56"/>
                    <a:gd name="T66" fmla="*/ 73 w 106"/>
                    <a:gd name="T67" fmla="*/ 49 h 56"/>
                    <a:gd name="T68" fmla="*/ 67 w 106"/>
                    <a:gd name="T69" fmla="*/ 49 h 56"/>
                    <a:gd name="T70" fmla="*/ 64 w 106"/>
                    <a:gd name="T71" fmla="*/ 48 h 56"/>
                    <a:gd name="T72" fmla="*/ 57 w 106"/>
                    <a:gd name="T73" fmla="*/ 49 h 56"/>
                    <a:gd name="T74" fmla="*/ 54 w 106"/>
                    <a:gd name="T75" fmla="*/ 50 h 56"/>
                    <a:gd name="T76" fmla="*/ 49 w 106"/>
                    <a:gd name="T77" fmla="*/ 51 h 56"/>
                    <a:gd name="T78" fmla="*/ 47 w 106"/>
                    <a:gd name="T79" fmla="*/ 54 h 56"/>
                    <a:gd name="T80" fmla="*/ 41 w 106"/>
                    <a:gd name="T81" fmla="*/ 56 h 56"/>
                    <a:gd name="T82" fmla="*/ 38 w 106"/>
                    <a:gd name="T83" fmla="*/ 56 h 56"/>
                    <a:gd name="T84" fmla="*/ 31 w 106"/>
                    <a:gd name="T85" fmla="*/ 56 h 56"/>
                    <a:gd name="T86" fmla="*/ 24 w 106"/>
                    <a:gd name="T87" fmla="*/ 54 h 56"/>
                    <a:gd name="T88" fmla="*/ 21 w 106"/>
                    <a:gd name="T89" fmla="*/ 51 h 56"/>
                    <a:gd name="T90" fmla="*/ 20 w 106"/>
                    <a:gd name="T91" fmla="*/ 50 h 56"/>
                    <a:gd name="T92" fmla="*/ 19 w 106"/>
                    <a:gd name="T93" fmla="*/ 50 h 56"/>
                    <a:gd name="T94" fmla="*/ 14 w 106"/>
                    <a:gd name="T95" fmla="*/ 47 h 56"/>
                    <a:gd name="T96" fmla="*/ 12 w 106"/>
                    <a:gd name="T97" fmla="*/ 44 h 56"/>
                    <a:gd name="T98" fmla="*/ 6 w 106"/>
                    <a:gd name="T99" fmla="*/ 41 h 56"/>
                    <a:gd name="T100" fmla="*/ 4 w 106"/>
                    <a:gd name="T101" fmla="*/ 35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106" h="56">
                      <a:moveTo>
                        <a:pt x="0" y="34"/>
                      </a:moveTo>
                      <a:lnTo>
                        <a:pt x="1" y="33"/>
                      </a:lnTo>
                      <a:lnTo>
                        <a:pt x="2" y="33"/>
                      </a:lnTo>
                      <a:lnTo>
                        <a:pt x="2" y="31"/>
                      </a:lnTo>
                      <a:lnTo>
                        <a:pt x="4" y="31"/>
                      </a:lnTo>
                      <a:lnTo>
                        <a:pt x="5" y="31"/>
                      </a:lnTo>
                      <a:lnTo>
                        <a:pt x="5" y="31"/>
                      </a:lnTo>
                      <a:lnTo>
                        <a:pt x="5" y="31"/>
                      </a:lnTo>
                      <a:lnTo>
                        <a:pt x="7" y="30"/>
                      </a:lnTo>
                      <a:lnTo>
                        <a:pt x="7" y="30"/>
                      </a:lnTo>
                      <a:lnTo>
                        <a:pt x="7" y="29"/>
                      </a:lnTo>
                      <a:lnTo>
                        <a:pt x="7" y="29"/>
                      </a:lnTo>
                      <a:lnTo>
                        <a:pt x="6" y="29"/>
                      </a:lnTo>
                      <a:lnTo>
                        <a:pt x="5" y="28"/>
                      </a:lnTo>
                      <a:lnTo>
                        <a:pt x="4" y="28"/>
                      </a:lnTo>
                      <a:lnTo>
                        <a:pt x="5" y="27"/>
                      </a:lnTo>
                      <a:lnTo>
                        <a:pt x="5" y="26"/>
                      </a:lnTo>
                      <a:lnTo>
                        <a:pt x="5" y="26"/>
                      </a:lnTo>
                      <a:lnTo>
                        <a:pt x="5" y="24"/>
                      </a:lnTo>
                      <a:lnTo>
                        <a:pt x="5" y="23"/>
                      </a:lnTo>
                      <a:lnTo>
                        <a:pt x="6" y="24"/>
                      </a:lnTo>
                      <a:lnTo>
                        <a:pt x="6" y="23"/>
                      </a:lnTo>
                      <a:lnTo>
                        <a:pt x="7" y="23"/>
                      </a:lnTo>
                      <a:lnTo>
                        <a:pt x="8" y="22"/>
                      </a:lnTo>
                      <a:lnTo>
                        <a:pt x="8" y="21"/>
                      </a:lnTo>
                      <a:lnTo>
                        <a:pt x="8" y="20"/>
                      </a:lnTo>
                      <a:lnTo>
                        <a:pt x="8" y="20"/>
                      </a:lnTo>
                      <a:lnTo>
                        <a:pt x="8" y="20"/>
                      </a:lnTo>
                      <a:lnTo>
                        <a:pt x="7" y="20"/>
                      </a:lnTo>
                      <a:lnTo>
                        <a:pt x="4" y="19"/>
                      </a:lnTo>
                      <a:lnTo>
                        <a:pt x="4" y="17"/>
                      </a:lnTo>
                      <a:lnTo>
                        <a:pt x="5" y="17"/>
                      </a:lnTo>
                      <a:lnTo>
                        <a:pt x="6" y="17"/>
                      </a:lnTo>
                      <a:lnTo>
                        <a:pt x="6" y="17"/>
                      </a:lnTo>
                      <a:lnTo>
                        <a:pt x="7" y="16"/>
                      </a:lnTo>
                      <a:lnTo>
                        <a:pt x="8" y="17"/>
                      </a:lnTo>
                      <a:lnTo>
                        <a:pt x="8" y="17"/>
                      </a:lnTo>
                      <a:lnTo>
                        <a:pt x="9" y="17"/>
                      </a:lnTo>
                      <a:lnTo>
                        <a:pt x="11" y="17"/>
                      </a:lnTo>
                      <a:lnTo>
                        <a:pt x="11" y="17"/>
                      </a:lnTo>
                      <a:lnTo>
                        <a:pt x="11" y="17"/>
                      </a:lnTo>
                      <a:lnTo>
                        <a:pt x="14" y="17"/>
                      </a:lnTo>
                      <a:lnTo>
                        <a:pt x="14" y="16"/>
                      </a:lnTo>
                      <a:lnTo>
                        <a:pt x="13" y="16"/>
                      </a:lnTo>
                      <a:lnTo>
                        <a:pt x="13" y="16"/>
                      </a:lnTo>
                      <a:lnTo>
                        <a:pt x="13" y="15"/>
                      </a:lnTo>
                      <a:lnTo>
                        <a:pt x="14" y="14"/>
                      </a:lnTo>
                      <a:lnTo>
                        <a:pt x="14" y="14"/>
                      </a:lnTo>
                      <a:lnTo>
                        <a:pt x="15" y="13"/>
                      </a:lnTo>
                      <a:lnTo>
                        <a:pt x="14" y="13"/>
                      </a:lnTo>
                      <a:lnTo>
                        <a:pt x="15" y="11"/>
                      </a:lnTo>
                      <a:lnTo>
                        <a:pt x="15" y="11"/>
                      </a:lnTo>
                      <a:lnTo>
                        <a:pt x="15" y="11"/>
                      </a:lnTo>
                      <a:lnTo>
                        <a:pt x="17" y="11"/>
                      </a:lnTo>
                      <a:lnTo>
                        <a:pt x="17" y="13"/>
                      </a:lnTo>
                      <a:lnTo>
                        <a:pt x="17" y="13"/>
                      </a:lnTo>
                      <a:lnTo>
                        <a:pt x="20" y="14"/>
                      </a:lnTo>
                      <a:lnTo>
                        <a:pt x="21" y="14"/>
                      </a:lnTo>
                      <a:lnTo>
                        <a:pt x="22" y="15"/>
                      </a:lnTo>
                      <a:lnTo>
                        <a:pt x="24" y="16"/>
                      </a:lnTo>
                      <a:lnTo>
                        <a:pt x="26" y="17"/>
                      </a:lnTo>
                      <a:lnTo>
                        <a:pt x="28" y="16"/>
                      </a:lnTo>
                      <a:lnTo>
                        <a:pt x="33" y="17"/>
                      </a:lnTo>
                      <a:lnTo>
                        <a:pt x="37" y="16"/>
                      </a:lnTo>
                      <a:lnTo>
                        <a:pt x="38" y="17"/>
                      </a:lnTo>
                      <a:lnTo>
                        <a:pt x="38" y="16"/>
                      </a:lnTo>
                      <a:lnTo>
                        <a:pt x="39" y="16"/>
                      </a:lnTo>
                      <a:lnTo>
                        <a:pt x="40" y="16"/>
                      </a:lnTo>
                      <a:lnTo>
                        <a:pt x="42" y="16"/>
                      </a:lnTo>
                      <a:lnTo>
                        <a:pt x="42" y="15"/>
                      </a:lnTo>
                      <a:lnTo>
                        <a:pt x="40" y="14"/>
                      </a:lnTo>
                      <a:lnTo>
                        <a:pt x="40" y="13"/>
                      </a:lnTo>
                      <a:lnTo>
                        <a:pt x="41" y="13"/>
                      </a:lnTo>
                      <a:lnTo>
                        <a:pt x="42" y="11"/>
                      </a:lnTo>
                      <a:lnTo>
                        <a:pt x="44" y="11"/>
                      </a:lnTo>
                      <a:lnTo>
                        <a:pt x="45" y="10"/>
                      </a:lnTo>
                      <a:lnTo>
                        <a:pt x="45" y="11"/>
                      </a:lnTo>
                      <a:lnTo>
                        <a:pt x="48" y="11"/>
                      </a:lnTo>
                      <a:lnTo>
                        <a:pt x="48" y="10"/>
                      </a:lnTo>
                      <a:lnTo>
                        <a:pt x="51" y="10"/>
                      </a:lnTo>
                      <a:lnTo>
                        <a:pt x="52" y="10"/>
                      </a:lnTo>
                      <a:lnTo>
                        <a:pt x="52" y="8"/>
                      </a:lnTo>
                      <a:lnTo>
                        <a:pt x="53" y="7"/>
                      </a:lnTo>
                      <a:lnTo>
                        <a:pt x="54" y="7"/>
                      </a:lnTo>
                      <a:lnTo>
                        <a:pt x="54" y="8"/>
                      </a:lnTo>
                      <a:lnTo>
                        <a:pt x="55" y="8"/>
                      </a:lnTo>
                      <a:lnTo>
                        <a:pt x="55" y="9"/>
                      </a:lnTo>
                      <a:lnTo>
                        <a:pt x="59" y="9"/>
                      </a:lnTo>
                      <a:lnTo>
                        <a:pt x="61" y="8"/>
                      </a:lnTo>
                      <a:lnTo>
                        <a:pt x="61" y="6"/>
                      </a:lnTo>
                      <a:lnTo>
                        <a:pt x="64" y="6"/>
                      </a:lnTo>
                      <a:lnTo>
                        <a:pt x="65" y="7"/>
                      </a:lnTo>
                      <a:lnTo>
                        <a:pt x="65" y="6"/>
                      </a:lnTo>
                      <a:lnTo>
                        <a:pt x="66" y="6"/>
                      </a:lnTo>
                      <a:lnTo>
                        <a:pt x="67" y="3"/>
                      </a:lnTo>
                      <a:lnTo>
                        <a:pt x="68" y="2"/>
                      </a:lnTo>
                      <a:lnTo>
                        <a:pt x="68" y="1"/>
                      </a:lnTo>
                      <a:lnTo>
                        <a:pt x="72" y="0"/>
                      </a:lnTo>
                      <a:lnTo>
                        <a:pt x="73" y="0"/>
                      </a:lnTo>
                      <a:lnTo>
                        <a:pt x="74" y="1"/>
                      </a:lnTo>
                      <a:lnTo>
                        <a:pt x="75" y="1"/>
                      </a:lnTo>
                      <a:lnTo>
                        <a:pt x="77" y="2"/>
                      </a:lnTo>
                      <a:lnTo>
                        <a:pt x="78" y="1"/>
                      </a:lnTo>
                      <a:lnTo>
                        <a:pt x="79" y="1"/>
                      </a:lnTo>
                      <a:lnTo>
                        <a:pt x="80" y="1"/>
                      </a:lnTo>
                      <a:lnTo>
                        <a:pt x="80" y="0"/>
                      </a:lnTo>
                      <a:lnTo>
                        <a:pt x="82" y="0"/>
                      </a:lnTo>
                      <a:lnTo>
                        <a:pt x="84" y="1"/>
                      </a:lnTo>
                      <a:lnTo>
                        <a:pt x="84" y="1"/>
                      </a:lnTo>
                      <a:lnTo>
                        <a:pt x="85" y="2"/>
                      </a:lnTo>
                      <a:lnTo>
                        <a:pt x="85" y="2"/>
                      </a:lnTo>
                      <a:lnTo>
                        <a:pt x="87" y="4"/>
                      </a:lnTo>
                      <a:lnTo>
                        <a:pt x="87" y="6"/>
                      </a:lnTo>
                      <a:lnTo>
                        <a:pt x="88" y="6"/>
                      </a:lnTo>
                      <a:lnTo>
                        <a:pt x="88" y="4"/>
                      </a:lnTo>
                      <a:lnTo>
                        <a:pt x="92" y="4"/>
                      </a:lnTo>
                      <a:lnTo>
                        <a:pt x="97" y="7"/>
                      </a:lnTo>
                      <a:lnTo>
                        <a:pt x="99" y="7"/>
                      </a:lnTo>
                      <a:lnTo>
                        <a:pt x="101" y="8"/>
                      </a:lnTo>
                      <a:lnTo>
                        <a:pt x="105" y="10"/>
                      </a:lnTo>
                      <a:lnTo>
                        <a:pt x="106" y="11"/>
                      </a:lnTo>
                      <a:lnTo>
                        <a:pt x="106" y="13"/>
                      </a:lnTo>
                      <a:lnTo>
                        <a:pt x="106" y="14"/>
                      </a:lnTo>
                      <a:lnTo>
                        <a:pt x="105" y="15"/>
                      </a:lnTo>
                      <a:lnTo>
                        <a:pt x="105" y="15"/>
                      </a:lnTo>
                      <a:lnTo>
                        <a:pt x="102" y="16"/>
                      </a:lnTo>
                      <a:lnTo>
                        <a:pt x="99" y="16"/>
                      </a:lnTo>
                      <a:lnTo>
                        <a:pt x="99" y="17"/>
                      </a:lnTo>
                      <a:lnTo>
                        <a:pt x="98" y="17"/>
                      </a:lnTo>
                      <a:lnTo>
                        <a:pt x="98" y="17"/>
                      </a:lnTo>
                      <a:lnTo>
                        <a:pt x="97" y="20"/>
                      </a:lnTo>
                      <a:lnTo>
                        <a:pt x="95" y="20"/>
                      </a:lnTo>
                      <a:lnTo>
                        <a:pt x="93" y="21"/>
                      </a:lnTo>
                      <a:lnTo>
                        <a:pt x="94" y="24"/>
                      </a:lnTo>
                      <a:lnTo>
                        <a:pt x="93" y="24"/>
                      </a:lnTo>
                      <a:lnTo>
                        <a:pt x="93" y="26"/>
                      </a:lnTo>
                      <a:lnTo>
                        <a:pt x="93" y="28"/>
                      </a:lnTo>
                      <a:lnTo>
                        <a:pt x="92" y="28"/>
                      </a:lnTo>
                      <a:lnTo>
                        <a:pt x="92" y="29"/>
                      </a:lnTo>
                      <a:lnTo>
                        <a:pt x="89" y="30"/>
                      </a:lnTo>
                      <a:lnTo>
                        <a:pt x="91" y="31"/>
                      </a:lnTo>
                      <a:lnTo>
                        <a:pt x="89" y="31"/>
                      </a:lnTo>
                      <a:lnTo>
                        <a:pt x="89" y="33"/>
                      </a:lnTo>
                      <a:lnTo>
                        <a:pt x="88" y="34"/>
                      </a:lnTo>
                      <a:lnTo>
                        <a:pt x="88" y="35"/>
                      </a:lnTo>
                      <a:lnTo>
                        <a:pt x="87" y="35"/>
                      </a:lnTo>
                      <a:lnTo>
                        <a:pt x="87" y="35"/>
                      </a:lnTo>
                      <a:lnTo>
                        <a:pt x="87" y="36"/>
                      </a:lnTo>
                      <a:lnTo>
                        <a:pt x="87" y="37"/>
                      </a:lnTo>
                      <a:lnTo>
                        <a:pt x="87" y="39"/>
                      </a:lnTo>
                      <a:lnTo>
                        <a:pt x="87" y="39"/>
                      </a:lnTo>
                      <a:lnTo>
                        <a:pt x="86" y="40"/>
                      </a:lnTo>
                      <a:lnTo>
                        <a:pt x="85" y="40"/>
                      </a:lnTo>
                      <a:lnTo>
                        <a:pt x="85" y="41"/>
                      </a:lnTo>
                      <a:lnTo>
                        <a:pt x="84" y="42"/>
                      </a:lnTo>
                      <a:lnTo>
                        <a:pt x="85" y="43"/>
                      </a:lnTo>
                      <a:lnTo>
                        <a:pt x="85" y="43"/>
                      </a:lnTo>
                      <a:lnTo>
                        <a:pt x="84" y="44"/>
                      </a:lnTo>
                      <a:lnTo>
                        <a:pt x="82" y="47"/>
                      </a:lnTo>
                      <a:lnTo>
                        <a:pt x="81" y="47"/>
                      </a:lnTo>
                      <a:lnTo>
                        <a:pt x="80" y="47"/>
                      </a:lnTo>
                      <a:lnTo>
                        <a:pt x="79" y="47"/>
                      </a:lnTo>
                      <a:lnTo>
                        <a:pt x="78" y="47"/>
                      </a:lnTo>
                      <a:lnTo>
                        <a:pt x="77" y="47"/>
                      </a:lnTo>
                      <a:lnTo>
                        <a:pt x="75" y="47"/>
                      </a:lnTo>
                      <a:lnTo>
                        <a:pt x="77" y="48"/>
                      </a:lnTo>
                      <a:lnTo>
                        <a:pt x="75" y="48"/>
                      </a:lnTo>
                      <a:lnTo>
                        <a:pt x="75" y="49"/>
                      </a:lnTo>
                      <a:lnTo>
                        <a:pt x="74" y="49"/>
                      </a:lnTo>
                      <a:lnTo>
                        <a:pt x="73" y="49"/>
                      </a:lnTo>
                      <a:lnTo>
                        <a:pt x="72" y="49"/>
                      </a:lnTo>
                      <a:lnTo>
                        <a:pt x="71" y="49"/>
                      </a:lnTo>
                      <a:lnTo>
                        <a:pt x="69" y="49"/>
                      </a:lnTo>
                      <a:lnTo>
                        <a:pt x="68" y="49"/>
                      </a:lnTo>
                      <a:lnTo>
                        <a:pt x="67" y="49"/>
                      </a:lnTo>
                      <a:lnTo>
                        <a:pt x="66" y="49"/>
                      </a:lnTo>
                      <a:lnTo>
                        <a:pt x="66" y="48"/>
                      </a:lnTo>
                      <a:lnTo>
                        <a:pt x="65" y="49"/>
                      </a:lnTo>
                      <a:lnTo>
                        <a:pt x="64" y="48"/>
                      </a:lnTo>
                      <a:lnTo>
                        <a:pt x="64" y="48"/>
                      </a:lnTo>
                      <a:lnTo>
                        <a:pt x="61" y="49"/>
                      </a:lnTo>
                      <a:lnTo>
                        <a:pt x="61" y="49"/>
                      </a:lnTo>
                      <a:lnTo>
                        <a:pt x="59" y="49"/>
                      </a:lnTo>
                      <a:lnTo>
                        <a:pt x="57" y="49"/>
                      </a:lnTo>
                      <a:lnTo>
                        <a:pt x="57" y="49"/>
                      </a:lnTo>
                      <a:lnTo>
                        <a:pt x="57" y="49"/>
                      </a:lnTo>
                      <a:lnTo>
                        <a:pt x="55" y="50"/>
                      </a:lnTo>
                      <a:lnTo>
                        <a:pt x="55" y="50"/>
                      </a:lnTo>
                      <a:lnTo>
                        <a:pt x="54" y="50"/>
                      </a:lnTo>
                      <a:lnTo>
                        <a:pt x="54" y="50"/>
                      </a:lnTo>
                      <a:lnTo>
                        <a:pt x="53" y="51"/>
                      </a:lnTo>
                      <a:lnTo>
                        <a:pt x="52" y="51"/>
                      </a:lnTo>
                      <a:lnTo>
                        <a:pt x="51" y="51"/>
                      </a:lnTo>
                      <a:lnTo>
                        <a:pt x="49" y="51"/>
                      </a:lnTo>
                      <a:lnTo>
                        <a:pt x="49" y="51"/>
                      </a:lnTo>
                      <a:lnTo>
                        <a:pt x="49" y="51"/>
                      </a:lnTo>
                      <a:lnTo>
                        <a:pt x="49" y="53"/>
                      </a:lnTo>
                      <a:lnTo>
                        <a:pt x="48" y="53"/>
                      </a:lnTo>
                      <a:lnTo>
                        <a:pt x="48" y="53"/>
                      </a:lnTo>
                      <a:lnTo>
                        <a:pt x="47" y="54"/>
                      </a:lnTo>
                      <a:lnTo>
                        <a:pt x="46" y="54"/>
                      </a:lnTo>
                      <a:lnTo>
                        <a:pt x="45" y="54"/>
                      </a:lnTo>
                      <a:lnTo>
                        <a:pt x="42" y="54"/>
                      </a:lnTo>
                      <a:lnTo>
                        <a:pt x="42" y="55"/>
                      </a:lnTo>
                      <a:lnTo>
                        <a:pt x="41" y="56"/>
                      </a:lnTo>
                      <a:lnTo>
                        <a:pt x="40" y="56"/>
                      </a:lnTo>
                      <a:lnTo>
                        <a:pt x="40" y="56"/>
                      </a:lnTo>
                      <a:lnTo>
                        <a:pt x="39" y="56"/>
                      </a:lnTo>
                      <a:lnTo>
                        <a:pt x="39" y="56"/>
                      </a:lnTo>
                      <a:lnTo>
                        <a:pt x="38" y="56"/>
                      </a:lnTo>
                      <a:lnTo>
                        <a:pt x="35" y="56"/>
                      </a:lnTo>
                      <a:lnTo>
                        <a:pt x="33" y="56"/>
                      </a:lnTo>
                      <a:lnTo>
                        <a:pt x="32" y="56"/>
                      </a:lnTo>
                      <a:lnTo>
                        <a:pt x="31" y="56"/>
                      </a:lnTo>
                      <a:lnTo>
                        <a:pt x="31" y="56"/>
                      </a:lnTo>
                      <a:lnTo>
                        <a:pt x="29" y="55"/>
                      </a:lnTo>
                      <a:lnTo>
                        <a:pt x="27" y="55"/>
                      </a:lnTo>
                      <a:lnTo>
                        <a:pt x="27" y="54"/>
                      </a:lnTo>
                      <a:lnTo>
                        <a:pt x="26" y="53"/>
                      </a:lnTo>
                      <a:lnTo>
                        <a:pt x="24" y="54"/>
                      </a:lnTo>
                      <a:lnTo>
                        <a:pt x="22" y="53"/>
                      </a:lnTo>
                      <a:lnTo>
                        <a:pt x="22" y="53"/>
                      </a:lnTo>
                      <a:lnTo>
                        <a:pt x="22" y="53"/>
                      </a:lnTo>
                      <a:lnTo>
                        <a:pt x="21" y="53"/>
                      </a:lnTo>
                      <a:lnTo>
                        <a:pt x="21" y="51"/>
                      </a:lnTo>
                      <a:lnTo>
                        <a:pt x="20" y="51"/>
                      </a:lnTo>
                      <a:lnTo>
                        <a:pt x="20" y="51"/>
                      </a:lnTo>
                      <a:lnTo>
                        <a:pt x="20" y="51"/>
                      </a:lnTo>
                      <a:lnTo>
                        <a:pt x="20" y="51"/>
                      </a:lnTo>
                      <a:lnTo>
                        <a:pt x="20" y="50"/>
                      </a:lnTo>
                      <a:lnTo>
                        <a:pt x="20" y="51"/>
                      </a:lnTo>
                      <a:lnTo>
                        <a:pt x="20" y="50"/>
                      </a:lnTo>
                      <a:lnTo>
                        <a:pt x="19" y="50"/>
                      </a:lnTo>
                      <a:lnTo>
                        <a:pt x="19" y="50"/>
                      </a:lnTo>
                      <a:lnTo>
                        <a:pt x="19" y="50"/>
                      </a:lnTo>
                      <a:lnTo>
                        <a:pt x="18" y="49"/>
                      </a:lnTo>
                      <a:lnTo>
                        <a:pt x="18" y="49"/>
                      </a:lnTo>
                      <a:lnTo>
                        <a:pt x="18" y="48"/>
                      </a:lnTo>
                      <a:lnTo>
                        <a:pt x="17" y="48"/>
                      </a:lnTo>
                      <a:lnTo>
                        <a:pt x="14" y="47"/>
                      </a:lnTo>
                      <a:lnTo>
                        <a:pt x="14" y="47"/>
                      </a:lnTo>
                      <a:lnTo>
                        <a:pt x="13" y="46"/>
                      </a:lnTo>
                      <a:lnTo>
                        <a:pt x="12" y="44"/>
                      </a:lnTo>
                      <a:lnTo>
                        <a:pt x="12" y="44"/>
                      </a:lnTo>
                      <a:lnTo>
                        <a:pt x="12" y="44"/>
                      </a:lnTo>
                      <a:lnTo>
                        <a:pt x="11" y="44"/>
                      </a:lnTo>
                      <a:lnTo>
                        <a:pt x="9" y="43"/>
                      </a:lnTo>
                      <a:lnTo>
                        <a:pt x="8" y="42"/>
                      </a:lnTo>
                      <a:lnTo>
                        <a:pt x="8" y="41"/>
                      </a:lnTo>
                      <a:lnTo>
                        <a:pt x="6" y="41"/>
                      </a:lnTo>
                      <a:lnTo>
                        <a:pt x="6" y="39"/>
                      </a:lnTo>
                      <a:lnTo>
                        <a:pt x="6" y="39"/>
                      </a:lnTo>
                      <a:lnTo>
                        <a:pt x="5" y="37"/>
                      </a:lnTo>
                      <a:lnTo>
                        <a:pt x="4" y="36"/>
                      </a:lnTo>
                      <a:lnTo>
                        <a:pt x="4" y="35"/>
                      </a:lnTo>
                      <a:lnTo>
                        <a:pt x="2" y="35"/>
                      </a:lnTo>
                      <a:lnTo>
                        <a:pt x="2" y="34"/>
                      </a:lnTo>
                      <a:lnTo>
                        <a:pt x="0" y="34"/>
                      </a:lnTo>
                      <a:lnTo>
                        <a:pt x="0" y="34"/>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99" name="Hong Kong">
                  <a:extLst>
                    <a:ext uri="{FF2B5EF4-FFF2-40B4-BE49-F238E27FC236}">
                      <a16:creationId xmlns:a16="http://schemas.microsoft.com/office/drawing/2014/main" id="{9A7BADE8-AD9F-E449-B435-A098EF1467EF}"/>
                    </a:ext>
                  </a:extLst>
                </p:cNvPr>
                <p:cNvSpPr>
                  <a:spLocks noEditPoints="1"/>
                </p:cNvSpPr>
                <p:nvPr>
                  <p:custDataLst>
                    <p:tags r:id="rId9"/>
                  </p:custDataLst>
                </p:nvPr>
              </p:nvSpPr>
              <p:spPr bwMode="auto">
                <a:xfrm>
                  <a:off x="9308845" y="3310043"/>
                  <a:ext cx="17496" cy="11663"/>
                </a:xfrm>
                <a:custGeom>
                  <a:avLst/>
                  <a:gdLst>
                    <a:gd name="T0" fmla="*/ 6 w 12"/>
                    <a:gd name="T1" fmla="*/ 6 h 8"/>
                    <a:gd name="T2" fmla="*/ 6 w 12"/>
                    <a:gd name="T3" fmla="*/ 6 h 8"/>
                    <a:gd name="T4" fmla="*/ 7 w 12"/>
                    <a:gd name="T5" fmla="*/ 6 h 8"/>
                    <a:gd name="T6" fmla="*/ 7 w 12"/>
                    <a:gd name="T7" fmla="*/ 7 h 8"/>
                    <a:gd name="T8" fmla="*/ 7 w 12"/>
                    <a:gd name="T9" fmla="*/ 7 h 8"/>
                    <a:gd name="T10" fmla="*/ 7 w 12"/>
                    <a:gd name="T11" fmla="*/ 8 h 8"/>
                    <a:gd name="T12" fmla="*/ 7 w 12"/>
                    <a:gd name="T13" fmla="*/ 7 h 8"/>
                    <a:gd name="T14" fmla="*/ 7 w 12"/>
                    <a:gd name="T15" fmla="*/ 8 h 8"/>
                    <a:gd name="T16" fmla="*/ 7 w 12"/>
                    <a:gd name="T17" fmla="*/ 7 h 8"/>
                    <a:gd name="T18" fmla="*/ 6 w 12"/>
                    <a:gd name="T19" fmla="*/ 7 h 8"/>
                    <a:gd name="T20" fmla="*/ 5 w 12"/>
                    <a:gd name="T21" fmla="*/ 7 h 8"/>
                    <a:gd name="T22" fmla="*/ 5 w 12"/>
                    <a:gd name="T23" fmla="*/ 6 h 8"/>
                    <a:gd name="T24" fmla="*/ 6 w 12"/>
                    <a:gd name="T25" fmla="*/ 6 h 8"/>
                    <a:gd name="T26" fmla="*/ 6 w 12"/>
                    <a:gd name="T27" fmla="*/ 6 h 8"/>
                    <a:gd name="T28" fmla="*/ 3 w 12"/>
                    <a:gd name="T29" fmla="*/ 6 h 8"/>
                    <a:gd name="T30" fmla="*/ 3 w 12"/>
                    <a:gd name="T31" fmla="*/ 6 h 8"/>
                    <a:gd name="T32" fmla="*/ 3 w 12"/>
                    <a:gd name="T33" fmla="*/ 7 h 8"/>
                    <a:gd name="T34" fmla="*/ 3 w 12"/>
                    <a:gd name="T35" fmla="*/ 7 h 8"/>
                    <a:gd name="T36" fmla="*/ 3 w 12"/>
                    <a:gd name="T37" fmla="*/ 8 h 8"/>
                    <a:gd name="T38" fmla="*/ 2 w 12"/>
                    <a:gd name="T39" fmla="*/ 8 h 8"/>
                    <a:gd name="T40" fmla="*/ 2 w 12"/>
                    <a:gd name="T41" fmla="*/ 8 h 8"/>
                    <a:gd name="T42" fmla="*/ 1 w 12"/>
                    <a:gd name="T43" fmla="*/ 8 h 8"/>
                    <a:gd name="T44" fmla="*/ 1 w 12"/>
                    <a:gd name="T45" fmla="*/ 8 h 8"/>
                    <a:gd name="T46" fmla="*/ 0 w 12"/>
                    <a:gd name="T47" fmla="*/ 8 h 8"/>
                    <a:gd name="T48" fmla="*/ 0 w 12"/>
                    <a:gd name="T49" fmla="*/ 7 h 8"/>
                    <a:gd name="T50" fmla="*/ 1 w 12"/>
                    <a:gd name="T51" fmla="*/ 7 h 8"/>
                    <a:gd name="T52" fmla="*/ 1 w 12"/>
                    <a:gd name="T53" fmla="*/ 6 h 8"/>
                    <a:gd name="T54" fmla="*/ 2 w 12"/>
                    <a:gd name="T55" fmla="*/ 6 h 8"/>
                    <a:gd name="T56" fmla="*/ 2 w 12"/>
                    <a:gd name="T57" fmla="*/ 6 h 8"/>
                    <a:gd name="T58" fmla="*/ 3 w 12"/>
                    <a:gd name="T59" fmla="*/ 6 h 8"/>
                    <a:gd name="T60" fmla="*/ 3 w 12"/>
                    <a:gd name="T61" fmla="*/ 5 h 8"/>
                    <a:gd name="T62" fmla="*/ 3 w 12"/>
                    <a:gd name="T63" fmla="*/ 6 h 8"/>
                    <a:gd name="T64" fmla="*/ 3 w 12"/>
                    <a:gd name="T65" fmla="*/ 6 h 8"/>
                    <a:gd name="T66" fmla="*/ 3 w 12"/>
                    <a:gd name="T67" fmla="*/ 4 h 8"/>
                    <a:gd name="T68" fmla="*/ 2 w 12"/>
                    <a:gd name="T69" fmla="*/ 4 h 8"/>
                    <a:gd name="T70" fmla="*/ 1 w 12"/>
                    <a:gd name="T71" fmla="*/ 5 h 8"/>
                    <a:gd name="T72" fmla="*/ 0 w 12"/>
                    <a:gd name="T73" fmla="*/ 4 h 8"/>
                    <a:gd name="T74" fmla="*/ 0 w 12"/>
                    <a:gd name="T75" fmla="*/ 3 h 8"/>
                    <a:gd name="T76" fmla="*/ 1 w 12"/>
                    <a:gd name="T77" fmla="*/ 3 h 8"/>
                    <a:gd name="T78" fmla="*/ 1 w 12"/>
                    <a:gd name="T79" fmla="*/ 1 h 8"/>
                    <a:gd name="T80" fmla="*/ 1 w 12"/>
                    <a:gd name="T81" fmla="*/ 1 h 8"/>
                    <a:gd name="T82" fmla="*/ 2 w 12"/>
                    <a:gd name="T83" fmla="*/ 1 h 8"/>
                    <a:gd name="T84" fmla="*/ 2 w 12"/>
                    <a:gd name="T85" fmla="*/ 1 h 8"/>
                    <a:gd name="T86" fmla="*/ 3 w 12"/>
                    <a:gd name="T87" fmla="*/ 1 h 8"/>
                    <a:gd name="T88" fmla="*/ 5 w 12"/>
                    <a:gd name="T89" fmla="*/ 1 h 8"/>
                    <a:gd name="T90" fmla="*/ 6 w 12"/>
                    <a:gd name="T91" fmla="*/ 0 h 8"/>
                    <a:gd name="T92" fmla="*/ 6 w 12"/>
                    <a:gd name="T93" fmla="*/ 0 h 8"/>
                    <a:gd name="T94" fmla="*/ 6 w 12"/>
                    <a:gd name="T95" fmla="*/ 0 h 8"/>
                    <a:gd name="T96" fmla="*/ 8 w 12"/>
                    <a:gd name="T97" fmla="*/ 0 h 8"/>
                    <a:gd name="T98" fmla="*/ 9 w 12"/>
                    <a:gd name="T99" fmla="*/ 0 h 8"/>
                    <a:gd name="T100" fmla="*/ 11 w 12"/>
                    <a:gd name="T101" fmla="*/ 0 h 8"/>
                    <a:gd name="T102" fmla="*/ 11 w 12"/>
                    <a:gd name="T103" fmla="*/ 3 h 8"/>
                    <a:gd name="T104" fmla="*/ 12 w 12"/>
                    <a:gd name="T105" fmla="*/ 4 h 8"/>
                    <a:gd name="T106" fmla="*/ 11 w 12"/>
                    <a:gd name="T107" fmla="*/ 5 h 8"/>
                    <a:gd name="T108" fmla="*/ 8 w 12"/>
                    <a:gd name="T109" fmla="*/ 4 h 8"/>
                    <a:gd name="T110" fmla="*/ 8 w 12"/>
                    <a:gd name="T111" fmla="*/ 5 h 8"/>
                    <a:gd name="T112" fmla="*/ 8 w 12"/>
                    <a:gd name="T113" fmla="*/ 7 h 8"/>
                    <a:gd name="T114" fmla="*/ 7 w 12"/>
                    <a:gd name="T115" fmla="*/ 6 h 8"/>
                    <a:gd name="T116" fmla="*/ 6 w 12"/>
                    <a:gd name="T117" fmla="*/ 5 h 8"/>
                    <a:gd name="T118" fmla="*/ 6 w 12"/>
                    <a:gd name="T119" fmla="*/ 5 h 8"/>
                    <a:gd name="T120" fmla="*/ 5 w 12"/>
                    <a:gd name="T121" fmla="*/ 4 h 8"/>
                    <a:gd name="T122" fmla="*/ 3 w 12"/>
                    <a:gd name="T123" fmla="*/ 4 h 8"/>
                    <a:gd name="T124" fmla="*/ 3 w 12"/>
                    <a:gd name="T125" fmla="*/ 4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2" h="8">
                      <a:moveTo>
                        <a:pt x="6" y="6"/>
                      </a:moveTo>
                      <a:lnTo>
                        <a:pt x="6" y="6"/>
                      </a:lnTo>
                      <a:lnTo>
                        <a:pt x="7" y="6"/>
                      </a:lnTo>
                      <a:lnTo>
                        <a:pt x="7" y="7"/>
                      </a:lnTo>
                      <a:lnTo>
                        <a:pt x="7" y="7"/>
                      </a:lnTo>
                      <a:lnTo>
                        <a:pt x="7" y="8"/>
                      </a:lnTo>
                      <a:lnTo>
                        <a:pt x="7" y="7"/>
                      </a:lnTo>
                      <a:lnTo>
                        <a:pt x="7" y="8"/>
                      </a:lnTo>
                      <a:lnTo>
                        <a:pt x="7" y="7"/>
                      </a:lnTo>
                      <a:lnTo>
                        <a:pt x="6" y="7"/>
                      </a:lnTo>
                      <a:lnTo>
                        <a:pt x="5" y="7"/>
                      </a:lnTo>
                      <a:lnTo>
                        <a:pt x="5" y="6"/>
                      </a:lnTo>
                      <a:lnTo>
                        <a:pt x="6" y="6"/>
                      </a:lnTo>
                      <a:lnTo>
                        <a:pt x="6" y="6"/>
                      </a:lnTo>
                      <a:close/>
                      <a:moveTo>
                        <a:pt x="3" y="6"/>
                      </a:moveTo>
                      <a:lnTo>
                        <a:pt x="3" y="6"/>
                      </a:lnTo>
                      <a:lnTo>
                        <a:pt x="3" y="7"/>
                      </a:lnTo>
                      <a:lnTo>
                        <a:pt x="3" y="7"/>
                      </a:lnTo>
                      <a:lnTo>
                        <a:pt x="3" y="8"/>
                      </a:lnTo>
                      <a:lnTo>
                        <a:pt x="2" y="8"/>
                      </a:lnTo>
                      <a:lnTo>
                        <a:pt x="2" y="8"/>
                      </a:lnTo>
                      <a:lnTo>
                        <a:pt x="1" y="8"/>
                      </a:lnTo>
                      <a:lnTo>
                        <a:pt x="1" y="8"/>
                      </a:lnTo>
                      <a:lnTo>
                        <a:pt x="0" y="8"/>
                      </a:lnTo>
                      <a:lnTo>
                        <a:pt x="0" y="7"/>
                      </a:lnTo>
                      <a:lnTo>
                        <a:pt x="1" y="7"/>
                      </a:lnTo>
                      <a:lnTo>
                        <a:pt x="1" y="6"/>
                      </a:lnTo>
                      <a:lnTo>
                        <a:pt x="2" y="6"/>
                      </a:lnTo>
                      <a:lnTo>
                        <a:pt x="2" y="6"/>
                      </a:lnTo>
                      <a:lnTo>
                        <a:pt x="3" y="6"/>
                      </a:lnTo>
                      <a:lnTo>
                        <a:pt x="3" y="5"/>
                      </a:lnTo>
                      <a:lnTo>
                        <a:pt x="3" y="6"/>
                      </a:lnTo>
                      <a:lnTo>
                        <a:pt x="3" y="6"/>
                      </a:lnTo>
                      <a:close/>
                      <a:moveTo>
                        <a:pt x="3" y="4"/>
                      </a:moveTo>
                      <a:lnTo>
                        <a:pt x="2" y="4"/>
                      </a:lnTo>
                      <a:lnTo>
                        <a:pt x="1" y="5"/>
                      </a:lnTo>
                      <a:lnTo>
                        <a:pt x="0" y="4"/>
                      </a:lnTo>
                      <a:lnTo>
                        <a:pt x="0" y="3"/>
                      </a:lnTo>
                      <a:lnTo>
                        <a:pt x="1" y="3"/>
                      </a:lnTo>
                      <a:lnTo>
                        <a:pt x="1" y="1"/>
                      </a:lnTo>
                      <a:lnTo>
                        <a:pt x="1" y="1"/>
                      </a:lnTo>
                      <a:lnTo>
                        <a:pt x="2" y="1"/>
                      </a:lnTo>
                      <a:lnTo>
                        <a:pt x="2" y="1"/>
                      </a:lnTo>
                      <a:lnTo>
                        <a:pt x="3" y="1"/>
                      </a:lnTo>
                      <a:lnTo>
                        <a:pt x="5" y="1"/>
                      </a:lnTo>
                      <a:lnTo>
                        <a:pt x="6" y="0"/>
                      </a:lnTo>
                      <a:lnTo>
                        <a:pt x="6" y="0"/>
                      </a:lnTo>
                      <a:lnTo>
                        <a:pt x="6" y="0"/>
                      </a:lnTo>
                      <a:lnTo>
                        <a:pt x="8" y="0"/>
                      </a:lnTo>
                      <a:lnTo>
                        <a:pt x="9" y="0"/>
                      </a:lnTo>
                      <a:lnTo>
                        <a:pt x="11" y="0"/>
                      </a:lnTo>
                      <a:lnTo>
                        <a:pt x="11" y="3"/>
                      </a:lnTo>
                      <a:lnTo>
                        <a:pt x="12" y="4"/>
                      </a:lnTo>
                      <a:lnTo>
                        <a:pt x="11" y="5"/>
                      </a:lnTo>
                      <a:lnTo>
                        <a:pt x="8" y="4"/>
                      </a:lnTo>
                      <a:lnTo>
                        <a:pt x="8" y="5"/>
                      </a:lnTo>
                      <a:lnTo>
                        <a:pt x="8" y="7"/>
                      </a:lnTo>
                      <a:lnTo>
                        <a:pt x="7" y="6"/>
                      </a:lnTo>
                      <a:lnTo>
                        <a:pt x="6" y="5"/>
                      </a:lnTo>
                      <a:lnTo>
                        <a:pt x="6" y="5"/>
                      </a:lnTo>
                      <a:lnTo>
                        <a:pt x="5" y="4"/>
                      </a:lnTo>
                      <a:lnTo>
                        <a:pt x="3" y="4"/>
                      </a:lnTo>
                      <a:lnTo>
                        <a:pt x="3" y="4"/>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grpSp>
              <p:nvGrpSpPr>
                <p:cNvPr id="400" name="Great Britain">
                  <a:extLst>
                    <a:ext uri="{FF2B5EF4-FFF2-40B4-BE49-F238E27FC236}">
                      <a16:creationId xmlns:a16="http://schemas.microsoft.com/office/drawing/2014/main" id="{CFCFB3A8-8DE5-D947-983C-8B6D94F8BC9B}"/>
                    </a:ext>
                  </a:extLst>
                </p:cNvPr>
                <p:cNvGrpSpPr/>
                <p:nvPr/>
              </p:nvGrpSpPr>
              <p:grpSpPr>
                <a:xfrm>
                  <a:off x="4246846" y="2196170"/>
                  <a:ext cx="2154849" cy="3432012"/>
                  <a:chOff x="2698789" y="2359695"/>
                  <a:chExt cx="2376310" cy="3784732"/>
                </a:xfrm>
                <a:grpFill/>
              </p:grpSpPr>
              <p:sp>
                <p:nvSpPr>
                  <p:cNvPr id="507" name="Freeform 5">
                    <a:extLst>
                      <a:ext uri="{FF2B5EF4-FFF2-40B4-BE49-F238E27FC236}">
                        <a16:creationId xmlns:a16="http://schemas.microsoft.com/office/drawing/2014/main" id="{EEE2E01F-C083-9149-816E-FC725FBEDF86}"/>
                      </a:ext>
                    </a:extLst>
                  </p:cNvPr>
                  <p:cNvSpPr>
                    <a:spLocks/>
                  </p:cNvSpPr>
                  <p:nvPr/>
                </p:nvSpPr>
                <p:spPr bwMode="auto">
                  <a:xfrm>
                    <a:off x="4975417" y="2713409"/>
                    <a:ext cx="6432" cy="1608"/>
                  </a:xfrm>
                  <a:custGeom>
                    <a:avLst/>
                    <a:gdLst>
                      <a:gd name="T0" fmla="*/ 2 w 4"/>
                      <a:gd name="T1" fmla="*/ 1 h 1"/>
                      <a:gd name="T2" fmla="*/ 1 w 4"/>
                      <a:gd name="T3" fmla="*/ 1 h 1"/>
                      <a:gd name="T4" fmla="*/ 1 w 4"/>
                      <a:gd name="T5" fmla="*/ 1 h 1"/>
                      <a:gd name="T6" fmla="*/ 0 w 4"/>
                      <a:gd name="T7" fmla="*/ 0 h 1"/>
                      <a:gd name="T8" fmla="*/ 0 w 4"/>
                      <a:gd name="T9" fmla="*/ 0 h 1"/>
                      <a:gd name="T10" fmla="*/ 0 w 4"/>
                      <a:gd name="T11" fmla="*/ 0 h 1"/>
                      <a:gd name="T12" fmla="*/ 0 w 4"/>
                      <a:gd name="T13" fmla="*/ 0 h 1"/>
                      <a:gd name="T14" fmla="*/ 0 w 4"/>
                      <a:gd name="T15" fmla="*/ 0 h 1"/>
                      <a:gd name="T16" fmla="*/ 1 w 4"/>
                      <a:gd name="T17" fmla="*/ 0 h 1"/>
                      <a:gd name="T18" fmla="*/ 2 w 4"/>
                      <a:gd name="T19" fmla="*/ 0 h 1"/>
                      <a:gd name="T20" fmla="*/ 2 w 4"/>
                      <a:gd name="T21" fmla="*/ 1 h 1"/>
                      <a:gd name="T22" fmla="*/ 4 w 4"/>
                      <a:gd name="T23" fmla="*/ 1 h 1"/>
                      <a:gd name="T24" fmla="*/ 2 w 4"/>
                      <a:gd name="T25" fmla="*/ 1 h 1"/>
                      <a:gd name="T26" fmla="*/ 2 w 4"/>
                      <a:gd name="T27" fmla="*/ 1 h 1"/>
                      <a:gd name="T28" fmla="*/ 2 w 4"/>
                      <a:gd name="T2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 h="1">
                        <a:moveTo>
                          <a:pt x="2" y="1"/>
                        </a:moveTo>
                        <a:lnTo>
                          <a:pt x="1" y="1"/>
                        </a:lnTo>
                        <a:lnTo>
                          <a:pt x="1" y="1"/>
                        </a:lnTo>
                        <a:lnTo>
                          <a:pt x="0" y="0"/>
                        </a:lnTo>
                        <a:lnTo>
                          <a:pt x="0" y="0"/>
                        </a:lnTo>
                        <a:lnTo>
                          <a:pt x="0" y="0"/>
                        </a:lnTo>
                        <a:lnTo>
                          <a:pt x="0" y="0"/>
                        </a:lnTo>
                        <a:lnTo>
                          <a:pt x="0" y="0"/>
                        </a:lnTo>
                        <a:lnTo>
                          <a:pt x="1" y="0"/>
                        </a:lnTo>
                        <a:lnTo>
                          <a:pt x="2" y="0"/>
                        </a:lnTo>
                        <a:lnTo>
                          <a:pt x="2" y="1"/>
                        </a:lnTo>
                        <a:lnTo>
                          <a:pt x="4" y="1"/>
                        </a:lnTo>
                        <a:lnTo>
                          <a:pt x="2" y="1"/>
                        </a:lnTo>
                        <a:lnTo>
                          <a:pt x="2" y="1"/>
                        </a:lnTo>
                        <a:lnTo>
                          <a:pt x="2" y="1"/>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508" name="Freeform 6">
                    <a:extLst>
                      <a:ext uri="{FF2B5EF4-FFF2-40B4-BE49-F238E27FC236}">
                        <a16:creationId xmlns:a16="http://schemas.microsoft.com/office/drawing/2014/main" id="{170DA805-A556-D14D-8662-DEB250AF3FF0}"/>
                      </a:ext>
                    </a:extLst>
                  </p:cNvPr>
                  <p:cNvSpPr>
                    <a:spLocks/>
                  </p:cNvSpPr>
                  <p:nvPr/>
                </p:nvSpPr>
                <p:spPr bwMode="auto">
                  <a:xfrm>
                    <a:off x="4964162" y="2702154"/>
                    <a:ext cx="3215" cy="3215"/>
                  </a:xfrm>
                  <a:custGeom>
                    <a:avLst/>
                    <a:gdLst>
                      <a:gd name="T0" fmla="*/ 1 w 2"/>
                      <a:gd name="T1" fmla="*/ 2 h 2"/>
                      <a:gd name="T2" fmla="*/ 1 w 2"/>
                      <a:gd name="T3" fmla="*/ 2 h 2"/>
                      <a:gd name="T4" fmla="*/ 0 w 2"/>
                      <a:gd name="T5" fmla="*/ 2 h 2"/>
                      <a:gd name="T6" fmla="*/ 1 w 2"/>
                      <a:gd name="T7" fmla="*/ 1 h 2"/>
                      <a:gd name="T8" fmla="*/ 1 w 2"/>
                      <a:gd name="T9" fmla="*/ 1 h 2"/>
                      <a:gd name="T10" fmla="*/ 1 w 2"/>
                      <a:gd name="T11" fmla="*/ 0 h 2"/>
                      <a:gd name="T12" fmla="*/ 1 w 2"/>
                      <a:gd name="T13" fmla="*/ 1 h 2"/>
                      <a:gd name="T14" fmla="*/ 2 w 2"/>
                      <a:gd name="T15" fmla="*/ 1 h 2"/>
                      <a:gd name="T16" fmla="*/ 1 w 2"/>
                      <a:gd name="T17" fmla="*/ 1 h 2"/>
                      <a:gd name="T18" fmla="*/ 1 w 2"/>
                      <a:gd name="T19" fmla="*/ 2 h 2"/>
                      <a:gd name="T20" fmla="*/ 1 w 2"/>
                      <a:gd name="T21" fmla="*/ 2 h 2"/>
                      <a:gd name="T22" fmla="*/ 1 w 2"/>
                      <a:gd name="T23" fmla="*/ 2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 h="2">
                        <a:moveTo>
                          <a:pt x="1" y="2"/>
                        </a:moveTo>
                        <a:lnTo>
                          <a:pt x="1" y="2"/>
                        </a:lnTo>
                        <a:lnTo>
                          <a:pt x="0" y="2"/>
                        </a:lnTo>
                        <a:lnTo>
                          <a:pt x="1" y="1"/>
                        </a:lnTo>
                        <a:lnTo>
                          <a:pt x="1" y="1"/>
                        </a:lnTo>
                        <a:lnTo>
                          <a:pt x="1" y="0"/>
                        </a:lnTo>
                        <a:lnTo>
                          <a:pt x="1" y="1"/>
                        </a:lnTo>
                        <a:lnTo>
                          <a:pt x="2" y="1"/>
                        </a:lnTo>
                        <a:lnTo>
                          <a:pt x="1" y="1"/>
                        </a:lnTo>
                        <a:lnTo>
                          <a:pt x="1" y="2"/>
                        </a:lnTo>
                        <a:lnTo>
                          <a:pt x="1" y="2"/>
                        </a:lnTo>
                        <a:lnTo>
                          <a:pt x="1" y="2"/>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grpSp>
                <p:nvGrpSpPr>
                  <p:cNvPr id="509" name="Great Britain">
                    <a:extLst>
                      <a:ext uri="{FF2B5EF4-FFF2-40B4-BE49-F238E27FC236}">
                        <a16:creationId xmlns:a16="http://schemas.microsoft.com/office/drawing/2014/main" id="{E41AF42E-DE67-3945-B88E-6B0E66137510}"/>
                      </a:ext>
                    </a:extLst>
                  </p:cNvPr>
                  <p:cNvGrpSpPr/>
                  <p:nvPr/>
                </p:nvGrpSpPr>
                <p:grpSpPr>
                  <a:xfrm>
                    <a:off x="2698789" y="2359695"/>
                    <a:ext cx="2376310" cy="3784732"/>
                    <a:chOff x="2698789" y="2359695"/>
                    <a:chExt cx="2376310" cy="3784732"/>
                  </a:xfrm>
                  <a:grpFill/>
                </p:grpSpPr>
                <p:sp>
                  <p:nvSpPr>
                    <p:cNvPr id="510" name="Freeform 197">
                      <a:extLst>
                        <a:ext uri="{FF2B5EF4-FFF2-40B4-BE49-F238E27FC236}">
                          <a16:creationId xmlns:a16="http://schemas.microsoft.com/office/drawing/2014/main" id="{1AF02EC2-E0A8-3646-9101-06CFD967AF05}"/>
                        </a:ext>
                      </a:extLst>
                    </p:cNvPr>
                    <p:cNvSpPr>
                      <a:spLocks noEditPoints="1"/>
                    </p:cNvSpPr>
                    <p:nvPr/>
                  </p:nvSpPr>
                  <p:spPr bwMode="auto">
                    <a:xfrm>
                      <a:off x="2698789" y="3695766"/>
                      <a:ext cx="12862" cy="8039"/>
                    </a:xfrm>
                    <a:custGeom>
                      <a:avLst/>
                      <a:gdLst>
                        <a:gd name="T0" fmla="*/ 8 w 8"/>
                        <a:gd name="T1" fmla="*/ 0 h 5"/>
                        <a:gd name="T2" fmla="*/ 7 w 8"/>
                        <a:gd name="T3" fmla="*/ 0 h 5"/>
                        <a:gd name="T4" fmla="*/ 7 w 8"/>
                        <a:gd name="T5" fmla="*/ 1 h 5"/>
                        <a:gd name="T6" fmla="*/ 8 w 8"/>
                        <a:gd name="T7" fmla="*/ 0 h 5"/>
                        <a:gd name="T8" fmla="*/ 8 w 8"/>
                        <a:gd name="T9" fmla="*/ 0 h 5"/>
                        <a:gd name="T10" fmla="*/ 0 w 8"/>
                        <a:gd name="T11" fmla="*/ 4 h 5"/>
                        <a:gd name="T12" fmla="*/ 0 w 8"/>
                        <a:gd name="T13" fmla="*/ 5 h 5"/>
                        <a:gd name="T14" fmla="*/ 5 w 8"/>
                        <a:gd name="T15" fmla="*/ 4 h 5"/>
                        <a:gd name="T16" fmla="*/ 1 w 8"/>
                        <a:gd name="T17" fmla="*/ 4 h 5"/>
                        <a:gd name="T18" fmla="*/ 1 w 8"/>
                        <a:gd name="T19" fmla="*/ 3 h 5"/>
                        <a:gd name="T20" fmla="*/ 0 w 8"/>
                        <a:gd name="T21" fmla="*/ 4 h 5"/>
                        <a:gd name="T22" fmla="*/ 0 w 8"/>
                        <a:gd name="T23" fmla="*/ 4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8" h="5">
                          <a:moveTo>
                            <a:pt x="8" y="0"/>
                          </a:moveTo>
                          <a:lnTo>
                            <a:pt x="7" y="0"/>
                          </a:lnTo>
                          <a:lnTo>
                            <a:pt x="7" y="1"/>
                          </a:lnTo>
                          <a:lnTo>
                            <a:pt x="8" y="0"/>
                          </a:lnTo>
                          <a:lnTo>
                            <a:pt x="8" y="0"/>
                          </a:lnTo>
                          <a:close/>
                          <a:moveTo>
                            <a:pt x="0" y="4"/>
                          </a:moveTo>
                          <a:lnTo>
                            <a:pt x="0" y="5"/>
                          </a:lnTo>
                          <a:lnTo>
                            <a:pt x="5" y="4"/>
                          </a:lnTo>
                          <a:lnTo>
                            <a:pt x="1" y="4"/>
                          </a:lnTo>
                          <a:lnTo>
                            <a:pt x="1" y="3"/>
                          </a:lnTo>
                          <a:lnTo>
                            <a:pt x="0" y="4"/>
                          </a:lnTo>
                          <a:lnTo>
                            <a:pt x="0" y="4"/>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grpSp>
                  <p:nvGrpSpPr>
                    <p:cNvPr id="511" name="Great Britain">
                      <a:extLst>
                        <a:ext uri="{FF2B5EF4-FFF2-40B4-BE49-F238E27FC236}">
                          <a16:creationId xmlns:a16="http://schemas.microsoft.com/office/drawing/2014/main" id="{BBF57BAC-F70C-5D47-9D31-B05E1E1F1C45}"/>
                        </a:ext>
                      </a:extLst>
                    </p:cNvPr>
                    <p:cNvGrpSpPr/>
                    <p:nvPr/>
                  </p:nvGrpSpPr>
                  <p:grpSpPr>
                    <a:xfrm>
                      <a:off x="2984976" y="2359695"/>
                      <a:ext cx="2090123" cy="3784732"/>
                      <a:chOff x="2984976" y="2359695"/>
                      <a:chExt cx="2090123" cy="3784732"/>
                    </a:xfrm>
                    <a:grpFill/>
                  </p:grpSpPr>
                  <p:sp>
                    <p:nvSpPr>
                      <p:cNvPr id="512" name="Freeform 230">
                        <a:extLst>
                          <a:ext uri="{FF2B5EF4-FFF2-40B4-BE49-F238E27FC236}">
                            <a16:creationId xmlns:a16="http://schemas.microsoft.com/office/drawing/2014/main" id="{CBDBD15E-0FA1-8C49-807C-DC70832C1EBB}"/>
                          </a:ext>
                        </a:extLst>
                      </p:cNvPr>
                      <p:cNvSpPr>
                        <a:spLocks/>
                      </p:cNvSpPr>
                      <p:nvPr/>
                    </p:nvSpPr>
                    <p:spPr bwMode="auto">
                      <a:xfrm>
                        <a:off x="4885381" y="3136257"/>
                        <a:ext cx="1609" cy="4824"/>
                      </a:xfrm>
                      <a:custGeom>
                        <a:avLst/>
                        <a:gdLst>
                          <a:gd name="T0" fmla="*/ 0 w 1"/>
                          <a:gd name="T1" fmla="*/ 0 h 3"/>
                          <a:gd name="T2" fmla="*/ 0 w 1"/>
                          <a:gd name="T3" fmla="*/ 0 h 3"/>
                          <a:gd name="T4" fmla="*/ 0 w 1"/>
                          <a:gd name="T5" fmla="*/ 0 h 3"/>
                          <a:gd name="T6" fmla="*/ 1 w 1"/>
                          <a:gd name="T7" fmla="*/ 0 h 3"/>
                          <a:gd name="T8" fmla="*/ 1 w 1"/>
                          <a:gd name="T9" fmla="*/ 0 h 3"/>
                          <a:gd name="T10" fmla="*/ 1 w 1"/>
                          <a:gd name="T11" fmla="*/ 0 h 3"/>
                          <a:gd name="T12" fmla="*/ 1 w 1"/>
                          <a:gd name="T13" fmla="*/ 0 h 3"/>
                          <a:gd name="T14" fmla="*/ 1 w 1"/>
                          <a:gd name="T15" fmla="*/ 1 h 3"/>
                          <a:gd name="T16" fmla="*/ 1 w 1"/>
                          <a:gd name="T17" fmla="*/ 1 h 3"/>
                          <a:gd name="T18" fmla="*/ 1 w 1"/>
                          <a:gd name="T19" fmla="*/ 1 h 3"/>
                          <a:gd name="T20" fmla="*/ 1 w 1"/>
                          <a:gd name="T21" fmla="*/ 1 h 3"/>
                          <a:gd name="T22" fmla="*/ 1 w 1"/>
                          <a:gd name="T23" fmla="*/ 3 h 3"/>
                          <a:gd name="T24" fmla="*/ 1 w 1"/>
                          <a:gd name="T25" fmla="*/ 3 h 3"/>
                          <a:gd name="T26" fmla="*/ 1 w 1"/>
                          <a:gd name="T27" fmla="*/ 3 h 3"/>
                          <a:gd name="T28" fmla="*/ 1 w 1"/>
                          <a:gd name="T29" fmla="*/ 3 h 3"/>
                          <a:gd name="T30" fmla="*/ 1 w 1"/>
                          <a:gd name="T31" fmla="*/ 3 h 3"/>
                          <a:gd name="T32" fmla="*/ 1 w 1"/>
                          <a:gd name="T33" fmla="*/ 1 h 3"/>
                          <a:gd name="T34" fmla="*/ 1 w 1"/>
                          <a:gd name="T35" fmla="*/ 1 h 3"/>
                          <a:gd name="T36" fmla="*/ 0 w 1"/>
                          <a:gd name="T37" fmla="*/ 1 h 3"/>
                          <a:gd name="T38" fmla="*/ 0 w 1"/>
                          <a:gd name="T39" fmla="*/ 1 h 3"/>
                          <a:gd name="T40" fmla="*/ 0 w 1"/>
                          <a:gd name="T41" fmla="*/ 1 h 3"/>
                          <a:gd name="T42" fmla="*/ 0 w 1"/>
                          <a:gd name="T43" fmla="*/ 1 h 3"/>
                          <a:gd name="T44" fmla="*/ 0 w 1"/>
                          <a:gd name="T45" fmla="*/ 1 h 3"/>
                          <a:gd name="T46" fmla="*/ 0 w 1"/>
                          <a:gd name="T47" fmla="*/ 1 h 3"/>
                          <a:gd name="T48" fmla="*/ 0 w 1"/>
                          <a:gd name="T49" fmla="*/ 1 h 3"/>
                          <a:gd name="T50" fmla="*/ 1 w 1"/>
                          <a:gd name="T51" fmla="*/ 1 h 3"/>
                          <a:gd name="T52" fmla="*/ 1 w 1"/>
                          <a:gd name="T53" fmla="*/ 1 h 3"/>
                          <a:gd name="T54" fmla="*/ 1 w 1"/>
                          <a:gd name="T55" fmla="*/ 1 h 3"/>
                          <a:gd name="T56" fmla="*/ 0 w 1"/>
                          <a:gd name="T57" fmla="*/ 1 h 3"/>
                          <a:gd name="T58" fmla="*/ 0 w 1"/>
                          <a:gd name="T59" fmla="*/ 0 h 3"/>
                          <a:gd name="T60" fmla="*/ 0 w 1"/>
                          <a:gd name="T61" fmla="*/ 0 h 3"/>
                          <a:gd name="T62" fmla="*/ 0 w 1"/>
                          <a:gd name="T63" fmla="*/ 0 h 3"/>
                          <a:gd name="T64" fmla="*/ 0 w 1"/>
                          <a:gd name="T65" fmla="*/ 0 h 3"/>
                          <a:gd name="T66" fmla="*/ 0 w 1"/>
                          <a:gd name="T67" fmla="*/ 0 h 3"/>
                          <a:gd name="T68" fmla="*/ 0 w 1"/>
                          <a:gd name="T69" fmla="*/ 0 h 3"/>
                          <a:gd name="T70" fmla="*/ 0 w 1"/>
                          <a:gd name="T71" fmla="*/ 0 h 3"/>
                          <a:gd name="T72" fmla="*/ 0 w 1"/>
                          <a:gd name="T73" fmla="*/ 0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 h="3">
                            <a:moveTo>
                              <a:pt x="0" y="0"/>
                            </a:moveTo>
                            <a:lnTo>
                              <a:pt x="0" y="0"/>
                            </a:lnTo>
                            <a:lnTo>
                              <a:pt x="0" y="0"/>
                            </a:lnTo>
                            <a:lnTo>
                              <a:pt x="1" y="0"/>
                            </a:lnTo>
                            <a:lnTo>
                              <a:pt x="1" y="0"/>
                            </a:lnTo>
                            <a:lnTo>
                              <a:pt x="1" y="0"/>
                            </a:lnTo>
                            <a:lnTo>
                              <a:pt x="1" y="0"/>
                            </a:lnTo>
                            <a:lnTo>
                              <a:pt x="1" y="1"/>
                            </a:lnTo>
                            <a:lnTo>
                              <a:pt x="1" y="1"/>
                            </a:lnTo>
                            <a:lnTo>
                              <a:pt x="1" y="1"/>
                            </a:lnTo>
                            <a:lnTo>
                              <a:pt x="1" y="1"/>
                            </a:lnTo>
                            <a:lnTo>
                              <a:pt x="1" y="3"/>
                            </a:lnTo>
                            <a:lnTo>
                              <a:pt x="1" y="3"/>
                            </a:lnTo>
                            <a:lnTo>
                              <a:pt x="1" y="3"/>
                            </a:lnTo>
                            <a:lnTo>
                              <a:pt x="1" y="3"/>
                            </a:lnTo>
                            <a:lnTo>
                              <a:pt x="1" y="3"/>
                            </a:lnTo>
                            <a:lnTo>
                              <a:pt x="1" y="1"/>
                            </a:lnTo>
                            <a:lnTo>
                              <a:pt x="1" y="1"/>
                            </a:lnTo>
                            <a:lnTo>
                              <a:pt x="0" y="1"/>
                            </a:lnTo>
                            <a:lnTo>
                              <a:pt x="0" y="1"/>
                            </a:lnTo>
                            <a:lnTo>
                              <a:pt x="0" y="1"/>
                            </a:lnTo>
                            <a:lnTo>
                              <a:pt x="0" y="1"/>
                            </a:lnTo>
                            <a:lnTo>
                              <a:pt x="0" y="1"/>
                            </a:lnTo>
                            <a:lnTo>
                              <a:pt x="0" y="1"/>
                            </a:lnTo>
                            <a:lnTo>
                              <a:pt x="0" y="1"/>
                            </a:lnTo>
                            <a:lnTo>
                              <a:pt x="1" y="1"/>
                            </a:lnTo>
                            <a:lnTo>
                              <a:pt x="1" y="1"/>
                            </a:lnTo>
                            <a:lnTo>
                              <a:pt x="1" y="1"/>
                            </a:lnTo>
                            <a:lnTo>
                              <a:pt x="0" y="1"/>
                            </a:lnTo>
                            <a:lnTo>
                              <a:pt x="0" y="0"/>
                            </a:lnTo>
                            <a:lnTo>
                              <a:pt x="0" y="0"/>
                            </a:lnTo>
                            <a:lnTo>
                              <a:pt x="0" y="0"/>
                            </a:lnTo>
                            <a:lnTo>
                              <a:pt x="0" y="0"/>
                            </a:lnTo>
                            <a:lnTo>
                              <a:pt x="0" y="0"/>
                            </a:lnTo>
                            <a:lnTo>
                              <a:pt x="0" y="0"/>
                            </a:lnTo>
                            <a:lnTo>
                              <a:pt x="0" y="0"/>
                            </a:lnTo>
                            <a:lnTo>
                              <a:pt x="0" y="0"/>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513" name="Freeform 28">
                        <a:extLst>
                          <a:ext uri="{FF2B5EF4-FFF2-40B4-BE49-F238E27FC236}">
                            <a16:creationId xmlns:a16="http://schemas.microsoft.com/office/drawing/2014/main" id="{7BD193DC-3314-D448-A568-D79FC078B7A1}"/>
                          </a:ext>
                        </a:extLst>
                      </p:cNvPr>
                      <p:cNvSpPr>
                        <a:spLocks/>
                      </p:cNvSpPr>
                      <p:nvPr/>
                    </p:nvSpPr>
                    <p:spPr bwMode="auto">
                      <a:xfrm>
                        <a:off x="2984976" y="3615377"/>
                        <a:ext cx="19294" cy="12862"/>
                      </a:xfrm>
                      <a:custGeom>
                        <a:avLst/>
                        <a:gdLst>
                          <a:gd name="T0" fmla="*/ 1 w 12"/>
                          <a:gd name="T1" fmla="*/ 8 h 8"/>
                          <a:gd name="T2" fmla="*/ 0 w 12"/>
                          <a:gd name="T3" fmla="*/ 6 h 8"/>
                          <a:gd name="T4" fmla="*/ 1 w 12"/>
                          <a:gd name="T5" fmla="*/ 6 h 8"/>
                          <a:gd name="T6" fmla="*/ 1 w 12"/>
                          <a:gd name="T7" fmla="*/ 4 h 8"/>
                          <a:gd name="T8" fmla="*/ 2 w 12"/>
                          <a:gd name="T9" fmla="*/ 4 h 8"/>
                          <a:gd name="T10" fmla="*/ 5 w 12"/>
                          <a:gd name="T11" fmla="*/ 2 h 8"/>
                          <a:gd name="T12" fmla="*/ 8 w 12"/>
                          <a:gd name="T13" fmla="*/ 3 h 8"/>
                          <a:gd name="T14" fmla="*/ 10 w 12"/>
                          <a:gd name="T15" fmla="*/ 3 h 8"/>
                          <a:gd name="T16" fmla="*/ 11 w 12"/>
                          <a:gd name="T17" fmla="*/ 0 h 8"/>
                          <a:gd name="T18" fmla="*/ 12 w 12"/>
                          <a:gd name="T19" fmla="*/ 0 h 8"/>
                          <a:gd name="T20" fmla="*/ 12 w 12"/>
                          <a:gd name="T21" fmla="*/ 0 h 8"/>
                          <a:gd name="T22" fmla="*/ 11 w 12"/>
                          <a:gd name="T23" fmla="*/ 3 h 8"/>
                          <a:gd name="T24" fmla="*/ 10 w 12"/>
                          <a:gd name="T25" fmla="*/ 7 h 8"/>
                          <a:gd name="T26" fmla="*/ 4 w 12"/>
                          <a:gd name="T27" fmla="*/ 8 h 8"/>
                          <a:gd name="T28" fmla="*/ 1 w 12"/>
                          <a:gd name="T29" fmla="*/ 8 h 8"/>
                          <a:gd name="T30" fmla="*/ 1 w 12"/>
                          <a:gd name="T3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12" h="8">
                            <a:moveTo>
                              <a:pt x="1" y="8"/>
                            </a:moveTo>
                            <a:lnTo>
                              <a:pt x="0" y="6"/>
                            </a:lnTo>
                            <a:lnTo>
                              <a:pt x="1" y="6"/>
                            </a:lnTo>
                            <a:lnTo>
                              <a:pt x="1" y="4"/>
                            </a:lnTo>
                            <a:lnTo>
                              <a:pt x="2" y="4"/>
                            </a:lnTo>
                            <a:lnTo>
                              <a:pt x="5" y="2"/>
                            </a:lnTo>
                            <a:lnTo>
                              <a:pt x="8" y="3"/>
                            </a:lnTo>
                            <a:lnTo>
                              <a:pt x="10" y="3"/>
                            </a:lnTo>
                            <a:lnTo>
                              <a:pt x="11" y="0"/>
                            </a:lnTo>
                            <a:lnTo>
                              <a:pt x="12" y="0"/>
                            </a:lnTo>
                            <a:lnTo>
                              <a:pt x="12" y="0"/>
                            </a:lnTo>
                            <a:lnTo>
                              <a:pt x="11" y="3"/>
                            </a:lnTo>
                            <a:lnTo>
                              <a:pt x="10" y="7"/>
                            </a:lnTo>
                            <a:lnTo>
                              <a:pt x="4" y="8"/>
                            </a:lnTo>
                            <a:lnTo>
                              <a:pt x="1" y="8"/>
                            </a:lnTo>
                            <a:lnTo>
                              <a:pt x="1" y="8"/>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514" name="Freeform 157">
                        <a:extLst>
                          <a:ext uri="{FF2B5EF4-FFF2-40B4-BE49-F238E27FC236}">
                            <a16:creationId xmlns:a16="http://schemas.microsoft.com/office/drawing/2014/main" id="{50C3475F-4540-384F-B3B1-9D29402DABCB}"/>
                          </a:ext>
                        </a:extLst>
                      </p:cNvPr>
                      <p:cNvSpPr>
                        <a:spLocks noEditPoints="1"/>
                      </p:cNvSpPr>
                      <p:nvPr/>
                    </p:nvSpPr>
                    <p:spPr bwMode="auto">
                      <a:xfrm>
                        <a:off x="3538054" y="2359695"/>
                        <a:ext cx="1472733" cy="3696303"/>
                      </a:xfrm>
                      <a:custGeom>
                        <a:avLst/>
                        <a:gdLst>
                          <a:gd name="T0" fmla="*/ 828 w 916"/>
                          <a:gd name="T1" fmla="*/ 74 h 2299"/>
                          <a:gd name="T2" fmla="*/ 820 w 916"/>
                          <a:gd name="T3" fmla="*/ 57 h 2299"/>
                          <a:gd name="T4" fmla="*/ 863 w 916"/>
                          <a:gd name="T5" fmla="*/ 141 h 2299"/>
                          <a:gd name="T6" fmla="*/ 858 w 916"/>
                          <a:gd name="T7" fmla="*/ 142 h 2299"/>
                          <a:gd name="T8" fmla="*/ 858 w 916"/>
                          <a:gd name="T9" fmla="*/ 139 h 2299"/>
                          <a:gd name="T10" fmla="*/ 859 w 916"/>
                          <a:gd name="T11" fmla="*/ 137 h 2299"/>
                          <a:gd name="T12" fmla="*/ 836 w 916"/>
                          <a:gd name="T13" fmla="*/ 88 h 2299"/>
                          <a:gd name="T14" fmla="*/ 832 w 916"/>
                          <a:gd name="T15" fmla="*/ 92 h 2299"/>
                          <a:gd name="T16" fmla="*/ 17 w 916"/>
                          <a:gd name="T17" fmla="*/ 2295 h 2299"/>
                          <a:gd name="T18" fmla="*/ 13 w 916"/>
                          <a:gd name="T19" fmla="*/ 2279 h 2299"/>
                          <a:gd name="T20" fmla="*/ 912 w 916"/>
                          <a:gd name="T21" fmla="*/ 2 h 2299"/>
                          <a:gd name="T22" fmla="*/ 911 w 916"/>
                          <a:gd name="T23" fmla="*/ 0 h 2299"/>
                          <a:gd name="T24" fmla="*/ 907 w 916"/>
                          <a:gd name="T25" fmla="*/ 1 h 2299"/>
                          <a:gd name="T26" fmla="*/ 908 w 916"/>
                          <a:gd name="T27" fmla="*/ 5 h 2299"/>
                          <a:gd name="T28" fmla="*/ 908 w 916"/>
                          <a:gd name="T29" fmla="*/ 6 h 2299"/>
                          <a:gd name="T30" fmla="*/ 907 w 916"/>
                          <a:gd name="T31" fmla="*/ 7 h 2299"/>
                          <a:gd name="T32" fmla="*/ 909 w 916"/>
                          <a:gd name="T33" fmla="*/ 7 h 2299"/>
                          <a:gd name="T34" fmla="*/ 909 w 916"/>
                          <a:gd name="T35" fmla="*/ 10 h 2299"/>
                          <a:gd name="T36" fmla="*/ 911 w 916"/>
                          <a:gd name="T37" fmla="*/ 16 h 2299"/>
                          <a:gd name="T38" fmla="*/ 912 w 916"/>
                          <a:gd name="T39" fmla="*/ 8 h 2299"/>
                          <a:gd name="T40" fmla="*/ 912 w 916"/>
                          <a:gd name="T41" fmla="*/ 6 h 2299"/>
                          <a:gd name="T42" fmla="*/ 916 w 916"/>
                          <a:gd name="T43" fmla="*/ 1 h 2299"/>
                          <a:gd name="T44" fmla="*/ 912 w 916"/>
                          <a:gd name="T45" fmla="*/ 5 h 2299"/>
                          <a:gd name="T46" fmla="*/ 836 w 916"/>
                          <a:gd name="T47" fmla="*/ 43 h 2299"/>
                          <a:gd name="T48" fmla="*/ 836 w 916"/>
                          <a:gd name="T49" fmla="*/ 46 h 2299"/>
                          <a:gd name="T50" fmla="*/ 835 w 916"/>
                          <a:gd name="T51" fmla="*/ 48 h 2299"/>
                          <a:gd name="T52" fmla="*/ 832 w 916"/>
                          <a:gd name="T53" fmla="*/ 50 h 2299"/>
                          <a:gd name="T54" fmla="*/ 831 w 916"/>
                          <a:gd name="T55" fmla="*/ 52 h 2299"/>
                          <a:gd name="T56" fmla="*/ 826 w 916"/>
                          <a:gd name="T57" fmla="*/ 54 h 2299"/>
                          <a:gd name="T58" fmla="*/ 826 w 916"/>
                          <a:gd name="T59" fmla="*/ 52 h 2299"/>
                          <a:gd name="T60" fmla="*/ 825 w 916"/>
                          <a:gd name="T61" fmla="*/ 47 h 2299"/>
                          <a:gd name="T62" fmla="*/ 825 w 916"/>
                          <a:gd name="T63" fmla="*/ 45 h 2299"/>
                          <a:gd name="T64" fmla="*/ 829 w 916"/>
                          <a:gd name="T65" fmla="*/ 46 h 2299"/>
                          <a:gd name="T66" fmla="*/ 832 w 916"/>
                          <a:gd name="T67" fmla="*/ 42 h 2299"/>
                          <a:gd name="T68" fmla="*/ 839 w 916"/>
                          <a:gd name="T69" fmla="*/ 41 h 2299"/>
                          <a:gd name="T70" fmla="*/ 862 w 916"/>
                          <a:gd name="T71" fmla="*/ 122 h 2299"/>
                          <a:gd name="T72" fmla="*/ 854 w 916"/>
                          <a:gd name="T73" fmla="*/ 125 h 2299"/>
                          <a:gd name="T74" fmla="*/ 863 w 916"/>
                          <a:gd name="T75" fmla="*/ 119 h 2299"/>
                          <a:gd name="T76" fmla="*/ 892 w 916"/>
                          <a:gd name="T77" fmla="*/ 26 h 2299"/>
                          <a:gd name="T78" fmla="*/ 887 w 916"/>
                          <a:gd name="T79" fmla="*/ 30 h 2299"/>
                          <a:gd name="T80" fmla="*/ 885 w 916"/>
                          <a:gd name="T81" fmla="*/ 34 h 2299"/>
                          <a:gd name="T82" fmla="*/ 881 w 916"/>
                          <a:gd name="T83" fmla="*/ 29 h 2299"/>
                          <a:gd name="T84" fmla="*/ 886 w 916"/>
                          <a:gd name="T85" fmla="*/ 25 h 2299"/>
                          <a:gd name="T86" fmla="*/ 814 w 916"/>
                          <a:gd name="T87" fmla="*/ 108 h 2299"/>
                          <a:gd name="T88" fmla="*/ 807 w 916"/>
                          <a:gd name="T89" fmla="*/ 115 h 2299"/>
                          <a:gd name="T90" fmla="*/ 813 w 916"/>
                          <a:gd name="T91" fmla="*/ 123 h 2299"/>
                          <a:gd name="T92" fmla="*/ 825 w 916"/>
                          <a:gd name="T93" fmla="*/ 122 h 2299"/>
                          <a:gd name="T94" fmla="*/ 838 w 916"/>
                          <a:gd name="T95" fmla="*/ 123 h 2299"/>
                          <a:gd name="T96" fmla="*/ 841 w 916"/>
                          <a:gd name="T97" fmla="*/ 119 h 2299"/>
                          <a:gd name="T98" fmla="*/ 843 w 916"/>
                          <a:gd name="T99" fmla="*/ 116 h 2299"/>
                          <a:gd name="T100" fmla="*/ 845 w 916"/>
                          <a:gd name="T101" fmla="*/ 114 h 2299"/>
                          <a:gd name="T102" fmla="*/ 841 w 916"/>
                          <a:gd name="T103" fmla="*/ 110 h 2299"/>
                          <a:gd name="T104" fmla="*/ 838 w 916"/>
                          <a:gd name="T105" fmla="*/ 105 h 2299"/>
                          <a:gd name="T106" fmla="*/ 835 w 916"/>
                          <a:gd name="T107" fmla="*/ 102 h 2299"/>
                          <a:gd name="T108" fmla="*/ 828 w 916"/>
                          <a:gd name="T109" fmla="*/ 102 h 2299"/>
                          <a:gd name="T110" fmla="*/ 821 w 916"/>
                          <a:gd name="T111" fmla="*/ 105 h 2299"/>
                          <a:gd name="T112" fmla="*/ 840 w 916"/>
                          <a:gd name="T113" fmla="*/ 65 h 2299"/>
                          <a:gd name="T114" fmla="*/ 832 w 916"/>
                          <a:gd name="T115" fmla="*/ 57 h 2299"/>
                          <a:gd name="T116" fmla="*/ 834 w 916"/>
                          <a:gd name="T117" fmla="*/ 80 h 2299"/>
                          <a:gd name="T118" fmla="*/ 834 w 916"/>
                          <a:gd name="T119" fmla="*/ 69 h 22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16" h="2299">
                            <a:moveTo>
                              <a:pt x="828" y="74"/>
                            </a:moveTo>
                            <a:lnTo>
                              <a:pt x="829" y="73"/>
                            </a:lnTo>
                            <a:lnTo>
                              <a:pt x="829" y="75"/>
                            </a:lnTo>
                            <a:lnTo>
                              <a:pt x="828" y="76"/>
                            </a:lnTo>
                            <a:lnTo>
                              <a:pt x="828" y="77"/>
                            </a:lnTo>
                            <a:lnTo>
                              <a:pt x="827" y="79"/>
                            </a:lnTo>
                            <a:lnTo>
                              <a:pt x="826" y="77"/>
                            </a:lnTo>
                            <a:lnTo>
                              <a:pt x="826" y="77"/>
                            </a:lnTo>
                            <a:lnTo>
                              <a:pt x="826" y="76"/>
                            </a:lnTo>
                            <a:lnTo>
                              <a:pt x="827" y="75"/>
                            </a:lnTo>
                            <a:lnTo>
                              <a:pt x="828" y="74"/>
                            </a:lnTo>
                            <a:lnTo>
                              <a:pt x="828" y="74"/>
                            </a:lnTo>
                            <a:lnTo>
                              <a:pt x="828" y="74"/>
                            </a:lnTo>
                            <a:close/>
                            <a:moveTo>
                              <a:pt x="821" y="56"/>
                            </a:moveTo>
                            <a:lnTo>
                              <a:pt x="821" y="54"/>
                            </a:lnTo>
                            <a:lnTo>
                              <a:pt x="822" y="59"/>
                            </a:lnTo>
                            <a:lnTo>
                              <a:pt x="820" y="61"/>
                            </a:lnTo>
                            <a:lnTo>
                              <a:pt x="820" y="63"/>
                            </a:lnTo>
                            <a:lnTo>
                              <a:pt x="820" y="67"/>
                            </a:lnTo>
                            <a:lnTo>
                              <a:pt x="818" y="65"/>
                            </a:lnTo>
                            <a:lnTo>
                              <a:pt x="818" y="63"/>
                            </a:lnTo>
                            <a:lnTo>
                              <a:pt x="818" y="61"/>
                            </a:lnTo>
                            <a:lnTo>
                              <a:pt x="819" y="60"/>
                            </a:lnTo>
                            <a:lnTo>
                              <a:pt x="820" y="57"/>
                            </a:lnTo>
                            <a:lnTo>
                              <a:pt x="821" y="56"/>
                            </a:lnTo>
                            <a:lnTo>
                              <a:pt x="821" y="56"/>
                            </a:lnTo>
                            <a:close/>
                            <a:moveTo>
                              <a:pt x="862" y="140"/>
                            </a:moveTo>
                            <a:lnTo>
                              <a:pt x="862" y="141"/>
                            </a:lnTo>
                            <a:lnTo>
                              <a:pt x="862" y="141"/>
                            </a:lnTo>
                            <a:lnTo>
                              <a:pt x="863" y="141"/>
                            </a:lnTo>
                            <a:lnTo>
                              <a:pt x="863" y="140"/>
                            </a:lnTo>
                            <a:lnTo>
                              <a:pt x="863" y="140"/>
                            </a:lnTo>
                            <a:lnTo>
                              <a:pt x="863" y="141"/>
                            </a:lnTo>
                            <a:lnTo>
                              <a:pt x="863" y="141"/>
                            </a:lnTo>
                            <a:lnTo>
                              <a:pt x="865" y="141"/>
                            </a:lnTo>
                            <a:lnTo>
                              <a:pt x="863" y="141"/>
                            </a:lnTo>
                            <a:lnTo>
                              <a:pt x="863" y="142"/>
                            </a:lnTo>
                            <a:lnTo>
                              <a:pt x="862" y="142"/>
                            </a:lnTo>
                            <a:lnTo>
                              <a:pt x="862" y="142"/>
                            </a:lnTo>
                            <a:lnTo>
                              <a:pt x="861" y="142"/>
                            </a:lnTo>
                            <a:lnTo>
                              <a:pt x="860" y="142"/>
                            </a:lnTo>
                            <a:lnTo>
                              <a:pt x="860" y="143"/>
                            </a:lnTo>
                            <a:lnTo>
                              <a:pt x="859" y="143"/>
                            </a:lnTo>
                            <a:lnTo>
                              <a:pt x="859" y="142"/>
                            </a:lnTo>
                            <a:lnTo>
                              <a:pt x="859" y="142"/>
                            </a:lnTo>
                            <a:lnTo>
                              <a:pt x="859" y="142"/>
                            </a:lnTo>
                            <a:lnTo>
                              <a:pt x="859" y="142"/>
                            </a:lnTo>
                            <a:lnTo>
                              <a:pt x="858" y="142"/>
                            </a:lnTo>
                            <a:lnTo>
                              <a:pt x="858" y="141"/>
                            </a:lnTo>
                            <a:lnTo>
                              <a:pt x="858" y="141"/>
                            </a:lnTo>
                            <a:lnTo>
                              <a:pt x="858" y="140"/>
                            </a:lnTo>
                            <a:lnTo>
                              <a:pt x="858" y="140"/>
                            </a:lnTo>
                            <a:lnTo>
                              <a:pt x="858" y="140"/>
                            </a:lnTo>
                            <a:lnTo>
                              <a:pt x="858" y="139"/>
                            </a:lnTo>
                            <a:lnTo>
                              <a:pt x="858" y="139"/>
                            </a:lnTo>
                            <a:lnTo>
                              <a:pt x="858" y="139"/>
                            </a:lnTo>
                            <a:lnTo>
                              <a:pt x="858" y="139"/>
                            </a:lnTo>
                            <a:lnTo>
                              <a:pt x="858" y="139"/>
                            </a:lnTo>
                            <a:lnTo>
                              <a:pt x="858" y="139"/>
                            </a:lnTo>
                            <a:lnTo>
                              <a:pt x="858" y="139"/>
                            </a:lnTo>
                            <a:lnTo>
                              <a:pt x="858" y="140"/>
                            </a:lnTo>
                            <a:lnTo>
                              <a:pt x="859" y="140"/>
                            </a:lnTo>
                            <a:lnTo>
                              <a:pt x="859" y="139"/>
                            </a:lnTo>
                            <a:lnTo>
                              <a:pt x="858" y="139"/>
                            </a:lnTo>
                            <a:lnTo>
                              <a:pt x="858" y="139"/>
                            </a:lnTo>
                            <a:lnTo>
                              <a:pt x="858" y="137"/>
                            </a:lnTo>
                            <a:lnTo>
                              <a:pt x="858" y="137"/>
                            </a:lnTo>
                            <a:lnTo>
                              <a:pt x="858" y="137"/>
                            </a:lnTo>
                            <a:lnTo>
                              <a:pt x="858" y="137"/>
                            </a:lnTo>
                            <a:lnTo>
                              <a:pt x="858" y="136"/>
                            </a:lnTo>
                            <a:lnTo>
                              <a:pt x="858" y="136"/>
                            </a:lnTo>
                            <a:lnTo>
                              <a:pt x="859" y="137"/>
                            </a:lnTo>
                            <a:lnTo>
                              <a:pt x="859" y="136"/>
                            </a:lnTo>
                            <a:lnTo>
                              <a:pt x="860" y="136"/>
                            </a:lnTo>
                            <a:lnTo>
                              <a:pt x="860" y="136"/>
                            </a:lnTo>
                            <a:lnTo>
                              <a:pt x="861" y="136"/>
                            </a:lnTo>
                            <a:lnTo>
                              <a:pt x="861" y="137"/>
                            </a:lnTo>
                            <a:lnTo>
                              <a:pt x="861" y="137"/>
                            </a:lnTo>
                            <a:lnTo>
                              <a:pt x="861" y="137"/>
                            </a:lnTo>
                            <a:lnTo>
                              <a:pt x="861" y="139"/>
                            </a:lnTo>
                            <a:lnTo>
                              <a:pt x="862" y="139"/>
                            </a:lnTo>
                            <a:lnTo>
                              <a:pt x="862" y="140"/>
                            </a:lnTo>
                            <a:lnTo>
                              <a:pt x="862" y="140"/>
                            </a:lnTo>
                            <a:close/>
                            <a:moveTo>
                              <a:pt x="836" y="88"/>
                            </a:moveTo>
                            <a:lnTo>
                              <a:pt x="838" y="88"/>
                            </a:lnTo>
                            <a:lnTo>
                              <a:pt x="839" y="87"/>
                            </a:lnTo>
                            <a:lnTo>
                              <a:pt x="841" y="87"/>
                            </a:lnTo>
                            <a:lnTo>
                              <a:pt x="841" y="88"/>
                            </a:lnTo>
                            <a:lnTo>
                              <a:pt x="840" y="89"/>
                            </a:lnTo>
                            <a:lnTo>
                              <a:pt x="838" y="89"/>
                            </a:lnTo>
                            <a:lnTo>
                              <a:pt x="838" y="90"/>
                            </a:lnTo>
                            <a:lnTo>
                              <a:pt x="838" y="93"/>
                            </a:lnTo>
                            <a:lnTo>
                              <a:pt x="838" y="94"/>
                            </a:lnTo>
                            <a:lnTo>
                              <a:pt x="834" y="94"/>
                            </a:lnTo>
                            <a:lnTo>
                              <a:pt x="833" y="93"/>
                            </a:lnTo>
                            <a:lnTo>
                              <a:pt x="832" y="92"/>
                            </a:lnTo>
                            <a:lnTo>
                              <a:pt x="832" y="90"/>
                            </a:lnTo>
                            <a:lnTo>
                              <a:pt x="833" y="89"/>
                            </a:lnTo>
                            <a:lnTo>
                              <a:pt x="834" y="88"/>
                            </a:lnTo>
                            <a:lnTo>
                              <a:pt x="836" y="88"/>
                            </a:lnTo>
                            <a:lnTo>
                              <a:pt x="836" y="88"/>
                            </a:lnTo>
                            <a:close/>
                            <a:moveTo>
                              <a:pt x="31" y="2287"/>
                            </a:moveTo>
                            <a:lnTo>
                              <a:pt x="26" y="2290"/>
                            </a:lnTo>
                            <a:lnTo>
                              <a:pt x="18" y="2288"/>
                            </a:lnTo>
                            <a:lnTo>
                              <a:pt x="21" y="2292"/>
                            </a:lnTo>
                            <a:lnTo>
                              <a:pt x="19" y="2293"/>
                            </a:lnTo>
                            <a:lnTo>
                              <a:pt x="15" y="2292"/>
                            </a:lnTo>
                            <a:lnTo>
                              <a:pt x="17" y="2295"/>
                            </a:lnTo>
                            <a:lnTo>
                              <a:pt x="12" y="2295"/>
                            </a:lnTo>
                            <a:lnTo>
                              <a:pt x="11" y="2298"/>
                            </a:lnTo>
                            <a:lnTo>
                              <a:pt x="6" y="2299"/>
                            </a:lnTo>
                            <a:lnTo>
                              <a:pt x="3" y="2299"/>
                            </a:lnTo>
                            <a:lnTo>
                              <a:pt x="0" y="2297"/>
                            </a:lnTo>
                            <a:lnTo>
                              <a:pt x="3" y="2293"/>
                            </a:lnTo>
                            <a:lnTo>
                              <a:pt x="3" y="2291"/>
                            </a:lnTo>
                            <a:lnTo>
                              <a:pt x="6" y="2288"/>
                            </a:lnTo>
                            <a:lnTo>
                              <a:pt x="10" y="2286"/>
                            </a:lnTo>
                            <a:lnTo>
                              <a:pt x="14" y="2288"/>
                            </a:lnTo>
                            <a:lnTo>
                              <a:pt x="12" y="2284"/>
                            </a:lnTo>
                            <a:lnTo>
                              <a:pt x="13" y="2279"/>
                            </a:lnTo>
                            <a:lnTo>
                              <a:pt x="17" y="2278"/>
                            </a:lnTo>
                            <a:lnTo>
                              <a:pt x="22" y="2281"/>
                            </a:lnTo>
                            <a:lnTo>
                              <a:pt x="27" y="2281"/>
                            </a:lnTo>
                            <a:lnTo>
                              <a:pt x="31" y="2282"/>
                            </a:lnTo>
                            <a:lnTo>
                              <a:pt x="31" y="2284"/>
                            </a:lnTo>
                            <a:lnTo>
                              <a:pt x="31" y="2286"/>
                            </a:lnTo>
                            <a:lnTo>
                              <a:pt x="31" y="2287"/>
                            </a:lnTo>
                            <a:lnTo>
                              <a:pt x="31" y="2287"/>
                            </a:lnTo>
                            <a:lnTo>
                              <a:pt x="31" y="2287"/>
                            </a:lnTo>
                            <a:close/>
                            <a:moveTo>
                              <a:pt x="912" y="2"/>
                            </a:moveTo>
                            <a:lnTo>
                              <a:pt x="912" y="2"/>
                            </a:lnTo>
                            <a:lnTo>
                              <a:pt x="912" y="2"/>
                            </a:lnTo>
                            <a:lnTo>
                              <a:pt x="911" y="2"/>
                            </a:lnTo>
                            <a:lnTo>
                              <a:pt x="911" y="2"/>
                            </a:lnTo>
                            <a:lnTo>
                              <a:pt x="911" y="2"/>
                            </a:lnTo>
                            <a:lnTo>
                              <a:pt x="911" y="3"/>
                            </a:lnTo>
                            <a:lnTo>
                              <a:pt x="911" y="3"/>
                            </a:lnTo>
                            <a:lnTo>
                              <a:pt x="909" y="3"/>
                            </a:lnTo>
                            <a:lnTo>
                              <a:pt x="909" y="5"/>
                            </a:lnTo>
                            <a:lnTo>
                              <a:pt x="909" y="3"/>
                            </a:lnTo>
                            <a:lnTo>
                              <a:pt x="909" y="2"/>
                            </a:lnTo>
                            <a:lnTo>
                              <a:pt x="909" y="1"/>
                            </a:lnTo>
                            <a:lnTo>
                              <a:pt x="909" y="1"/>
                            </a:lnTo>
                            <a:lnTo>
                              <a:pt x="911" y="0"/>
                            </a:lnTo>
                            <a:lnTo>
                              <a:pt x="911" y="0"/>
                            </a:lnTo>
                            <a:lnTo>
                              <a:pt x="909" y="0"/>
                            </a:lnTo>
                            <a:lnTo>
                              <a:pt x="909" y="0"/>
                            </a:lnTo>
                            <a:lnTo>
                              <a:pt x="908" y="0"/>
                            </a:lnTo>
                            <a:lnTo>
                              <a:pt x="908" y="0"/>
                            </a:lnTo>
                            <a:lnTo>
                              <a:pt x="908" y="1"/>
                            </a:lnTo>
                            <a:lnTo>
                              <a:pt x="908" y="1"/>
                            </a:lnTo>
                            <a:lnTo>
                              <a:pt x="908" y="1"/>
                            </a:lnTo>
                            <a:lnTo>
                              <a:pt x="908" y="2"/>
                            </a:lnTo>
                            <a:lnTo>
                              <a:pt x="907" y="1"/>
                            </a:lnTo>
                            <a:lnTo>
                              <a:pt x="907" y="1"/>
                            </a:lnTo>
                            <a:lnTo>
                              <a:pt x="907" y="1"/>
                            </a:lnTo>
                            <a:lnTo>
                              <a:pt x="906" y="2"/>
                            </a:lnTo>
                            <a:lnTo>
                              <a:pt x="905" y="2"/>
                            </a:lnTo>
                            <a:lnTo>
                              <a:pt x="906" y="2"/>
                            </a:lnTo>
                            <a:lnTo>
                              <a:pt x="906" y="2"/>
                            </a:lnTo>
                            <a:lnTo>
                              <a:pt x="907" y="2"/>
                            </a:lnTo>
                            <a:lnTo>
                              <a:pt x="907" y="2"/>
                            </a:lnTo>
                            <a:lnTo>
                              <a:pt x="907" y="2"/>
                            </a:lnTo>
                            <a:lnTo>
                              <a:pt x="908" y="2"/>
                            </a:lnTo>
                            <a:lnTo>
                              <a:pt x="908" y="3"/>
                            </a:lnTo>
                            <a:lnTo>
                              <a:pt x="907" y="3"/>
                            </a:lnTo>
                            <a:lnTo>
                              <a:pt x="907" y="5"/>
                            </a:lnTo>
                            <a:lnTo>
                              <a:pt x="908" y="5"/>
                            </a:lnTo>
                            <a:lnTo>
                              <a:pt x="908" y="5"/>
                            </a:lnTo>
                            <a:lnTo>
                              <a:pt x="909" y="5"/>
                            </a:lnTo>
                            <a:lnTo>
                              <a:pt x="909" y="6"/>
                            </a:lnTo>
                            <a:lnTo>
                              <a:pt x="909" y="5"/>
                            </a:lnTo>
                            <a:lnTo>
                              <a:pt x="911" y="6"/>
                            </a:lnTo>
                            <a:lnTo>
                              <a:pt x="911" y="6"/>
                            </a:lnTo>
                            <a:lnTo>
                              <a:pt x="909" y="6"/>
                            </a:lnTo>
                            <a:lnTo>
                              <a:pt x="909" y="6"/>
                            </a:lnTo>
                            <a:lnTo>
                              <a:pt x="908" y="6"/>
                            </a:lnTo>
                            <a:lnTo>
                              <a:pt x="909" y="6"/>
                            </a:lnTo>
                            <a:lnTo>
                              <a:pt x="908" y="6"/>
                            </a:lnTo>
                            <a:lnTo>
                              <a:pt x="908" y="6"/>
                            </a:lnTo>
                            <a:lnTo>
                              <a:pt x="908" y="6"/>
                            </a:lnTo>
                            <a:lnTo>
                              <a:pt x="907" y="6"/>
                            </a:lnTo>
                            <a:lnTo>
                              <a:pt x="906" y="6"/>
                            </a:lnTo>
                            <a:lnTo>
                              <a:pt x="905" y="6"/>
                            </a:lnTo>
                            <a:lnTo>
                              <a:pt x="905" y="6"/>
                            </a:lnTo>
                            <a:lnTo>
                              <a:pt x="905" y="7"/>
                            </a:lnTo>
                            <a:lnTo>
                              <a:pt x="905" y="7"/>
                            </a:lnTo>
                            <a:lnTo>
                              <a:pt x="905" y="7"/>
                            </a:lnTo>
                            <a:lnTo>
                              <a:pt x="906" y="7"/>
                            </a:lnTo>
                            <a:lnTo>
                              <a:pt x="907" y="7"/>
                            </a:lnTo>
                            <a:lnTo>
                              <a:pt x="906" y="7"/>
                            </a:lnTo>
                            <a:lnTo>
                              <a:pt x="907" y="7"/>
                            </a:lnTo>
                            <a:lnTo>
                              <a:pt x="907" y="7"/>
                            </a:lnTo>
                            <a:lnTo>
                              <a:pt x="907" y="7"/>
                            </a:lnTo>
                            <a:lnTo>
                              <a:pt x="906" y="8"/>
                            </a:lnTo>
                            <a:lnTo>
                              <a:pt x="907" y="8"/>
                            </a:lnTo>
                            <a:lnTo>
                              <a:pt x="907" y="8"/>
                            </a:lnTo>
                            <a:lnTo>
                              <a:pt x="908" y="8"/>
                            </a:lnTo>
                            <a:lnTo>
                              <a:pt x="908" y="8"/>
                            </a:lnTo>
                            <a:lnTo>
                              <a:pt x="908" y="8"/>
                            </a:lnTo>
                            <a:lnTo>
                              <a:pt x="908" y="8"/>
                            </a:lnTo>
                            <a:lnTo>
                              <a:pt x="908" y="7"/>
                            </a:lnTo>
                            <a:lnTo>
                              <a:pt x="909" y="7"/>
                            </a:lnTo>
                            <a:lnTo>
                              <a:pt x="909" y="7"/>
                            </a:lnTo>
                            <a:lnTo>
                              <a:pt x="909" y="7"/>
                            </a:lnTo>
                            <a:lnTo>
                              <a:pt x="909" y="8"/>
                            </a:lnTo>
                            <a:lnTo>
                              <a:pt x="909" y="7"/>
                            </a:lnTo>
                            <a:lnTo>
                              <a:pt x="911" y="7"/>
                            </a:lnTo>
                            <a:lnTo>
                              <a:pt x="911" y="8"/>
                            </a:lnTo>
                            <a:lnTo>
                              <a:pt x="911" y="8"/>
                            </a:lnTo>
                            <a:lnTo>
                              <a:pt x="909" y="8"/>
                            </a:lnTo>
                            <a:lnTo>
                              <a:pt x="909" y="8"/>
                            </a:lnTo>
                            <a:lnTo>
                              <a:pt x="911" y="9"/>
                            </a:lnTo>
                            <a:lnTo>
                              <a:pt x="911" y="9"/>
                            </a:lnTo>
                            <a:lnTo>
                              <a:pt x="911" y="9"/>
                            </a:lnTo>
                            <a:lnTo>
                              <a:pt x="909" y="10"/>
                            </a:lnTo>
                            <a:lnTo>
                              <a:pt x="909" y="12"/>
                            </a:lnTo>
                            <a:lnTo>
                              <a:pt x="909" y="13"/>
                            </a:lnTo>
                            <a:lnTo>
                              <a:pt x="909" y="13"/>
                            </a:lnTo>
                            <a:lnTo>
                              <a:pt x="909" y="13"/>
                            </a:lnTo>
                            <a:lnTo>
                              <a:pt x="908" y="13"/>
                            </a:lnTo>
                            <a:lnTo>
                              <a:pt x="909" y="13"/>
                            </a:lnTo>
                            <a:lnTo>
                              <a:pt x="909" y="14"/>
                            </a:lnTo>
                            <a:lnTo>
                              <a:pt x="909" y="14"/>
                            </a:lnTo>
                            <a:lnTo>
                              <a:pt x="909" y="15"/>
                            </a:lnTo>
                            <a:lnTo>
                              <a:pt x="909" y="16"/>
                            </a:lnTo>
                            <a:lnTo>
                              <a:pt x="909" y="16"/>
                            </a:lnTo>
                            <a:lnTo>
                              <a:pt x="911" y="16"/>
                            </a:lnTo>
                            <a:lnTo>
                              <a:pt x="911" y="15"/>
                            </a:lnTo>
                            <a:lnTo>
                              <a:pt x="911" y="15"/>
                            </a:lnTo>
                            <a:lnTo>
                              <a:pt x="911" y="14"/>
                            </a:lnTo>
                            <a:lnTo>
                              <a:pt x="912" y="13"/>
                            </a:lnTo>
                            <a:lnTo>
                              <a:pt x="911" y="12"/>
                            </a:lnTo>
                            <a:lnTo>
                              <a:pt x="912" y="12"/>
                            </a:lnTo>
                            <a:lnTo>
                              <a:pt x="912" y="12"/>
                            </a:lnTo>
                            <a:lnTo>
                              <a:pt x="913" y="10"/>
                            </a:lnTo>
                            <a:lnTo>
                              <a:pt x="912" y="10"/>
                            </a:lnTo>
                            <a:lnTo>
                              <a:pt x="912" y="9"/>
                            </a:lnTo>
                            <a:lnTo>
                              <a:pt x="912" y="9"/>
                            </a:lnTo>
                            <a:lnTo>
                              <a:pt x="912" y="8"/>
                            </a:lnTo>
                            <a:lnTo>
                              <a:pt x="912" y="8"/>
                            </a:lnTo>
                            <a:lnTo>
                              <a:pt x="912" y="7"/>
                            </a:lnTo>
                            <a:lnTo>
                              <a:pt x="912" y="8"/>
                            </a:lnTo>
                            <a:lnTo>
                              <a:pt x="912" y="7"/>
                            </a:lnTo>
                            <a:lnTo>
                              <a:pt x="913" y="7"/>
                            </a:lnTo>
                            <a:lnTo>
                              <a:pt x="913" y="7"/>
                            </a:lnTo>
                            <a:lnTo>
                              <a:pt x="914" y="6"/>
                            </a:lnTo>
                            <a:lnTo>
                              <a:pt x="912" y="7"/>
                            </a:lnTo>
                            <a:lnTo>
                              <a:pt x="912" y="6"/>
                            </a:lnTo>
                            <a:lnTo>
                              <a:pt x="913" y="6"/>
                            </a:lnTo>
                            <a:lnTo>
                              <a:pt x="913" y="6"/>
                            </a:lnTo>
                            <a:lnTo>
                              <a:pt x="912" y="6"/>
                            </a:lnTo>
                            <a:lnTo>
                              <a:pt x="912" y="6"/>
                            </a:lnTo>
                            <a:lnTo>
                              <a:pt x="913" y="6"/>
                            </a:lnTo>
                            <a:lnTo>
                              <a:pt x="913" y="6"/>
                            </a:lnTo>
                            <a:lnTo>
                              <a:pt x="913" y="5"/>
                            </a:lnTo>
                            <a:lnTo>
                              <a:pt x="914" y="5"/>
                            </a:lnTo>
                            <a:lnTo>
                              <a:pt x="914" y="3"/>
                            </a:lnTo>
                            <a:lnTo>
                              <a:pt x="915" y="2"/>
                            </a:lnTo>
                            <a:lnTo>
                              <a:pt x="916" y="3"/>
                            </a:lnTo>
                            <a:lnTo>
                              <a:pt x="916" y="2"/>
                            </a:lnTo>
                            <a:lnTo>
                              <a:pt x="916" y="1"/>
                            </a:lnTo>
                            <a:lnTo>
                              <a:pt x="916" y="1"/>
                            </a:lnTo>
                            <a:lnTo>
                              <a:pt x="916" y="1"/>
                            </a:lnTo>
                            <a:lnTo>
                              <a:pt x="916" y="0"/>
                            </a:lnTo>
                            <a:lnTo>
                              <a:pt x="915" y="0"/>
                            </a:lnTo>
                            <a:lnTo>
                              <a:pt x="915" y="1"/>
                            </a:lnTo>
                            <a:lnTo>
                              <a:pt x="915" y="1"/>
                            </a:lnTo>
                            <a:lnTo>
                              <a:pt x="914" y="2"/>
                            </a:lnTo>
                            <a:lnTo>
                              <a:pt x="913" y="2"/>
                            </a:lnTo>
                            <a:lnTo>
                              <a:pt x="913" y="2"/>
                            </a:lnTo>
                            <a:lnTo>
                              <a:pt x="913" y="3"/>
                            </a:lnTo>
                            <a:lnTo>
                              <a:pt x="913" y="5"/>
                            </a:lnTo>
                            <a:lnTo>
                              <a:pt x="913" y="5"/>
                            </a:lnTo>
                            <a:lnTo>
                              <a:pt x="913" y="5"/>
                            </a:lnTo>
                            <a:lnTo>
                              <a:pt x="912" y="5"/>
                            </a:lnTo>
                            <a:lnTo>
                              <a:pt x="912" y="5"/>
                            </a:lnTo>
                            <a:lnTo>
                              <a:pt x="911" y="5"/>
                            </a:lnTo>
                            <a:lnTo>
                              <a:pt x="912" y="5"/>
                            </a:lnTo>
                            <a:lnTo>
                              <a:pt x="912" y="3"/>
                            </a:lnTo>
                            <a:lnTo>
                              <a:pt x="912" y="2"/>
                            </a:lnTo>
                            <a:lnTo>
                              <a:pt x="912" y="2"/>
                            </a:lnTo>
                            <a:close/>
                            <a:moveTo>
                              <a:pt x="839" y="41"/>
                            </a:moveTo>
                            <a:lnTo>
                              <a:pt x="838" y="41"/>
                            </a:lnTo>
                            <a:lnTo>
                              <a:pt x="836" y="42"/>
                            </a:lnTo>
                            <a:lnTo>
                              <a:pt x="838" y="42"/>
                            </a:lnTo>
                            <a:lnTo>
                              <a:pt x="838" y="42"/>
                            </a:lnTo>
                            <a:lnTo>
                              <a:pt x="836" y="43"/>
                            </a:lnTo>
                            <a:lnTo>
                              <a:pt x="835" y="45"/>
                            </a:lnTo>
                            <a:lnTo>
                              <a:pt x="836" y="45"/>
                            </a:lnTo>
                            <a:lnTo>
                              <a:pt x="836" y="45"/>
                            </a:lnTo>
                            <a:lnTo>
                              <a:pt x="836" y="45"/>
                            </a:lnTo>
                            <a:lnTo>
                              <a:pt x="838" y="45"/>
                            </a:lnTo>
                            <a:lnTo>
                              <a:pt x="838" y="43"/>
                            </a:lnTo>
                            <a:lnTo>
                              <a:pt x="838" y="43"/>
                            </a:lnTo>
                            <a:lnTo>
                              <a:pt x="839" y="45"/>
                            </a:lnTo>
                            <a:lnTo>
                              <a:pt x="838" y="45"/>
                            </a:lnTo>
                            <a:lnTo>
                              <a:pt x="838" y="46"/>
                            </a:lnTo>
                            <a:lnTo>
                              <a:pt x="838" y="46"/>
                            </a:lnTo>
                            <a:lnTo>
                              <a:pt x="836" y="46"/>
                            </a:lnTo>
                            <a:lnTo>
                              <a:pt x="836" y="45"/>
                            </a:lnTo>
                            <a:lnTo>
                              <a:pt x="835" y="45"/>
                            </a:lnTo>
                            <a:lnTo>
                              <a:pt x="835" y="46"/>
                            </a:lnTo>
                            <a:lnTo>
                              <a:pt x="835" y="46"/>
                            </a:lnTo>
                            <a:lnTo>
                              <a:pt x="834" y="46"/>
                            </a:lnTo>
                            <a:lnTo>
                              <a:pt x="833" y="46"/>
                            </a:lnTo>
                            <a:lnTo>
                              <a:pt x="832" y="47"/>
                            </a:lnTo>
                            <a:lnTo>
                              <a:pt x="833" y="47"/>
                            </a:lnTo>
                            <a:lnTo>
                              <a:pt x="834" y="47"/>
                            </a:lnTo>
                            <a:lnTo>
                              <a:pt x="835" y="47"/>
                            </a:lnTo>
                            <a:lnTo>
                              <a:pt x="835" y="47"/>
                            </a:lnTo>
                            <a:lnTo>
                              <a:pt x="835" y="48"/>
                            </a:lnTo>
                            <a:lnTo>
                              <a:pt x="835" y="48"/>
                            </a:lnTo>
                            <a:lnTo>
                              <a:pt x="834" y="49"/>
                            </a:lnTo>
                            <a:lnTo>
                              <a:pt x="833" y="48"/>
                            </a:lnTo>
                            <a:lnTo>
                              <a:pt x="833" y="48"/>
                            </a:lnTo>
                            <a:lnTo>
                              <a:pt x="832" y="48"/>
                            </a:lnTo>
                            <a:lnTo>
                              <a:pt x="832" y="49"/>
                            </a:lnTo>
                            <a:lnTo>
                              <a:pt x="833" y="49"/>
                            </a:lnTo>
                            <a:lnTo>
                              <a:pt x="834" y="50"/>
                            </a:lnTo>
                            <a:lnTo>
                              <a:pt x="833" y="50"/>
                            </a:lnTo>
                            <a:lnTo>
                              <a:pt x="833" y="50"/>
                            </a:lnTo>
                            <a:lnTo>
                              <a:pt x="833" y="50"/>
                            </a:lnTo>
                            <a:lnTo>
                              <a:pt x="832" y="50"/>
                            </a:lnTo>
                            <a:lnTo>
                              <a:pt x="832" y="52"/>
                            </a:lnTo>
                            <a:lnTo>
                              <a:pt x="831" y="49"/>
                            </a:lnTo>
                            <a:lnTo>
                              <a:pt x="832" y="52"/>
                            </a:lnTo>
                            <a:lnTo>
                              <a:pt x="831" y="50"/>
                            </a:lnTo>
                            <a:lnTo>
                              <a:pt x="831" y="50"/>
                            </a:lnTo>
                            <a:lnTo>
                              <a:pt x="829" y="50"/>
                            </a:lnTo>
                            <a:lnTo>
                              <a:pt x="829" y="49"/>
                            </a:lnTo>
                            <a:lnTo>
                              <a:pt x="829" y="49"/>
                            </a:lnTo>
                            <a:lnTo>
                              <a:pt x="828" y="50"/>
                            </a:lnTo>
                            <a:lnTo>
                              <a:pt x="829" y="50"/>
                            </a:lnTo>
                            <a:lnTo>
                              <a:pt x="829" y="52"/>
                            </a:lnTo>
                            <a:lnTo>
                              <a:pt x="831" y="52"/>
                            </a:lnTo>
                            <a:lnTo>
                              <a:pt x="829" y="52"/>
                            </a:lnTo>
                            <a:lnTo>
                              <a:pt x="829" y="52"/>
                            </a:lnTo>
                            <a:lnTo>
                              <a:pt x="828" y="52"/>
                            </a:lnTo>
                            <a:lnTo>
                              <a:pt x="828" y="52"/>
                            </a:lnTo>
                            <a:lnTo>
                              <a:pt x="828" y="52"/>
                            </a:lnTo>
                            <a:lnTo>
                              <a:pt x="828" y="53"/>
                            </a:lnTo>
                            <a:lnTo>
                              <a:pt x="827" y="53"/>
                            </a:lnTo>
                            <a:lnTo>
                              <a:pt x="826" y="53"/>
                            </a:lnTo>
                            <a:lnTo>
                              <a:pt x="826" y="53"/>
                            </a:lnTo>
                            <a:lnTo>
                              <a:pt x="826" y="54"/>
                            </a:lnTo>
                            <a:lnTo>
                              <a:pt x="826" y="54"/>
                            </a:lnTo>
                            <a:lnTo>
                              <a:pt x="826" y="54"/>
                            </a:lnTo>
                            <a:lnTo>
                              <a:pt x="825" y="54"/>
                            </a:lnTo>
                            <a:lnTo>
                              <a:pt x="823" y="53"/>
                            </a:lnTo>
                            <a:lnTo>
                              <a:pt x="823" y="53"/>
                            </a:lnTo>
                            <a:lnTo>
                              <a:pt x="823" y="52"/>
                            </a:lnTo>
                            <a:lnTo>
                              <a:pt x="823" y="52"/>
                            </a:lnTo>
                            <a:lnTo>
                              <a:pt x="823" y="52"/>
                            </a:lnTo>
                            <a:lnTo>
                              <a:pt x="825" y="53"/>
                            </a:lnTo>
                            <a:lnTo>
                              <a:pt x="825" y="52"/>
                            </a:lnTo>
                            <a:lnTo>
                              <a:pt x="825" y="52"/>
                            </a:lnTo>
                            <a:lnTo>
                              <a:pt x="827" y="52"/>
                            </a:lnTo>
                            <a:lnTo>
                              <a:pt x="826" y="52"/>
                            </a:lnTo>
                            <a:lnTo>
                              <a:pt x="826" y="52"/>
                            </a:lnTo>
                            <a:lnTo>
                              <a:pt x="826" y="50"/>
                            </a:lnTo>
                            <a:lnTo>
                              <a:pt x="827" y="50"/>
                            </a:lnTo>
                            <a:lnTo>
                              <a:pt x="826" y="50"/>
                            </a:lnTo>
                            <a:lnTo>
                              <a:pt x="826" y="50"/>
                            </a:lnTo>
                            <a:lnTo>
                              <a:pt x="825" y="50"/>
                            </a:lnTo>
                            <a:lnTo>
                              <a:pt x="825" y="50"/>
                            </a:lnTo>
                            <a:lnTo>
                              <a:pt x="823" y="49"/>
                            </a:lnTo>
                            <a:lnTo>
                              <a:pt x="823" y="48"/>
                            </a:lnTo>
                            <a:lnTo>
                              <a:pt x="823" y="48"/>
                            </a:lnTo>
                            <a:lnTo>
                              <a:pt x="825" y="48"/>
                            </a:lnTo>
                            <a:lnTo>
                              <a:pt x="825" y="47"/>
                            </a:lnTo>
                            <a:lnTo>
                              <a:pt x="825" y="47"/>
                            </a:lnTo>
                            <a:lnTo>
                              <a:pt x="825" y="47"/>
                            </a:lnTo>
                            <a:lnTo>
                              <a:pt x="823" y="47"/>
                            </a:lnTo>
                            <a:lnTo>
                              <a:pt x="823" y="47"/>
                            </a:lnTo>
                            <a:lnTo>
                              <a:pt x="823" y="47"/>
                            </a:lnTo>
                            <a:lnTo>
                              <a:pt x="823" y="47"/>
                            </a:lnTo>
                            <a:lnTo>
                              <a:pt x="823" y="46"/>
                            </a:lnTo>
                            <a:lnTo>
                              <a:pt x="823" y="46"/>
                            </a:lnTo>
                            <a:lnTo>
                              <a:pt x="825" y="46"/>
                            </a:lnTo>
                            <a:lnTo>
                              <a:pt x="825" y="46"/>
                            </a:lnTo>
                            <a:lnTo>
                              <a:pt x="826" y="45"/>
                            </a:lnTo>
                            <a:lnTo>
                              <a:pt x="825" y="45"/>
                            </a:lnTo>
                            <a:lnTo>
                              <a:pt x="825" y="45"/>
                            </a:lnTo>
                            <a:lnTo>
                              <a:pt x="825" y="45"/>
                            </a:lnTo>
                            <a:lnTo>
                              <a:pt x="825" y="43"/>
                            </a:lnTo>
                            <a:lnTo>
                              <a:pt x="826" y="45"/>
                            </a:lnTo>
                            <a:lnTo>
                              <a:pt x="826" y="45"/>
                            </a:lnTo>
                            <a:lnTo>
                              <a:pt x="827" y="45"/>
                            </a:lnTo>
                            <a:lnTo>
                              <a:pt x="827" y="45"/>
                            </a:lnTo>
                            <a:lnTo>
                              <a:pt x="826" y="46"/>
                            </a:lnTo>
                            <a:lnTo>
                              <a:pt x="827" y="46"/>
                            </a:lnTo>
                            <a:lnTo>
                              <a:pt x="827" y="46"/>
                            </a:lnTo>
                            <a:lnTo>
                              <a:pt x="828" y="45"/>
                            </a:lnTo>
                            <a:lnTo>
                              <a:pt x="828" y="46"/>
                            </a:lnTo>
                            <a:lnTo>
                              <a:pt x="829" y="46"/>
                            </a:lnTo>
                            <a:lnTo>
                              <a:pt x="829" y="45"/>
                            </a:lnTo>
                            <a:lnTo>
                              <a:pt x="828" y="45"/>
                            </a:lnTo>
                            <a:lnTo>
                              <a:pt x="828" y="45"/>
                            </a:lnTo>
                            <a:lnTo>
                              <a:pt x="828" y="43"/>
                            </a:lnTo>
                            <a:lnTo>
                              <a:pt x="828" y="43"/>
                            </a:lnTo>
                            <a:lnTo>
                              <a:pt x="828" y="43"/>
                            </a:lnTo>
                            <a:lnTo>
                              <a:pt x="828" y="42"/>
                            </a:lnTo>
                            <a:lnTo>
                              <a:pt x="829" y="43"/>
                            </a:lnTo>
                            <a:lnTo>
                              <a:pt x="829" y="43"/>
                            </a:lnTo>
                            <a:lnTo>
                              <a:pt x="831" y="42"/>
                            </a:lnTo>
                            <a:lnTo>
                              <a:pt x="832" y="41"/>
                            </a:lnTo>
                            <a:lnTo>
                              <a:pt x="832" y="42"/>
                            </a:lnTo>
                            <a:lnTo>
                              <a:pt x="833" y="42"/>
                            </a:lnTo>
                            <a:lnTo>
                              <a:pt x="833" y="41"/>
                            </a:lnTo>
                            <a:lnTo>
                              <a:pt x="835" y="40"/>
                            </a:lnTo>
                            <a:lnTo>
                              <a:pt x="836" y="40"/>
                            </a:lnTo>
                            <a:lnTo>
                              <a:pt x="836" y="39"/>
                            </a:lnTo>
                            <a:lnTo>
                              <a:pt x="836" y="39"/>
                            </a:lnTo>
                            <a:lnTo>
                              <a:pt x="836" y="39"/>
                            </a:lnTo>
                            <a:lnTo>
                              <a:pt x="836" y="39"/>
                            </a:lnTo>
                            <a:lnTo>
                              <a:pt x="838" y="39"/>
                            </a:lnTo>
                            <a:lnTo>
                              <a:pt x="839" y="40"/>
                            </a:lnTo>
                            <a:lnTo>
                              <a:pt x="839" y="41"/>
                            </a:lnTo>
                            <a:lnTo>
                              <a:pt x="839" y="41"/>
                            </a:lnTo>
                            <a:close/>
                            <a:moveTo>
                              <a:pt x="863" y="119"/>
                            </a:moveTo>
                            <a:lnTo>
                              <a:pt x="863" y="120"/>
                            </a:lnTo>
                            <a:lnTo>
                              <a:pt x="862" y="120"/>
                            </a:lnTo>
                            <a:lnTo>
                              <a:pt x="862" y="120"/>
                            </a:lnTo>
                            <a:lnTo>
                              <a:pt x="862" y="121"/>
                            </a:lnTo>
                            <a:lnTo>
                              <a:pt x="862" y="121"/>
                            </a:lnTo>
                            <a:lnTo>
                              <a:pt x="863" y="120"/>
                            </a:lnTo>
                            <a:lnTo>
                              <a:pt x="863" y="121"/>
                            </a:lnTo>
                            <a:lnTo>
                              <a:pt x="863" y="121"/>
                            </a:lnTo>
                            <a:lnTo>
                              <a:pt x="862" y="122"/>
                            </a:lnTo>
                            <a:lnTo>
                              <a:pt x="862" y="122"/>
                            </a:lnTo>
                            <a:lnTo>
                              <a:pt x="862" y="122"/>
                            </a:lnTo>
                            <a:lnTo>
                              <a:pt x="862" y="123"/>
                            </a:lnTo>
                            <a:lnTo>
                              <a:pt x="861" y="123"/>
                            </a:lnTo>
                            <a:lnTo>
                              <a:pt x="860" y="123"/>
                            </a:lnTo>
                            <a:lnTo>
                              <a:pt x="860" y="123"/>
                            </a:lnTo>
                            <a:lnTo>
                              <a:pt x="859" y="123"/>
                            </a:lnTo>
                            <a:lnTo>
                              <a:pt x="858" y="123"/>
                            </a:lnTo>
                            <a:lnTo>
                              <a:pt x="858" y="123"/>
                            </a:lnTo>
                            <a:lnTo>
                              <a:pt x="856" y="123"/>
                            </a:lnTo>
                            <a:lnTo>
                              <a:pt x="855" y="125"/>
                            </a:lnTo>
                            <a:lnTo>
                              <a:pt x="854" y="125"/>
                            </a:lnTo>
                            <a:lnTo>
                              <a:pt x="854" y="125"/>
                            </a:lnTo>
                            <a:lnTo>
                              <a:pt x="854" y="125"/>
                            </a:lnTo>
                            <a:lnTo>
                              <a:pt x="855" y="123"/>
                            </a:lnTo>
                            <a:lnTo>
                              <a:pt x="856" y="123"/>
                            </a:lnTo>
                            <a:lnTo>
                              <a:pt x="858" y="121"/>
                            </a:lnTo>
                            <a:lnTo>
                              <a:pt x="858" y="120"/>
                            </a:lnTo>
                            <a:lnTo>
                              <a:pt x="859" y="120"/>
                            </a:lnTo>
                            <a:lnTo>
                              <a:pt x="860" y="119"/>
                            </a:lnTo>
                            <a:lnTo>
                              <a:pt x="861" y="119"/>
                            </a:lnTo>
                            <a:lnTo>
                              <a:pt x="862" y="119"/>
                            </a:lnTo>
                            <a:lnTo>
                              <a:pt x="862" y="119"/>
                            </a:lnTo>
                            <a:lnTo>
                              <a:pt x="863" y="117"/>
                            </a:lnTo>
                            <a:lnTo>
                              <a:pt x="863" y="119"/>
                            </a:lnTo>
                            <a:lnTo>
                              <a:pt x="863" y="119"/>
                            </a:lnTo>
                            <a:lnTo>
                              <a:pt x="863" y="119"/>
                            </a:lnTo>
                            <a:close/>
                            <a:moveTo>
                              <a:pt x="887" y="21"/>
                            </a:moveTo>
                            <a:lnTo>
                              <a:pt x="888" y="21"/>
                            </a:lnTo>
                            <a:lnTo>
                              <a:pt x="889" y="22"/>
                            </a:lnTo>
                            <a:lnTo>
                              <a:pt x="888" y="23"/>
                            </a:lnTo>
                            <a:lnTo>
                              <a:pt x="889" y="23"/>
                            </a:lnTo>
                            <a:lnTo>
                              <a:pt x="889" y="25"/>
                            </a:lnTo>
                            <a:lnTo>
                              <a:pt x="889" y="26"/>
                            </a:lnTo>
                            <a:lnTo>
                              <a:pt x="891" y="26"/>
                            </a:lnTo>
                            <a:lnTo>
                              <a:pt x="891" y="25"/>
                            </a:lnTo>
                            <a:lnTo>
                              <a:pt x="891" y="26"/>
                            </a:lnTo>
                            <a:lnTo>
                              <a:pt x="892" y="26"/>
                            </a:lnTo>
                            <a:lnTo>
                              <a:pt x="891" y="27"/>
                            </a:lnTo>
                            <a:lnTo>
                              <a:pt x="891" y="27"/>
                            </a:lnTo>
                            <a:lnTo>
                              <a:pt x="889" y="27"/>
                            </a:lnTo>
                            <a:lnTo>
                              <a:pt x="888" y="27"/>
                            </a:lnTo>
                            <a:lnTo>
                              <a:pt x="888" y="26"/>
                            </a:lnTo>
                            <a:lnTo>
                              <a:pt x="887" y="26"/>
                            </a:lnTo>
                            <a:lnTo>
                              <a:pt x="886" y="28"/>
                            </a:lnTo>
                            <a:lnTo>
                              <a:pt x="886" y="28"/>
                            </a:lnTo>
                            <a:lnTo>
                              <a:pt x="885" y="29"/>
                            </a:lnTo>
                            <a:lnTo>
                              <a:pt x="885" y="29"/>
                            </a:lnTo>
                            <a:lnTo>
                              <a:pt x="886" y="30"/>
                            </a:lnTo>
                            <a:lnTo>
                              <a:pt x="887" y="30"/>
                            </a:lnTo>
                            <a:lnTo>
                              <a:pt x="888" y="30"/>
                            </a:lnTo>
                            <a:lnTo>
                              <a:pt x="887" y="32"/>
                            </a:lnTo>
                            <a:lnTo>
                              <a:pt x="888" y="32"/>
                            </a:lnTo>
                            <a:lnTo>
                              <a:pt x="887" y="33"/>
                            </a:lnTo>
                            <a:lnTo>
                              <a:pt x="887" y="33"/>
                            </a:lnTo>
                            <a:lnTo>
                              <a:pt x="887" y="33"/>
                            </a:lnTo>
                            <a:lnTo>
                              <a:pt x="887" y="34"/>
                            </a:lnTo>
                            <a:lnTo>
                              <a:pt x="887" y="34"/>
                            </a:lnTo>
                            <a:lnTo>
                              <a:pt x="887" y="35"/>
                            </a:lnTo>
                            <a:lnTo>
                              <a:pt x="887" y="35"/>
                            </a:lnTo>
                            <a:lnTo>
                              <a:pt x="885" y="35"/>
                            </a:lnTo>
                            <a:lnTo>
                              <a:pt x="885" y="34"/>
                            </a:lnTo>
                            <a:lnTo>
                              <a:pt x="885" y="33"/>
                            </a:lnTo>
                            <a:lnTo>
                              <a:pt x="885" y="32"/>
                            </a:lnTo>
                            <a:lnTo>
                              <a:pt x="883" y="33"/>
                            </a:lnTo>
                            <a:lnTo>
                              <a:pt x="882" y="33"/>
                            </a:lnTo>
                            <a:lnTo>
                              <a:pt x="882" y="34"/>
                            </a:lnTo>
                            <a:lnTo>
                              <a:pt x="882" y="34"/>
                            </a:lnTo>
                            <a:lnTo>
                              <a:pt x="881" y="34"/>
                            </a:lnTo>
                            <a:lnTo>
                              <a:pt x="881" y="33"/>
                            </a:lnTo>
                            <a:lnTo>
                              <a:pt x="881" y="32"/>
                            </a:lnTo>
                            <a:lnTo>
                              <a:pt x="881" y="32"/>
                            </a:lnTo>
                            <a:lnTo>
                              <a:pt x="881" y="30"/>
                            </a:lnTo>
                            <a:lnTo>
                              <a:pt x="881" y="29"/>
                            </a:lnTo>
                            <a:lnTo>
                              <a:pt x="882" y="29"/>
                            </a:lnTo>
                            <a:lnTo>
                              <a:pt x="882" y="28"/>
                            </a:lnTo>
                            <a:lnTo>
                              <a:pt x="882" y="28"/>
                            </a:lnTo>
                            <a:lnTo>
                              <a:pt x="883" y="28"/>
                            </a:lnTo>
                            <a:lnTo>
                              <a:pt x="883" y="28"/>
                            </a:lnTo>
                            <a:lnTo>
                              <a:pt x="883" y="27"/>
                            </a:lnTo>
                            <a:lnTo>
                              <a:pt x="885" y="27"/>
                            </a:lnTo>
                            <a:lnTo>
                              <a:pt x="885" y="27"/>
                            </a:lnTo>
                            <a:lnTo>
                              <a:pt x="886" y="27"/>
                            </a:lnTo>
                            <a:lnTo>
                              <a:pt x="885" y="26"/>
                            </a:lnTo>
                            <a:lnTo>
                              <a:pt x="886" y="25"/>
                            </a:lnTo>
                            <a:lnTo>
                              <a:pt x="886" y="25"/>
                            </a:lnTo>
                            <a:lnTo>
                              <a:pt x="886" y="25"/>
                            </a:lnTo>
                            <a:lnTo>
                              <a:pt x="886" y="23"/>
                            </a:lnTo>
                            <a:lnTo>
                              <a:pt x="887" y="23"/>
                            </a:lnTo>
                            <a:lnTo>
                              <a:pt x="887" y="23"/>
                            </a:lnTo>
                            <a:lnTo>
                              <a:pt x="888" y="23"/>
                            </a:lnTo>
                            <a:lnTo>
                              <a:pt x="887" y="22"/>
                            </a:lnTo>
                            <a:lnTo>
                              <a:pt x="887" y="21"/>
                            </a:lnTo>
                            <a:lnTo>
                              <a:pt x="887" y="21"/>
                            </a:lnTo>
                            <a:close/>
                            <a:moveTo>
                              <a:pt x="816" y="106"/>
                            </a:moveTo>
                            <a:lnTo>
                              <a:pt x="815" y="106"/>
                            </a:lnTo>
                            <a:lnTo>
                              <a:pt x="814" y="107"/>
                            </a:lnTo>
                            <a:lnTo>
                              <a:pt x="814" y="108"/>
                            </a:lnTo>
                            <a:lnTo>
                              <a:pt x="814" y="109"/>
                            </a:lnTo>
                            <a:lnTo>
                              <a:pt x="813" y="110"/>
                            </a:lnTo>
                            <a:lnTo>
                              <a:pt x="812" y="110"/>
                            </a:lnTo>
                            <a:lnTo>
                              <a:pt x="811" y="112"/>
                            </a:lnTo>
                            <a:lnTo>
                              <a:pt x="808" y="110"/>
                            </a:lnTo>
                            <a:lnTo>
                              <a:pt x="807" y="110"/>
                            </a:lnTo>
                            <a:lnTo>
                              <a:pt x="807" y="113"/>
                            </a:lnTo>
                            <a:lnTo>
                              <a:pt x="807" y="113"/>
                            </a:lnTo>
                            <a:lnTo>
                              <a:pt x="811" y="114"/>
                            </a:lnTo>
                            <a:lnTo>
                              <a:pt x="811" y="114"/>
                            </a:lnTo>
                            <a:lnTo>
                              <a:pt x="808" y="115"/>
                            </a:lnTo>
                            <a:lnTo>
                              <a:pt x="807" y="115"/>
                            </a:lnTo>
                            <a:lnTo>
                              <a:pt x="806" y="115"/>
                            </a:lnTo>
                            <a:lnTo>
                              <a:pt x="805" y="115"/>
                            </a:lnTo>
                            <a:lnTo>
                              <a:pt x="805" y="116"/>
                            </a:lnTo>
                            <a:lnTo>
                              <a:pt x="803" y="116"/>
                            </a:lnTo>
                            <a:lnTo>
                              <a:pt x="805" y="119"/>
                            </a:lnTo>
                            <a:lnTo>
                              <a:pt x="806" y="119"/>
                            </a:lnTo>
                            <a:lnTo>
                              <a:pt x="807" y="120"/>
                            </a:lnTo>
                            <a:lnTo>
                              <a:pt x="807" y="120"/>
                            </a:lnTo>
                            <a:lnTo>
                              <a:pt x="808" y="121"/>
                            </a:lnTo>
                            <a:lnTo>
                              <a:pt x="811" y="121"/>
                            </a:lnTo>
                            <a:lnTo>
                              <a:pt x="812" y="122"/>
                            </a:lnTo>
                            <a:lnTo>
                              <a:pt x="813" y="123"/>
                            </a:lnTo>
                            <a:lnTo>
                              <a:pt x="814" y="122"/>
                            </a:lnTo>
                            <a:lnTo>
                              <a:pt x="814" y="122"/>
                            </a:lnTo>
                            <a:lnTo>
                              <a:pt x="816" y="123"/>
                            </a:lnTo>
                            <a:lnTo>
                              <a:pt x="818" y="121"/>
                            </a:lnTo>
                            <a:lnTo>
                              <a:pt x="819" y="121"/>
                            </a:lnTo>
                            <a:lnTo>
                              <a:pt x="819" y="120"/>
                            </a:lnTo>
                            <a:lnTo>
                              <a:pt x="818" y="120"/>
                            </a:lnTo>
                            <a:lnTo>
                              <a:pt x="820" y="117"/>
                            </a:lnTo>
                            <a:lnTo>
                              <a:pt x="821" y="117"/>
                            </a:lnTo>
                            <a:lnTo>
                              <a:pt x="822" y="119"/>
                            </a:lnTo>
                            <a:lnTo>
                              <a:pt x="823" y="121"/>
                            </a:lnTo>
                            <a:lnTo>
                              <a:pt x="825" y="122"/>
                            </a:lnTo>
                            <a:lnTo>
                              <a:pt x="825" y="121"/>
                            </a:lnTo>
                            <a:lnTo>
                              <a:pt x="826" y="122"/>
                            </a:lnTo>
                            <a:lnTo>
                              <a:pt x="826" y="122"/>
                            </a:lnTo>
                            <a:lnTo>
                              <a:pt x="826" y="125"/>
                            </a:lnTo>
                            <a:lnTo>
                              <a:pt x="827" y="125"/>
                            </a:lnTo>
                            <a:lnTo>
                              <a:pt x="828" y="125"/>
                            </a:lnTo>
                            <a:lnTo>
                              <a:pt x="828" y="125"/>
                            </a:lnTo>
                            <a:lnTo>
                              <a:pt x="831" y="125"/>
                            </a:lnTo>
                            <a:lnTo>
                              <a:pt x="832" y="125"/>
                            </a:lnTo>
                            <a:lnTo>
                              <a:pt x="833" y="125"/>
                            </a:lnTo>
                            <a:lnTo>
                              <a:pt x="835" y="125"/>
                            </a:lnTo>
                            <a:lnTo>
                              <a:pt x="838" y="123"/>
                            </a:lnTo>
                            <a:lnTo>
                              <a:pt x="839" y="122"/>
                            </a:lnTo>
                            <a:lnTo>
                              <a:pt x="838" y="122"/>
                            </a:lnTo>
                            <a:lnTo>
                              <a:pt x="838" y="121"/>
                            </a:lnTo>
                            <a:lnTo>
                              <a:pt x="839" y="121"/>
                            </a:lnTo>
                            <a:lnTo>
                              <a:pt x="840" y="120"/>
                            </a:lnTo>
                            <a:lnTo>
                              <a:pt x="841" y="121"/>
                            </a:lnTo>
                            <a:lnTo>
                              <a:pt x="843" y="120"/>
                            </a:lnTo>
                            <a:lnTo>
                              <a:pt x="843" y="120"/>
                            </a:lnTo>
                            <a:lnTo>
                              <a:pt x="843" y="120"/>
                            </a:lnTo>
                            <a:lnTo>
                              <a:pt x="842" y="119"/>
                            </a:lnTo>
                            <a:lnTo>
                              <a:pt x="842" y="119"/>
                            </a:lnTo>
                            <a:lnTo>
                              <a:pt x="841" y="119"/>
                            </a:lnTo>
                            <a:lnTo>
                              <a:pt x="841" y="119"/>
                            </a:lnTo>
                            <a:lnTo>
                              <a:pt x="841" y="117"/>
                            </a:lnTo>
                            <a:lnTo>
                              <a:pt x="841" y="117"/>
                            </a:lnTo>
                            <a:lnTo>
                              <a:pt x="841" y="116"/>
                            </a:lnTo>
                            <a:lnTo>
                              <a:pt x="841" y="116"/>
                            </a:lnTo>
                            <a:lnTo>
                              <a:pt x="840" y="115"/>
                            </a:lnTo>
                            <a:lnTo>
                              <a:pt x="840" y="115"/>
                            </a:lnTo>
                            <a:lnTo>
                              <a:pt x="840" y="115"/>
                            </a:lnTo>
                            <a:lnTo>
                              <a:pt x="840" y="115"/>
                            </a:lnTo>
                            <a:lnTo>
                              <a:pt x="841" y="115"/>
                            </a:lnTo>
                            <a:lnTo>
                              <a:pt x="843" y="116"/>
                            </a:lnTo>
                            <a:lnTo>
                              <a:pt x="843" y="116"/>
                            </a:lnTo>
                            <a:lnTo>
                              <a:pt x="843" y="117"/>
                            </a:lnTo>
                            <a:lnTo>
                              <a:pt x="843" y="119"/>
                            </a:lnTo>
                            <a:lnTo>
                              <a:pt x="843" y="119"/>
                            </a:lnTo>
                            <a:lnTo>
                              <a:pt x="845" y="119"/>
                            </a:lnTo>
                            <a:lnTo>
                              <a:pt x="845" y="117"/>
                            </a:lnTo>
                            <a:lnTo>
                              <a:pt x="845" y="117"/>
                            </a:lnTo>
                            <a:lnTo>
                              <a:pt x="845" y="117"/>
                            </a:lnTo>
                            <a:lnTo>
                              <a:pt x="846" y="116"/>
                            </a:lnTo>
                            <a:lnTo>
                              <a:pt x="846" y="115"/>
                            </a:lnTo>
                            <a:lnTo>
                              <a:pt x="845" y="115"/>
                            </a:lnTo>
                            <a:lnTo>
                              <a:pt x="845" y="114"/>
                            </a:lnTo>
                            <a:lnTo>
                              <a:pt x="845" y="114"/>
                            </a:lnTo>
                            <a:lnTo>
                              <a:pt x="843" y="113"/>
                            </a:lnTo>
                            <a:lnTo>
                              <a:pt x="843" y="113"/>
                            </a:lnTo>
                            <a:lnTo>
                              <a:pt x="843" y="113"/>
                            </a:lnTo>
                            <a:lnTo>
                              <a:pt x="842" y="113"/>
                            </a:lnTo>
                            <a:lnTo>
                              <a:pt x="841" y="113"/>
                            </a:lnTo>
                            <a:lnTo>
                              <a:pt x="839" y="113"/>
                            </a:lnTo>
                            <a:lnTo>
                              <a:pt x="839" y="113"/>
                            </a:lnTo>
                            <a:lnTo>
                              <a:pt x="839" y="114"/>
                            </a:lnTo>
                            <a:lnTo>
                              <a:pt x="838" y="113"/>
                            </a:lnTo>
                            <a:lnTo>
                              <a:pt x="839" y="112"/>
                            </a:lnTo>
                            <a:lnTo>
                              <a:pt x="840" y="112"/>
                            </a:lnTo>
                            <a:lnTo>
                              <a:pt x="841" y="110"/>
                            </a:lnTo>
                            <a:lnTo>
                              <a:pt x="842" y="109"/>
                            </a:lnTo>
                            <a:lnTo>
                              <a:pt x="841" y="109"/>
                            </a:lnTo>
                            <a:lnTo>
                              <a:pt x="840" y="109"/>
                            </a:lnTo>
                            <a:lnTo>
                              <a:pt x="841" y="109"/>
                            </a:lnTo>
                            <a:lnTo>
                              <a:pt x="840" y="109"/>
                            </a:lnTo>
                            <a:lnTo>
                              <a:pt x="840" y="109"/>
                            </a:lnTo>
                            <a:lnTo>
                              <a:pt x="840" y="108"/>
                            </a:lnTo>
                            <a:lnTo>
                              <a:pt x="839" y="108"/>
                            </a:lnTo>
                            <a:lnTo>
                              <a:pt x="839" y="107"/>
                            </a:lnTo>
                            <a:lnTo>
                              <a:pt x="838" y="106"/>
                            </a:lnTo>
                            <a:lnTo>
                              <a:pt x="836" y="106"/>
                            </a:lnTo>
                            <a:lnTo>
                              <a:pt x="838" y="105"/>
                            </a:lnTo>
                            <a:lnTo>
                              <a:pt x="836" y="105"/>
                            </a:lnTo>
                            <a:lnTo>
                              <a:pt x="836" y="105"/>
                            </a:lnTo>
                            <a:lnTo>
                              <a:pt x="836" y="105"/>
                            </a:lnTo>
                            <a:lnTo>
                              <a:pt x="836" y="103"/>
                            </a:lnTo>
                            <a:lnTo>
                              <a:pt x="835" y="103"/>
                            </a:lnTo>
                            <a:lnTo>
                              <a:pt x="836" y="103"/>
                            </a:lnTo>
                            <a:lnTo>
                              <a:pt x="836" y="103"/>
                            </a:lnTo>
                            <a:lnTo>
                              <a:pt x="836" y="103"/>
                            </a:lnTo>
                            <a:lnTo>
                              <a:pt x="836" y="103"/>
                            </a:lnTo>
                            <a:lnTo>
                              <a:pt x="835" y="102"/>
                            </a:lnTo>
                            <a:lnTo>
                              <a:pt x="835" y="102"/>
                            </a:lnTo>
                            <a:lnTo>
                              <a:pt x="835" y="102"/>
                            </a:lnTo>
                            <a:lnTo>
                              <a:pt x="835" y="101"/>
                            </a:lnTo>
                            <a:lnTo>
                              <a:pt x="833" y="102"/>
                            </a:lnTo>
                            <a:lnTo>
                              <a:pt x="833" y="101"/>
                            </a:lnTo>
                            <a:lnTo>
                              <a:pt x="831" y="102"/>
                            </a:lnTo>
                            <a:lnTo>
                              <a:pt x="829" y="101"/>
                            </a:lnTo>
                            <a:lnTo>
                              <a:pt x="829" y="101"/>
                            </a:lnTo>
                            <a:lnTo>
                              <a:pt x="828" y="101"/>
                            </a:lnTo>
                            <a:lnTo>
                              <a:pt x="829" y="101"/>
                            </a:lnTo>
                            <a:lnTo>
                              <a:pt x="829" y="101"/>
                            </a:lnTo>
                            <a:lnTo>
                              <a:pt x="829" y="101"/>
                            </a:lnTo>
                            <a:lnTo>
                              <a:pt x="828" y="101"/>
                            </a:lnTo>
                            <a:lnTo>
                              <a:pt x="828" y="102"/>
                            </a:lnTo>
                            <a:lnTo>
                              <a:pt x="826" y="101"/>
                            </a:lnTo>
                            <a:lnTo>
                              <a:pt x="826" y="102"/>
                            </a:lnTo>
                            <a:lnTo>
                              <a:pt x="826" y="102"/>
                            </a:lnTo>
                            <a:lnTo>
                              <a:pt x="825" y="102"/>
                            </a:lnTo>
                            <a:lnTo>
                              <a:pt x="823" y="102"/>
                            </a:lnTo>
                            <a:lnTo>
                              <a:pt x="823" y="102"/>
                            </a:lnTo>
                            <a:lnTo>
                              <a:pt x="822" y="102"/>
                            </a:lnTo>
                            <a:lnTo>
                              <a:pt x="822" y="102"/>
                            </a:lnTo>
                            <a:lnTo>
                              <a:pt x="822" y="102"/>
                            </a:lnTo>
                            <a:lnTo>
                              <a:pt x="822" y="103"/>
                            </a:lnTo>
                            <a:lnTo>
                              <a:pt x="822" y="103"/>
                            </a:lnTo>
                            <a:lnTo>
                              <a:pt x="821" y="105"/>
                            </a:lnTo>
                            <a:lnTo>
                              <a:pt x="820" y="105"/>
                            </a:lnTo>
                            <a:lnTo>
                              <a:pt x="819" y="105"/>
                            </a:lnTo>
                            <a:lnTo>
                              <a:pt x="816" y="106"/>
                            </a:lnTo>
                            <a:lnTo>
                              <a:pt x="816" y="106"/>
                            </a:lnTo>
                            <a:close/>
                            <a:moveTo>
                              <a:pt x="834" y="55"/>
                            </a:moveTo>
                            <a:lnTo>
                              <a:pt x="835" y="56"/>
                            </a:lnTo>
                            <a:lnTo>
                              <a:pt x="836" y="57"/>
                            </a:lnTo>
                            <a:lnTo>
                              <a:pt x="836" y="59"/>
                            </a:lnTo>
                            <a:lnTo>
                              <a:pt x="838" y="59"/>
                            </a:lnTo>
                            <a:lnTo>
                              <a:pt x="839" y="61"/>
                            </a:lnTo>
                            <a:lnTo>
                              <a:pt x="839" y="63"/>
                            </a:lnTo>
                            <a:lnTo>
                              <a:pt x="840" y="65"/>
                            </a:lnTo>
                            <a:lnTo>
                              <a:pt x="841" y="67"/>
                            </a:lnTo>
                            <a:lnTo>
                              <a:pt x="840" y="67"/>
                            </a:lnTo>
                            <a:lnTo>
                              <a:pt x="839" y="66"/>
                            </a:lnTo>
                            <a:lnTo>
                              <a:pt x="835" y="66"/>
                            </a:lnTo>
                            <a:lnTo>
                              <a:pt x="834" y="66"/>
                            </a:lnTo>
                            <a:lnTo>
                              <a:pt x="833" y="63"/>
                            </a:lnTo>
                            <a:lnTo>
                              <a:pt x="832" y="62"/>
                            </a:lnTo>
                            <a:lnTo>
                              <a:pt x="832" y="60"/>
                            </a:lnTo>
                            <a:lnTo>
                              <a:pt x="829" y="59"/>
                            </a:lnTo>
                            <a:lnTo>
                              <a:pt x="829" y="57"/>
                            </a:lnTo>
                            <a:lnTo>
                              <a:pt x="832" y="56"/>
                            </a:lnTo>
                            <a:lnTo>
                              <a:pt x="832" y="57"/>
                            </a:lnTo>
                            <a:lnTo>
                              <a:pt x="833" y="56"/>
                            </a:lnTo>
                            <a:lnTo>
                              <a:pt x="834" y="56"/>
                            </a:lnTo>
                            <a:lnTo>
                              <a:pt x="834" y="55"/>
                            </a:lnTo>
                            <a:lnTo>
                              <a:pt x="834" y="55"/>
                            </a:lnTo>
                            <a:close/>
                            <a:moveTo>
                              <a:pt x="839" y="75"/>
                            </a:moveTo>
                            <a:lnTo>
                              <a:pt x="839" y="77"/>
                            </a:lnTo>
                            <a:lnTo>
                              <a:pt x="841" y="79"/>
                            </a:lnTo>
                            <a:lnTo>
                              <a:pt x="841" y="80"/>
                            </a:lnTo>
                            <a:lnTo>
                              <a:pt x="840" y="81"/>
                            </a:lnTo>
                            <a:lnTo>
                              <a:pt x="838" y="81"/>
                            </a:lnTo>
                            <a:lnTo>
                              <a:pt x="835" y="81"/>
                            </a:lnTo>
                            <a:lnTo>
                              <a:pt x="834" y="80"/>
                            </a:lnTo>
                            <a:lnTo>
                              <a:pt x="834" y="80"/>
                            </a:lnTo>
                            <a:lnTo>
                              <a:pt x="835" y="79"/>
                            </a:lnTo>
                            <a:lnTo>
                              <a:pt x="838" y="76"/>
                            </a:lnTo>
                            <a:lnTo>
                              <a:pt x="839" y="75"/>
                            </a:lnTo>
                            <a:lnTo>
                              <a:pt x="839" y="75"/>
                            </a:lnTo>
                            <a:close/>
                            <a:moveTo>
                              <a:pt x="835" y="67"/>
                            </a:moveTo>
                            <a:lnTo>
                              <a:pt x="835" y="67"/>
                            </a:lnTo>
                            <a:lnTo>
                              <a:pt x="836" y="68"/>
                            </a:lnTo>
                            <a:lnTo>
                              <a:pt x="835" y="68"/>
                            </a:lnTo>
                            <a:lnTo>
                              <a:pt x="835" y="69"/>
                            </a:lnTo>
                            <a:lnTo>
                              <a:pt x="834" y="70"/>
                            </a:lnTo>
                            <a:lnTo>
                              <a:pt x="834" y="69"/>
                            </a:lnTo>
                            <a:lnTo>
                              <a:pt x="834" y="69"/>
                            </a:lnTo>
                            <a:lnTo>
                              <a:pt x="834" y="69"/>
                            </a:lnTo>
                            <a:lnTo>
                              <a:pt x="834" y="68"/>
                            </a:lnTo>
                            <a:lnTo>
                              <a:pt x="835" y="67"/>
                            </a:lnTo>
                            <a:lnTo>
                              <a:pt x="835" y="67"/>
                            </a:lnTo>
                            <a:lnTo>
                              <a:pt x="835" y="67"/>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515" name="Freeform 222">
                        <a:extLst>
                          <a:ext uri="{FF2B5EF4-FFF2-40B4-BE49-F238E27FC236}">
                            <a16:creationId xmlns:a16="http://schemas.microsoft.com/office/drawing/2014/main" id="{06E59F9A-ACF0-6C42-BAF0-3399B9E5B741}"/>
                          </a:ext>
                        </a:extLst>
                      </p:cNvPr>
                      <p:cNvSpPr>
                        <a:spLocks/>
                      </p:cNvSpPr>
                      <p:nvPr/>
                    </p:nvSpPr>
                    <p:spPr bwMode="auto">
                      <a:xfrm>
                        <a:off x="4102387" y="6117094"/>
                        <a:ext cx="61096" cy="27333"/>
                      </a:xfrm>
                      <a:custGeom>
                        <a:avLst/>
                        <a:gdLst>
                          <a:gd name="T0" fmla="*/ 3 w 38"/>
                          <a:gd name="T1" fmla="*/ 0 h 17"/>
                          <a:gd name="T2" fmla="*/ 7 w 38"/>
                          <a:gd name="T3" fmla="*/ 0 h 17"/>
                          <a:gd name="T4" fmla="*/ 9 w 38"/>
                          <a:gd name="T5" fmla="*/ 0 h 17"/>
                          <a:gd name="T6" fmla="*/ 10 w 38"/>
                          <a:gd name="T7" fmla="*/ 1 h 17"/>
                          <a:gd name="T8" fmla="*/ 11 w 38"/>
                          <a:gd name="T9" fmla="*/ 0 h 17"/>
                          <a:gd name="T10" fmla="*/ 13 w 38"/>
                          <a:gd name="T11" fmla="*/ 1 h 17"/>
                          <a:gd name="T12" fmla="*/ 18 w 38"/>
                          <a:gd name="T13" fmla="*/ 1 h 17"/>
                          <a:gd name="T14" fmla="*/ 17 w 38"/>
                          <a:gd name="T15" fmla="*/ 1 h 17"/>
                          <a:gd name="T16" fmla="*/ 18 w 38"/>
                          <a:gd name="T17" fmla="*/ 1 h 17"/>
                          <a:gd name="T18" fmla="*/ 20 w 38"/>
                          <a:gd name="T19" fmla="*/ 2 h 17"/>
                          <a:gd name="T20" fmla="*/ 20 w 38"/>
                          <a:gd name="T21" fmla="*/ 2 h 17"/>
                          <a:gd name="T22" fmla="*/ 22 w 38"/>
                          <a:gd name="T23" fmla="*/ 3 h 17"/>
                          <a:gd name="T24" fmla="*/ 24 w 38"/>
                          <a:gd name="T25" fmla="*/ 3 h 17"/>
                          <a:gd name="T26" fmla="*/ 23 w 38"/>
                          <a:gd name="T27" fmla="*/ 4 h 17"/>
                          <a:gd name="T28" fmla="*/ 24 w 38"/>
                          <a:gd name="T29" fmla="*/ 5 h 17"/>
                          <a:gd name="T30" fmla="*/ 26 w 38"/>
                          <a:gd name="T31" fmla="*/ 4 h 17"/>
                          <a:gd name="T32" fmla="*/ 28 w 38"/>
                          <a:gd name="T33" fmla="*/ 5 h 17"/>
                          <a:gd name="T34" fmla="*/ 30 w 38"/>
                          <a:gd name="T35" fmla="*/ 8 h 17"/>
                          <a:gd name="T36" fmla="*/ 33 w 38"/>
                          <a:gd name="T37" fmla="*/ 10 h 17"/>
                          <a:gd name="T38" fmla="*/ 36 w 38"/>
                          <a:gd name="T39" fmla="*/ 10 h 17"/>
                          <a:gd name="T40" fmla="*/ 37 w 38"/>
                          <a:gd name="T41" fmla="*/ 12 h 17"/>
                          <a:gd name="T42" fmla="*/ 37 w 38"/>
                          <a:gd name="T43" fmla="*/ 12 h 17"/>
                          <a:gd name="T44" fmla="*/ 38 w 38"/>
                          <a:gd name="T45" fmla="*/ 15 h 17"/>
                          <a:gd name="T46" fmla="*/ 37 w 38"/>
                          <a:gd name="T47" fmla="*/ 16 h 17"/>
                          <a:gd name="T48" fmla="*/ 35 w 38"/>
                          <a:gd name="T49" fmla="*/ 17 h 17"/>
                          <a:gd name="T50" fmla="*/ 33 w 38"/>
                          <a:gd name="T51" fmla="*/ 14 h 17"/>
                          <a:gd name="T52" fmla="*/ 30 w 38"/>
                          <a:gd name="T53" fmla="*/ 11 h 17"/>
                          <a:gd name="T54" fmla="*/ 30 w 38"/>
                          <a:gd name="T55" fmla="*/ 10 h 17"/>
                          <a:gd name="T56" fmla="*/ 29 w 38"/>
                          <a:gd name="T57" fmla="*/ 10 h 17"/>
                          <a:gd name="T58" fmla="*/ 27 w 38"/>
                          <a:gd name="T59" fmla="*/ 10 h 17"/>
                          <a:gd name="T60" fmla="*/ 27 w 38"/>
                          <a:gd name="T61" fmla="*/ 11 h 17"/>
                          <a:gd name="T62" fmla="*/ 27 w 38"/>
                          <a:gd name="T63" fmla="*/ 10 h 17"/>
                          <a:gd name="T64" fmla="*/ 23 w 38"/>
                          <a:gd name="T65" fmla="*/ 10 h 17"/>
                          <a:gd name="T66" fmla="*/ 22 w 38"/>
                          <a:gd name="T67" fmla="*/ 8 h 17"/>
                          <a:gd name="T68" fmla="*/ 20 w 38"/>
                          <a:gd name="T69" fmla="*/ 5 h 17"/>
                          <a:gd name="T70" fmla="*/ 17 w 38"/>
                          <a:gd name="T71" fmla="*/ 5 h 17"/>
                          <a:gd name="T72" fmla="*/ 16 w 38"/>
                          <a:gd name="T73" fmla="*/ 5 h 17"/>
                          <a:gd name="T74" fmla="*/ 14 w 38"/>
                          <a:gd name="T75" fmla="*/ 4 h 17"/>
                          <a:gd name="T76" fmla="*/ 13 w 38"/>
                          <a:gd name="T77" fmla="*/ 3 h 17"/>
                          <a:gd name="T78" fmla="*/ 11 w 38"/>
                          <a:gd name="T79" fmla="*/ 3 h 17"/>
                          <a:gd name="T80" fmla="*/ 9 w 38"/>
                          <a:gd name="T81" fmla="*/ 3 h 17"/>
                          <a:gd name="T82" fmla="*/ 10 w 38"/>
                          <a:gd name="T83" fmla="*/ 2 h 17"/>
                          <a:gd name="T84" fmla="*/ 9 w 38"/>
                          <a:gd name="T85" fmla="*/ 1 h 17"/>
                          <a:gd name="T86" fmla="*/ 8 w 38"/>
                          <a:gd name="T87" fmla="*/ 1 h 17"/>
                          <a:gd name="T88" fmla="*/ 4 w 38"/>
                          <a:gd name="T89" fmla="*/ 1 h 17"/>
                          <a:gd name="T90" fmla="*/ 1 w 38"/>
                          <a:gd name="T91" fmla="*/ 1 h 17"/>
                          <a:gd name="T92" fmla="*/ 1 w 38"/>
                          <a:gd name="T93" fmla="*/ 1 h 17"/>
                          <a:gd name="T94" fmla="*/ 0 w 38"/>
                          <a:gd name="T95" fmla="*/ 1 h 17"/>
                          <a:gd name="T96" fmla="*/ 3 w 38"/>
                          <a:gd name="T97" fmla="*/ 0 h 17"/>
                          <a:gd name="T98" fmla="*/ 3 w 38"/>
                          <a:gd name="T99"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38" h="17">
                            <a:moveTo>
                              <a:pt x="3" y="0"/>
                            </a:moveTo>
                            <a:lnTo>
                              <a:pt x="7" y="0"/>
                            </a:lnTo>
                            <a:lnTo>
                              <a:pt x="9" y="0"/>
                            </a:lnTo>
                            <a:lnTo>
                              <a:pt x="10" y="1"/>
                            </a:lnTo>
                            <a:lnTo>
                              <a:pt x="11" y="0"/>
                            </a:lnTo>
                            <a:lnTo>
                              <a:pt x="13" y="1"/>
                            </a:lnTo>
                            <a:lnTo>
                              <a:pt x="18" y="1"/>
                            </a:lnTo>
                            <a:lnTo>
                              <a:pt x="17" y="1"/>
                            </a:lnTo>
                            <a:lnTo>
                              <a:pt x="18" y="1"/>
                            </a:lnTo>
                            <a:lnTo>
                              <a:pt x="20" y="2"/>
                            </a:lnTo>
                            <a:lnTo>
                              <a:pt x="20" y="2"/>
                            </a:lnTo>
                            <a:lnTo>
                              <a:pt x="22" y="3"/>
                            </a:lnTo>
                            <a:lnTo>
                              <a:pt x="24" y="3"/>
                            </a:lnTo>
                            <a:lnTo>
                              <a:pt x="23" y="4"/>
                            </a:lnTo>
                            <a:lnTo>
                              <a:pt x="24" y="5"/>
                            </a:lnTo>
                            <a:lnTo>
                              <a:pt x="26" y="4"/>
                            </a:lnTo>
                            <a:lnTo>
                              <a:pt x="28" y="5"/>
                            </a:lnTo>
                            <a:lnTo>
                              <a:pt x="30" y="8"/>
                            </a:lnTo>
                            <a:lnTo>
                              <a:pt x="33" y="10"/>
                            </a:lnTo>
                            <a:lnTo>
                              <a:pt x="36" y="10"/>
                            </a:lnTo>
                            <a:lnTo>
                              <a:pt x="37" y="12"/>
                            </a:lnTo>
                            <a:lnTo>
                              <a:pt x="37" y="12"/>
                            </a:lnTo>
                            <a:lnTo>
                              <a:pt x="38" y="15"/>
                            </a:lnTo>
                            <a:lnTo>
                              <a:pt x="37" y="16"/>
                            </a:lnTo>
                            <a:lnTo>
                              <a:pt x="35" y="17"/>
                            </a:lnTo>
                            <a:lnTo>
                              <a:pt x="33" y="14"/>
                            </a:lnTo>
                            <a:lnTo>
                              <a:pt x="30" y="11"/>
                            </a:lnTo>
                            <a:lnTo>
                              <a:pt x="30" y="10"/>
                            </a:lnTo>
                            <a:lnTo>
                              <a:pt x="29" y="10"/>
                            </a:lnTo>
                            <a:lnTo>
                              <a:pt x="27" y="10"/>
                            </a:lnTo>
                            <a:lnTo>
                              <a:pt x="27" y="11"/>
                            </a:lnTo>
                            <a:lnTo>
                              <a:pt x="27" y="10"/>
                            </a:lnTo>
                            <a:lnTo>
                              <a:pt x="23" y="10"/>
                            </a:lnTo>
                            <a:lnTo>
                              <a:pt x="22" y="8"/>
                            </a:lnTo>
                            <a:lnTo>
                              <a:pt x="20" y="5"/>
                            </a:lnTo>
                            <a:lnTo>
                              <a:pt x="17" y="5"/>
                            </a:lnTo>
                            <a:lnTo>
                              <a:pt x="16" y="5"/>
                            </a:lnTo>
                            <a:lnTo>
                              <a:pt x="14" y="4"/>
                            </a:lnTo>
                            <a:lnTo>
                              <a:pt x="13" y="3"/>
                            </a:lnTo>
                            <a:lnTo>
                              <a:pt x="11" y="3"/>
                            </a:lnTo>
                            <a:lnTo>
                              <a:pt x="9" y="3"/>
                            </a:lnTo>
                            <a:lnTo>
                              <a:pt x="10" y="2"/>
                            </a:lnTo>
                            <a:lnTo>
                              <a:pt x="9" y="1"/>
                            </a:lnTo>
                            <a:lnTo>
                              <a:pt x="8" y="1"/>
                            </a:lnTo>
                            <a:lnTo>
                              <a:pt x="4" y="1"/>
                            </a:lnTo>
                            <a:lnTo>
                              <a:pt x="1" y="1"/>
                            </a:lnTo>
                            <a:lnTo>
                              <a:pt x="1" y="1"/>
                            </a:lnTo>
                            <a:lnTo>
                              <a:pt x="0" y="1"/>
                            </a:lnTo>
                            <a:lnTo>
                              <a:pt x="3" y="0"/>
                            </a:lnTo>
                            <a:lnTo>
                              <a:pt x="3" y="0"/>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516" name="Freeform 235">
                        <a:extLst>
                          <a:ext uri="{FF2B5EF4-FFF2-40B4-BE49-F238E27FC236}">
                            <a16:creationId xmlns:a16="http://schemas.microsoft.com/office/drawing/2014/main" id="{7C0F6154-97D0-7C4C-AEED-6D8E412D38F8}"/>
                          </a:ext>
                        </a:extLst>
                      </p:cNvPr>
                      <p:cNvSpPr>
                        <a:spLocks/>
                      </p:cNvSpPr>
                      <p:nvPr/>
                    </p:nvSpPr>
                    <p:spPr bwMode="auto">
                      <a:xfrm>
                        <a:off x="3505899" y="6023843"/>
                        <a:ext cx="45018" cy="30548"/>
                      </a:xfrm>
                      <a:custGeom>
                        <a:avLst/>
                        <a:gdLst>
                          <a:gd name="T0" fmla="*/ 28 w 28"/>
                          <a:gd name="T1" fmla="*/ 0 h 19"/>
                          <a:gd name="T2" fmla="*/ 26 w 28"/>
                          <a:gd name="T3" fmla="*/ 5 h 19"/>
                          <a:gd name="T4" fmla="*/ 23 w 28"/>
                          <a:gd name="T5" fmla="*/ 6 h 19"/>
                          <a:gd name="T6" fmla="*/ 19 w 28"/>
                          <a:gd name="T7" fmla="*/ 8 h 19"/>
                          <a:gd name="T8" fmla="*/ 19 w 28"/>
                          <a:gd name="T9" fmla="*/ 12 h 19"/>
                          <a:gd name="T10" fmla="*/ 15 w 28"/>
                          <a:gd name="T11" fmla="*/ 16 h 19"/>
                          <a:gd name="T12" fmla="*/ 10 w 28"/>
                          <a:gd name="T13" fmla="*/ 16 h 19"/>
                          <a:gd name="T14" fmla="*/ 8 w 28"/>
                          <a:gd name="T15" fmla="*/ 19 h 19"/>
                          <a:gd name="T16" fmla="*/ 6 w 28"/>
                          <a:gd name="T17" fmla="*/ 16 h 19"/>
                          <a:gd name="T18" fmla="*/ 1 w 28"/>
                          <a:gd name="T19" fmla="*/ 15 h 19"/>
                          <a:gd name="T20" fmla="*/ 0 w 28"/>
                          <a:gd name="T21" fmla="*/ 11 h 19"/>
                          <a:gd name="T22" fmla="*/ 5 w 28"/>
                          <a:gd name="T23" fmla="*/ 13 h 19"/>
                          <a:gd name="T24" fmla="*/ 6 w 28"/>
                          <a:gd name="T25" fmla="*/ 9 h 19"/>
                          <a:gd name="T26" fmla="*/ 5 w 28"/>
                          <a:gd name="T27" fmla="*/ 5 h 19"/>
                          <a:gd name="T28" fmla="*/ 5 w 28"/>
                          <a:gd name="T29" fmla="*/ 2 h 19"/>
                          <a:gd name="T30" fmla="*/ 3 w 28"/>
                          <a:gd name="T31" fmla="*/ 0 h 19"/>
                          <a:gd name="T32" fmla="*/ 7 w 28"/>
                          <a:gd name="T33" fmla="*/ 1 h 19"/>
                          <a:gd name="T34" fmla="*/ 11 w 28"/>
                          <a:gd name="T35" fmla="*/ 0 h 19"/>
                          <a:gd name="T36" fmla="*/ 17 w 28"/>
                          <a:gd name="T37" fmla="*/ 1 h 19"/>
                          <a:gd name="T38" fmla="*/ 21 w 28"/>
                          <a:gd name="T39" fmla="*/ 1 h 19"/>
                          <a:gd name="T40" fmla="*/ 26 w 28"/>
                          <a:gd name="T41" fmla="*/ 1 h 19"/>
                          <a:gd name="T42" fmla="*/ 28 w 28"/>
                          <a:gd name="T43" fmla="*/ 0 h 19"/>
                          <a:gd name="T44" fmla="*/ 28 w 28"/>
                          <a:gd name="T45"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28" h="19">
                            <a:moveTo>
                              <a:pt x="28" y="0"/>
                            </a:moveTo>
                            <a:lnTo>
                              <a:pt x="26" y="5"/>
                            </a:lnTo>
                            <a:lnTo>
                              <a:pt x="23" y="6"/>
                            </a:lnTo>
                            <a:lnTo>
                              <a:pt x="19" y="8"/>
                            </a:lnTo>
                            <a:lnTo>
                              <a:pt x="19" y="12"/>
                            </a:lnTo>
                            <a:lnTo>
                              <a:pt x="15" y="16"/>
                            </a:lnTo>
                            <a:lnTo>
                              <a:pt x="10" y="16"/>
                            </a:lnTo>
                            <a:lnTo>
                              <a:pt x="8" y="19"/>
                            </a:lnTo>
                            <a:lnTo>
                              <a:pt x="6" y="16"/>
                            </a:lnTo>
                            <a:lnTo>
                              <a:pt x="1" y="15"/>
                            </a:lnTo>
                            <a:lnTo>
                              <a:pt x="0" y="11"/>
                            </a:lnTo>
                            <a:lnTo>
                              <a:pt x="5" y="13"/>
                            </a:lnTo>
                            <a:lnTo>
                              <a:pt x="6" y="9"/>
                            </a:lnTo>
                            <a:lnTo>
                              <a:pt x="5" y="5"/>
                            </a:lnTo>
                            <a:lnTo>
                              <a:pt x="5" y="2"/>
                            </a:lnTo>
                            <a:lnTo>
                              <a:pt x="3" y="0"/>
                            </a:lnTo>
                            <a:lnTo>
                              <a:pt x="7" y="1"/>
                            </a:lnTo>
                            <a:lnTo>
                              <a:pt x="11" y="0"/>
                            </a:lnTo>
                            <a:lnTo>
                              <a:pt x="17" y="1"/>
                            </a:lnTo>
                            <a:lnTo>
                              <a:pt x="21" y="1"/>
                            </a:lnTo>
                            <a:lnTo>
                              <a:pt x="26" y="1"/>
                            </a:lnTo>
                            <a:lnTo>
                              <a:pt x="28" y="0"/>
                            </a:lnTo>
                            <a:lnTo>
                              <a:pt x="28" y="0"/>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517" name="Freeform 290">
                        <a:extLst>
                          <a:ext uri="{FF2B5EF4-FFF2-40B4-BE49-F238E27FC236}">
                            <a16:creationId xmlns:a16="http://schemas.microsoft.com/office/drawing/2014/main" id="{AB198C2A-5574-6A47-A3ED-72251B0B043D}"/>
                          </a:ext>
                        </a:extLst>
                      </p:cNvPr>
                      <p:cNvSpPr>
                        <a:spLocks/>
                      </p:cNvSpPr>
                      <p:nvPr/>
                    </p:nvSpPr>
                    <p:spPr bwMode="auto">
                      <a:xfrm>
                        <a:off x="4880557" y="2415969"/>
                        <a:ext cx="194542" cy="271716"/>
                      </a:xfrm>
                      <a:custGeom>
                        <a:avLst/>
                        <a:gdLst>
                          <a:gd name="T0" fmla="*/ 18 w 121"/>
                          <a:gd name="T1" fmla="*/ 8 h 169"/>
                          <a:gd name="T2" fmla="*/ 14 w 121"/>
                          <a:gd name="T3" fmla="*/ 13 h 169"/>
                          <a:gd name="T4" fmla="*/ 12 w 121"/>
                          <a:gd name="T5" fmla="*/ 18 h 169"/>
                          <a:gd name="T6" fmla="*/ 12 w 121"/>
                          <a:gd name="T7" fmla="*/ 22 h 169"/>
                          <a:gd name="T8" fmla="*/ 10 w 121"/>
                          <a:gd name="T9" fmla="*/ 25 h 169"/>
                          <a:gd name="T10" fmla="*/ 10 w 121"/>
                          <a:gd name="T11" fmla="*/ 31 h 169"/>
                          <a:gd name="T12" fmla="*/ 4 w 121"/>
                          <a:gd name="T13" fmla="*/ 39 h 169"/>
                          <a:gd name="T14" fmla="*/ 17 w 121"/>
                          <a:gd name="T15" fmla="*/ 39 h 169"/>
                          <a:gd name="T16" fmla="*/ 8 w 121"/>
                          <a:gd name="T17" fmla="*/ 52 h 169"/>
                          <a:gd name="T18" fmla="*/ 11 w 121"/>
                          <a:gd name="T19" fmla="*/ 62 h 169"/>
                          <a:gd name="T20" fmla="*/ 18 w 121"/>
                          <a:gd name="T21" fmla="*/ 48 h 169"/>
                          <a:gd name="T22" fmla="*/ 21 w 121"/>
                          <a:gd name="T23" fmla="*/ 51 h 169"/>
                          <a:gd name="T24" fmla="*/ 24 w 121"/>
                          <a:gd name="T25" fmla="*/ 62 h 169"/>
                          <a:gd name="T26" fmla="*/ 19 w 121"/>
                          <a:gd name="T27" fmla="*/ 79 h 169"/>
                          <a:gd name="T28" fmla="*/ 27 w 121"/>
                          <a:gd name="T29" fmla="*/ 73 h 169"/>
                          <a:gd name="T30" fmla="*/ 46 w 121"/>
                          <a:gd name="T31" fmla="*/ 72 h 169"/>
                          <a:gd name="T32" fmla="*/ 41 w 121"/>
                          <a:gd name="T33" fmla="*/ 85 h 169"/>
                          <a:gd name="T34" fmla="*/ 50 w 121"/>
                          <a:gd name="T35" fmla="*/ 91 h 169"/>
                          <a:gd name="T36" fmla="*/ 47 w 121"/>
                          <a:gd name="T37" fmla="*/ 101 h 169"/>
                          <a:gd name="T38" fmla="*/ 40 w 121"/>
                          <a:gd name="T39" fmla="*/ 105 h 169"/>
                          <a:gd name="T40" fmla="*/ 28 w 121"/>
                          <a:gd name="T41" fmla="*/ 107 h 169"/>
                          <a:gd name="T42" fmla="*/ 20 w 121"/>
                          <a:gd name="T43" fmla="*/ 114 h 169"/>
                          <a:gd name="T44" fmla="*/ 31 w 121"/>
                          <a:gd name="T45" fmla="*/ 117 h 169"/>
                          <a:gd name="T46" fmla="*/ 18 w 121"/>
                          <a:gd name="T47" fmla="*/ 129 h 169"/>
                          <a:gd name="T48" fmla="*/ 13 w 121"/>
                          <a:gd name="T49" fmla="*/ 134 h 169"/>
                          <a:gd name="T50" fmla="*/ 18 w 121"/>
                          <a:gd name="T51" fmla="*/ 139 h 169"/>
                          <a:gd name="T52" fmla="*/ 28 w 121"/>
                          <a:gd name="T53" fmla="*/ 138 h 169"/>
                          <a:gd name="T54" fmla="*/ 44 w 121"/>
                          <a:gd name="T55" fmla="*/ 142 h 169"/>
                          <a:gd name="T56" fmla="*/ 47 w 121"/>
                          <a:gd name="T57" fmla="*/ 142 h 169"/>
                          <a:gd name="T58" fmla="*/ 26 w 121"/>
                          <a:gd name="T59" fmla="*/ 149 h 169"/>
                          <a:gd name="T60" fmla="*/ 16 w 121"/>
                          <a:gd name="T61" fmla="*/ 159 h 169"/>
                          <a:gd name="T62" fmla="*/ 5 w 121"/>
                          <a:gd name="T63" fmla="*/ 165 h 169"/>
                          <a:gd name="T64" fmla="*/ 14 w 121"/>
                          <a:gd name="T65" fmla="*/ 169 h 169"/>
                          <a:gd name="T66" fmla="*/ 20 w 121"/>
                          <a:gd name="T67" fmla="*/ 162 h 169"/>
                          <a:gd name="T68" fmla="*/ 33 w 121"/>
                          <a:gd name="T69" fmla="*/ 165 h 169"/>
                          <a:gd name="T70" fmla="*/ 40 w 121"/>
                          <a:gd name="T71" fmla="*/ 158 h 169"/>
                          <a:gd name="T72" fmla="*/ 57 w 121"/>
                          <a:gd name="T73" fmla="*/ 158 h 169"/>
                          <a:gd name="T74" fmla="*/ 73 w 121"/>
                          <a:gd name="T75" fmla="*/ 155 h 169"/>
                          <a:gd name="T76" fmla="*/ 74 w 121"/>
                          <a:gd name="T77" fmla="*/ 155 h 169"/>
                          <a:gd name="T78" fmla="*/ 84 w 121"/>
                          <a:gd name="T79" fmla="*/ 153 h 169"/>
                          <a:gd name="T80" fmla="*/ 114 w 121"/>
                          <a:gd name="T81" fmla="*/ 147 h 169"/>
                          <a:gd name="T82" fmla="*/ 108 w 121"/>
                          <a:gd name="T83" fmla="*/ 139 h 169"/>
                          <a:gd name="T84" fmla="*/ 115 w 121"/>
                          <a:gd name="T85" fmla="*/ 129 h 169"/>
                          <a:gd name="T86" fmla="*/ 114 w 121"/>
                          <a:gd name="T87" fmla="*/ 112 h 169"/>
                          <a:gd name="T88" fmla="*/ 100 w 121"/>
                          <a:gd name="T89" fmla="*/ 112 h 169"/>
                          <a:gd name="T90" fmla="*/ 97 w 121"/>
                          <a:gd name="T91" fmla="*/ 102 h 169"/>
                          <a:gd name="T92" fmla="*/ 93 w 121"/>
                          <a:gd name="T93" fmla="*/ 98 h 169"/>
                          <a:gd name="T94" fmla="*/ 76 w 121"/>
                          <a:gd name="T95" fmla="*/ 79 h 169"/>
                          <a:gd name="T96" fmla="*/ 67 w 121"/>
                          <a:gd name="T97" fmla="*/ 59 h 169"/>
                          <a:gd name="T98" fmla="*/ 51 w 121"/>
                          <a:gd name="T99" fmla="*/ 52 h 169"/>
                          <a:gd name="T100" fmla="*/ 45 w 121"/>
                          <a:gd name="T101" fmla="*/ 51 h 169"/>
                          <a:gd name="T102" fmla="*/ 45 w 121"/>
                          <a:gd name="T103" fmla="*/ 45 h 169"/>
                          <a:gd name="T104" fmla="*/ 58 w 121"/>
                          <a:gd name="T105" fmla="*/ 37 h 169"/>
                          <a:gd name="T106" fmla="*/ 66 w 121"/>
                          <a:gd name="T107" fmla="*/ 20 h 169"/>
                          <a:gd name="T108" fmla="*/ 44 w 121"/>
                          <a:gd name="T109" fmla="*/ 20 h 169"/>
                          <a:gd name="T110" fmla="*/ 33 w 121"/>
                          <a:gd name="T111" fmla="*/ 21 h 169"/>
                          <a:gd name="T112" fmla="*/ 38 w 121"/>
                          <a:gd name="T113" fmla="*/ 17 h 169"/>
                          <a:gd name="T114" fmla="*/ 38 w 121"/>
                          <a:gd name="T115" fmla="*/ 13 h 169"/>
                          <a:gd name="T116" fmla="*/ 48 w 121"/>
                          <a:gd name="T117" fmla="*/ 0 h 169"/>
                          <a:gd name="T118" fmla="*/ 32 w 121"/>
                          <a:gd name="T119" fmla="*/ 4 h 169"/>
                          <a:gd name="T120" fmla="*/ 23 w 121"/>
                          <a:gd name="T121" fmla="*/ 1 h 1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121" h="169">
                            <a:moveTo>
                              <a:pt x="20" y="1"/>
                            </a:moveTo>
                            <a:lnTo>
                              <a:pt x="19" y="1"/>
                            </a:lnTo>
                            <a:lnTo>
                              <a:pt x="19" y="2"/>
                            </a:lnTo>
                            <a:lnTo>
                              <a:pt x="19" y="2"/>
                            </a:lnTo>
                            <a:lnTo>
                              <a:pt x="18" y="4"/>
                            </a:lnTo>
                            <a:lnTo>
                              <a:pt x="19" y="4"/>
                            </a:lnTo>
                            <a:lnTo>
                              <a:pt x="19" y="5"/>
                            </a:lnTo>
                            <a:lnTo>
                              <a:pt x="18" y="5"/>
                            </a:lnTo>
                            <a:lnTo>
                              <a:pt x="19" y="5"/>
                            </a:lnTo>
                            <a:lnTo>
                              <a:pt x="19" y="6"/>
                            </a:lnTo>
                            <a:lnTo>
                              <a:pt x="18" y="5"/>
                            </a:lnTo>
                            <a:lnTo>
                              <a:pt x="19" y="6"/>
                            </a:lnTo>
                            <a:lnTo>
                              <a:pt x="19" y="6"/>
                            </a:lnTo>
                            <a:lnTo>
                              <a:pt x="19" y="6"/>
                            </a:lnTo>
                            <a:lnTo>
                              <a:pt x="18" y="6"/>
                            </a:lnTo>
                            <a:lnTo>
                              <a:pt x="18" y="6"/>
                            </a:lnTo>
                            <a:lnTo>
                              <a:pt x="18" y="7"/>
                            </a:lnTo>
                            <a:lnTo>
                              <a:pt x="18" y="7"/>
                            </a:lnTo>
                            <a:lnTo>
                              <a:pt x="18" y="7"/>
                            </a:lnTo>
                            <a:lnTo>
                              <a:pt x="18" y="8"/>
                            </a:lnTo>
                            <a:lnTo>
                              <a:pt x="18" y="8"/>
                            </a:lnTo>
                            <a:lnTo>
                              <a:pt x="18" y="8"/>
                            </a:lnTo>
                            <a:lnTo>
                              <a:pt x="17" y="8"/>
                            </a:lnTo>
                            <a:lnTo>
                              <a:pt x="16" y="10"/>
                            </a:lnTo>
                            <a:lnTo>
                              <a:pt x="14" y="8"/>
                            </a:lnTo>
                            <a:lnTo>
                              <a:pt x="14" y="8"/>
                            </a:lnTo>
                            <a:lnTo>
                              <a:pt x="16" y="10"/>
                            </a:lnTo>
                            <a:lnTo>
                              <a:pt x="16" y="10"/>
                            </a:lnTo>
                            <a:lnTo>
                              <a:pt x="16" y="11"/>
                            </a:lnTo>
                            <a:lnTo>
                              <a:pt x="17" y="11"/>
                            </a:lnTo>
                            <a:lnTo>
                              <a:pt x="17" y="11"/>
                            </a:lnTo>
                            <a:lnTo>
                              <a:pt x="17" y="11"/>
                            </a:lnTo>
                            <a:lnTo>
                              <a:pt x="17" y="11"/>
                            </a:lnTo>
                            <a:lnTo>
                              <a:pt x="17" y="12"/>
                            </a:lnTo>
                            <a:lnTo>
                              <a:pt x="17" y="12"/>
                            </a:lnTo>
                            <a:lnTo>
                              <a:pt x="17" y="12"/>
                            </a:lnTo>
                            <a:lnTo>
                              <a:pt x="16" y="12"/>
                            </a:lnTo>
                            <a:lnTo>
                              <a:pt x="14" y="12"/>
                            </a:lnTo>
                            <a:lnTo>
                              <a:pt x="14" y="11"/>
                            </a:lnTo>
                            <a:lnTo>
                              <a:pt x="13" y="11"/>
                            </a:lnTo>
                            <a:lnTo>
                              <a:pt x="13" y="12"/>
                            </a:lnTo>
                            <a:lnTo>
                              <a:pt x="13" y="12"/>
                            </a:lnTo>
                            <a:lnTo>
                              <a:pt x="14" y="12"/>
                            </a:lnTo>
                            <a:lnTo>
                              <a:pt x="14" y="13"/>
                            </a:lnTo>
                            <a:lnTo>
                              <a:pt x="16" y="13"/>
                            </a:lnTo>
                            <a:lnTo>
                              <a:pt x="16" y="14"/>
                            </a:lnTo>
                            <a:lnTo>
                              <a:pt x="17" y="14"/>
                            </a:lnTo>
                            <a:lnTo>
                              <a:pt x="17" y="15"/>
                            </a:lnTo>
                            <a:lnTo>
                              <a:pt x="17" y="15"/>
                            </a:lnTo>
                            <a:lnTo>
                              <a:pt x="17" y="15"/>
                            </a:lnTo>
                            <a:lnTo>
                              <a:pt x="18" y="17"/>
                            </a:lnTo>
                            <a:lnTo>
                              <a:pt x="16" y="15"/>
                            </a:lnTo>
                            <a:lnTo>
                              <a:pt x="14" y="15"/>
                            </a:lnTo>
                            <a:lnTo>
                              <a:pt x="14" y="15"/>
                            </a:lnTo>
                            <a:lnTo>
                              <a:pt x="17" y="17"/>
                            </a:lnTo>
                            <a:lnTo>
                              <a:pt x="17" y="17"/>
                            </a:lnTo>
                            <a:lnTo>
                              <a:pt x="14" y="15"/>
                            </a:lnTo>
                            <a:lnTo>
                              <a:pt x="13" y="17"/>
                            </a:lnTo>
                            <a:lnTo>
                              <a:pt x="12" y="17"/>
                            </a:lnTo>
                            <a:lnTo>
                              <a:pt x="12" y="17"/>
                            </a:lnTo>
                            <a:lnTo>
                              <a:pt x="11" y="15"/>
                            </a:lnTo>
                            <a:lnTo>
                              <a:pt x="11" y="15"/>
                            </a:lnTo>
                            <a:lnTo>
                              <a:pt x="11" y="17"/>
                            </a:lnTo>
                            <a:lnTo>
                              <a:pt x="12" y="17"/>
                            </a:lnTo>
                            <a:lnTo>
                              <a:pt x="11" y="18"/>
                            </a:lnTo>
                            <a:lnTo>
                              <a:pt x="12" y="18"/>
                            </a:lnTo>
                            <a:lnTo>
                              <a:pt x="11" y="18"/>
                            </a:lnTo>
                            <a:lnTo>
                              <a:pt x="11" y="18"/>
                            </a:lnTo>
                            <a:lnTo>
                              <a:pt x="10" y="18"/>
                            </a:lnTo>
                            <a:lnTo>
                              <a:pt x="10" y="18"/>
                            </a:lnTo>
                            <a:lnTo>
                              <a:pt x="10" y="17"/>
                            </a:lnTo>
                            <a:lnTo>
                              <a:pt x="8" y="17"/>
                            </a:lnTo>
                            <a:lnTo>
                              <a:pt x="8" y="17"/>
                            </a:lnTo>
                            <a:lnTo>
                              <a:pt x="8" y="17"/>
                            </a:lnTo>
                            <a:lnTo>
                              <a:pt x="8" y="18"/>
                            </a:lnTo>
                            <a:lnTo>
                              <a:pt x="8" y="18"/>
                            </a:lnTo>
                            <a:lnTo>
                              <a:pt x="10" y="19"/>
                            </a:lnTo>
                            <a:lnTo>
                              <a:pt x="8" y="19"/>
                            </a:lnTo>
                            <a:lnTo>
                              <a:pt x="8" y="19"/>
                            </a:lnTo>
                            <a:lnTo>
                              <a:pt x="7" y="19"/>
                            </a:lnTo>
                            <a:lnTo>
                              <a:pt x="8" y="20"/>
                            </a:lnTo>
                            <a:lnTo>
                              <a:pt x="8" y="20"/>
                            </a:lnTo>
                            <a:lnTo>
                              <a:pt x="8" y="20"/>
                            </a:lnTo>
                            <a:lnTo>
                              <a:pt x="10" y="21"/>
                            </a:lnTo>
                            <a:lnTo>
                              <a:pt x="8" y="21"/>
                            </a:lnTo>
                            <a:lnTo>
                              <a:pt x="10" y="21"/>
                            </a:lnTo>
                            <a:lnTo>
                              <a:pt x="10" y="22"/>
                            </a:lnTo>
                            <a:lnTo>
                              <a:pt x="12" y="22"/>
                            </a:lnTo>
                            <a:lnTo>
                              <a:pt x="12" y="22"/>
                            </a:lnTo>
                            <a:lnTo>
                              <a:pt x="10" y="22"/>
                            </a:lnTo>
                            <a:lnTo>
                              <a:pt x="8" y="22"/>
                            </a:lnTo>
                            <a:lnTo>
                              <a:pt x="8" y="22"/>
                            </a:lnTo>
                            <a:lnTo>
                              <a:pt x="8" y="21"/>
                            </a:lnTo>
                            <a:lnTo>
                              <a:pt x="7" y="21"/>
                            </a:lnTo>
                            <a:lnTo>
                              <a:pt x="6" y="22"/>
                            </a:lnTo>
                            <a:lnTo>
                              <a:pt x="7" y="24"/>
                            </a:lnTo>
                            <a:lnTo>
                              <a:pt x="6" y="24"/>
                            </a:lnTo>
                            <a:lnTo>
                              <a:pt x="7" y="24"/>
                            </a:lnTo>
                            <a:lnTo>
                              <a:pt x="8" y="24"/>
                            </a:lnTo>
                            <a:lnTo>
                              <a:pt x="7" y="25"/>
                            </a:lnTo>
                            <a:lnTo>
                              <a:pt x="8" y="25"/>
                            </a:lnTo>
                            <a:lnTo>
                              <a:pt x="8" y="25"/>
                            </a:lnTo>
                            <a:lnTo>
                              <a:pt x="8" y="25"/>
                            </a:lnTo>
                            <a:lnTo>
                              <a:pt x="7" y="25"/>
                            </a:lnTo>
                            <a:lnTo>
                              <a:pt x="8" y="25"/>
                            </a:lnTo>
                            <a:lnTo>
                              <a:pt x="8" y="26"/>
                            </a:lnTo>
                            <a:lnTo>
                              <a:pt x="8" y="26"/>
                            </a:lnTo>
                            <a:lnTo>
                              <a:pt x="10" y="25"/>
                            </a:lnTo>
                            <a:lnTo>
                              <a:pt x="10" y="25"/>
                            </a:lnTo>
                            <a:lnTo>
                              <a:pt x="10" y="25"/>
                            </a:lnTo>
                            <a:lnTo>
                              <a:pt x="10" y="26"/>
                            </a:lnTo>
                            <a:lnTo>
                              <a:pt x="11" y="25"/>
                            </a:lnTo>
                            <a:lnTo>
                              <a:pt x="12" y="26"/>
                            </a:lnTo>
                            <a:lnTo>
                              <a:pt x="11" y="26"/>
                            </a:lnTo>
                            <a:lnTo>
                              <a:pt x="10" y="26"/>
                            </a:lnTo>
                            <a:lnTo>
                              <a:pt x="8" y="27"/>
                            </a:lnTo>
                            <a:lnTo>
                              <a:pt x="10" y="27"/>
                            </a:lnTo>
                            <a:lnTo>
                              <a:pt x="11" y="27"/>
                            </a:lnTo>
                            <a:lnTo>
                              <a:pt x="12" y="28"/>
                            </a:lnTo>
                            <a:lnTo>
                              <a:pt x="14" y="28"/>
                            </a:lnTo>
                            <a:lnTo>
                              <a:pt x="13" y="28"/>
                            </a:lnTo>
                            <a:lnTo>
                              <a:pt x="11" y="28"/>
                            </a:lnTo>
                            <a:lnTo>
                              <a:pt x="11" y="27"/>
                            </a:lnTo>
                            <a:lnTo>
                              <a:pt x="10" y="28"/>
                            </a:lnTo>
                            <a:lnTo>
                              <a:pt x="10" y="28"/>
                            </a:lnTo>
                            <a:lnTo>
                              <a:pt x="10" y="28"/>
                            </a:lnTo>
                            <a:lnTo>
                              <a:pt x="10" y="30"/>
                            </a:lnTo>
                            <a:lnTo>
                              <a:pt x="10" y="31"/>
                            </a:lnTo>
                            <a:lnTo>
                              <a:pt x="11" y="31"/>
                            </a:lnTo>
                            <a:lnTo>
                              <a:pt x="11" y="31"/>
                            </a:lnTo>
                            <a:lnTo>
                              <a:pt x="11" y="31"/>
                            </a:lnTo>
                            <a:lnTo>
                              <a:pt x="10" y="31"/>
                            </a:lnTo>
                            <a:lnTo>
                              <a:pt x="8" y="31"/>
                            </a:lnTo>
                            <a:lnTo>
                              <a:pt x="7" y="31"/>
                            </a:lnTo>
                            <a:lnTo>
                              <a:pt x="7" y="32"/>
                            </a:lnTo>
                            <a:lnTo>
                              <a:pt x="8" y="32"/>
                            </a:lnTo>
                            <a:lnTo>
                              <a:pt x="8" y="33"/>
                            </a:lnTo>
                            <a:lnTo>
                              <a:pt x="7" y="33"/>
                            </a:lnTo>
                            <a:lnTo>
                              <a:pt x="6" y="34"/>
                            </a:lnTo>
                            <a:lnTo>
                              <a:pt x="6" y="34"/>
                            </a:lnTo>
                            <a:lnTo>
                              <a:pt x="8" y="34"/>
                            </a:lnTo>
                            <a:lnTo>
                              <a:pt x="10" y="34"/>
                            </a:lnTo>
                            <a:lnTo>
                              <a:pt x="8" y="35"/>
                            </a:lnTo>
                            <a:lnTo>
                              <a:pt x="7" y="35"/>
                            </a:lnTo>
                            <a:lnTo>
                              <a:pt x="6" y="35"/>
                            </a:lnTo>
                            <a:lnTo>
                              <a:pt x="7" y="37"/>
                            </a:lnTo>
                            <a:lnTo>
                              <a:pt x="6" y="37"/>
                            </a:lnTo>
                            <a:lnTo>
                              <a:pt x="6" y="37"/>
                            </a:lnTo>
                            <a:lnTo>
                              <a:pt x="5" y="37"/>
                            </a:lnTo>
                            <a:lnTo>
                              <a:pt x="4" y="37"/>
                            </a:lnTo>
                            <a:lnTo>
                              <a:pt x="3" y="37"/>
                            </a:lnTo>
                            <a:lnTo>
                              <a:pt x="0" y="38"/>
                            </a:lnTo>
                            <a:lnTo>
                              <a:pt x="0" y="39"/>
                            </a:lnTo>
                            <a:lnTo>
                              <a:pt x="4" y="39"/>
                            </a:lnTo>
                            <a:lnTo>
                              <a:pt x="7" y="39"/>
                            </a:lnTo>
                            <a:lnTo>
                              <a:pt x="8" y="39"/>
                            </a:lnTo>
                            <a:lnTo>
                              <a:pt x="8" y="38"/>
                            </a:lnTo>
                            <a:lnTo>
                              <a:pt x="8" y="39"/>
                            </a:lnTo>
                            <a:lnTo>
                              <a:pt x="6" y="39"/>
                            </a:lnTo>
                            <a:lnTo>
                              <a:pt x="5" y="39"/>
                            </a:lnTo>
                            <a:lnTo>
                              <a:pt x="4" y="40"/>
                            </a:lnTo>
                            <a:lnTo>
                              <a:pt x="5" y="40"/>
                            </a:lnTo>
                            <a:lnTo>
                              <a:pt x="6" y="41"/>
                            </a:lnTo>
                            <a:lnTo>
                              <a:pt x="7" y="41"/>
                            </a:lnTo>
                            <a:lnTo>
                              <a:pt x="7" y="42"/>
                            </a:lnTo>
                            <a:lnTo>
                              <a:pt x="8" y="42"/>
                            </a:lnTo>
                            <a:lnTo>
                              <a:pt x="8" y="42"/>
                            </a:lnTo>
                            <a:lnTo>
                              <a:pt x="11" y="41"/>
                            </a:lnTo>
                            <a:lnTo>
                              <a:pt x="12" y="40"/>
                            </a:lnTo>
                            <a:lnTo>
                              <a:pt x="13" y="39"/>
                            </a:lnTo>
                            <a:lnTo>
                              <a:pt x="14" y="39"/>
                            </a:lnTo>
                            <a:lnTo>
                              <a:pt x="14" y="38"/>
                            </a:lnTo>
                            <a:lnTo>
                              <a:pt x="16" y="37"/>
                            </a:lnTo>
                            <a:lnTo>
                              <a:pt x="17" y="35"/>
                            </a:lnTo>
                            <a:lnTo>
                              <a:pt x="16" y="38"/>
                            </a:lnTo>
                            <a:lnTo>
                              <a:pt x="17" y="39"/>
                            </a:lnTo>
                            <a:lnTo>
                              <a:pt x="16" y="39"/>
                            </a:lnTo>
                            <a:lnTo>
                              <a:pt x="14" y="39"/>
                            </a:lnTo>
                            <a:lnTo>
                              <a:pt x="14" y="40"/>
                            </a:lnTo>
                            <a:lnTo>
                              <a:pt x="14" y="40"/>
                            </a:lnTo>
                            <a:lnTo>
                              <a:pt x="13" y="41"/>
                            </a:lnTo>
                            <a:lnTo>
                              <a:pt x="14" y="41"/>
                            </a:lnTo>
                            <a:lnTo>
                              <a:pt x="13" y="42"/>
                            </a:lnTo>
                            <a:lnTo>
                              <a:pt x="13" y="42"/>
                            </a:lnTo>
                            <a:lnTo>
                              <a:pt x="14" y="42"/>
                            </a:lnTo>
                            <a:lnTo>
                              <a:pt x="16" y="44"/>
                            </a:lnTo>
                            <a:lnTo>
                              <a:pt x="12" y="42"/>
                            </a:lnTo>
                            <a:lnTo>
                              <a:pt x="12" y="45"/>
                            </a:lnTo>
                            <a:lnTo>
                              <a:pt x="11" y="45"/>
                            </a:lnTo>
                            <a:lnTo>
                              <a:pt x="11" y="46"/>
                            </a:lnTo>
                            <a:lnTo>
                              <a:pt x="10" y="48"/>
                            </a:lnTo>
                            <a:lnTo>
                              <a:pt x="10" y="48"/>
                            </a:lnTo>
                            <a:lnTo>
                              <a:pt x="10" y="50"/>
                            </a:lnTo>
                            <a:lnTo>
                              <a:pt x="11" y="50"/>
                            </a:lnTo>
                            <a:lnTo>
                              <a:pt x="11" y="50"/>
                            </a:lnTo>
                            <a:lnTo>
                              <a:pt x="11" y="51"/>
                            </a:lnTo>
                            <a:lnTo>
                              <a:pt x="8" y="51"/>
                            </a:lnTo>
                            <a:lnTo>
                              <a:pt x="8" y="52"/>
                            </a:lnTo>
                            <a:lnTo>
                              <a:pt x="7" y="53"/>
                            </a:lnTo>
                            <a:lnTo>
                              <a:pt x="7" y="54"/>
                            </a:lnTo>
                            <a:lnTo>
                              <a:pt x="10" y="53"/>
                            </a:lnTo>
                            <a:lnTo>
                              <a:pt x="8" y="54"/>
                            </a:lnTo>
                            <a:lnTo>
                              <a:pt x="8" y="55"/>
                            </a:lnTo>
                            <a:lnTo>
                              <a:pt x="8" y="57"/>
                            </a:lnTo>
                            <a:lnTo>
                              <a:pt x="11" y="55"/>
                            </a:lnTo>
                            <a:lnTo>
                              <a:pt x="10" y="57"/>
                            </a:lnTo>
                            <a:lnTo>
                              <a:pt x="7" y="58"/>
                            </a:lnTo>
                            <a:lnTo>
                              <a:pt x="7" y="59"/>
                            </a:lnTo>
                            <a:lnTo>
                              <a:pt x="7" y="60"/>
                            </a:lnTo>
                            <a:lnTo>
                              <a:pt x="7" y="61"/>
                            </a:lnTo>
                            <a:lnTo>
                              <a:pt x="7" y="61"/>
                            </a:lnTo>
                            <a:lnTo>
                              <a:pt x="7" y="64"/>
                            </a:lnTo>
                            <a:lnTo>
                              <a:pt x="6" y="64"/>
                            </a:lnTo>
                            <a:lnTo>
                              <a:pt x="6" y="65"/>
                            </a:lnTo>
                            <a:lnTo>
                              <a:pt x="7" y="66"/>
                            </a:lnTo>
                            <a:lnTo>
                              <a:pt x="8" y="65"/>
                            </a:lnTo>
                            <a:lnTo>
                              <a:pt x="10" y="65"/>
                            </a:lnTo>
                            <a:lnTo>
                              <a:pt x="10" y="64"/>
                            </a:lnTo>
                            <a:lnTo>
                              <a:pt x="10" y="64"/>
                            </a:lnTo>
                            <a:lnTo>
                              <a:pt x="11" y="62"/>
                            </a:lnTo>
                            <a:lnTo>
                              <a:pt x="11" y="61"/>
                            </a:lnTo>
                            <a:lnTo>
                              <a:pt x="11" y="60"/>
                            </a:lnTo>
                            <a:lnTo>
                              <a:pt x="11" y="59"/>
                            </a:lnTo>
                            <a:lnTo>
                              <a:pt x="11" y="59"/>
                            </a:lnTo>
                            <a:lnTo>
                              <a:pt x="11" y="57"/>
                            </a:lnTo>
                            <a:lnTo>
                              <a:pt x="12" y="57"/>
                            </a:lnTo>
                            <a:lnTo>
                              <a:pt x="13" y="57"/>
                            </a:lnTo>
                            <a:lnTo>
                              <a:pt x="13" y="57"/>
                            </a:lnTo>
                            <a:lnTo>
                              <a:pt x="14" y="55"/>
                            </a:lnTo>
                            <a:lnTo>
                              <a:pt x="13" y="54"/>
                            </a:lnTo>
                            <a:lnTo>
                              <a:pt x="13" y="53"/>
                            </a:lnTo>
                            <a:lnTo>
                              <a:pt x="13" y="53"/>
                            </a:lnTo>
                            <a:lnTo>
                              <a:pt x="12" y="52"/>
                            </a:lnTo>
                            <a:lnTo>
                              <a:pt x="12" y="52"/>
                            </a:lnTo>
                            <a:lnTo>
                              <a:pt x="13" y="52"/>
                            </a:lnTo>
                            <a:lnTo>
                              <a:pt x="13" y="52"/>
                            </a:lnTo>
                            <a:lnTo>
                              <a:pt x="16" y="50"/>
                            </a:lnTo>
                            <a:lnTo>
                              <a:pt x="16" y="48"/>
                            </a:lnTo>
                            <a:lnTo>
                              <a:pt x="18" y="48"/>
                            </a:lnTo>
                            <a:lnTo>
                              <a:pt x="20" y="47"/>
                            </a:lnTo>
                            <a:lnTo>
                              <a:pt x="19" y="48"/>
                            </a:lnTo>
                            <a:lnTo>
                              <a:pt x="18" y="48"/>
                            </a:lnTo>
                            <a:lnTo>
                              <a:pt x="17" y="50"/>
                            </a:lnTo>
                            <a:lnTo>
                              <a:pt x="16" y="50"/>
                            </a:lnTo>
                            <a:lnTo>
                              <a:pt x="16" y="50"/>
                            </a:lnTo>
                            <a:lnTo>
                              <a:pt x="14" y="51"/>
                            </a:lnTo>
                            <a:lnTo>
                              <a:pt x="14" y="52"/>
                            </a:lnTo>
                            <a:lnTo>
                              <a:pt x="13" y="53"/>
                            </a:lnTo>
                            <a:lnTo>
                              <a:pt x="14" y="54"/>
                            </a:lnTo>
                            <a:lnTo>
                              <a:pt x="16" y="54"/>
                            </a:lnTo>
                            <a:lnTo>
                              <a:pt x="16" y="54"/>
                            </a:lnTo>
                            <a:lnTo>
                              <a:pt x="16" y="53"/>
                            </a:lnTo>
                            <a:lnTo>
                              <a:pt x="16" y="52"/>
                            </a:lnTo>
                            <a:lnTo>
                              <a:pt x="17" y="53"/>
                            </a:lnTo>
                            <a:lnTo>
                              <a:pt x="17" y="53"/>
                            </a:lnTo>
                            <a:lnTo>
                              <a:pt x="17" y="52"/>
                            </a:lnTo>
                            <a:lnTo>
                              <a:pt x="18" y="53"/>
                            </a:lnTo>
                            <a:lnTo>
                              <a:pt x="18" y="54"/>
                            </a:lnTo>
                            <a:lnTo>
                              <a:pt x="19" y="54"/>
                            </a:lnTo>
                            <a:lnTo>
                              <a:pt x="19" y="53"/>
                            </a:lnTo>
                            <a:lnTo>
                              <a:pt x="20" y="52"/>
                            </a:lnTo>
                            <a:lnTo>
                              <a:pt x="19" y="52"/>
                            </a:lnTo>
                            <a:lnTo>
                              <a:pt x="20" y="52"/>
                            </a:lnTo>
                            <a:lnTo>
                              <a:pt x="21" y="51"/>
                            </a:lnTo>
                            <a:lnTo>
                              <a:pt x="23" y="51"/>
                            </a:lnTo>
                            <a:lnTo>
                              <a:pt x="23" y="51"/>
                            </a:lnTo>
                            <a:lnTo>
                              <a:pt x="24" y="52"/>
                            </a:lnTo>
                            <a:lnTo>
                              <a:pt x="25" y="52"/>
                            </a:lnTo>
                            <a:lnTo>
                              <a:pt x="27" y="53"/>
                            </a:lnTo>
                            <a:lnTo>
                              <a:pt x="23" y="53"/>
                            </a:lnTo>
                            <a:lnTo>
                              <a:pt x="21" y="52"/>
                            </a:lnTo>
                            <a:lnTo>
                              <a:pt x="20" y="53"/>
                            </a:lnTo>
                            <a:lnTo>
                              <a:pt x="20" y="54"/>
                            </a:lnTo>
                            <a:lnTo>
                              <a:pt x="20" y="55"/>
                            </a:lnTo>
                            <a:lnTo>
                              <a:pt x="20" y="57"/>
                            </a:lnTo>
                            <a:lnTo>
                              <a:pt x="20" y="58"/>
                            </a:lnTo>
                            <a:lnTo>
                              <a:pt x="20" y="59"/>
                            </a:lnTo>
                            <a:lnTo>
                              <a:pt x="21" y="59"/>
                            </a:lnTo>
                            <a:lnTo>
                              <a:pt x="21" y="60"/>
                            </a:lnTo>
                            <a:lnTo>
                              <a:pt x="23" y="60"/>
                            </a:lnTo>
                            <a:lnTo>
                              <a:pt x="24" y="60"/>
                            </a:lnTo>
                            <a:lnTo>
                              <a:pt x="24" y="60"/>
                            </a:lnTo>
                            <a:lnTo>
                              <a:pt x="23" y="61"/>
                            </a:lnTo>
                            <a:lnTo>
                              <a:pt x="24" y="61"/>
                            </a:lnTo>
                            <a:lnTo>
                              <a:pt x="24" y="61"/>
                            </a:lnTo>
                            <a:lnTo>
                              <a:pt x="24" y="62"/>
                            </a:lnTo>
                            <a:lnTo>
                              <a:pt x="24" y="64"/>
                            </a:lnTo>
                            <a:lnTo>
                              <a:pt x="23" y="64"/>
                            </a:lnTo>
                            <a:lnTo>
                              <a:pt x="21" y="65"/>
                            </a:lnTo>
                            <a:lnTo>
                              <a:pt x="21" y="64"/>
                            </a:lnTo>
                            <a:lnTo>
                              <a:pt x="20" y="65"/>
                            </a:lnTo>
                            <a:lnTo>
                              <a:pt x="20" y="66"/>
                            </a:lnTo>
                            <a:lnTo>
                              <a:pt x="19" y="67"/>
                            </a:lnTo>
                            <a:lnTo>
                              <a:pt x="18" y="67"/>
                            </a:lnTo>
                            <a:lnTo>
                              <a:pt x="17" y="68"/>
                            </a:lnTo>
                            <a:lnTo>
                              <a:pt x="17" y="71"/>
                            </a:lnTo>
                            <a:lnTo>
                              <a:pt x="17" y="71"/>
                            </a:lnTo>
                            <a:lnTo>
                              <a:pt x="19" y="73"/>
                            </a:lnTo>
                            <a:lnTo>
                              <a:pt x="17" y="73"/>
                            </a:lnTo>
                            <a:lnTo>
                              <a:pt x="17" y="73"/>
                            </a:lnTo>
                            <a:lnTo>
                              <a:pt x="17" y="72"/>
                            </a:lnTo>
                            <a:lnTo>
                              <a:pt x="16" y="71"/>
                            </a:lnTo>
                            <a:lnTo>
                              <a:pt x="14" y="73"/>
                            </a:lnTo>
                            <a:lnTo>
                              <a:pt x="16" y="73"/>
                            </a:lnTo>
                            <a:lnTo>
                              <a:pt x="16" y="74"/>
                            </a:lnTo>
                            <a:lnTo>
                              <a:pt x="17" y="77"/>
                            </a:lnTo>
                            <a:lnTo>
                              <a:pt x="18" y="77"/>
                            </a:lnTo>
                            <a:lnTo>
                              <a:pt x="19" y="79"/>
                            </a:lnTo>
                            <a:lnTo>
                              <a:pt x="20" y="79"/>
                            </a:lnTo>
                            <a:lnTo>
                              <a:pt x="19" y="78"/>
                            </a:lnTo>
                            <a:lnTo>
                              <a:pt x="20" y="78"/>
                            </a:lnTo>
                            <a:lnTo>
                              <a:pt x="20" y="77"/>
                            </a:lnTo>
                            <a:lnTo>
                              <a:pt x="18" y="75"/>
                            </a:lnTo>
                            <a:lnTo>
                              <a:pt x="19" y="74"/>
                            </a:lnTo>
                            <a:lnTo>
                              <a:pt x="20" y="73"/>
                            </a:lnTo>
                            <a:lnTo>
                              <a:pt x="20" y="73"/>
                            </a:lnTo>
                            <a:lnTo>
                              <a:pt x="21" y="73"/>
                            </a:lnTo>
                            <a:lnTo>
                              <a:pt x="21" y="74"/>
                            </a:lnTo>
                            <a:lnTo>
                              <a:pt x="23" y="77"/>
                            </a:lnTo>
                            <a:lnTo>
                              <a:pt x="24" y="78"/>
                            </a:lnTo>
                            <a:lnTo>
                              <a:pt x="24" y="79"/>
                            </a:lnTo>
                            <a:lnTo>
                              <a:pt x="25" y="78"/>
                            </a:lnTo>
                            <a:lnTo>
                              <a:pt x="26" y="78"/>
                            </a:lnTo>
                            <a:lnTo>
                              <a:pt x="27" y="77"/>
                            </a:lnTo>
                            <a:lnTo>
                              <a:pt x="27" y="75"/>
                            </a:lnTo>
                            <a:lnTo>
                              <a:pt x="28" y="75"/>
                            </a:lnTo>
                            <a:lnTo>
                              <a:pt x="26" y="74"/>
                            </a:lnTo>
                            <a:lnTo>
                              <a:pt x="26" y="73"/>
                            </a:lnTo>
                            <a:lnTo>
                              <a:pt x="27" y="74"/>
                            </a:lnTo>
                            <a:lnTo>
                              <a:pt x="27" y="73"/>
                            </a:lnTo>
                            <a:lnTo>
                              <a:pt x="28" y="74"/>
                            </a:lnTo>
                            <a:lnTo>
                              <a:pt x="30" y="74"/>
                            </a:lnTo>
                            <a:lnTo>
                              <a:pt x="30" y="73"/>
                            </a:lnTo>
                            <a:lnTo>
                              <a:pt x="30" y="74"/>
                            </a:lnTo>
                            <a:lnTo>
                              <a:pt x="31" y="77"/>
                            </a:lnTo>
                            <a:lnTo>
                              <a:pt x="32" y="77"/>
                            </a:lnTo>
                            <a:lnTo>
                              <a:pt x="33" y="77"/>
                            </a:lnTo>
                            <a:lnTo>
                              <a:pt x="34" y="77"/>
                            </a:lnTo>
                            <a:lnTo>
                              <a:pt x="34" y="75"/>
                            </a:lnTo>
                            <a:lnTo>
                              <a:pt x="36" y="74"/>
                            </a:lnTo>
                            <a:lnTo>
                              <a:pt x="37" y="74"/>
                            </a:lnTo>
                            <a:lnTo>
                              <a:pt x="37" y="74"/>
                            </a:lnTo>
                            <a:lnTo>
                              <a:pt x="37" y="74"/>
                            </a:lnTo>
                            <a:lnTo>
                              <a:pt x="37" y="73"/>
                            </a:lnTo>
                            <a:lnTo>
                              <a:pt x="38" y="73"/>
                            </a:lnTo>
                            <a:lnTo>
                              <a:pt x="39" y="73"/>
                            </a:lnTo>
                            <a:lnTo>
                              <a:pt x="40" y="72"/>
                            </a:lnTo>
                            <a:lnTo>
                              <a:pt x="41" y="72"/>
                            </a:lnTo>
                            <a:lnTo>
                              <a:pt x="41" y="72"/>
                            </a:lnTo>
                            <a:lnTo>
                              <a:pt x="44" y="71"/>
                            </a:lnTo>
                            <a:lnTo>
                              <a:pt x="45" y="71"/>
                            </a:lnTo>
                            <a:lnTo>
                              <a:pt x="46" y="72"/>
                            </a:lnTo>
                            <a:lnTo>
                              <a:pt x="47" y="72"/>
                            </a:lnTo>
                            <a:lnTo>
                              <a:pt x="48" y="72"/>
                            </a:lnTo>
                            <a:lnTo>
                              <a:pt x="48" y="73"/>
                            </a:lnTo>
                            <a:lnTo>
                              <a:pt x="47" y="73"/>
                            </a:lnTo>
                            <a:lnTo>
                              <a:pt x="45" y="72"/>
                            </a:lnTo>
                            <a:lnTo>
                              <a:pt x="44" y="73"/>
                            </a:lnTo>
                            <a:lnTo>
                              <a:pt x="44" y="73"/>
                            </a:lnTo>
                            <a:lnTo>
                              <a:pt x="44" y="73"/>
                            </a:lnTo>
                            <a:lnTo>
                              <a:pt x="43" y="73"/>
                            </a:lnTo>
                            <a:lnTo>
                              <a:pt x="43" y="74"/>
                            </a:lnTo>
                            <a:lnTo>
                              <a:pt x="41" y="75"/>
                            </a:lnTo>
                            <a:lnTo>
                              <a:pt x="41" y="75"/>
                            </a:lnTo>
                            <a:lnTo>
                              <a:pt x="41" y="77"/>
                            </a:lnTo>
                            <a:lnTo>
                              <a:pt x="41" y="78"/>
                            </a:lnTo>
                            <a:lnTo>
                              <a:pt x="40" y="78"/>
                            </a:lnTo>
                            <a:lnTo>
                              <a:pt x="39" y="79"/>
                            </a:lnTo>
                            <a:lnTo>
                              <a:pt x="38" y="80"/>
                            </a:lnTo>
                            <a:lnTo>
                              <a:pt x="39" y="81"/>
                            </a:lnTo>
                            <a:lnTo>
                              <a:pt x="39" y="82"/>
                            </a:lnTo>
                            <a:lnTo>
                              <a:pt x="39" y="84"/>
                            </a:lnTo>
                            <a:lnTo>
                              <a:pt x="40" y="85"/>
                            </a:lnTo>
                            <a:lnTo>
                              <a:pt x="41" y="85"/>
                            </a:lnTo>
                            <a:lnTo>
                              <a:pt x="41" y="86"/>
                            </a:lnTo>
                            <a:lnTo>
                              <a:pt x="43" y="87"/>
                            </a:lnTo>
                            <a:lnTo>
                              <a:pt x="44" y="87"/>
                            </a:lnTo>
                            <a:lnTo>
                              <a:pt x="44" y="88"/>
                            </a:lnTo>
                            <a:lnTo>
                              <a:pt x="45" y="88"/>
                            </a:lnTo>
                            <a:lnTo>
                              <a:pt x="45" y="88"/>
                            </a:lnTo>
                            <a:lnTo>
                              <a:pt x="46" y="88"/>
                            </a:lnTo>
                            <a:lnTo>
                              <a:pt x="47" y="88"/>
                            </a:lnTo>
                            <a:lnTo>
                              <a:pt x="47" y="88"/>
                            </a:lnTo>
                            <a:lnTo>
                              <a:pt x="47" y="88"/>
                            </a:lnTo>
                            <a:lnTo>
                              <a:pt x="48" y="88"/>
                            </a:lnTo>
                            <a:lnTo>
                              <a:pt x="50" y="87"/>
                            </a:lnTo>
                            <a:lnTo>
                              <a:pt x="50" y="87"/>
                            </a:lnTo>
                            <a:lnTo>
                              <a:pt x="51" y="87"/>
                            </a:lnTo>
                            <a:lnTo>
                              <a:pt x="51" y="88"/>
                            </a:lnTo>
                            <a:lnTo>
                              <a:pt x="51" y="87"/>
                            </a:lnTo>
                            <a:lnTo>
                              <a:pt x="50" y="88"/>
                            </a:lnTo>
                            <a:lnTo>
                              <a:pt x="50" y="90"/>
                            </a:lnTo>
                            <a:lnTo>
                              <a:pt x="50" y="90"/>
                            </a:lnTo>
                            <a:lnTo>
                              <a:pt x="50" y="90"/>
                            </a:lnTo>
                            <a:lnTo>
                              <a:pt x="50" y="91"/>
                            </a:lnTo>
                            <a:lnTo>
                              <a:pt x="50" y="91"/>
                            </a:lnTo>
                            <a:lnTo>
                              <a:pt x="50" y="92"/>
                            </a:lnTo>
                            <a:lnTo>
                              <a:pt x="48" y="92"/>
                            </a:lnTo>
                            <a:lnTo>
                              <a:pt x="47" y="92"/>
                            </a:lnTo>
                            <a:lnTo>
                              <a:pt x="47" y="92"/>
                            </a:lnTo>
                            <a:lnTo>
                              <a:pt x="46" y="93"/>
                            </a:lnTo>
                            <a:lnTo>
                              <a:pt x="46" y="93"/>
                            </a:lnTo>
                            <a:lnTo>
                              <a:pt x="46" y="94"/>
                            </a:lnTo>
                            <a:lnTo>
                              <a:pt x="46" y="94"/>
                            </a:lnTo>
                            <a:lnTo>
                              <a:pt x="46" y="95"/>
                            </a:lnTo>
                            <a:lnTo>
                              <a:pt x="47" y="95"/>
                            </a:lnTo>
                            <a:lnTo>
                              <a:pt x="47" y="97"/>
                            </a:lnTo>
                            <a:lnTo>
                              <a:pt x="50" y="95"/>
                            </a:lnTo>
                            <a:lnTo>
                              <a:pt x="50" y="97"/>
                            </a:lnTo>
                            <a:lnTo>
                              <a:pt x="50" y="97"/>
                            </a:lnTo>
                            <a:lnTo>
                              <a:pt x="47" y="97"/>
                            </a:lnTo>
                            <a:lnTo>
                              <a:pt x="47" y="98"/>
                            </a:lnTo>
                            <a:lnTo>
                              <a:pt x="46" y="97"/>
                            </a:lnTo>
                            <a:lnTo>
                              <a:pt x="46" y="98"/>
                            </a:lnTo>
                            <a:lnTo>
                              <a:pt x="46" y="99"/>
                            </a:lnTo>
                            <a:lnTo>
                              <a:pt x="46" y="99"/>
                            </a:lnTo>
                            <a:lnTo>
                              <a:pt x="46" y="100"/>
                            </a:lnTo>
                            <a:lnTo>
                              <a:pt x="47" y="101"/>
                            </a:lnTo>
                            <a:lnTo>
                              <a:pt x="48" y="101"/>
                            </a:lnTo>
                            <a:lnTo>
                              <a:pt x="48" y="101"/>
                            </a:lnTo>
                            <a:lnTo>
                              <a:pt x="50" y="102"/>
                            </a:lnTo>
                            <a:lnTo>
                              <a:pt x="51" y="104"/>
                            </a:lnTo>
                            <a:lnTo>
                              <a:pt x="52" y="104"/>
                            </a:lnTo>
                            <a:lnTo>
                              <a:pt x="52" y="105"/>
                            </a:lnTo>
                            <a:lnTo>
                              <a:pt x="50" y="105"/>
                            </a:lnTo>
                            <a:lnTo>
                              <a:pt x="50" y="104"/>
                            </a:lnTo>
                            <a:lnTo>
                              <a:pt x="48" y="102"/>
                            </a:lnTo>
                            <a:lnTo>
                              <a:pt x="47" y="102"/>
                            </a:lnTo>
                            <a:lnTo>
                              <a:pt x="47" y="101"/>
                            </a:lnTo>
                            <a:lnTo>
                              <a:pt x="46" y="101"/>
                            </a:lnTo>
                            <a:lnTo>
                              <a:pt x="45" y="101"/>
                            </a:lnTo>
                            <a:lnTo>
                              <a:pt x="45" y="102"/>
                            </a:lnTo>
                            <a:lnTo>
                              <a:pt x="46" y="104"/>
                            </a:lnTo>
                            <a:lnTo>
                              <a:pt x="46" y="105"/>
                            </a:lnTo>
                            <a:lnTo>
                              <a:pt x="45" y="105"/>
                            </a:lnTo>
                            <a:lnTo>
                              <a:pt x="44" y="104"/>
                            </a:lnTo>
                            <a:lnTo>
                              <a:pt x="44" y="104"/>
                            </a:lnTo>
                            <a:lnTo>
                              <a:pt x="43" y="102"/>
                            </a:lnTo>
                            <a:lnTo>
                              <a:pt x="41" y="104"/>
                            </a:lnTo>
                            <a:lnTo>
                              <a:pt x="40" y="105"/>
                            </a:lnTo>
                            <a:lnTo>
                              <a:pt x="38" y="105"/>
                            </a:lnTo>
                            <a:lnTo>
                              <a:pt x="37" y="105"/>
                            </a:lnTo>
                            <a:lnTo>
                              <a:pt x="36" y="105"/>
                            </a:lnTo>
                            <a:lnTo>
                              <a:pt x="36" y="105"/>
                            </a:lnTo>
                            <a:lnTo>
                              <a:pt x="36" y="105"/>
                            </a:lnTo>
                            <a:lnTo>
                              <a:pt x="34" y="105"/>
                            </a:lnTo>
                            <a:lnTo>
                              <a:pt x="34" y="105"/>
                            </a:lnTo>
                            <a:lnTo>
                              <a:pt x="33" y="105"/>
                            </a:lnTo>
                            <a:lnTo>
                              <a:pt x="33" y="105"/>
                            </a:lnTo>
                            <a:lnTo>
                              <a:pt x="32" y="105"/>
                            </a:lnTo>
                            <a:lnTo>
                              <a:pt x="32" y="105"/>
                            </a:lnTo>
                            <a:lnTo>
                              <a:pt x="31" y="105"/>
                            </a:lnTo>
                            <a:lnTo>
                              <a:pt x="30" y="106"/>
                            </a:lnTo>
                            <a:lnTo>
                              <a:pt x="30" y="106"/>
                            </a:lnTo>
                            <a:lnTo>
                              <a:pt x="30" y="106"/>
                            </a:lnTo>
                            <a:lnTo>
                              <a:pt x="30" y="106"/>
                            </a:lnTo>
                            <a:lnTo>
                              <a:pt x="30" y="106"/>
                            </a:lnTo>
                            <a:lnTo>
                              <a:pt x="30" y="106"/>
                            </a:lnTo>
                            <a:lnTo>
                              <a:pt x="30" y="106"/>
                            </a:lnTo>
                            <a:lnTo>
                              <a:pt x="30" y="106"/>
                            </a:lnTo>
                            <a:lnTo>
                              <a:pt x="30" y="106"/>
                            </a:lnTo>
                            <a:lnTo>
                              <a:pt x="28" y="107"/>
                            </a:lnTo>
                            <a:lnTo>
                              <a:pt x="28" y="107"/>
                            </a:lnTo>
                            <a:lnTo>
                              <a:pt x="28" y="107"/>
                            </a:lnTo>
                            <a:lnTo>
                              <a:pt x="27" y="108"/>
                            </a:lnTo>
                            <a:lnTo>
                              <a:pt x="27" y="108"/>
                            </a:lnTo>
                            <a:lnTo>
                              <a:pt x="27" y="108"/>
                            </a:lnTo>
                            <a:lnTo>
                              <a:pt x="26" y="108"/>
                            </a:lnTo>
                            <a:lnTo>
                              <a:pt x="25" y="108"/>
                            </a:lnTo>
                            <a:lnTo>
                              <a:pt x="25" y="109"/>
                            </a:lnTo>
                            <a:lnTo>
                              <a:pt x="24" y="109"/>
                            </a:lnTo>
                            <a:lnTo>
                              <a:pt x="24" y="109"/>
                            </a:lnTo>
                            <a:lnTo>
                              <a:pt x="23" y="111"/>
                            </a:lnTo>
                            <a:lnTo>
                              <a:pt x="23" y="111"/>
                            </a:lnTo>
                            <a:lnTo>
                              <a:pt x="21" y="112"/>
                            </a:lnTo>
                            <a:lnTo>
                              <a:pt x="21" y="112"/>
                            </a:lnTo>
                            <a:lnTo>
                              <a:pt x="20" y="112"/>
                            </a:lnTo>
                            <a:lnTo>
                              <a:pt x="20" y="112"/>
                            </a:lnTo>
                            <a:lnTo>
                              <a:pt x="20" y="113"/>
                            </a:lnTo>
                            <a:lnTo>
                              <a:pt x="19" y="113"/>
                            </a:lnTo>
                            <a:lnTo>
                              <a:pt x="19" y="114"/>
                            </a:lnTo>
                            <a:lnTo>
                              <a:pt x="19" y="114"/>
                            </a:lnTo>
                            <a:lnTo>
                              <a:pt x="19" y="115"/>
                            </a:lnTo>
                            <a:lnTo>
                              <a:pt x="20" y="114"/>
                            </a:lnTo>
                            <a:lnTo>
                              <a:pt x="21" y="114"/>
                            </a:lnTo>
                            <a:lnTo>
                              <a:pt x="21" y="115"/>
                            </a:lnTo>
                            <a:lnTo>
                              <a:pt x="21" y="115"/>
                            </a:lnTo>
                            <a:lnTo>
                              <a:pt x="23" y="115"/>
                            </a:lnTo>
                            <a:lnTo>
                              <a:pt x="23" y="114"/>
                            </a:lnTo>
                            <a:lnTo>
                              <a:pt x="24" y="113"/>
                            </a:lnTo>
                            <a:lnTo>
                              <a:pt x="25" y="113"/>
                            </a:lnTo>
                            <a:lnTo>
                              <a:pt x="25" y="113"/>
                            </a:lnTo>
                            <a:lnTo>
                              <a:pt x="25" y="113"/>
                            </a:lnTo>
                            <a:lnTo>
                              <a:pt x="25" y="113"/>
                            </a:lnTo>
                            <a:lnTo>
                              <a:pt x="27" y="113"/>
                            </a:lnTo>
                            <a:lnTo>
                              <a:pt x="28" y="112"/>
                            </a:lnTo>
                            <a:lnTo>
                              <a:pt x="30" y="112"/>
                            </a:lnTo>
                            <a:lnTo>
                              <a:pt x="31" y="112"/>
                            </a:lnTo>
                            <a:lnTo>
                              <a:pt x="31" y="113"/>
                            </a:lnTo>
                            <a:lnTo>
                              <a:pt x="31" y="114"/>
                            </a:lnTo>
                            <a:lnTo>
                              <a:pt x="30" y="115"/>
                            </a:lnTo>
                            <a:lnTo>
                              <a:pt x="31" y="115"/>
                            </a:lnTo>
                            <a:lnTo>
                              <a:pt x="31" y="115"/>
                            </a:lnTo>
                            <a:lnTo>
                              <a:pt x="32" y="115"/>
                            </a:lnTo>
                            <a:lnTo>
                              <a:pt x="32" y="115"/>
                            </a:lnTo>
                            <a:lnTo>
                              <a:pt x="31" y="117"/>
                            </a:lnTo>
                            <a:lnTo>
                              <a:pt x="31" y="118"/>
                            </a:lnTo>
                            <a:lnTo>
                              <a:pt x="31" y="119"/>
                            </a:lnTo>
                            <a:lnTo>
                              <a:pt x="31" y="120"/>
                            </a:lnTo>
                            <a:lnTo>
                              <a:pt x="31" y="121"/>
                            </a:lnTo>
                            <a:lnTo>
                              <a:pt x="30" y="122"/>
                            </a:lnTo>
                            <a:lnTo>
                              <a:pt x="31" y="122"/>
                            </a:lnTo>
                            <a:lnTo>
                              <a:pt x="30" y="124"/>
                            </a:lnTo>
                            <a:lnTo>
                              <a:pt x="30" y="125"/>
                            </a:lnTo>
                            <a:lnTo>
                              <a:pt x="28" y="126"/>
                            </a:lnTo>
                            <a:lnTo>
                              <a:pt x="27" y="126"/>
                            </a:lnTo>
                            <a:lnTo>
                              <a:pt x="26" y="126"/>
                            </a:lnTo>
                            <a:lnTo>
                              <a:pt x="26" y="127"/>
                            </a:lnTo>
                            <a:lnTo>
                              <a:pt x="26" y="128"/>
                            </a:lnTo>
                            <a:lnTo>
                              <a:pt x="25" y="128"/>
                            </a:lnTo>
                            <a:lnTo>
                              <a:pt x="23" y="128"/>
                            </a:lnTo>
                            <a:lnTo>
                              <a:pt x="21" y="128"/>
                            </a:lnTo>
                            <a:lnTo>
                              <a:pt x="21" y="128"/>
                            </a:lnTo>
                            <a:lnTo>
                              <a:pt x="20" y="129"/>
                            </a:lnTo>
                            <a:lnTo>
                              <a:pt x="20" y="128"/>
                            </a:lnTo>
                            <a:lnTo>
                              <a:pt x="19" y="129"/>
                            </a:lnTo>
                            <a:lnTo>
                              <a:pt x="19" y="129"/>
                            </a:lnTo>
                            <a:lnTo>
                              <a:pt x="18" y="129"/>
                            </a:lnTo>
                            <a:lnTo>
                              <a:pt x="18" y="129"/>
                            </a:lnTo>
                            <a:lnTo>
                              <a:pt x="18" y="129"/>
                            </a:lnTo>
                            <a:lnTo>
                              <a:pt x="17" y="129"/>
                            </a:lnTo>
                            <a:lnTo>
                              <a:pt x="17" y="131"/>
                            </a:lnTo>
                            <a:lnTo>
                              <a:pt x="16" y="129"/>
                            </a:lnTo>
                            <a:lnTo>
                              <a:pt x="14" y="129"/>
                            </a:lnTo>
                            <a:lnTo>
                              <a:pt x="14" y="129"/>
                            </a:lnTo>
                            <a:lnTo>
                              <a:pt x="14" y="131"/>
                            </a:lnTo>
                            <a:lnTo>
                              <a:pt x="13" y="131"/>
                            </a:lnTo>
                            <a:lnTo>
                              <a:pt x="12" y="132"/>
                            </a:lnTo>
                            <a:lnTo>
                              <a:pt x="12" y="132"/>
                            </a:lnTo>
                            <a:lnTo>
                              <a:pt x="12" y="132"/>
                            </a:lnTo>
                            <a:lnTo>
                              <a:pt x="12" y="132"/>
                            </a:lnTo>
                            <a:lnTo>
                              <a:pt x="11" y="132"/>
                            </a:lnTo>
                            <a:lnTo>
                              <a:pt x="12" y="133"/>
                            </a:lnTo>
                            <a:lnTo>
                              <a:pt x="12" y="133"/>
                            </a:lnTo>
                            <a:lnTo>
                              <a:pt x="14" y="133"/>
                            </a:lnTo>
                            <a:lnTo>
                              <a:pt x="14" y="133"/>
                            </a:lnTo>
                            <a:lnTo>
                              <a:pt x="14" y="134"/>
                            </a:lnTo>
                            <a:lnTo>
                              <a:pt x="14" y="134"/>
                            </a:lnTo>
                            <a:lnTo>
                              <a:pt x="13" y="135"/>
                            </a:lnTo>
                            <a:lnTo>
                              <a:pt x="13" y="134"/>
                            </a:lnTo>
                            <a:lnTo>
                              <a:pt x="12" y="134"/>
                            </a:lnTo>
                            <a:lnTo>
                              <a:pt x="12" y="135"/>
                            </a:lnTo>
                            <a:lnTo>
                              <a:pt x="12" y="137"/>
                            </a:lnTo>
                            <a:lnTo>
                              <a:pt x="13" y="137"/>
                            </a:lnTo>
                            <a:lnTo>
                              <a:pt x="14" y="137"/>
                            </a:lnTo>
                            <a:lnTo>
                              <a:pt x="13" y="137"/>
                            </a:lnTo>
                            <a:lnTo>
                              <a:pt x="14" y="135"/>
                            </a:lnTo>
                            <a:lnTo>
                              <a:pt x="16" y="135"/>
                            </a:lnTo>
                            <a:lnTo>
                              <a:pt x="17" y="137"/>
                            </a:lnTo>
                            <a:lnTo>
                              <a:pt x="17" y="135"/>
                            </a:lnTo>
                            <a:lnTo>
                              <a:pt x="18" y="137"/>
                            </a:lnTo>
                            <a:lnTo>
                              <a:pt x="17" y="137"/>
                            </a:lnTo>
                            <a:lnTo>
                              <a:pt x="16" y="138"/>
                            </a:lnTo>
                            <a:lnTo>
                              <a:pt x="16" y="137"/>
                            </a:lnTo>
                            <a:lnTo>
                              <a:pt x="14" y="138"/>
                            </a:lnTo>
                            <a:lnTo>
                              <a:pt x="14" y="138"/>
                            </a:lnTo>
                            <a:lnTo>
                              <a:pt x="16" y="138"/>
                            </a:lnTo>
                            <a:lnTo>
                              <a:pt x="14" y="138"/>
                            </a:lnTo>
                            <a:lnTo>
                              <a:pt x="16" y="138"/>
                            </a:lnTo>
                            <a:lnTo>
                              <a:pt x="16" y="138"/>
                            </a:lnTo>
                            <a:lnTo>
                              <a:pt x="17" y="138"/>
                            </a:lnTo>
                            <a:lnTo>
                              <a:pt x="18" y="139"/>
                            </a:lnTo>
                            <a:lnTo>
                              <a:pt x="18" y="138"/>
                            </a:lnTo>
                            <a:lnTo>
                              <a:pt x="19" y="138"/>
                            </a:lnTo>
                            <a:lnTo>
                              <a:pt x="20" y="138"/>
                            </a:lnTo>
                            <a:lnTo>
                              <a:pt x="20" y="138"/>
                            </a:lnTo>
                            <a:lnTo>
                              <a:pt x="21" y="137"/>
                            </a:lnTo>
                            <a:lnTo>
                              <a:pt x="24" y="135"/>
                            </a:lnTo>
                            <a:lnTo>
                              <a:pt x="25" y="135"/>
                            </a:lnTo>
                            <a:lnTo>
                              <a:pt x="25" y="135"/>
                            </a:lnTo>
                            <a:lnTo>
                              <a:pt x="26" y="134"/>
                            </a:lnTo>
                            <a:lnTo>
                              <a:pt x="26" y="134"/>
                            </a:lnTo>
                            <a:lnTo>
                              <a:pt x="26" y="134"/>
                            </a:lnTo>
                            <a:lnTo>
                              <a:pt x="26" y="134"/>
                            </a:lnTo>
                            <a:lnTo>
                              <a:pt x="26" y="135"/>
                            </a:lnTo>
                            <a:lnTo>
                              <a:pt x="26" y="135"/>
                            </a:lnTo>
                            <a:lnTo>
                              <a:pt x="26" y="137"/>
                            </a:lnTo>
                            <a:lnTo>
                              <a:pt x="27" y="137"/>
                            </a:lnTo>
                            <a:lnTo>
                              <a:pt x="28" y="137"/>
                            </a:lnTo>
                            <a:lnTo>
                              <a:pt x="30" y="138"/>
                            </a:lnTo>
                            <a:lnTo>
                              <a:pt x="30" y="138"/>
                            </a:lnTo>
                            <a:lnTo>
                              <a:pt x="30" y="138"/>
                            </a:lnTo>
                            <a:lnTo>
                              <a:pt x="28" y="138"/>
                            </a:lnTo>
                            <a:lnTo>
                              <a:pt x="28" y="138"/>
                            </a:lnTo>
                            <a:lnTo>
                              <a:pt x="27" y="138"/>
                            </a:lnTo>
                            <a:lnTo>
                              <a:pt x="27" y="139"/>
                            </a:lnTo>
                            <a:lnTo>
                              <a:pt x="27" y="139"/>
                            </a:lnTo>
                            <a:lnTo>
                              <a:pt x="27" y="139"/>
                            </a:lnTo>
                            <a:lnTo>
                              <a:pt x="27" y="140"/>
                            </a:lnTo>
                            <a:lnTo>
                              <a:pt x="28" y="140"/>
                            </a:lnTo>
                            <a:lnTo>
                              <a:pt x="28" y="140"/>
                            </a:lnTo>
                            <a:lnTo>
                              <a:pt x="30" y="140"/>
                            </a:lnTo>
                            <a:lnTo>
                              <a:pt x="30" y="139"/>
                            </a:lnTo>
                            <a:lnTo>
                              <a:pt x="30" y="139"/>
                            </a:lnTo>
                            <a:lnTo>
                              <a:pt x="31" y="139"/>
                            </a:lnTo>
                            <a:lnTo>
                              <a:pt x="31" y="139"/>
                            </a:lnTo>
                            <a:lnTo>
                              <a:pt x="31" y="139"/>
                            </a:lnTo>
                            <a:lnTo>
                              <a:pt x="32" y="138"/>
                            </a:lnTo>
                            <a:lnTo>
                              <a:pt x="33" y="138"/>
                            </a:lnTo>
                            <a:lnTo>
                              <a:pt x="34" y="138"/>
                            </a:lnTo>
                            <a:lnTo>
                              <a:pt x="34" y="139"/>
                            </a:lnTo>
                            <a:lnTo>
                              <a:pt x="34" y="140"/>
                            </a:lnTo>
                            <a:lnTo>
                              <a:pt x="38" y="141"/>
                            </a:lnTo>
                            <a:lnTo>
                              <a:pt x="39" y="142"/>
                            </a:lnTo>
                            <a:lnTo>
                              <a:pt x="43" y="142"/>
                            </a:lnTo>
                            <a:lnTo>
                              <a:pt x="44" y="142"/>
                            </a:lnTo>
                            <a:lnTo>
                              <a:pt x="44" y="141"/>
                            </a:lnTo>
                            <a:lnTo>
                              <a:pt x="44" y="141"/>
                            </a:lnTo>
                            <a:lnTo>
                              <a:pt x="44" y="140"/>
                            </a:lnTo>
                            <a:lnTo>
                              <a:pt x="45" y="140"/>
                            </a:lnTo>
                            <a:lnTo>
                              <a:pt x="47" y="140"/>
                            </a:lnTo>
                            <a:lnTo>
                              <a:pt x="46" y="139"/>
                            </a:lnTo>
                            <a:lnTo>
                              <a:pt x="47" y="139"/>
                            </a:lnTo>
                            <a:lnTo>
                              <a:pt x="47" y="140"/>
                            </a:lnTo>
                            <a:lnTo>
                              <a:pt x="48" y="139"/>
                            </a:lnTo>
                            <a:lnTo>
                              <a:pt x="48" y="140"/>
                            </a:lnTo>
                            <a:lnTo>
                              <a:pt x="52" y="139"/>
                            </a:lnTo>
                            <a:lnTo>
                              <a:pt x="56" y="135"/>
                            </a:lnTo>
                            <a:lnTo>
                              <a:pt x="57" y="135"/>
                            </a:lnTo>
                            <a:lnTo>
                              <a:pt x="56" y="137"/>
                            </a:lnTo>
                            <a:lnTo>
                              <a:pt x="56" y="138"/>
                            </a:lnTo>
                            <a:lnTo>
                              <a:pt x="56" y="140"/>
                            </a:lnTo>
                            <a:lnTo>
                              <a:pt x="52" y="140"/>
                            </a:lnTo>
                            <a:lnTo>
                              <a:pt x="50" y="140"/>
                            </a:lnTo>
                            <a:lnTo>
                              <a:pt x="48" y="142"/>
                            </a:lnTo>
                            <a:lnTo>
                              <a:pt x="48" y="142"/>
                            </a:lnTo>
                            <a:lnTo>
                              <a:pt x="47" y="144"/>
                            </a:lnTo>
                            <a:lnTo>
                              <a:pt x="47" y="142"/>
                            </a:lnTo>
                            <a:lnTo>
                              <a:pt x="47" y="144"/>
                            </a:lnTo>
                            <a:lnTo>
                              <a:pt x="46" y="145"/>
                            </a:lnTo>
                            <a:lnTo>
                              <a:pt x="47" y="146"/>
                            </a:lnTo>
                            <a:lnTo>
                              <a:pt x="46" y="147"/>
                            </a:lnTo>
                            <a:lnTo>
                              <a:pt x="45" y="146"/>
                            </a:lnTo>
                            <a:lnTo>
                              <a:pt x="44" y="146"/>
                            </a:lnTo>
                            <a:lnTo>
                              <a:pt x="44" y="147"/>
                            </a:lnTo>
                            <a:lnTo>
                              <a:pt x="43" y="147"/>
                            </a:lnTo>
                            <a:lnTo>
                              <a:pt x="40" y="146"/>
                            </a:lnTo>
                            <a:lnTo>
                              <a:pt x="39" y="146"/>
                            </a:lnTo>
                            <a:lnTo>
                              <a:pt x="38" y="146"/>
                            </a:lnTo>
                            <a:lnTo>
                              <a:pt x="36" y="145"/>
                            </a:lnTo>
                            <a:lnTo>
                              <a:pt x="33" y="145"/>
                            </a:lnTo>
                            <a:lnTo>
                              <a:pt x="32" y="145"/>
                            </a:lnTo>
                            <a:lnTo>
                              <a:pt x="31" y="145"/>
                            </a:lnTo>
                            <a:lnTo>
                              <a:pt x="30" y="146"/>
                            </a:lnTo>
                            <a:lnTo>
                              <a:pt x="28" y="146"/>
                            </a:lnTo>
                            <a:lnTo>
                              <a:pt x="28" y="147"/>
                            </a:lnTo>
                            <a:lnTo>
                              <a:pt x="27" y="147"/>
                            </a:lnTo>
                            <a:lnTo>
                              <a:pt x="28" y="149"/>
                            </a:lnTo>
                            <a:lnTo>
                              <a:pt x="27" y="149"/>
                            </a:lnTo>
                            <a:lnTo>
                              <a:pt x="26" y="149"/>
                            </a:lnTo>
                            <a:lnTo>
                              <a:pt x="26" y="149"/>
                            </a:lnTo>
                            <a:lnTo>
                              <a:pt x="25" y="149"/>
                            </a:lnTo>
                            <a:lnTo>
                              <a:pt x="24" y="149"/>
                            </a:lnTo>
                            <a:lnTo>
                              <a:pt x="23" y="151"/>
                            </a:lnTo>
                            <a:lnTo>
                              <a:pt x="23" y="151"/>
                            </a:lnTo>
                            <a:lnTo>
                              <a:pt x="21" y="151"/>
                            </a:lnTo>
                            <a:lnTo>
                              <a:pt x="21" y="152"/>
                            </a:lnTo>
                            <a:lnTo>
                              <a:pt x="21" y="153"/>
                            </a:lnTo>
                            <a:lnTo>
                              <a:pt x="21" y="153"/>
                            </a:lnTo>
                            <a:lnTo>
                              <a:pt x="23" y="154"/>
                            </a:lnTo>
                            <a:lnTo>
                              <a:pt x="23" y="154"/>
                            </a:lnTo>
                            <a:lnTo>
                              <a:pt x="21" y="154"/>
                            </a:lnTo>
                            <a:lnTo>
                              <a:pt x="21" y="155"/>
                            </a:lnTo>
                            <a:lnTo>
                              <a:pt x="20" y="155"/>
                            </a:lnTo>
                            <a:lnTo>
                              <a:pt x="20" y="157"/>
                            </a:lnTo>
                            <a:lnTo>
                              <a:pt x="19" y="159"/>
                            </a:lnTo>
                            <a:lnTo>
                              <a:pt x="18" y="159"/>
                            </a:lnTo>
                            <a:lnTo>
                              <a:pt x="18" y="159"/>
                            </a:lnTo>
                            <a:lnTo>
                              <a:pt x="17" y="159"/>
                            </a:lnTo>
                            <a:lnTo>
                              <a:pt x="17" y="160"/>
                            </a:lnTo>
                            <a:lnTo>
                              <a:pt x="16" y="160"/>
                            </a:lnTo>
                            <a:lnTo>
                              <a:pt x="16" y="159"/>
                            </a:lnTo>
                            <a:lnTo>
                              <a:pt x="16" y="160"/>
                            </a:lnTo>
                            <a:lnTo>
                              <a:pt x="16" y="159"/>
                            </a:lnTo>
                            <a:lnTo>
                              <a:pt x="14" y="160"/>
                            </a:lnTo>
                            <a:lnTo>
                              <a:pt x="14" y="161"/>
                            </a:lnTo>
                            <a:lnTo>
                              <a:pt x="14" y="161"/>
                            </a:lnTo>
                            <a:lnTo>
                              <a:pt x="14" y="161"/>
                            </a:lnTo>
                            <a:lnTo>
                              <a:pt x="14" y="162"/>
                            </a:lnTo>
                            <a:lnTo>
                              <a:pt x="14" y="162"/>
                            </a:lnTo>
                            <a:lnTo>
                              <a:pt x="13" y="162"/>
                            </a:lnTo>
                            <a:lnTo>
                              <a:pt x="13" y="162"/>
                            </a:lnTo>
                            <a:lnTo>
                              <a:pt x="12" y="164"/>
                            </a:lnTo>
                            <a:lnTo>
                              <a:pt x="11" y="162"/>
                            </a:lnTo>
                            <a:lnTo>
                              <a:pt x="12" y="164"/>
                            </a:lnTo>
                            <a:lnTo>
                              <a:pt x="11" y="165"/>
                            </a:lnTo>
                            <a:lnTo>
                              <a:pt x="10" y="165"/>
                            </a:lnTo>
                            <a:lnTo>
                              <a:pt x="10" y="165"/>
                            </a:lnTo>
                            <a:lnTo>
                              <a:pt x="8" y="165"/>
                            </a:lnTo>
                            <a:lnTo>
                              <a:pt x="7" y="164"/>
                            </a:lnTo>
                            <a:lnTo>
                              <a:pt x="7" y="165"/>
                            </a:lnTo>
                            <a:lnTo>
                              <a:pt x="6" y="165"/>
                            </a:lnTo>
                            <a:lnTo>
                              <a:pt x="5" y="165"/>
                            </a:lnTo>
                            <a:lnTo>
                              <a:pt x="5" y="165"/>
                            </a:lnTo>
                            <a:lnTo>
                              <a:pt x="4" y="165"/>
                            </a:lnTo>
                            <a:lnTo>
                              <a:pt x="4" y="167"/>
                            </a:lnTo>
                            <a:lnTo>
                              <a:pt x="3" y="167"/>
                            </a:lnTo>
                            <a:lnTo>
                              <a:pt x="3" y="167"/>
                            </a:lnTo>
                            <a:lnTo>
                              <a:pt x="3" y="168"/>
                            </a:lnTo>
                            <a:lnTo>
                              <a:pt x="4" y="168"/>
                            </a:lnTo>
                            <a:lnTo>
                              <a:pt x="4" y="168"/>
                            </a:lnTo>
                            <a:lnTo>
                              <a:pt x="5" y="169"/>
                            </a:lnTo>
                            <a:lnTo>
                              <a:pt x="6" y="169"/>
                            </a:lnTo>
                            <a:lnTo>
                              <a:pt x="6" y="168"/>
                            </a:lnTo>
                            <a:lnTo>
                              <a:pt x="6" y="168"/>
                            </a:lnTo>
                            <a:lnTo>
                              <a:pt x="7" y="168"/>
                            </a:lnTo>
                            <a:lnTo>
                              <a:pt x="7" y="168"/>
                            </a:lnTo>
                            <a:lnTo>
                              <a:pt x="8" y="168"/>
                            </a:lnTo>
                            <a:lnTo>
                              <a:pt x="10" y="168"/>
                            </a:lnTo>
                            <a:lnTo>
                              <a:pt x="11" y="168"/>
                            </a:lnTo>
                            <a:lnTo>
                              <a:pt x="10" y="169"/>
                            </a:lnTo>
                            <a:lnTo>
                              <a:pt x="11" y="169"/>
                            </a:lnTo>
                            <a:lnTo>
                              <a:pt x="12" y="169"/>
                            </a:lnTo>
                            <a:lnTo>
                              <a:pt x="12" y="169"/>
                            </a:lnTo>
                            <a:lnTo>
                              <a:pt x="13" y="169"/>
                            </a:lnTo>
                            <a:lnTo>
                              <a:pt x="14" y="169"/>
                            </a:lnTo>
                            <a:lnTo>
                              <a:pt x="14" y="168"/>
                            </a:lnTo>
                            <a:lnTo>
                              <a:pt x="16" y="169"/>
                            </a:lnTo>
                            <a:lnTo>
                              <a:pt x="16" y="168"/>
                            </a:lnTo>
                            <a:lnTo>
                              <a:pt x="14" y="168"/>
                            </a:lnTo>
                            <a:lnTo>
                              <a:pt x="14" y="168"/>
                            </a:lnTo>
                            <a:lnTo>
                              <a:pt x="14" y="167"/>
                            </a:lnTo>
                            <a:lnTo>
                              <a:pt x="13" y="167"/>
                            </a:lnTo>
                            <a:lnTo>
                              <a:pt x="13" y="167"/>
                            </a:lnTo>
                            <a:lnTo>
                              <a:pt x="13" y="167"/>
                            </a:lnTo>
                            <a:lnTo>
                              <a:pt x="14" y="167"/>
                            </a:lnTo>
                            <a:lnTo>
                              <a:pt x="14" y="167"/>
                            </a:lnTo>
                            <a:lnTo>
                              <a:pt x="16" y="167"/>
                            </a:lnTo>
                            <a:lnTo>
                              <a:pt x="16" y="166"/>
                            </a:lnTo>
                            <a:lnTo>
                              <a:pt x="16" y="166"/>
                            </a:lnTo>
                            <a:lnTo>
                              <a:pt x="17" y="165"/>
                            </a:lnTo>
                            <a:lnTo>
                              <a:pt x="17" y="166"/>
                            </a:lnTo>
                            <a:lnTo>
                              <a:pt x="17" y="165"/>
                            </a:lnTo>
                            <a:lnTo>
                              <a:pt x="18" y="165"/>
                            </a:lnTo>
                            <a:lnTo>
                              <a:pt x="19" y="165"/>
                            </a:lnTo>
                            <a:lnTo>
                              <a:pt x="19" y="164"/>
                            </a:lnTo>
                            <a:lnTo>
                              <a:pt x="19" y="164"/>
                            </a:lnTo>
                            <a:lnTo>
                              <a:pt x="20" y="162"/>
                            </a:lnTo>
                            <a:lnTo>
                              <a:pt x="21" y="164"/>
                            </a:lnTo>
                            <a:lnTo>
                              <a:pt x="21" y="165"/>
                            </a:lnTo>
                            <a:lnTo>
                              <a:pt x="23" y="164"/>
                            </a:lnTo>
                            <a:lnTo>
                              <a:pt x="23" y="164"/>
                            </a:lnTo>
                            <a:lnTo>
                              <a:pt x="24" y="162"/>
                            </a:lnTo>
                            <a:lnTo>
                              <a:pt x="26" y="162"/>
                            </a:lnTo>
                            <a:lnTo>
                              <a:pt x="26" y="164"/>
                            </a:lnTo>
                            <a:lnTo>
                              <a:pt x="27" y="162"/>
                            </a:lnTo>
                            <a:lnTo>
                              <a:pt x="27" y="164"/>
                            </a:lnTo>
                            <a:lnTo>
                              <a:pt x="27" y="164"/>
                            </a:lnTo>
                            <a:lnTo>
                              <a:pt x="28" y="164"/>
                            </a:lnTo>
                            <a:lnTo>
                              <a:pt x="27" y="164"/>
                            </a:lnTo>
                            <a:lnTo>
                              <a:pt x="27" y="162"/>
                            </a:lnTo>
                            <a:lnTo>
                              <a:pt x="28" y="162"/>
                            </a:lnTo>
                            <a:lnTo>
                              <a:pt x="30" y="164"/>
                            </a:lnTo>
                            <a:lnTo>
                              <a:pt x="30" y="164"/>
                            </a:lnTo>
                            <a:lnTo>
                              <a:pt x="28" y="165"/>
                            </a:lnTo>
                            <a:lnTo>
                              <a:pt x="30" y="165"/>
                            </a:lnTo>
                            <a:lnTo>
                              <a:pt x="30" y="164"/>
                            </a:lnTo>
                            <a:lnTo>
                              <a:pt x="31" y="164"/>
                            </a:lnTo>
                            <a:lnTo>
                              <a:pt x="32" y="165"/>
                            </a:lnTo>
                            <a:lnTo>
                              <a:pt x="33" y="165"/>
                            </a:lnTo>
                            <a:lnTo>
                              <a:pt x="34" y="165"/>
                            </a:lnTo>
                            <a:lnTo>
                              <a:pt x="34" y="165"/>
                            </a:lnTo>
                            <a:lnTo>
                              <a:pt x="36" y="165"/>
                            </a:lnTo>
                            <a:lnTo>
                              <a:pt x="36" y="165"/>
                            </a:lnTo>
                            <a:lnTo>
                              <a:pt x="36" y="164"/>
                            </a:lnTo>
                            <a:lnTo>
                              <a:pt x="37" y="164"/>
                            </a:lnTo>
                            <a:lnTo>
                              <a:pt x="38" y="164"/>
                            </a:lnTo>
                            <a:lnTo>
                              <a:pt x="38" y="162"/>
                            </a:lnTo>
                            <a:lnTo>
                              <a:pt x="39" y="162"/>
                            </a:lnTo>
                            <a:lnTo>
                              <a:pt x="39" y="164"/>
                            </a:lnTo>
                            <a:lnTo>
                              <a:pt x="39" y="162"/>
                            </a:lnTo>
                            <a:lnTo>
                              <a:pt x="39" y="162"/>
                            </a:lnTo>
                            <a:lnTo>
                              <a:pt x="38" y="162"/>
                            </a:lnTo>
                            <a:lnTo>
                              <a:pt x="38" y="161"/>
                            </a:lnTo>
                            <a:lnTo>
                              <a:pt x="38" y="160"/>
                            </a:lnTo>
                            <a:lnTo>
                              <a:pt x="39" y="161"/>
                            </a:lnTo>
                            <a:lnTo>
                              <a:pt x="39" y="160"/>
                            </a:lnTo>
                            <a:lnTo>
                              <a:pt x="39" y="159"/>
                            </a:lnTo>
                            <a:lnTo>
                              <a:pt x="39" y="159"/>
                            </a:lnTo>
                            <a:lnTo>
                              <a:pt x="39" y="158"/>
                            </a:lnTo>
                            <a:lnTo>
                              <a:pt x="39" y="157"/>
                            </a:lnTo>
                            <a:lnTo>
                              <a:pt x="40" y="158"/>
                            </a:lnTo>
                            <a:lnTo>
                              <a:pt x="41" y="158"/>
                            </a:lnTo>
                            <a:lnTo>
                              <a:pt x="41" y="159"/>
                            </a:lnTo>
                            <a:lnTo>
                              <a:pt x="43" y="158"/>
                            </a:lnTo>
                            <a:lnTo>
                              <a:pt x="43" y="157"/>
                            </a:lnTo>
                            <a:lnTo>
                              <a:pt x="43" y="157"/>
                            </a:lnTo>
                            <a:lnTo>
                              <a:pt x="44" y="155"/>
                            </a:lnTo>
                            <a:lnTo>
                              <a:pt x="44" y="157"/>
                            </a:lnTo>
                            <a:lnTo>
                              <a:pt x="44" y="157"/>
                            </a:lnTo>
                            <a:lnTo>
                              <a:pt x="45" y="157"/>
                            </a:lnTo>
                            <a:lnTo>
                              <a:pt x="46" y="155"/>
                            </a:lnTo>
                            <a:lnTo>
                              <a:pt x="47" y="155"/>
                            </a:lnTo>
                            <a:lnTo>
                              <a:pt x="48" y="155"/>
                            </a:lnTo>
                            <a:lnTo>
                              <a:pt x="50" y="155"/>
                            </a:lnTo>
                            <a:lnTo>
                              <a:pt x="51" y="155"/>
                            </a:lnTo>
                            <a:lnTo>
                              <a:pt x="53" y="157"/>
                            </a:lnTo>
                            <a:lnTo>
                              <a:pt x="54" y="158"/>
                            </a:lnTo>
                            <a:lnTo>
                              <a:pt x="56" y="159"/>
                            </a:lnTo>
                            <a:lnTo>
                              <a:pt x="54" y="159"/>
                            </a:lnTo>
                            <a:lnTo>
                              <a:pt x="56" y="160"/>
                            </a:lnTo>
                            <a:lnTo>
                              <a:pt x="56" y="159"/>
                            </a:lnTo>
                            <a:lnTo>
                              <a:pt x="56" y="159"/>
                            </a:lnTo>
                            <a:lnTo>
                              <a:pt x="57" y="158"/>
                            </a:lnTo>
                            <a:lnTo>
                              <a:pt x="58" y="158"/>
                            </a:lnTo>
                            <a:lnTo>
                              <a:pt x="59" y="158"/>
                            </a:lnTo>
                            <a:lnTo>
                              <a:pt x="60" y="157"/>
                            </a:lnTo>
                            <a:lnTo>
                              <a:pt x="61" y="158"/>
                            </a:lnTo>
                            <a:lnTo>
                              <a:pt x="63" y="158"/>
                            </a:lnTo>
                            <a:lnTo>
                              <a:pt x="64" y="158"/>
                            </a:lnTo>
                            <a:lnTo>
                              <a:pt x="64" y="157"/>
                            </a:lnTo>
                            <a:lnTo>
                              <a:pt x="63" y="157"/>
                            </a:lnTo>
                            <a:lnTo>
                              <a:pt x="63" y="157"/>
                            </a:lnTo>
                            <a:lnTo>
                              <a:pt x="63" y="157"/>
                            </a:lnTo>
                            <a:lnTo>
                              <a:pt x="63" y="155"/>
                            </a:lnTo>
                            <a:lnTo>
                              <a:pt x="63" y="155"/>
                            </a:lnTo>
                            <a:lnTo>
                              <a:pt x="64" y="157"/>
                            </a:lnTo>
                            <a:lnTo>
                              <a:pt x="65" y="155"/>
                            </a:lnTo>
                            <a:lnTo>
                              <a:pt x="66" y="157"/>
                            </a:lnTo>
                            <a:lnTo>
                              <a:pt x="67" y="157"/>
                            </a:lnTo>
                            <a:lnTo>
                              <a:pt x="67" y="155"/>
                            </a:lnTo>
                            <a:lnTo>
                              <a:pt x="68" y="155"/>
                            </a:lnTo>
                            <a:lnTo>
                              <a:pt x="70" y="155"/>
                            </a:lnTo>
                            <a:lnTo>
                              <a:pt x="71" y="155"/>
                            </a:lnTo>
                            <a:lnTo>
                              <a:pt x="72" y="155"/>
                            </a:lnTo>
                            <a:lnTo>
                              <a:pt x="73" y="155"/>
                            </a:lnTo>
                            <a:lnTo>
                              <a:pt x="73" y="157"/>
                            </a:lnTo>
                            <a:lnTo>
                              <a:pt x="73" y="157"/>
                            </a:lnTo>
                            <a:lnTo>
                              <a:pt x="72" y="157"/>
                            </a:lnTo>
                            <a:lnTo>
                              <a:pt x="71" y="157"/>
                            </a:lnTo>
                            <a:lnTo>
                              <a:pt x="71" y="158"/>
                            </a:lnTo>
                            <a:lnTo>
                              <a:pt x="72" y="158"/>
                            </a:lnTo>
                            <a:lnTo>
                              <a:pt x="73" y="159"/>
                            </a:lnTo>
                            <a:lnTo>
                              <a:pt x="74" y="159"/>
                            </a:lnTo>
                            <a:lnTo>
                              <a:pt x="76" y="158"/>
                            </a:lnTo>
                            <a:lnTo>
                              <a:pt x="76" y="158"/>
                            </a:lnTo>
                            <a:lnTo>
                              <a:pt x="76" y="157"/>
                            </a:lnTo>
                            <a:lnTo>
                              <a:pt x="74" y="157"/>
                            </a:lnTo>
                            <a:lnTo>
                              <a:pt x="76" y="157"/>
                            </a:lnTo>
                            <a:lnTo>
                              <a:pt x="76" y="157"/>
                            </a:lnTo>
                            <a:lnTo>
                              <a:pt x="77" y="157"/>
                            </a:lnTo>
                            <a:lnTo>
                              <a:pt x="76" y="155"/>
                            </a:lnTo>
                            <a:lnTo>
                              <a:pt x="76" y="157"/>
                            </a:lnTo>
                            <a:lnTo>
                              <a:pt x="74" y="157"/>
                            </a:lnTo>
                            <a:lnTo>
                              <a:pt x="74" y="157"/>
                            </a:lnTo>
                            <a:lnTo>
                              <a:pt x="74" y="157"/>
                            </a:lnTo>
                            <a:lnTo>
                              <a:pt x="73" y="157"/>
                            </a:lnTo>
                            <a:lnTo>
                              <a:pt x="74" y="155"/>
                            </a:lnTo>
                            <a:lnTo>
                              <a:pt x="74" y="154"/>
                            </a:lnTo>
                            <a:lnTo>
                              <a:pt x="72" y="153"/>
                            </a:lnTo>
                            <a:lnTo>
                              <a:pt x="72" y="153"/>
                            </a:lnTo>
                            <a:lnTo>
                              <a:pt x="73" y="154"/>
                            </a:lnTo>
                            <a:lnTo>
                              <a:pt x="74" y="155"/>
                            </a:lnTo>
                            <a:lnTo>
                              <a:pt x="74" y="155"/>
                            </a:lnTo>
                            <a:lnTo>
                              <a:pt x="76" y="154"/>
                            </a:lnTo>
                            <a:lnTo>
                              <a:pt x="77" y="153"/>
                            </a:lnTo>
                            <a:lnTo>
                              <a:pt x="77" y="154"/>
                            </a:lnTo>
                            <a:lnTo>
                              <a:pt x="77" y="154"/>
                            </a:lnTo>
                            <a:lnTo>
                              <a:pt x="78" y="153"/>
                            </a:lnTo>
                            <a:lnTo>
                              <a:pt x="79" y="153"/>
                            </a:lnTo>
                            <a:lnTo>
                              <a:pt x="80" y="154"/>
                            </a:lnTo>
                            <a:lnTo>
                              <a:pt x="78" y="154"/>
                            </a:lnTo>
                            <a:lnTo>
                              <a:pt x="79" y="154"/>
                            </a:lnTo>
                            <a:lnTo>
                              <a:pt x="80" y="155"/>
                            </a:lnTo>
                            <a:lnTo>
                              <a:pt x="81" y="155"/>
                            </a:lnTo>
                            <a:lnTo>
                              <a:pt x="81" y="155"/>
                            </a:lnTo>
                            <a:lnTo>
                              <a:pt x="81" y="155"/>
                            </a:lnTo>
                            <a:lnTo>
                              <a:pt x="83" y="154"/>
                            </a:lnTo>
                            <a:lnTo>
                              <a:pt x="84" y="154"/>
                            </a:lnTo>
                            <a:lnTo>
                              <a:pt x="84" y="153"/>
                            </a:lnTo>
                            <a:lnTo>
                              <a:pt x="85" y="153"/>
                            </a:lnTo>
                            <a:lnTo>
                              <a:pt x="88" y="153"/>
                            </a:lnTo>
                            <a:lnTo>
                              <a:pt x="90" y="153"/>
                            </a:lnTo>
                            <a:lnTo>
                              <a:pt x="93" y="154"/>
                            </a:lnTo>
                            <a:lnTo>
                              <a:pt x="95" y="153"/>
                            </a:lnTo>
                            <a:lnTo>
                              <a:pt x="97" y="154"/>
                            </a:lnTo>
                            <a:lnTo>
                              <a:pt x="97" y="153"/>
                            </a:lnTo>
                            <a:lnTo>
                              <a:pt x="99" y="154"/>
                            </a:lnTo>
                            <a:lnTo>
                              <a:pt x="100" y="153"/>
                            </a:lnTo>
                            <a:lnTo>
                              <a:pt x="104" y="153"/>
                            </a:lnTo>
                            <a:lnTo>
                              <a:pt x="105" y="152"/>
                            </a:lnTo>
                            <a:lnTo>
                              <a:pt x="106" y="151"/>
                            </a:lnTo>
                            <a:lnTo>
                              <a:pt x="106" y="151"/>
                            </a:lnTo>
                            <a:lnTo>
                              <a:pt x="108" y="151"/>
                            </a:lnTo>
                            <a:lnTo>
                              <a:pt x="108" y="151"/>
                            </a:lnTo>
                            <a:lnTo>
                              <a:pt x="110" y="152"/>
                            </a:lnTo>
                            <a:lnTo>
                              <a:pt x="110" y="151"/>
                            </a:lnTo>
                            <a:lnTo>
                              <a:pt x="110" y="149"/>
                            </a:lnTo>
                            <a:lnTo>
                              <a:pt x="111" y="149"/>
                            </a:lnTo>
                            <a:lnTo>
                              <a:pt x="112" y="148"/>
                            </a:lnTo>
                            <a:lnTo>
                              <a:pt x="113" y="148"/>
                            </a:lnTo>
                            <a:lnTo>
                              <a:pt x="114" y="147"/>
                            </a:lnTo>
                            <a:lnTo>
                              <a:pt x="114" y="147"/>
                            </a:lnTo>
                            <a:lnTo>
                              <a:pt x="115" y="147"/>
                            </a:lnTo>
                            <a:lnTo>
                              <a:pt x="115" y="147"/>
                            </a:lnTo>
                            <a:lnTo>
                              <a:pt x="115" y="146"/>
                            </a:lnTo>
                            <a:lnTo>
                              <a:pt x="117" y="145"/>
                            </a:lnTo>
                            <a:lnTo>
                              <a:pt x="115" y="145"/>
                            </a:lnTo>
                            <a:lnTo>
                              <a:pt x="115" y="144"/>
                            </a:lnTo>
                            <a:lnTo>
                              <a:pt x="117" y="142"/>
                            </a:lnTo>
                            <a:lnTo>
                              <a:pt x="115" y="142"/>
                            </a:lnTo>
                            <a:lnTo>
                              <a:pt x="114" y="141"/>
                            </a:lnTo>
                            <a:lnTo>
                              <a:pt x="113" y="141"/>
                            </a:lnTo>
                            <a:lnTo>
                              <a:pt x="112" y="141"/>
                            </a:lnTo>
                            <a:lnTo>
                              <a:pt x="111" y="141"/>
                            </a:lnTo>
                            <a:lnTo>
                              <a:pt x="111" y="141"/>
                            </a:lnTo>
                            <a:lnTo>
                              <a:pt x="110" y="141"/>
                            </a:lnTo>
                            <a:lnTo>
                              <a:pt x="108" y="141"/>
                            </a:lnTo>
                            <a:lnTo>
                              <a:pt x="107" y="141"/>
                            </a:lnTo>
                            <a:lnTo>
                              <a:pt x="105" y="141"/>
                            </a:lnTo>
                            <a:lnTo>
                              <a:pt x="103" y="140"/>
                            </a:lnTo>
                            <a:lnTo>
                              <a:pt x="104" y="140"/>
                            </a:lnTo>
                            <a:lnTo>
                              <a:pt x="106" y="140"/>
                            </a:lnTo>
                            <a:lnTo>
                              <a:pt x="108" y="139"/>
                            </a:lnTo>
                            <a:lnTo>
                              <a:pt x="108" y="138"/>
                            </a:lnTo>
                            <a:lnTo>
                              <a:pt x="110" y="137"/>
                            </a:lnTo>
                            <a:lnTo>
                              <a:pt x="108" y="135"/>
                            </a:lnTo>
                            <a:lnTo>
                              <a:pt x="107" y="135"/>
                            </a:lnTo>
                            <a:lnTo>
                              <a:pt x="106" y="137"/>
                            </a:lnTo>
                            <a:lnTo>
                              <a:pt x="104" y="137"/>
                            </a:lnTo>
                            <a:lnTo>
                              <a:pt x="105" y="135"/>
                            </a:lnTo>
                            <a:lnTo>
                              <a:pt x="107" y="135"/>
                            </a:lnTo>
                            <a:lnTo>
                              <a:pt x="108" y="134"/>
                            </a:lnTo>
                            <a:lnTo>
                              <a:pt x="110" y="134"/>
                            </a:lnTo>
                            <a:lnTo>
                              <a:pt x="110" y="135"/>
                            </a:lnTo>
                            <a:lnTo>
                              <a:pt x="111" y="135"/>
                            </a:lnTo>
                            <a:lnTo>
                              <a:pt x="113" y="134"/>
                            </a:lnTo>
                            <a:lnTo>
                              <a:pt x="113" y="134"/>
                            </a:lnTo>
                            <a:lnTo>
                              <a:pt x="113" y="133"/>
                            </a:lnTo>
                            <a:lnTo>
                              <a:pt x="114" y="133"/>
                            </a:lnTo>
                            <a:lnTo>
                              <a:pt x="113" y="133"/>
                            </a:lnTo>
                            <a:lnTo>
                              <a:pt x="113" y="132"/>
                            </a:lnTo>
                            <a:lnTo>
                              <a:pt x="113" y="131"/>
                            </a:lnTo>
                            <a:lnTo>
                              <a:pt x="114" y="132"/>
                            </a:lnTo>
                            <a:lnTo>
                              <a:pt x="115" y="131"/>
                            </a:lnTo>
                            <a:lnTo>
                              <a:pt x="115" y="129"/>
                            </a:lnTo>
                            <a:lnTo>
                              <a:pt x="117" y="129"/>
                            </a:lnTo>
                            <a:lnTo>
                              <a:pt x="118" y="129"/>
                            </a:lnTo>
                            <a:lnTo>
                              <a:pt x="118" y="128"/>
                            </a:lnTo>
                            <a:lnTo>
                              <a:pt x="119" y="127"/>
                            </a:lnTo>
                            <a:lnTo>
                              <a:pt x="118" y="126"/>
                            </a:lnTo>
                            <a:lnTo>
                              <a:pt x="119" y="125"/>
                            </a:lnTo>
                            <a:lnTo>
                              <a:pt x="120" y="125"/>
                            </a:lnTo>
                            <a:lnTo>
                              <a:pt x="120" y="124"/>
                            </a:lnTo>
                            <a:lnTo>
                              <a:pt x="121" y="122"/>
                            </a:lnTo>
                            <a:lnTo>
                              <a:pt x="121" y="121"/>
                            </a:lnTo>
                            <a:lnTo>
                              <a:pt x="121" y="121"/>
                            </a:lnTo>
                            <a:lnTo>
                              <a:pt x="121" y="120"/>
                            </a:lnTo>
                            <a:lnTo>
                              <a:pt x="121" y="119"/>
                            </a:lnTo>
                            <a:lnTo>
                              <a:pt x="121" y="118"/>
                            </a:lnTo>
                            <a:lnTo>
                              <a:pt x="120" y="117"/>
                            </a:lnTo>
                            <a:lnTo>
                              <a:pt x="120" y="115"/>
                            </a:lnTo>
                            <a:lnTo>
                              <a:pt x="119" y="115"/>
                            </a:lnTo>
                            <a:lnTo>
                              <a:pt x="118" y="114"/>
                            </a:lnTo>
                            <a:lnTo>
                              <a:pt x="117" y="113"/>
                            </a:lnTo>
                            <a:lnTo>
                              <a:pt x="117" y="113"/>
                            </a:lnTo>
                            <a:lnTo>
                              <a:pt x="114" y="112"/>
                            </a:lnTo>
                            <a:lnTo>
                              <a:pt x="114" y="112"/>
                            </a:lnTo>
                            <a:lnTo>
                              <a:pt x="113" y="112"/>
                            </a:lnTo>
                            <a:lnTo>
                              <a:pt x="113" y="111"/>
                            </a:lnTo>
                            <a:lnTo>
                              <a:pt x="113" y="111"/>
                            </a:lnTo>
                            <a:lnTo>
                              <a:pt x="112" y="109"/>
                            </a:lnTo>
                            <a:lnTo>
                              <a:pt x="112" y="111"/>
                            </a:lnTo>
                            <a:lnTo>
                              <a:pt x="112" y="111"/>
                            </a:lnTo>
                            <a:lnTo>
                              <a:pt x="111" y="111"/>
                            </a:lnTo>
                            <a:lnTo>
                              <a:pt x="111" y="111"/>
                            </a:lnTo>
                            <a:lnTo>
                              <a:pt x="110" y="111"/>
                            </a:lnTo>
                            <a:lnTo>
                              <a:pt x="110" y="111"/>
                            </a:lnTo>
                            <a:lnTo>
                              <a:pt x="108" y="111"/>
                            </a:lnTo>
                            <a:lnTo>
                              <a:pt x="108" y="111"/>
                            </a:lnTo>
                            <a:lnTo>
                              <a:pt x="107" y="111"/>
                            </a:lnTo>
                            <a:lnTo>
                              <a:pt x="107" y="111"/>
                            </a:lnTo>
                            <a:lnTo>
                              <a:pt x="107" y="112"/>
                            </a:lnTo>
                            <a:lnTo>
                              <a:pt x="107" y="111"/>
                            </a:lnTo>
                            <a:lnTo>
                              <a:pt x="106" y="111"/>
                            </a:lnTo>
                            <a:lnTo>
                              <a:pt x="106" y="111"/>
                            </a:lnTo>
                            <a:lnTo>
                              <a:pt x="105" y="109"/>
                            </a:lnTo>
                            <a:lnTo>
                              <a:pt x="103" y="111"/>
                            </a:lnTo>
                            <a:lnTo>
                              <a:pt x="103" y="111"/>
                            </a:lnTo>
                            <a:lnTo>
                              <a:pt x="100" y="112"/>
                            </a:lnTo>
                            <a:lnTo>
                              <a:pt x="101" y="113"/>
                            </a:lnTo>
                            <a:lnTo>
                              <a:pt x="100" y="114"/>
                            </a:lnTo>
                            <a:lnTo>
                              <a:pt x="100" y="115"/>
                            </a:lnTo>
                            <a:lnTo>
                              <a:pt x="100" y="115"/>
                            </a:lnTo>
                            <a:lnTo>
                              <a:pt x="99" y="115"/>
                            </a:lnTo>
                            <a:lnTo>
                              <a:pt x="98" y="115"/>
                            </a:lnTo>
                            <a:lnTo>
                              <a:pt x="97" y="115"/>
                            </a:lnTo>
                            <a:lnTo>
                              <a:pt x="97" y="113"/>
                            </a:lnTo>
                            <a:lnTo>
                              <a:pt x="95" y="113"/>
                            </a:lnTo>
                            <a:lnTo>
                              <a:pt x="93" y="113"/>
                            </a:lnTo>
                            <a:lnTo>
                              <a:pt x="93" y="113"/>
                            </a:lnTo>
                            <a:lnTo>
                              <a:pt x="93" y="112"/>
                            </a:lnTo>
                            <a:lnTo>
                              <a:pt x="95" y="112"/>
                            </a:lnTo>
                            <a:lnTo>
                              <a:pt x="95" y="111"/>
                            </a:lnTo>
                            <a:lnTo>
                              <a:pt x="97" y="111"/>
                            </a:lnTo>
                            <a:lnTo>
                              <a:pt x="97" y="108"/>
                            </a:lnTo>
                            <a:lnTo>
                              <a:pt x="99" y="108"/>
                            </a:lnTo>
                            <a:lnTo>
                              <a:pt x="99" y="108"/>
                            </a:lnTo>
                            <a:lnTo>
                              <a:pt x="100" y="107"/>
                            </a:lnTo>
                            <a:lnTo>
                              <a:pt x="100" y="106"/>
                            </a:lnTo>
                            <a:lnTo>
                              <a:pt x="99" y="105"/>
                            </a:lnTo>
                            <a:lnTo>
                              <a:pt x="97" y="102"/>
                            </a:lnTo>
                            <a:lnTo>
                              <a:pt x="97" y="101"/>
                            </a:lnTo>
                            <a:lnTo>
                              <a:pt x="97" y="101"/>
                            </a:lnTo>
                            <a:lnTo>
                              <a:pt x="95" y="100"/>
                            </a:lnTo>
                            <a:lnTo>
                              <a:pt x="93" y="99"/>
                            </a:lnTo>
                            <a:lnTo>
                              <a:pt x="93" y="99"/>
                            </a:lnTo>
                            <a:lnTo>
                              <a:pt x="92" y="99"/>
                            </a:lnTo>
                            <a:lnTo>
                              <a:pt x="91" y="98"/>
                            </a:lnTo>
                            <a:lnTo>
                              <a:pt x="90" y="97"/>
                            </a:lnTo>
                            <a:lnTo>
                              <a:pt x="88" y="97"/>
                            </a:lnTo>
                            <a:lnTo>
                              <a:pt x="87" y="97"/>
                            </a:lnTo>
                            <a:lnTo>
                              <a:pt x="86" y="97"/>
                            </a:lnTo>
                            <a:lnTo>
                              <a:pt x="85" y="97"/>
                            </a:lnTo>
                            <a:lnTo>
                              <a:pt x="83" y="97"/>
                            </a:lnTo>
                            <a:lnTo>
                              <a:pt x="84" y="97"/>
                            </a:lnTo>
                            <a:lnTo>
                              <a:pt x="85" y="95"/>
                            </a:lnTo>
                            <a:lnTo>
                              <a:pt x="87" y="97"/>
                            </a:lnTo>
                            <a:lnTo>
                              <a:pt x="88" y="97"/>
                            </a:lnTo>
                            <a:lnTo>
                              <a:pt x="90" y="97"/>
                            </a:lnTo>
                            <a:lnTo>
                              <a:pt x="92" y="98"/>
                            </a:lnTo>
                            <a:lnTo>
                              <a:pt x="92" y="98"/>
                            </a:lnTo>
                            <a:lnTo>
                              <a:pt x="93" y="98"/>
                            </a:lnTo>
                            <a:lnTo>
                              <a:pt x="93" y="98"/>
                            </a:lnTo>
                            <a:lnTo>
                              <a:pt x="95" y="98"/>
                            </a:lnTo>
                            <a:lnTo>
                              <a:pt x="95" y="98"/>
                            </a:lnTo>
                            <a:lnTo>
                              <a:pt x="95" y="98"/>
                            </a:lnTo>
                            <a:lnTo>
                              <a:pt x="93" y="95"/>
                            </a:lnTo>
                            <a:lnTo>
                              <a:pt x="92" y="93"/>
                            </a:lnTo>
                            <a:lnTo>
                              <a:pt x="90" y="91"/>
                            </a:lnTo>
                            <a:lnTo>
                              <a:pt x="92" y="90"/>
                            </a:lnTo>
                            <a:lnTo>
                              <a:pt x="92" y="88"/>
                            </a:lnTo>
                            <a:lnTo>
                              <a:pt x="90" y="87"/>
                            </a:lnTo>
                            <a:lnTo>
                              <a:pt x="90" y="87"/>
                            </a:lnTo>
                            <a:lnTo>
                              <a:pt x="88" y="86"/>
                            </a:lnTo>
                            <a:lnTo>
                              <a:pt x="87" y="85"/>
                            </a:lnTo>
                            <a:lnTo>
                              <a:pt x="87" y="84"/>
                            </a:lnTo>
                            <a:lnTo>
                              <a:pt x="86" y="82"/>
                            </a:lnTo>
                            <a:lnTo>
                              <a:pt x="86" y="82"/>
                            </a:lnTo>
                            <a:lnTo>
                              <a:pt x="86" y="81"/>
                            </a:lnTo>
                            <a:lnTo>
                              <a:pt x="85" y="81"/>
                            </a:lnTo>
                            <a:lnTo>
                              <a:pt x="81" y="80"/>
                            </a:lnTo>
                            <a:lnTo>
                              <a:pt x="80" y="79"/>
                            </a:lnTo>
                            <a:lnTo>
                              <a:pt x="79" y="79"/>
                            </a:lnTo>
                            <a:lnTo>
                              <a:pt x="76" y="79"/>
                            </a:lnTo>
                            <a:lnTo>
                              <a:pt x="76" y="79"/>
                            </a:lnTo>
                            <a:lnTo>
                              <a:pt x="76" y="79"/>
                            </a:lnTo>
                            <a:lnTo>
                              <a:pt x="74" y="78"/>
                            </a:lnTo>
                            <a:lnTo>
                              <a:pt x="76" y="78"/>
                            </a:lnTo>
                            <a:lnTo>
                              <a:pt x="74" y="77"/>
                            </a:lnTo>
                            <a:lnTo>
                              <a:pt x="73" y="75"/>
                            </a:lnTo>
                            <a:lnTo>
                              <a:pt x="73" y="73"/>
                            </a:lnTo>
                            <a:lnTo>
                              <a:pt x="73" y="72"/>
                            </a:lnTo>
                            <a:lnTo>
                              <a:pt x="73" y="71"/>
                            </a:lnTo>
                            <a:lnTo>
                              <a:pt x="71" y="68"/>
                            </a:lnTo>
                            <a:lnTo>
                              <a:pt x="71" y="67"/>
                            </a:lnTo>
                            <a:lnTo>
                              <a:pt x="71" y="66"/>
                            </a:lnTo>
                            <a:lnTo>
                              <a:pt x="71" y="65"/>
                            </a:lnTo>
                            <a:lnTo>
                              <a:pt x="70" y="65"/>
                            </a:lnTo>
                            <a:lnTo>
                              <a:pt x="68" y="64"/>
                            </a:lnTo>
                            <a:lnTo>
                              <a:pt x="71" y="64"/>
                            </a:lnTo>
                            <a:lnTo>
                              <a:pt x="70" y="62"/>
                            </a:lnTo>
                            <a:lnTo>
                              <a:pt x="68" y="62"/>
                            </a:lnTo>
                            <a:lnTo>
                              <a:pt x="70" y="61"/>
                            </a:lnTo>
                            <a:lnTo>
                              <a:pt x="70" y="60"/>
                            </a:lnTo>
                            <a:lnTo>
                              <a:pt x="68" y="60"/>
                            </a:lnTo>
                            <a:lnTo>
                              <a:pt x="67" y="60"/>
                            </a:lnTo>
                            <a:lnTo>
                              <a:pt x="67" y="59"/>
                            </a:lnTo>
                            <a:lnTo>
                              <a:pt x="67" y="59"/>
                            </a:lnTo>
                            <a:lnTo>
                              <a:pt x="67" y="58"/>
                            </a:lnTo>
                            <a:lnTo>
                              <a:pt x="66" y="59"/>
                            </a:lnTo>
                            <a:lnTo>
                              <a:pt x="66" y="58"/>
                            </a:lnTo>
                            <a:lnTo>
                              <a:pt x="64" y="57"/>
                            </a:lnTo>
                            <a:lnTo>
                              <a:pt x="64" y="55"/>
                            </a:lnTo>
                            <a:lnTo>
                              <a:pt x="63" y="54"/>
                            </a:lnTo>
                            <a:lnTo>
                              <a:pt x="61" y="54"/>
                            </a:lnTo>
                            <a:lnTo>
                              <a:pt x="63" y="53"/>
                            </a:lnTo>
                            <a:lnTo>
                              <a:pt x="61" y="53"/>
                            </a:lnTo>
                            <a:lnTo>
                              <a:pt x="60" y="53"/>
                            </a:lnTo>
                            <a:lnTo>
                              <a:pt x="59" y="53"/>
                            </a:lnTo>
                            <a:lnTo>
                              <a:pt x="57" y="52"/>
                            </a:lnTo>
                            <a:lnTo>
                              <a:pt x="56" y="52"/>
                            </a:lnTo>
                            <a:lnTo>
                              <a:pt x="54" y="52"/>
                            </a:lnTo>
                            <a:lnTo>
                              <a:pt x="54" y="52"/>
                            </a:lnTo>
                            <a:lnTo>
                              <a:pt x="54" y="51"/>
                            </a:lnTo>
                            <a:lnTo>
                              <a:pt x="54" y="51"/>
                            </a:lnTo>
                            <a:lnTo>
                              <a:pt x="52" y="51"/>
                            </a:lnTo>
                            <a:lnTo>
                              <a:pt x="51" y="51"/>
                            </a:lnTo>
                            <a:lnTo>
                              <a:pt x="50" y="52"/>
                            </a:lnTo>
                            <a:lnTo>
                              <a:pt x="51" y="52"/>
                            </a:lnTo>
                            <a:lnTo>
                              <a:pt x="50" y="52"/>
                            </a:lnTo>
                            <a:lnTo>
                              <a:pt x="50" y="52"/>
                            </a:lnTo>
                            <a:lnTo>
                              <a:pt x="50" y="53"/>
                            </a:lnTo>
                            <a:lnTo>
                              <a:pt x="48" y="52"/>
                            </a:lnTo>
                            <a:lnTo>
                              <a:pt x="48" y="53"/>
                            </a:lnTo>
                            <a:lnTo>
                              <a:pt x="47" y="52"/>
                            </a:lnTo>
                            <a:lnTo>
                              <a:pt x="46" y="52"/>
                            </a:lnTo>
                            <a:lnTo>
                              <a:pt x="46" y="52"/>
                            </a:lnTo>
                            <a:lnTo>
                              <a:pt x="45" y="52"/>
                            </a:lnTo>
                            <a:lnTo>
                              <a:pt x="45" y="52"/>
                            </a:lnTo>
                            <a:lnTo>
                              <a:pt x="44" y="52"/>
                            </a:lnTo>
                            <a:lnTo>
                              <a:pt x="43" y="52"/>
                            </a:lnTo>
                            <a:lnTo>
                              <a:pt x="43" y="52"/>
                            </a:lnTo>
                            <a:lnTo>
                              <a:pt x="41" y="52"/>
                            </a:lnTo>
                            <a:lnTo>
                              <a:pt x="40" y="52"/>
                            </a:lnTo>
                            <a:lnTo>
                              <a:pt x="38" y="52"/>
                            </a:lnTo>
                            <a:lnTo>
                              <a:pt x="38" y="52"/>
                            </a:lnTo>
                            <a:lnTo>
                              <a:pt x="38" y="51"/>
                            </a:lnTo>
                            <a:lnTo>
                              <a:pt x="38" y="51"/>
                            </a:lnTo>
                            <a:lnTo>
                              <a:pt x="40" y="51"/>
                            </a:lnTo>
                            <a:lnTo>
                              <a:pt x="43" y="52"/>
                            </a:lnTo>
                            <a:lnTo>
                              <a:pt x="45" y="51"/>
                            </a:lnTo>
                            <a:lnTo>
                              <a:pt x="45" y="51"/>
                            </a:lnTo>
                            <a:lnTo>
                              <a:pt x="46" y="51"/>
                            </a:lnTo>
                            <a:lnTo>
                              <a:pt x="47" y="51"/>
                            </a:lnTo>
                            <a:lnTo>
                              <a:pt x="46" y="50"/>
                            </a:lnTo>
                            <a:lnTo>
                              <a:pt x="48" y="50"/>
                            </a:lnTo>
                            <a:lnTo>
                              <a:pt x="50" y="50"/>
                            </a:lnTo>
                            <a:lnTo>
                              <a:pt x="52" y="50"/>
                            </a:lnTo>
                            <a:lnTo>
                              <a:pt x="53" y="48"/>
                            </a:lnTo>
                            <a:lnTo>
                              <a:pt x="53" y="48"/>
                            </a:lnTo>
                            <a:lnTo>
                              <a:pt x="54" y="47"/>
                            </a:lnTo>
                            <a:lnTo>
                              <a:pt x="54" y="47"/>
                            </a:lnTo>
                            <a:lnTo>
                              <a:pt x="56" y="46"/>
                            </a:lnTo>
                            <a:lnTo>
                              <a:pt x="54" y="46"/>
                            </a:lnTo>
                            <a:lnTo>
                              <a:pt x="53" y="46"/>
                            </a:lnTo>
                            <a:lnTo>
                              <a:pt x="52" y="46"/>
                            </a:lnTo>
                            <a:lnTo>
                              <a:pt x="52" y="45"/>
                            </a:lnTo>
                            <a:lnTo>
                              <a:pt x="52" y="45"/>
                            </a:lnTo>
                            <a:lnTo>
                              <a:pt x="53" y="45"/>
                            </a:lnTo>
                            <a:lnTo>
                              <a:pt x="52" y="44"/>
                            </a:lnTo>
                            <a:lnTo>
                              <a:pt x="51" y="42"/>
                            </a:lnTo>
                            <a:lnTo>
                              <a:pt x="46" y="45"/>
                            </a:lnTo>
                            <a:lnTo>
                              <a:pt x="45" y="45"/>
                            </a:lnTo>
                            <a:lnTo>
                              <a:pt x="45" y="45"/>
                            </a:lnTo>
                            <a:lnTo>
                              <a:pt x="44" y="45"/>
                            </a:lnTo>
                            <a:lnTo>
                              <a:pt x="45" y="45"/>
                            </a:lnTo>
                            <a:lnTo>
                              <a:pt x="45" y="45"/>
                            </a:lnTo>
                            <a:lnTo>
                              <a:pt x="47" y="44"/>
                            </a:lnTo>
                            <a:lnTo>
                              <a:pt x="48" y="42"/>
                            </a:lnTo>
                            <a:lnTo>
                              <a:pt x="48" y="42"/>
                            </a:lnTo>
                            <a:lnTo>
                              <a:pt x="51" y="42"/>
                            </a:lnTo>
                            <a:lnTo>
                              <a:pt x="51" y="42"/>
                            </a:lnTo>
                            <a:lnTo>
                              <a:pt x="51" y="42"/>
                            </a:lnTo>
                            <a:lnTo>
                              <a:pt x="52" y="42"/>
                            </a:lnTo>
                            <a:lnTo>
                              <a:pt x="53" y="42"/>
                            </a:lnTo>
                            <a:lnTo>
                              <a:pt x="53" y="42"/>
                            </a:lnTo>
                            <a:lnTo>
                              <a:pt x="54" y="41"/>
                            </a:lnTo>
                            <a:lnTo>
                              <a:pt x="57" y="41"/>
                            </a:lnTo>
                            <a:lnTo>
                              <a:pt x="57" y="40"/>
                            </a:lnTo>
                            <a:lnTo>
                              <a:pt x="57" y="39"/>
                            </a:lnTo>
                            <a:lnTo>
                              <a:pt x="58" y="39"/>
                            </a:lnTo>
                            <a:lnTo>
                              <a:pt x="58" y="39"/>
                            </a:lnTo>
                            <a:lnTo>
                              <a:pt x="58" y="38"/>
                            </a:lnTo>
                            <a:lnTo>
                              <a:pt x="58" y="38"/>
                            </a:lnTo>
                            <a:lnTo>
                              <a:pt x="58" y="37"/>
                            </a:lnTo>
                            <a:lnTo>
                              <a:pt x="58" y="37"/>
                            </a:lnTo>
                            <a:lnTo>
                              <a:pt x="59" y="35"/>
                            </a:lnTo>
                            <a:lnTo>
                              <a:pt x="60" y="34"/>
                            </a:lnTo>
                            <a:lnTo>
                              <a:pt x="60" y="33"/>
                            </a:lnTo>
                            <a:lnTo>
                              <a:pt x="64" y="31"/>
                            </a:lnTo>
                            <a:lnTo>
                              <a:pt x="64" y="31"/>
                            </a:lnTo>
                            <a:lnTo>
                              <a:pt x="64" y="28"/>
                            </a:lnTo>
                            <a:lnTo>
                              <a:pt x="65" y="28"/>
                            </a:lnTo>
                            <a:lnTo>
                              <a:pt x="66" y="27"/>
                            </a:lnTo>
                            <a:lnTo>
                              <a:pt x="67" y="26"/>
                            </a:lnTo>
                            <a:lnTo>
                              <a:pt x="67" y="25"/>
                            </a:lnTo>
                            <a:lnTo>
                              <a:pt x="66" y="24"/>
                            </a:lnTo>
                            <a:lnTo>
                              <a:pt x="67" y="24"/>
                            </a:lnTo>
                            <a:lnTo>
                              <a:pt x="67" y="24"/>
                            </a:lnTo>
                            <a:lnTo>
                              <a:pt x="67" y="24"/>
                            </a:lnTo>
                            <a:lnTo>
                              <a:pt x="67" y="22"/>
                            </a:lnTo>
                            <a:lnTo>
                              <a:pt x="67" y="22"/>
                            </a:lnTo>
                            <a:lnTo>
                              <a:pt x="67" y="22"/>
                            </a:lnTo>
                            <a:lnTo>
                              <a:pt x="66" y="21"/>
                            </a:lnTo>
                            <a:lnTo>
                              <a:pt x="67" y="21"/>
                            </a:lnTo>
                            <a:lnTo>
                              <a:pt x="66" y="21"/>
                            </a:lnTo>
                            <a:lnTo>
                              <a:pt x="66" y="20"/>
                            </a:lnTo>
                            <a:lnTo>
                              <a:pt x="66" y="20"/>
                            </a:lnTo>
                            <a:lnTo>
                              <a:pt x="65" y="20"/>
                            </a:lnTo>
                            <a:lnTo>
                              <a:pt x="64" y="19"/>
                            </a:lnTo>
                            <a:lnTo>
                              <a:pt x="64" y="19"/>
                            </a:lnTo>
                            <a:lnTo>
                              <a:pt x="64" y="19"/>
                            </a:lnTo>
                            <a:lnTo>
                              <a:pt x="63" y="20"/>
                            </a:lnTo>
                            <a:lnTo>
                              <a:pt x="63" y="20"/>
                            </a:lnTo>
                            <a:lnTo>
                              <a:pt x="61" y="20"/>
                            </a:lnTo>
                            <a:lnTo>
                              <a:pt x="60" y="20"/>
                            </a:lnTo>
                            <a:lnTo>
                              <a:pt x="59" y="20"/>
                            </a:lnTo>
                            <a:lnTo>
                              <a:pt x="58" y="20"/>
                            </a:lnTo>
                            <a:lnTo>
                              <a:pt x="58" y="20"/>
                            </a:lnTo>
                            <a:lnTo>
                              <a:pt x="58" y="19"/>
                            </a:lnTo>
                            <a:lnTo>
                              <a:pt x="57" y="19"/>
                            </a:lnTo>
                            <a:lnTo>
                              <a:pt x="56" y="19"/>
                            </a:lnTo>
                            <a:lnTo>
                              <a:pt x="54" y="20"/>
                            </a:lnTo>
                            <a:lnTo>
                              <a:pt x="53" y="20"/>
                            </a:lnTo>
                            <a:lnTo>
                              <a:pt x="51" y="21"/>
                            </a:lnTo>
                            <a:lnTo>
                              <a:pt x="48" y="20"/>
                            </a:lnTo>
                            <a:lnTo>
                              <a:pt x="46" y="20"/>
                            </a:lnTo>
                            <a:lnTo>
                              <a:pt x="45" y="19"/>
                            </a:lnTo>
                            <a:lnTo>
                              <a:pt x="44" y="20"/>
                            </a:lnTo>
                            <a:lnTo>
                              <a:pt x="44" y="20"/>
                            </a:lnTo>
                            <a:lnTo>
                              <a:pt x="43" y="21"/>
                            </a:lnTo>
                            <a:lnTo>
                              <a:pt x="41" y="21"/>
                            </a:lnTo>
                            <a:lnTo>
                              <a:pt x="39" y="21"/>
                            </a:lnTo>
                            <a:lnTo>
                              <a:pt x="38" y="21"/>
                            </a:lnTo>
                            <a:lnTo>
                              <a:pt x="37" y="21"/>
                            </a:lnTo>
                            <a:lnTo>
                              <a:pt x="37" y="21"/>
                            </a:lnTo>
                            <a:lnTo>
                              <a:pt x="34" y="21"/>
                            </a:lnTo>
                            <a:lnTo>
                              <a:pt x="33" y="21"/>
                            </a:lnTo>
                            <a:lnTo>
                              <a:pt x="34" y="21"/>
                            </a:lnTo>
                            <a:lnTo>
                              <a:pt x="34" y="22"/>
                            </a:lnTo>
                            <a:lnTo>
                              <a:pt x="33" y="22"/>
                            </a:lnTo>
                            <a:lnTo>
                              <a:pt x="32" y="22"/>
                            </a:lnTo>
                            <a:lnTo>
                              <a:pt x="32" y="22"/>
                            </a:lnTo>
                            <a:lnTo>
                              <a:pt x="31" y="22"/>
                            </a:lnTo>
                            <a:lnTo>
                              <a:pt x="32" y="22"/>
                            </a:lnTo>
                            <a:lnTo>
                              <a:pt x="31" y="22"/>
                            </a:lnTo>
                            <a:lnTo>
                              <a:pt x="31" y="22"/>
                            </a:lnTo>
                            <a:lnTo>
                              <a:pt x="31" y="21"/>
                            </a:lnTo>
                            <a:lnTo>
                              <a:pt x="32" y="22"/>
                            </a:lnTo>
                            <a:lnTo>
                              <a:pt x="32" y="21"/>
                            </a:lnTo>
                            <a:lnTo>
                              <a:pt x="33" y="21"/>
                            </a:lnTo>
                            <a:lnTo>
                              <a:pt x="33" y="21"/>
                            </a:lnTo>
                            <a:lnTo>
                              <a:pt x="34" y="20"/>
                            </a:lnTo>
                            <a:lnTo>
                              <a:pt x="34" y="19"/>
                            </a:lnTo>
                            <a:lnTo>
                              <a:pt x="33" y="20"/>
                            </a:lnTo>
                            <a:lnTo>
                              <a:pt x="31" y="20"/>
                            </a:lnTo>
                            <a:lnTo>
                              <a:pt x="31" y="20"/>
                            </a:lnTo>
                            <a:lnTo>
                              <a:pt x="30" y="21"/>
                            </a:lnTo>
                            <a:lnTo>
                              <a:pt x="28" y="21"/>
                            </a:lnTo>
                            <a:lnTo>
                              <a:pt x="28" y="21"/>
                            </a:lnTo>
                            <a:lnTo>
                              <a:pt x="31" y="20"/>
                            </a:lnTo>
                            <a:lnTo>
                              <a:pt x="30" y="19"/>
                            </a:lnTo>
                            <a:lnTo>
                              <a:pt x="31" y="19"/>
                            </a:lnTo>
                            <a:lnTo>
                              <a:pt x="31" y="19"/>
                            </a:lnTo>
                            <a:lnTo>
                              <a:pt x="32" y="19"/>
                            </a:lnTo>
                            <a:lnTo>
                              <a:pt x="33" y="19"/>
                            </a:lnTo>
                            <a:lnTo>
                              <a:pt x="34" y="19"/>
                            </a:lnTo>
                            <a:lnTo>
                              <a:pt x="34" y="19"/>
                            </a:lnTo>
                            <a:lnTo>
                              <a:pt x="34" y="19"/>
                            </a:lnTo>
                            <a:lnTo>
                              <a:pt x="36" y="19"/>
                            </a:lnTo>
                            <a:lnTo>
                              <a:pt x="37" y="18"/>
                            </a:lnTo>
                            <a:lnTo>
                              <a:pt x="38" y="17"/>
                            </a:lnTo>
                            <a:lnTo>
                              <a:pt x="38" y="17"/>
                            </a:lnTo>
                            <a:lnTo>
                              <a:pt x="38" y="17"/>
                            </a:lnTo>
                            <a:lnTo>
                              <a:pt x="37" y="17"/>
                            </a:lnTo>
                            <a:lnTo>
                              <a:pt x="36" y="18"/>
                            </a:lnTo>
                            <a:lnTo>
                              <a:pt x="36" y="18"/>
                            </a:lnTo>
                            <a:lnTo>
                              <a:pt x="34" y="17"/>
                            </a:lnTo>
                            <a:lnTo>
                              <a:pt x="37" y="17"/>
                            </a:lnTo>
                            <a:lnTo>
                              <a:pt x="36" y="17"/>
                            </a:lnTo>
                            <a:lnTo>
                              <a:pt x="34" y="17"/>
                            </a:lnTo>
                            <a:lnTo>
                              <a:pt x="34" y="17"/>
                            </a:lnTo>
                            <a:lnTo>
                              <a:pt x="33" y="18"/>
                            </a:lnTo>
                            <a:lnTo>
                              <a:pt x="32" y="18"/>
                            </a:lnTo>
                            <a:lnTo>
                              <a:pt x="32" y="17"/>
                            </a:lnTo>
                            <a:lnTo>
                              <a:pt x="32" y="17"/>
                            </a:lnTo>
                            <a:lnTo>
                              <a:pt x="33" y="17"/>
                            </a:lnTo>
                            <a:lnTo>
                              <a:pt x="33" y="17"/>
                            </a:lnTo>
                            <a:lnTo>
                              <a:pt x="33" y="17"/>
                            </a:lnTo>
                            <a:lnTo>
                              <a:pt x="33" y="15"/>
                            </a:lnTo>
                            <a:lnTo>
                              <a:pt x="34" y="17"/>
                            </a:lnTo>
                            <a:lnTo>
                              <a:pt x="34" y="14"/>
                            </a:lnTo>
                            <a:lnTo>
                              <a:pt x="34" y="14"/>
                            </a:lnTo>
                            <a:lnTo>
                              <a:pt x="37" y="14"/>
                            </a:lnTo>
                            <a:lnTo>
                              <a:pt x="38" y="13"/>
                            </a:lnTo>
                            <a:lnTo>
                              <a:pt x="40" y="13"/>
                            </a:lnTo>
                            <a:lnTo>
                              <a:pt x="41" y="12"/>
                            </a:lnTo>
                            <a:lnTo>
                              <a:pt x="43" y="12"/>
                            </a:lnTo>
                            <a:lnTo>
                              <a:pt x="44" y="11"/>
                            </a:lnTo>
                            <a:lnTo>
                              <a:pt x="45" y="10"/>
                            </a:lnTo>
                            <a:lnTo>
                              <a:pt x="46" y="10"/>
                            </a:lnTo>
                            <a:lnTo>
                              <a:pt x="46" y="8"/>
                            </a:lnTo>
                            <a:lnTo>
                              <a:pt x="47" y="8"/>
                            </a:lnTo>
                            <a:lnTo>
                              <a:pt x="47" y="8"/>
                            </a:lnTo>
                            <a:lnTo>
                              <a:pt x="48" y="8"/>
                            </a:lnTo>
                            <a:lnTo>
                              <a:pt x="48" y="7"/>
                            </a:lnTo>
                            <a:lnTo>
                              <a:pt x="48" y="6"/>
                            </a:lnTo>
                            <a:lnTo>
                              <a:pt x="50" y="6"/>
                            </a:lnTo>
                            <a:lnTo>
                              <a:pt x="50" y="5"/>
                            </a:lnTo>
                            <a:lnTo>
                              <a:pt x="48" y="4"/>
                            </a:lnTo>
                            <a:lnTo>
                              <a:pt x="48" y="4"/>
                            </a:lnTo>
                            <a:lnTo>
                              <a:pt x="47" y="4"/>
                            </a:lnTo>
                            <a:lnTo>
                              <a:pt x="47" y="2"/>
                            </a:lnTo>
                            <a:lnTo>
                              <a:pt x="47" y="2"/>
                            </a:lnTo>
                            <a:lnTo>
                              <a:pt x="48" y="2"/>
                            </a:lnTo>
                            <a:lnTo>
                              <a:pt x="50" y="1"/>
                            </a:lnTo>
                            <a:lnTo>
                              <a:pt x="48" y="0"/>
                            </a:lnTo>
                            <a:lnTo>
                              <a:pt x="48" y="0"/>
                            </a:lnTo>
                            <a:lnTo>
                              <a:pt x="47" y="1"/>
                            </a:lnTo>
                            <a:lnTo>
                              <a:pt x="46" y="1"/>
                            </a:lnTo>
                            <a:lnTo>
                              <a:pt x="45" y="1"/>
                            </a:lnTo>
                            <a:lnTo>
                              <a:pt x="44" y="1"/>
                            </a:lnTo>
                            <a:lnTo>
                              <a:pt x="44" y="1"/>
                            </a:lnTo>
                            <a:lnTo>
                              <a:pt x="44" y="1"/>
                            </a:lnTo>
                            <a:lnTo>
                              <a:pt x="43" y="1"/>
                            </a:lnTo>
                            <a:lnTo>
                              <a:pt x="43" y="1"/>
                            </a:lnTo>
                            <a:lnTo>
                              <a:pt x="43" y="2"/>
                            </a:lnTo>
                            <a:lnTo>
                              <a:pt x="41" y="1"/>
                            </a:lnTo>
                            <a:lnTo>
                              <a:pt x="40" y="1"/>
                            </a:lnTo>
                            <a:lnTo>
                              <a:pt x="39" y="1"/>
                            </a:lnTo>
                            <a:lnTo>
                              <a:pt x="39" y="1"/>
                            </a:lnTo>
                            <a:lnTo>
                              <a:pt x="38" y="2"/>
                            </a:lnTo>
                            <a:lnTo>
                              <a:pt x="37" y="2"/>
                            </a:lnTo>
                            <a:lnTo>
                              <a:pt x="34" y="2"/>
                            </a:lnTo>
                            <a:lnTo>
                              <a:pt x="33" y="2"/>
                            </a:lnTo>
                            <a:lnTo>
                              <a:pt x="32" y="2"/>
                            </a:lnTo>
                            <a:lnTo>
                              <a:pt x="32" y="2"/>
                            </a:lnTo>
                            <a:lnTo>
                              <a:pt x="31" y="2"/>
                            </a:lnTo>
                            <a:lnTo>
                              <a:pt x="32" y="4"/>
                            </a:lnTo>
                            <a:lnTo>
                              <a:pt x="33" y="4"/>
                            </a:lnTo>
                            <a:lnTo>
                              <a:pt x="32" y="4"/>
                            </a:lnTo>
                            <a:lnTo>
                              <a:pt x="31" y="4"/>
                            </a:lnTo>
                            <a:lnTo>
                              <a:pt x="30" y="2"/>
                            </a:lnTo>
                            <a:lnTo>
                              <a:pt x="30" y="4"/>
                            </a:lnTo>
                            <a:lnTo>
                              <a:pt x="30" y="4"/>
                            </a:lnTo>
                            <a:lnTo>
                              <a:pt x="28" y="5"/>
                            </a:lnTo>
                            <a:lnTo>
                              <a:pt x="28" y="4"/>
                            </a:lnTo>
                            <a:lnTo>
                              <a:pt x="28" y="4"/>
                            </a:lnTo>
                            <a:lnTo>
                              <a:pt x="28" y="4"/>
                            </a:lnTo>
                            <a:lnTo>
                              <a:pt x="28" y="2"/>
                            </a:lnTo>
                            <a:lnTo>
                              <a:pt x="27" y="2"/>
                            </a:lnTo>
                            <a:lnTo>
                              <a:pt x="27" y="2"/>
                            </a:lnTo>
                            <a:lnTo>
                              <a:pt x="26" y="2"/>
                            </a:lnTo>
                            <a:lnTo>
                              <a:pt x="26" y="2"/>
                            </a:lnTo>
                            <a:lnTo>
                              <a:pt x="25" y="2"/>
                            </a:lnTo>
                            <a:lnTo>
                              <a:pt x="25" y="2"/>
                            </a:lnTo>
                            <a:lnTo>
                              <a:pt x="24" y="1"/>
                            </a:lnTo>
                            <a:lnTo>
                              <a:pt x="24" y="2"/>
                            </a:lnTo>
                            <a:lnTo>
                              <a:pt x="23" y="2"/>
                            </a:lnTo>
                            <a:lnTo>
                              <a:pt x="23" y="2"/>
                            </a:lnTo>
                            <a:lnTo>
                              <a:pt x="23" y="1"/>
                            </a:lnTo>
                            <a:lnTo>
                              <a:pt x="21" y="1"/>
                            </a:lnTo>
                            <a:lnTo>
                              <a:pt x="21" y="1"/>
                            </a:lnTo>
                            <a:lnTo>
                              <a:pt x="20" y="1"/>
                            </a:lnTo>
                            <a:lnTo>
                              <a:pt x="20" y="1"/>
                            </a:lnTo>
                            <a:lnTo>
                              <a:pt x="20" y="1"/>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grpSp>
              </p:grpSp>
            </p:grpSp>
            <p:sp>
              <p:nvSpPr>
                <p:cNvPr id="401" name="Germany">
                  <a:extLst>
                    <a:ext uri="{FF2B5EF4-FFF2-40B4-BE49-F238E27FC236}">
                      <a16:creationId xmlns:a16="http://schemas.microsoft.com/office/drawing/2014/main" id="{F9642880-BFF0-8140-8B2C-E4127754BE00}"/>
                    </a:ext>
                  </a:extLst>
                </p:cNvPr>
                <p:cNvSpPr>
                  <a:spLocks noEditPoints="1"/>
                </p:cNvSpPr>
                <p:nvPr/>
              </p:nvSpPr>
              <p:spPr bwMode="auto">
                <a:xfrm>
                  <a:off x="6496461" y="2350713"/>
                  <a:ext cx="207029" cy="224525"/>
                </a:xfrm>
                <a:custGeom>
                  <a:avLst/>
                  <a:gdLst>
                    <a:gd name="T0" fmla="*/ 34 w 142"/>
                    <a:gd name="T1" fmla="*/ 7 h 154"/>
                    <a:gd name="T2" fmla="*/ 40 w 142"/>
                    <a:gd name="T3" fmla="*/ 10 h 154"/>
                    <a:gd name="T4" fmla="*/ 112 w 142"/>
                    <a:gd name="T5" fmla="*/ 16 h 154"/>
                    <a:gd name="T6" fmla="*/ 115 w 142"/>
                    <a:gd name="T7" fmla="*/ 13 h 154"/>
                    <a:gd name="T8" fmla="*/ 109 w 142"/>
                    <a:gd name="T9" fmla="*/ 9 h 154"/>
                    <a:gd name="T10" fmla="*/ 108 w 142"/>
                    <a:gd name="T11" fmla="*/ 9 h 154"/>
                    <a:gd name="T12" fmla="*/ 4 w 142"/>
                    <a:gd name="T13" fmla="*/ 82 h 154"/>
                    <a:gd name="T14" fmla="*/ 4 w 142"/>
                    <a:gd name="T15" fmla="*/ 67 h 154"/>
                    <a:gd name="T16" fmla="*/ 14 w 142"/>
                    <a:gd name="T17" fmla="*/ 60 h 154"/>
                    <a:gd name="T18" fmla="*/ 12 w 142"/>
                    <a:gd name="T19" fmla="*/ 48 h 154"/>
                    <a:gd name="T20" fmla="*/ 19 w 142"/>
                    <a:gd name="T21" fmla="*/ 35 h 154"/>
                    <a:gd name="T22" fmla="*/ 24 w 142"/>
                    <a:gd name="T23" fmla="*/ 27 h 154"/>
                    <a:gd name="T24" fmla="*/ 34 w 142"/>
                    <a:gd name="T25" fmla="*/ 31 h 154"/>
                    <a:gd name="T26" fmla="*/ 39 w 142"/>
                    <a:gd name="T27" fmla="*/ 33 h 154"/>
                    <a:gd name="T28" fmla="*/ 47 w 142"/>
                    <a:gd name="T29" fmla="*/ 23 h 154"/>
                    <a:gd name="T30" fmla="*/ 52 w 142"/>
                    <a:gd name="T31" fmla="*/ 23 h 154"/>
                    <a:gd name="T32" fmla="*/ 44 w 142"/>
                    <a:gd name="T33" fmla="*/ 15 h 154"/>
                    <a:gd name="T34" fmla="*/ 42 w 142"/>
                    <a:gd name="T35" fmla="*/ 8 h 154"/>
                    <a:gd name="T36" fmla="*/ 34 w 142"/>
                    <a:gd name="T37" fmla="*/ 6 h 154"/>
                    <a:gd name="T38" fmla="*/ 35 w 142"/>
                    <a:gd name="T39" fmla="*/ 0 h 154"/>
                    <a:gd name="T40" fmla="*/ 37 w 142"/>
                    <a:gd name="T41" fmla="*/ 3 h 154"/>
                    <a:gd name="T42" fmla="*/ 57 w 142"/>
                    <a:gd name="T43" fmla="*/ 6 h 154"/>
                    <a:gd name="T44" fmla="*/ 62 w 142"/>
                    <a:gd name="T45" fmla="*/ 10 h 154"/>
                    <a:gd name="T46" fmla="*/ 72 w 142"/>
                    <a:gd name="T47" fmla="*/ 14 h 154"/>
                    <a:gd name="T48" fmla="*/ 74 w 142"/>
                    <a:gd name="T49" fmla="*/ 22 h 154"/>
                    <a:gd name="T50" fmla="*/ 89 w 142"/>
                    <a:gd name="T51" fmla="*/ 15 h 154"/>
                    <a:gd name="T52" fmla="*/ 101 w 142"/>
                    <a:gd name="T53" fmla="*/ 11 h 154"/>
                    <a:gd name="T54" fmla="*/ 97 w 142"/>
                    <a:gd name="T55" fmla="*/ 15 h 154"/>
                    <a:gd name="T56" fmla="*/ 111 w 142"/>
                    <a:gd name="T57" fmla="*/ 15 h 154"/>
                    <a:gd name="T58" fmla="*/ 120 w 142"/>
                    <a:gd name="T59" fmla="*/ 20 h 154"/>
                    <a:gd name="T60" fmla="*/ 127 w 142"/>
                    <a:gd name="T61" fmla="*/ 40 h 154"/>
                    <a:gd name="T62" fmla="*/ 136 w 142"/>
                    <a:gd name="T63" fmla="*/ 61 h 154"/>
                    <a:gd name="T64" fmla="*/ 138 w 142"/>
                    <a:gd name="T65" fmla="*/ 82 h 154"/>
                    <a:gd name="T66" fmla="*/ 128 w 142"/>
                    <a:gd name="T67" fmla="*/ 82 h 154"/>
                    <a:gd name="T68" fmla="*/ 115 w 142"/>
                    <a:gd name="T69" fmla="*/ 89 h 154"/>
                    <a:gd name="T70" fmla="*/ 100 w 142"/>
                    <a:gd name="T71" fmla="*/ 94 h 154"/>
                    <a:gd name="T72" fmla="*/ 105 w 142"/>
                    <a:gd name="T73" fmla="*/ 101 h 154"/>
                    <a:gd name="T74" fmla="*/ 115 w 142"/>
                    <a:gd name="T75" fmla="*/ 114 h 154"/>
                    <a:gd name="T76" fmla="*/ 126 w 142"/>
                    <a:gd name="T77" fmla="*/ 129 h 154"/>
                    <a:gd name="T78" fmla="*/ 113 w 142"/>
                    <a:gd name="T79" fmla="*/ 140 h 154"/>
                    <a:gd name="T80" fmla="*/ 109 w 142"/>
                    <a:gd name="T81" fmla="*/ 146 h 154"/>
                    <a:gd name="T82" fmla="*/ 92 w 142"/>
                    <a:gd name="T83" fmla="*/ 148 h 154"/>
                    <a:gd name="T84" fmla="*/ 78 w 142"/>
                    <a:gd name="T85" fmla="*/ 147 h 154"/>
                    <a:gd name="T86" fmla="*/ 69 w 142"/>
                    <a:gd name="T87" fmla="*/ 151 h 154"/>
                    <a:gd name="T88" fmla="*/ 52 w 142"/>
                    <a:gd name="T89" fmla="*/ 146 h 154"/>
                    <a:gd name="T90" fmla="*/ 42 w 142"/>
                    <a:gd name="T91" fmla="*/ 146 h 154"/>
                    <a:gd name="T92" fmla="*/ 33 w 142"/>
                    <a:gd name="T93" fmla="*/ 148 h 154"/>
                    <a:gd name="T94" fmla="*/ 28 w 142"/>
                    <a:gd name="T95" fmla="*/ 143 h 154"/>
                    <a:gd name="T96" fmla="*/ 38 w 142"/>
                    <a:gd name="T97" fmla="*/ 120 h 154"/>
                    <a:gd name="T98" fmla="*/ 14 w 142"/>
                    <a:gd name="T99" fmla="*/ 115 h 154"/>
                    <a:gd name="T100" fmla="*/ 7 w 142"/>
                    <a:gd name="T101" fmla="*/ 100 h 154"/>
                    <a:gd name="T102" fmla="*/ 5 w 142"/>
                    <a:gd name="T103" fmla="*/ 86 h 154"/>
                    <a:gd name="T104" fmla="*/ 35 w 142"/>
                    <a:gd name="T105" fmla="*/ 7 h 154"/>
                    <a:gd name="T106" fmla="*/ 41 w 142"/>
                    <a:gd name="T107" fmla="*/ 20 h 154"/>
                    <a:gd name="T108" fmla="*/ 37 w 142"/>
                    <a:gd name="T109" fmla="*/ 22 h 154"/>
                    <a:gd name="T110" fmla="*/ 32 w 142"/>
                    <a:gd name="T111" fmla="*/ 26 h 154"/>
                    <a:gd name="T112" fmla="*/ 32 w 142"/>
                    <a:gd name="T113" fmla="*/ 26 h 154"/>
                    <a:gd name="T114" fmla="*/ 26 w 142"/>
                    <a:gd name="T115" fmla="*/ 24 h 154"/>
                    <a:gd name="T116" fmla="*/ 22 w 142"/>
                    <a:gd name="T117" fmla="*/ 26 h 154"/>
                    <a:gd name="T118" fmla="*/ 18 w 142"/>
                    <a:gd name="T119" fmla="*/ 26 h 154"/>
                    <a:gd name="T120" fmla="*/ 14 w 142"/>
                    <a:gd name="T121" fmla="*/ 27 h 154"/>
                    <a:gd name="T122" fmla="*/ 11 w 142"/>
                    <a:gd name="T123" fmla="*/ 28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42" h="154">
                      <a:moveTo>
                        <a:pt x="77" y="9"/>
                      </a:moveTo>
                      <a:lnTo>
                        <a:pt x="75" y="10"/>
                      </a:lnTo>
                      <a:lnTo>
                        <a:pt x="75" y="10"/>
                      </a:lnTo>
                      <a:lnTo>
                        <a:pt x="75" y="11"/>
                      </a:lnTo>
                      <a:lnTo>
                        <a:pt x="75" y="11"/>
                      </a:lnTo>
                      <a:lnTo>
                        <a:pt x="75" y="11"/>
                      </a:lnTo>
                      <a:lnTo>
                        <a:pt x="77" y="13"/>
                      </a:lnTo>
                      <a:lnTo>
                        <a:pt x="78" y="13"/>
                      </a:lnTo>
                      <a:lnTo>
                        <a:pt x="79" y="13"/>
                      </a:lnTo>
                      <a:lnTo>
                        <a:pt x="80" y="13"/>
                      </a:lnTo>
                      <a:lnTo>
                        <a:pt x="80" y="11"/>
                      </a:lnTo>
                      <a:lnTo>
                        <a:pt x="80" y="11"/>
                      </a:lnTo>
                      <a:lnTo>
                        <a:pt x="79" y="10"/>
                      </a:lnTo>
                      <a:lnTo>
                        <a:pt x="79" y="10"/>
                      </a:lnTo>
                      <a:lnTo>
                        <a:pt x="78" y="10"/>
                      </a:lnTo>
                      <a:lnTo>
                        <a:pt x="77" y="10"/>
                      </a:lnTo>
                      <a:lnTo>
                        <a:pt x="77" y="9"/>
                      </a:lnTo>
                      <a:lnTo>
                        <a:pt x="77" y="9"/>
                      </a:lnTo>
                      <a:close/>
                      <a:moveTo>
                        <a:pt x="34" y="7"/>
                      </a:moveTo>
                      <a:lnTo>
                        <a:pt x="34" y="7"/>
                      </a:lnTo>
                      <a:lnTo>
                        <a:pt x="34" y="7"/>
                      </a:lnTo>
                      <a:lnTo>
                        <a:pt x="34" y="8"/>
                      </a:lnTo>
                      <a:lnTo>
                        <a:pt x="34" y="8"/>
                      </a:lnTo>
                      <a:lnTo>
                        <a:pt x="35" y="8"/>
                      </a:lnTo>
                      <a:lnTo>
                        <a:pt x="35" y="8"/>
                      </a:lnTo>
                      <a:lnTo>
                        <a:pt x="37" y="8"/>
                      </a:lnTo>
                      <a:lnTo>
                        <a:pt x="37" y="8"/>
                      </a:lnTo>
                      <a:lnTo>
                        <a:pt x="35" y="7"/>
                      </a:lnTo>
                      <a:lnTo>
                        <a:pt x="35" y="7"/>
                      </a:lnTo>
                      <a:lnTo>
                        <a:pt x="35" y="7"/>
                      </a:lnTo>
                      <a:lnTo>
                        <a:pt x="34" y="7"/>
                      </a:lnTo>
                      <a:lnTo>
                        <a:pt x="34" y="7"/>
                      </a:lnTo>
                      <a:lnTo>
                        <a:pt x="34" y="7"/>
                      </a:lnTo>
                      <a:close/>
                      <a:moveTo>
                        <a:pt x="39" y="10"/>
                      </a:moveTo>
                      <a:lnTo>
                        <a:pt x="39" y="10"/>
                      </a:lnTo>
                      <a:lnTo>
                        <a:pt x="39" y="11"/>
                      </a:lnTo>
                      <a:lnTo>
                        <a:pt x="40" y="10"/>
                      </a:lnTo>
                      <a:lnTo>
                        <a:pt x="40" y="10"/>
                      </a:lnTo>
                      <a:lnTo>
                        <a:pt x="40" y="10"/>
                      </a:lnTo>
                      <a:lnTo>
                        <a:pt x="40" y="10"/>
                      </a:lnTo>
                      <a:lnTo>
                        <a:pt x="40" y="9"/>
                      </a:lnTo>
                      <a:lnTo>
                        <a:pt x="40" y="9"/>
                      </a:lnTo>
                      <a:lnTo>
                        <a:pt x="40" y="9"/>
                      </a:lnTo>
                      <a:lnTo>
                        <a:pt x="39" y="9"/>
                      </a:lnTo>
                      <a:lnTo>
                        <a:pt x="39" y="10"/>
                      </a:lnTo>
                      <a:lnTo>
                        <a:pt x="39" y="10"/>
                      </a:lnTo>
                      <a:lnTo>
                        <a:pt x="39" y="10"/>
                      </a:lnTo>
                      <a:lnTo>
                        <a:pt x="39" y="10"/>
                      </a:lnTo>
                      <a:close/>
                      <a:moveTo>
                        <a:pt x="107" y="14"/>
                      </a:moveTo>
                      <a:lnTo>
                        <a:pt x="108" y="14"/>
                      </a:lnTo>
                      <a:lnTo>
                        <a:pt x="108" y="14"/>
                      </a:lnTo>
                      <a:lnTo>
                        <a:pt x="108" y="14"/>
                      </a:lnTo>
                      <a:lnTo>
                        <a:pt x="108" y="14"/>
                      </a:lnTo>
                      <a:lnTo>
                        <a:pt x="109" y="15"/>
                      </a:lnTo>
                      <a:lnTo>
                        <a:pt x="111" y="15"/>
                      </a:lnTo>
                      <a:lnTo>
                        <a:pt x="112" y="15"/>
                      </a:lnTo>
                      <a:lnTo>
                        <a:pt x="112" y="16"/>
                      </a:lnTo>
                      <a:lnTo>
                        <a:pt x="112" y="15"/>
                      </a:lnTo>
                      <a:lnTo>
                        <a:pt x="112" y="15"/>
                      </a:lnTo>
                      <a:lnTo>
                        <a:pt x="112" y="15"/>
                      </a:lnTo>
                      <a:lnTo>
                        <a:pt x="113" y="14"/>
                      </a:lnTo>
                      <a:lnTo>
                        <a:pt x="113" y="14"/>
                      </a:lnTo>
                      <a:lnTo>
                        <a:pt x="114" y="14"/>
                      </a:lnTo>
                      <a:lnTo>
                        <a:pt x="115" y="14"/>
                      </a:lnTo>
                      <a:lnTo>
                        <a:pt x="115" y="14"/>
                      </a:lnTo>
                      <a:lnTo>
                        <a:pt x="115" y="14"/>
                      </a:lnTo>
                      <a:lnTo>
                        <a:pt x="117" y="14"/>
                      </a:lnTo>
                      <a:lnTo>
                        <a:pt x="117" y="14"/>
                      </a:lnTo>
                      <a:lnTo>
                        <a:pt x="117" y="15"/>
                      </a:lnTo>
                      <a:lnTo>
                        <a:pt x="117" y="15"/>
                      </a:lnTo>
                      <a:lnTo>
                        <a:pt x="117" y="15"/>
                      </a:lnTo>
                      <a:lnTo>
                        <a:pt x="118" y="14"/>
                      </a:lnTo>
                      <a:lnTo>
                        <a:pt x="117" y="14"/>
                      </a:lnTo>
                      <a:lnTo>
                        <a:pt x="117" y="13"/>
                      </a:lnTo>
                      <a:lnTo>
                        <a:pt x="115" y="13"/>
                      </a:lnTo>
                      <a:lnTo>
                        <a:pt x="115" y="13"/>
                      </a:lnTo>
                      <a:lnTo>
                        <a:pt x="115" y="13"/>
                      </a:lnTo>
                      <a:lnTo>
                        <a:pt x="114" y="11"/>
                      </a:lnTo>
                      <a:lnTo>
                        <a:pt x="114" y="11"/>
                      </a:lnTo>
                      <a:lnTo>
                        <a:pt x="115" y="10"/>
                      </a:lnTo>
                      <a:lnTo>
                        <a:pt x="115" y="9"/>
                      </a:lnTo>
                      <a:lnTo>
                        <a:pt x="115" y="9"/>
                      </a:lnTo>
                      <a:lnTo>
                        <a:pt x="114" y="9"/>
                      </a:lnTo>
                      <a:lnTo>
                        <a:pt x="113" y="9"/>
                      </a:lnTo>
                      <a:lnTo>
                        <a:pt x="112" y="9"/>
                      </a:lnTo>
                      <a:lnTo>
                        <a:pt x="112" y="8"/>
                      </a:lnTo>
                      <a:lnTo>
                        <a:pt x="112" y="8"/>
                      </a:lnTo>
                      <a:lnTo>
                        <a:pt x="112" y="8"/>
                      </a:lnTo>
                      <a:lnTo>
                        <a:pt x="112" y="7"/>
                      </a:lnTo>
                      <a:lnTo>
                        <a:pt x="112" y="7"/>
                      </a:lnTo>
                      <a:lnTo>
                        <a:pt x="111" y="7"/>
                      </a:lnTo>
                      <a:lnTo>
                        <a:pt x="109" y="8"/>
                      </a:lnTo>
                      <a:lnTo>
                        <a:pt x="109" y="8"/>
                      </a:lnTo>
                      <a:lnTo>
                        <a:pt x="109" y="8"/>
                      </a:lnTo>
                      <a:lnTo>
                        <a:pt x="109" y="9"/>
                      </a:lnTo>
                      <a:lnTo>
                        <a:pt x="109" y="9"/>
                      </a:lnTo>
                      <a:lnTo>
                        <a:pt x="111" y="9"/>
                      </a:lnTo>
                      <a:lnTo>
                        <a:pt x="111" y="9"/>
                      </a:lnTo>
                      <a:lnTo>
                        <a:pt x="111" y="8"/>
                      </a:lnTo>
                      <a:lnTo>
                        <a:pt x="111" y="9"/>
                      </a:lnTo>
                      <a:lnTo>
                        <a:pt x="112" y="9"/>
                      </a:lnTo>
                      <a:lnTo>
                        <a:pt x="112" y="9"/>
                      </a:lnTo>
                      <a:lnTo>
                        <a:pt x="112" y="9"/>
                      </a:lnTo>
                      <a:lnTo>
                        <a:pt x="113" y="9"/>
                      </a:lnTo>
                      <a:lnTo>
                        <a:pt x="113" y="9"/>
                      </a:lnTo>
                      <a:lnTo>
                        <a:pt x="113" y="10"/>
                      </a:lnTo>
                      <a:lnTo>
                        <a:pt x="113" y="10"/>
                      </a:lnTo>
                      <a:lnTo>
                        <a:pt x="112" y="10"/>
                      </a:lnTo>
                      <a:lnTo>
                        <a:pt x="112" y="10"/>
                      </a:lnTo>
                      <a:lnTo>
                        <a:pt x="112" y="9"/>
                      </a:lnTo>
                      <a:lnTo>
                        <a:pt x="111" y="9"/>
                      </a:lnTo>
                      <a:lnTo>
                        <a:pt x="111" y="9"/>
                      </a:lnTo>
                      <a:lnTo>
                        <a:pt x="109" y="9"/>
                      </a:lnTo>
                      <a:lnTo>
                        <a:pt x="108" y="9"/>
                      </a:lnTo>
                      <a:lnTo>
                        <a:pt x="108" y="10"/>
                      </a:lnTo>
                      <a:lnTo>
                        <a:pt x="108" y="10"/>
                      </a:lnTo>
                      <a:lnTo>
                        <a:pt x="108" y="10"/>
                      </a:lnTo>
                      <a:lnTo>
                        <a:pt x="109" y="10"/>
                      </a:lnTo>
                      <a:lnTo>
                        <a:pt x="108" y="11"/>
                      </a:lnTo>
                      <a:lnTo>
                        <a:pt x="108" y="11"/>
                      </a:lnTo>
                      <a:lnTo>
                        <a:pt x="108" y="11"/>
                      </a:lnTo>
                      <a:lnTo>
                        <a:pt x="109" y="13"/>
                      </a:lnTo>
                      <a:lnTo>
                        <a:pt x="109" y="13"/>
                      </a:lnTo>
                      <a:lnTo>
                        <a:pt x="109" y="13"/>
                      </a:lnTo>
                      <a:lnTo>
                        <a:pt x="108" y="13"/>
                      </a:lnTo>
                      <a:lnTo>
                        <a:pt x="107" y="14"/>
                      </a:lnTo>
                      <a:lnTo>
                        <a:pt x="107" y="14"/>
                      </a:lnTo>
                      <a:close/>
                      <a:moveTo>
                        <a:pt x="5" y="86"/>
                      </a:moveTo>
                      <a:lnTo>
                        <a:pt x="5" y="84"/>
                      </a:lnTo>
                      <a:lnTo>
                        <a:pt x="4" y="84"/>
                      </a:lnTo>
                      <a:lnTo>
                        <a:pt x="4" y="83"/>
                      </a:lnTo>
                      <a:lnTo>
                        <a:pt x="2" y="83"/>
                      </a:lnTo>
                      <a:lnTo>
                        <a:pt x="4" y="82"/>
                      </a:lnTo>
                      <a:lnTo>
                        <a:pt x="4" y="82"/>
                      </a:lnTo>
                      <a:lnTo>
                        <a:pt x="4" y="81"/>
                      </a:lnTo>
                      <a:lnTo>
                        <a:pt x="2" y="80"/>
                      </a:lnTo>
                      <a:lnTo>
                        <a:pt x="1" y="78"/>
                      </a:lnTo>
                      <a:lnTo>
                        <a:pt x="1" y="80"/>
                      </a:lnTo>
                      <a:lnTo>
                        <a:pt x="0" y="78"/>
                      </a:lnTo>
                      <a:lnTo>
                        <a:pt x="1" y="77"/>
                      </a:lnTo>
                      <a:lnTo>
                        <a:pt x="2" y="77"/>
                      </a:lnTo>
                      <a:lnTo>
                        <a:pt x="4" y="75"/>
                      </a:lnTo>
                      <a:lnTo>
                        <a:pt x="4" y="75"/>
                      </a:lnTo>
                      <a:lnTo>
                        <a:pt x="4" y="75"/>
                      </a:lnTo>
                      <a:lnTo>
                        <a:pt x="4" y="74"/>
                      </a:lnTo>
                      <a:lnTo>
                        <a:pt x="5" y="73"/>
                      </a:lnTo>
                      <a:lnTo>
                        <a:pt x="5" y="73"/>
                      </a:lnTo>
                      <a:lnTo>
                        <a:pt x="5" y="71"/>
                      </a:lnTo>
                      <a:lnTo>
                        <a:pt x="5" y="71"/>
                      </a:lnTo>
                      <a:lnTo>
                        <a:pt x="5" y="69"/>
                      </a:lnTo>
                      <a:lnTo>
                        <a:pt x="5" y="69"/>
                      </a:lnTo>
                      <a:lnTo>
                        <a:pt x="4" y="67"/>
                      </a:lnTo>
                      <a:lnTo>
                        <a:pt x="4" y="67"/>
                      </a:lnTo>
                      <a:lnTo>
                        <a:pt x="2" y="66"/>
                      </a:lnTo>
                      <a:lnTo>
                        <a:pt x="2" y="66"/>
                      </a:lnTo>
                      <a:lnTo>
                        <a:pt x="1" y="63"/>
                      </a:lnTo>
                      <a:lnTo>
                        <a:pt x="1" y="63"/>
                      </a:lnTo>
                      <a:lnTo>
                        <a:pt x="1" y="62"/>
                      </a:lnTo>
                      <a:lnTo>
                        <a:pt x="4" y="62"/>
                      </a:lnTo>
                      <a:lnTo>
                        <a:pt x="4" y="62"/>
                      </a:lnTo>
                      <a:lnTo>
                        <a:pt x="4" y="62"/>
                      </a:lnTo>
                      <a:lnTo>
                        <a:pt x="5" y="62"/>
                      </a:lnTo>
                      <a:lnTo>
                        <a:pt x="5" y="62"/>
                      </a:lnTo>
                      <a:lnTo>
                        <a:pt x="6" y="62"/>
                      </a:lnTo>
                      <a:lnTo>
                        <a:pt x="7" y="62"/>
                      </a:lnTo>
                      <a:lnTo>
                        <a:pt x="7" y="62"/>
                      </a:lnTo>
                      <a:lnTo>
                        <a:pt x="9" y="63"/>
                      </a:lnTo>
                      <a:lnTo>
                        <a:pt x="11" y="62"/>
                      </a:lnTo>
                      <a:lnTo>
                        <a:pt x="12" y="61"/>
                      </a:lnTo>
                      <a:lnTo>
                        <a:pt x="13" y="61"/>
                      </a:lnTo>
                      <a:lnTo>
                        <a:pt x="14" y="60"/>
                      </a:lnTo>
                      <a:lnTo>
                        <a:pt x="13" y="58"/>
                      </a:lnTo>
                      <a:lnTo>
                        <a:pt x="13" y="58"/>
                      </a:lnTo>
                      <a:lnTo>
                        <a:pt x="13" y="58"/>
                      </a:lnTo>
                      <a:lnTo>
                        <a:pt x="13" y="57"/>
                      </a:lnTo>
                      <a:lnTo>
                        <a:pt x="14" y="57"/>
                      </a:lnTo>
                      <a:lnTo>
                        <a:pt x="15" y="56"/>
                      </a:lnTo>
                      <a:lnTo>
                        <a:pt x="15" y="56"/>
                      </a:lnTo>
                      <a:lnTo>
                        <a:pt x="15" y="56"/>
                      </a:lnTo>
                      <a:lnTo>
                        <a:pt x="15" y="56"/>
                      </a:lnTo>
                      <a:lnTo>
                        <a:pt x="17" y="55"/>
                      </a:lnTo>
                      <a:lnTo>
                        <a:pt x="18" y="54"/>
                      </a:lnTo>
                      <a:lnTo>
                        <a:pt x="18" y="54"/>
                      </a:lnTo>
                      <a:lnTo>
                        <a:pt x="18" y="53"/>
                      </a:lnTo>
                      <a:lnTo>
                        <a:pt x="18" y="51"/>
                      </a:lnTo>
                      <a:lnTo>
                        <a:pt x="17" y="50"/>
                      </a:lnTo>
                      <a:lnTo>
                        <a:pt x="17" y="50"/>
                      </a:lnTo>
                      <a:lnTo>
                        <a:pt x="17" y="50"/>
                      </a:lnTo>
                      <a:lnTo>
                        <a:pt x="13" y="50"/>
                      </a:lnTo>
                      <a:lnTo>
                        <a:pt x="12" y="48"/>
                      </a:lnTo>
                      <a:lnTo>
                        <a:pt x="13" y="48"/>
                      </a:lnTo>
                      <a:lnTo>
                        <a:pt x="13" y="47"/>
                      </a:lnTo>
                      <a:lnTo>
                        <a:pt x="12" y="47"/>
                      </a:lnTo>
                      <a:lnTo>
                        <a:pt x="13" y="47"/>
                      </a:lnTo>
                      <a:lnTo>
                        <a:pt x="15" y="47"/>
                      </a:lnTo>
                      <a:lnTo>
                        <a:pt x="15" y="47"/>
                      </a:lnTo>
                      <a:lnTo>
                        <a:pt x="18" y="47"/>
                      </a:lnTo>
                      <a:lnTo>
                        <a:pt x="18" y="47"/>
                      </a:lnTo>
                      <a:lnTo>
                        <a:pt x="18" y="44"/>
                      </a:lnTo>
                      <a:lnTo>
                        <a:pt x="18" y="43"/>
                      </a:lnTo>
                      <a:lnTo>
                        <a:pt x="18" y="43"/>
                      </a:lnTo>
                      <a:lnTo>
                        <a:pt x="19" y="41"/>
                      </a:lnTo>
                      <a:lnTo>
                        <a:pt x="20" y="40"/>
                      </a:lnTo>
                      <a:lnTo>
                        <a:pt x="20" y="36"/>
                      </a:lnTo>
                      <a:lnTo>
                        <a:pt x="20" y="36"/>
                      </a:lnTo>
                      <a:lnTo>
                        <a:pt x="19" y="35"/>
                      </a:lnTo>
                      <a:lnTo>
                        <a:pt x="19" y="35"/>
                      </a:lnTo>
                      <a:lnTo>
                        <a:pt x="19" y="35"/>
                      </a:lnTo>
                      <a:lnTo>
                        <a:pt x="19" y="35"/>
                      </a:lnTo>
                      <a:lnTo>
                        <a:pt x="20" y="34"/>
                      </a:lnTo>
                      <a:lnTo>
                        <a:pt x="20" y="34"/>
                      </a:lnTo>
                      <a:lnTo>
                        <a:pt x="21" y="34"/>
                      </a:lnTo>
                      <a:lnTo>
                        <a:pt x="21" y="34"/>
                      </a:lnTo>
                      <a:lnTo>
                        <a:pt x="20" y="34"/>
                      </a:lnTo>
                      <a:lnTo>
                        <a:pt x="19" y="33"/>
                      </a:lnTo>
                      <a:lnTo>
                        <a:pt x="18" y="33"/>
                      </a:lnTo>
                      <a:lnTo>
                        <a:pt x="17" y="33"/>
                      </a:lnTo>
                      <a:lnTo>
                        <a:pt x="15" y="33"/>
                      </a:lnTo>
                      <a:lnTo>
                        <a:pt x="15" y="31"/>
                      </a:lnTo>
                      <a:lnTo>
                        <a:pt x="17" y="29"/>
                      </a:lnTo>
                      <a:lnTo>
                        <a:pt x="17" y="29"/>
                      </a:lnTo>
                      <a:lnTo>
                        <a:pt x="17" y="28"/>
                      </a:lnTo>
                      <a:lnTo>
                        <a:pt x="18" y="28"/>
                      </a:lnTo>
                      <a:lnTo>
                        <a:pt x="19" y="27"/>
                      </a:lnTo>
                      <a:lnTo>
                        <a:pt x="20" y="27"/>
                      </a:lnTo>
                      <a:lnTo>
                        <a:pt x="21" y="27"/>
                      </a:lnTo>
                      <a:lnTo>
                        <a:pt x="22" y="27"/>
                      </a:lnTo>
                      <a:lnTo>
                        <a:pt x="24" y="27"/>
                      </a:lnTo>
                      <a:lnTo>
                        <a:pt x="25" y="27"/>
                      </a:lnTo>
                      <a:lnTo>
                        <a:pt x="26" y="26"/>
                      </a:lnTo>
                      <a:lnTo>
                        <a:pt x="27" y="26"/>
                      </a:lnTo>
                      <a:lnTo>
                        <a:pt x="28" y="26"/>
                      </a:lnTo>
                      <a:lnTo>
                        <a:pt x="31" y="26"/>
                      </a:lnTo>
                      <a:lnTo>
                        <a:pt x="32" y="26"/>
                      </a:lnTo>
                      <a:lnTo>
                        <a:pt x="31" y="26"/>
                      </a:lnTo>
                      <a:lnTo>
                        <a:pt x="31" y="27"/>
                      </a:lnTo>
                      <a:lnTo>
                        <a:pt x="31" y="27"/>
                      </a:lnTo>
                      <a:lnTo>
                        <a:pt x="32" y="28"/>
                      </a:lnTo>
                      <a:lnTo>
                        <a:pt x="33" y="28"/>
                      </a:lnTo>
                      <a:lnTo>
                        <a:pt x="33" y="29"/>
                      </a:lnTo>
                      <a:lnTo>
                        <a:pt x="33" y="29"/>
                      </a:lnTo>
                      <a:lnTo>
                        <a:pt x="32" y="30"/>
                      </a:lnTo>
                      <a:lnTo>
                        <a:pt x="32" y="30"/>
                      </a:lnTo>
                      <a:lnTo>
                        <a:pt x="32" y="30"/>
                      </a:lnTo>
                      <a:lnTo>
                        <a:pt x="32" y="31"/>
                      </a:lnTo>
                      <a:lnTo>
                        <a:pt x="34" y="31"/>
                      </a:lnTo>
                      <a:lnTo>
                        <a:pt x="34" y="31"/>
                      </a:lnTo>
                      <a:lnTo>
                        <a:pt x="35" y="31"/>
                      </a:lnTo>
                      <a:lnTo>
                        <a:pt x="35" y="30"/>
                      </a:lnTo>
                      <a:lnTo>
                        <a:pt x="35" y="30"/>
                      </a:lnTo>
                      <a:lnTo>
                        <a:pt x="35" y="29"/>
                      </a:lnTo>
                      <a:lnTo>
                        <a:pt x="35" y="29"/>
                      </a:lnTo>
                      <a:lnTo>
                        <a:pt x="34" y="29"/>
                      </a:lnTo>
                      <a:lnTo>
                        <a:pt x="34" y="29"/>
                      </a:lnTo>
                      <a:lnTo>
                        <a:pt x="34" y="28"/>
                      </a:lnTo>
                      <a:lnTo>
                        <a:pt x="34" y="28"/>
                      </a:lnTo>
                      <a:lnTo>
                        <a:pt x="35" y="28"/>
                      </a:lnTo>
                      <a:lnTo>
                        <a:pt x="35" y="28"/>
                      </a:lnTo>
                      <a:lnTo>
                        <a:pt x="37" y="28"/>
                      </a:lnTo>
                      <a:lnTo>
                        <a:pt x="39" y="29"/>
                      </a:lnTo>
                      <a:lnTo>
                        <a:pt x="39" y="29"/>
                      </a:lnTo>
                      <a:lnTo>
                        <a:pt x="39" y="30"/>
                      </a:lnTo>
                      <a:lnTo>
                        <a:pt x="38" y="30"/>
                      </a:lnTo>
                      <a:lnTo>
                        <a:pt x="38" y="31"/>
                      </a:lnTo>
                      <a:lnTo>
                        <a:pt x="39" y="31"/>
                      </a:lnTo>
                      <a:lnTo>
                        <a:pt x="39" y="33"/>
                      </a:lnTo>
                      <a:lnTo>
                        <a:pt x="39" y="33"/>
                      </a:lnTo>
                      <a:lnTo>
                        <a:pt x="39" y="31"/>
                      </a:lnTo>
                      <a:lnTo>
                        <a:pt x="39" y="31"/>
                      </a:lnTo>
                      <a:lnTo>
                        <a:pt x="39" y="30"/>
                      </a:lnTo>
                      <a:lnTo>
                        <a:pt x="39" y="30"/>
                      </a:lnTo>
                      <a:lnTo>
                        <a:pt x="39" y="29"/>
                      </a:lnTo>
                      <a:lnTo>
                        <a:pt x="39" y="29"/>
                      </a:lnTo>
                      <a:lnTo>
                        <a:pt x="39" y="28"/>
                      </a:lnTo>
                      <a:lnTo>
                        <a:pt x="38" y="27"/>
                      </a:lnTo>
                      <a:lnTo>
                        <a:pt x="38" y="26"/>
                      </a:lnTo>
                      <a:lnTo>
                        <a:pt x="39" y="23"/>
                      </a:lnTo>
                      <a:lnTo>
                        <a:pt x="40" y="23"/>
                      </a:lnTo>
                      <a:lnTo>
                        <a:pt x="41" y="22"/>
                      </a:lnTo>
                      <a:lnTo>
                        <a:pt x="41" y="23"/>
                      </a:lnTo>
                      <a:lnTo>
                        <a:pt x="42" y="23"/>
                      </a:lnTo>
                      <a:lnTo>
                        <a:pt x="44" y="23"/>
                      </a:lnTo>
                      <a:lnTo>
                        <a:pt x="46" y="23"/>
                      </a:lnTo>
                      <a:lnTo>
                        <a:pt x="46" y="23"/>
                      </a:lnTo>
                      <a:lnTo>
                        <a:pt x="47" y="23"/>
                      </a:lnTo>
                      <a:lnTo>
                        <a:pt x="49" y="23"/>
                      </a:lnTo>
                      <a:lnTo>
                        <a:pt x="51" y="23"/>
                      </a:lnTo>
                      <a:lnTo>
                        <a:pt x="52" y="26"/>
                      </a:lnTo>
                      <a:lnTo>
                        <a:pt x="53" y="27"/>
                      </a:lnTo>
                      <a:lnTo>
                        <a:pt x="54" y="28"/>
                      </a:lnTo>
                      <a:lnTo>
                        <a:pt x="55" y="28"/>
                      </a:lnTo>
                      <a:lnTo>
                        <a:pt x="57" y="29"/>
                      </a:lnTo>
                      <a:lnTo>
                        <a:pt x="57" y="29"/>
                      </a:lnTo>
                      <a:lnTo>
                        <a:pt x="57" y="29"/>
                      </a:lnTo>
                      <a:lnTo>
                        <a:pt x="59" y="29"/>
                      </a:lnTo>
                      <a:lnTo>
                        <a:pt x="59" y="29"/>
                      </a:lnTo>
                      <a:lnTo>
                        <a:pt x="59" y="29"/>
                      </a:lnTo>
                      <a:lnTo>
                        <a:pt x="58" y="29"/>
                      </a:lnTo>
                      <a:lnTo>
                        <a:pt x="57" y="28"/>
                      </a:lnTo>
                      <a:lnTo>
                        <a:pt x="55" y="28"/>
                      </a:lnTo>
                      <a:lnTo>
                        <a:pt x="54" y="28"/>
                      </a:lnTo>
                      <a:lnTo>
                        <a:pt x="53" y="27"/>
                      </a:lnTo>
                      <a:lnTo>
                        <a:pt x="52" y="24"/>
                      </a:lnTo>
                      <a:lnTo>
                        <a:pt x="52" y="23"/>
                      </a:lnTo>
                      <a:lnTo>
                        <a:pt x="51" y="23"/>
                      </a:lnTo>
                      <a:lnTo>
                        <a:pt x="49" y="22"/>
                      </a:lnTo>
                      <a:lnTo>
                        <a:pt x="47" y="22"/>
                      </a:lnTo>
                      <a:lnTo>
                        <a:pt x="46" y="22"/>
                      </a:lnTo>
                      <a:lnTo>
                        <a:pt x="44" y="22"/>
                      </a:lnTo>
                      <a:lnTo>
                        <a:pt x="44" y="20"/>
                      </a:lnTo>
                      <a:lnTo>
                        <a:pt x="42" y="20"/>
                      </a:lnTo>
                      <a:lnTo>
                        <a:pt x="44" y="19"/>
                      </a:lnTo>
                      <a:lnTo>
                        <a:pt x="44" y="19"/>
                      </a:lnTo>
                      <a:lnTo>
                        <a:pt x="45" y="20"/>
                      </a:lnTo>
                      <a:lnTo>
                        <a:pt x="46" y="20"/>
                      </a:lnTo>
                      <a:lnTo>
                        <a:pt x="46" y="19"/>
                      </a:lnTo>
                      <a:lnTo>
                        <a:pt x="45" y="19"/>
                      </a:lnTo>
                      <a:lnTo>
                        <a:pt x="45" y="17"/>
                      </a:lnTo>
                      <a:lnTo>
                        <a:pt x="44" y="17"/>
                      </a:lnTo>
                      <a:lnTo>
                        <a:pt x="44" y="17"/>
                      </a:lnTo>
                      <a:lnTo>
                        <a:pt x="42" y="16"/>
                      </a:lnTo>
                      <a:lnTo>
                        <a:pt x="42" y="15"/>
                      </a:lnTo>
                      <a:lnTo>
                        <a:pt x="44" y="15"/>
                      </a:lnTo>
                      <a:lnTo>
                        <a:pt x="44" y="15"/>
                      </a:lnTo>
                      <a:lnTo>
                        <a:pt x="44" y="14"/>
                      </a:lnTo>
                      <a:lnTo>
                        <a:pt x="42" y="14"/>
                      </a:lnTo>
                      <a:lnTo>
                        <a:pt x="41" y="15"/>
                      </a:lnTo>
                      <a:lnTo>
                        <a:pt x="40" y="15"/>
                      </a:lnTo>
                      <a:lnTo>
                        <a:pt x="39" y="14"/>
                      </a:lnTo>
                      <a:lnTo>
                        <a:pt x="39" y="13"/>
                      </a:lnTo>
                      <a:lnTo>
                        <a:pt x="39" y="13"/>
                      </a:lnTo>
                      <a:lnTo>
                        <a:pt x="40" y="13"/>
                      </a:lnTo>
                      <a:lnTo>
                        <a:pt x="40" y="13"/>
                      </a:lnTo>
                      <a:lnTo>
                        <a:pt x="42" y="13"/>
                      </a:lnTo>
                      <a:lnTo>
                        <a:pt x="42" y="13"/>
                      </a:lnTo>
                      <a:lnTo>
                        <a:pt x="45" y="11"/>
                      </a:lnTo>
                      <a:lnTo>
                        <a:pt x="45" y="11"/>
                      </a:lnTo>
                      <a:lnTo>
                        <a:pt x="45" y="10"/>
                      </a:lnTo>
                      <a:lnTo>
                        <a:pt x="45" y="9"/>
                      </a:lnTo>
                      <a:lnTo>
                        <a:pt x="44" y="9"/>
                      </a:lnTo>
                      <a:lnTo>
                        <a:pt x="44" y="9"/>
                      </a:lnTo>
                      <a:lnTo>
                        <a:pt x="42" y="8"/>
                      </a:lnTo>
                      <a:lnTo>
                        <a:pt x="44" y="8"/>
                      </a:lnTo>
                      <a:lnTo>
                        <a:pt x="41" y="7"/>
                      </a:lnTo>
                      <a:lnTo>
                        <a:pt x="40" y="6"/>
                      </a:lnTo>
                      <a:lnTo>
                        <a:pt x="40" y="6"/>
                      </a:lnTo>
                      <a:lnTo>
                        <a:pt x="40" y="6"/>
                      </a:lnTo>
                      <a:lnTo>
                        <a:pt x="39" y="4"/>
                      </a:lnTo>
                      <a:lnTo>
                        <a:pt x="39" y="4"/>
                      </a:lnTo>
                      <a:lnTo>
                        <a:pt x="39" y="4"/>
                      </a:lnTo>
                      <a:lnTo>
                        <a:pt x="38" y="3"/>
                      </a:lnTo>
                      <a:lnTo>
                        <a:pt x="38" y="3"/>
                      </a:lnTo>
                      <a:lnTo>
                        <a:pt x="38" y="3"/>
                      </a:lnTo>
                      <a:lnTo>
                        <a:pt x="37" y="3"/>
                      </a:lnTo>
                      <a:lnTo>
                        <a:pt x="35" y="3"/>
                      </a:lnTo>
                      <a:lnTo>
                        <a:pt x="35" y="3"/>
                      </a:lnTo>
                      <a:lnTo>
                        <a:pt x="34" y="3"/>
                      </a:lnTo>
                      <a:lnTo>
                        <a:pt x="34" y="3"/>
                      </a:lnTo>
                      <a:lnTo>
                        <a:pt x="34" y="3"/>
                      </a:lnTo>
                      <a:lnTo>
                        <a:pt x="34" y="4"/>
                      </a:lnTo>
                      <a:lnTo>
                        <a:pt x="34" y="6"/>
                      </a:lnTo>
                      <a:lnTo>
                        <a:pt x="34" y="6"/>
                      </a:lnTo>
                      <a:lnTo>
                        <a:pt x="33" y="4"/>
                      </a:lnTo>
                      <a:lnTo>
                        <a:pt x="33" y="3"/>
                      </a:lnTo>
                      <a:lnTo>
                        <a:pt x="34" y="2"/>
                      </a:lnTo>
                      <a:lnTo>
                        <a:pt x="34" y="2"/>
                      </a:lnTo>
                      <a:lnTo>
                        <a:pt x="34" y="1"/>
                      </a:lnTo>
                      <a:lnTo>
                        <a:pt x="34" y="1"/>
                      </a:lnTo>
                      <a:lnTo>
                        <a:pt x="34" y="0"/>
                      </a:lnTo>
                      <a:lnTo>
                        <a:pt x="35" y="0"/>
                      </a:lnTo>
                      <a:lnTo>
                        <a:pt x="35" y="0"/>
                      </a:lnTo>
                      <a:lnTo>
                        <a:pt x="35" y="0"/>
                      </a:lnTo>
                      <a:lnTo>
                        <a:pt x="35" y="0"/>
                      </a:lnTo>
                      <a:lnTo>
                        <a:pt x="35" y="0"/>
                      </a:lnTo>
                      <a:lnTo>
                        <a:pt x="35" y="0"/>
                      </a:lnTo>
                      <a:lnTo>
                        <a:pt x="35" y="0"/>
                      </a:lnTo>
                      <a:lnTo>
                        <a:pt x="35" y="0"/>
                      </a:lnTo>
                      <a:lnTo>
                        <a:pt x="35" y="0"/>
                      </a:lnTo>
                      <a:lnTo>
                        <a:pt x="35" y="0"/>
                      </a:lnTo>
                      <a:lnTo>
                        <a:pt x="35" y="0"/>
                      </a:lnTo>
                      <a:lnTo>
                        <a:pt x="35" y="0"/>
                      </a:lnTo>
                      <a:lnTo>
                        <a:pt x="35" y="0"/>
                      </a:lnTo>
                      <a:lnTo>
                        <a:pt x="35" y="0"/>
                      </a:lnTo>
                      <a:lnTo>
                        <a:pt x="35" y="0"/>
                      </a:lnTo>
                      <a:lnTo>
                        <a:pt x="35" y="0"/>
                      </a:lnTo>
                      <a:lnTo>
                        <a:pt x="35" y="0"/>
                      </a:lnTo>
                      <a:lnTo>
                        <a:pt x="35" y="1"/>
                      </a:lnTo>
                      <a:lnTo>
                        <a:pt x="35" y="1"/>
                      </a:lnTo>
                      <a:lnTo>
                        <a:pt x="35" y="1"/>
                      </a:lnTo>
                      <a:lnTo>
                        <a:pt x="34" y="1"/>
                      </a:lnTo>
                      <a:lnTo>
                        <a:pt x="34" y="1"/>
                      </a:lnTo>
                      <a:lnTo>
                        <a:pt x="34" y="2"/>
                      </a:lnTo>
                      <a:lnTo>
                        <a:pt x="34" y="2"/>
                      </a:lnTo>
                      <a:lnTo>
                        <a:pt x="34" y="2"/>
                      </a:lnTo>
                      <a:lnTo>
                        <a:pt x="34" y="3"/>
                      </a:lnTo>
                      <a:lnTo>
                        <a:pt x="35" y="3"/>
                      </a:lnTo>
                      <a:lnTo>
                        <a:pt x="35" y="3"/>
                      </a:lnTo>
                      <a:lnTo>
                        <a:pt x="37" y="3"/>
                      </a:lnTo>
                      <a:lnTo>
                        <a:pt x="37" y="3"/>
                      </a:lnTo>
                      <a:lnTo>
                        <a:pt x="38" y="3"/>
                      </a:lnTo>
                      <a:lnTo>
                        <a:pt x="38" y="3"/>
                      </a:lnTo>
                      <a:lnTo>
                        <a:pt x="39" y="2"/>
                      </a:lnTo>
                      <a:lnTo>
                        <a:pt x="40" y="3"/>
                      </a:lnTo>
                      <a:lnTo>
                        <a:pt x="40" y="3"/>
                      </a:lnTo>
                      <a:lnTo>
                        <a:pt x="42" y="2"/>
                      </a:lnTo>
                      <a:lnTo>
                        <a:pt x="45" y="3"/>
                      </a:lnTo>
                      <a:lnTo>
                        <a:pt x="46" y="3"/>
                      </a:lnTo>
                      <a:lnTo>
                        <a:pt x="48" y="3"/>
                      </a:lnTo>
                      <a:lnTo>
                        <a:pt x="48" y="4"/>
                      </a:lnTo>
                      <a:lnTo>
                        <a:pt x="51" y="4"/>
                      </a:lnTo>
                      <a:lnTo>
                        <a:pt x="51" y="3"/>
                      </a:lnTo>
                      <a:lnTo>
                        <a:pt x="52" y="4"/>
                      </a:lnTo>
                      <a:lnTo>
                        <a:pt x="52" y="4"/>
                      </a:lnTo>
                      <a:lnTo>
                        <a:pt x="53" y="4"/>
                      </a:lnTo>
                      <a:lnTo>
                        <a:pt x="54" y="4"/>
                      </a:lnTo>
                      <a:lnTo>
                        <a:pt x="55" y="4"/>
                      </a:lnTo>
                      <a:lnTo>
                        <a:pt x="57" y="4"/>
                      </a:lnTo>
                      <a:lnTo>
                        <a:pt x="57" y="6"/>
                      </a:lnTo>
                      <a:lnTo>
                        <a:pt x="58" y="4"/>
                      </a:lnTo>
                      <a:lnTo>
                        <a:pt x="58" y="4"/>
                      </a:lnTo>
                      <a:lnTo>
                        <a:pt x="59" y="4"/>
                      </a:lnTo>
                      <a:lnTo>
                        <a:pt x="59" y="6"/>
                      </a:lnTo>
                      <a:lnTo>
                        <a:pt x="60" y="7"/>
                      </a:lnTo>
                      <a:lnTo>
                        <a:pt x="60" y="7"/>
                      </a:lnTo>
                      <a:lnTo>
                        <a:pt x="61" y="7"/>
                      </a:lnTo>
                      <a:lnTo>
                        <a:pt x="61" y="8"/>
                      </a:lnTo>
                      <a:lnTo>
                        <a:pt x="61" y="9"/>
                      </a:lnTo>
                      <a:lnTo>
                        <a:pt x="61" y="9"/>
                      </a:lnTo>
                      <a:lnTo>
                        <a:pt x="60" y="10"/>
                      </a:lnTo>
                      <a:lnTo>
                        <a:pt x="59" y="10"/>
                      </a:lnTo>
                      <a:lnTo>
                        <a:pt x="59" y="11"/>
                      </a:lnTo>
                      <a:lnTo>
                        <a:pt x="58" y="11"/>
                      </a:lnTo>
                      <a:lnTo>
                        <a:pt x="59" y="11"/>
                      </a:lnTo>
                      <a:lnTo>
                        <a:pt x="59" y="11"/>
                      </a:lnTo>
                      <a:lnTo>
                        <a:pt x="60" y="11"/>
                      </a:lnTo>
                      <a:lnTo>
                        <a:pt x="61" y="11"/>
                      </a:lnTo>
                      <a:lnTo>
                        <a:pt x="62" y="10"/>
                      </a:lnTo>
                      <a:lnTo>
                        <a:pt x="62" y="10"/>
                      </a:lnTo>
                      <a:lnTo>
                        <a:pt x="62" y="11"/>
                      </a:lnTo>
                      <a:lnTo>
                        <a:pt x="62" y="11"/>
                      </a:lnTo>
                      <a:lnTo>
                        <a:pt x="62" y="13"/>
                      </a:lnTo>
                      <a:lnTo>
                        <a:pt x="62" y="14"/>
                      </a:lnTo>
                      <a:lnTo>
                        <a:pt x="62" y="13"/>
                      </a:lnTo>
                      <a:lnTo>
                        <a:pt x="64" y="13"/>
                      </a:lnTo>
                      <a:lnTo>
                        <a:pt x="64" y="13"/>
                      </a:lnTo>
                      <a:lnTo>
                        <a:pt x="64" y="11"/>
                      </a:lnTo>
                      <a:lnTo>
                        <a:pt x="65" y="11"/>
                      </a:lnTo>
                      <a:lnTo>
                        <a:pt x="65" y="11"/>
                      </a:lnTo>
                      <a:lnTo>
                        <a:pt x="66" y="11"/>
                      </a:lnTo>
                      <a:lnTo>
                        <a:pt x="66" y="11"/>
                      </a:lnTo>
                      <a:lnTo>
                        <a:pt x="68" y="11"/>
                      </a:lnTo>
                      <a:lnTo>
                        <a:pt x="68" y="13"/>
                      </a:lnTo>
                      <a:lnTo>
                        <a:pt x="68" y="13"/>
                      </a:lnTo>
                      <a:lnTo>
                        <a:pt x="69" y="14"/>
                      </a:lnTo>
                      <a:lnTo>
                        <a:pt x="71" y="14"/>
                      </a:lnTo>
                      <a:lnTo>
                        <a:pt x="72" y="14"/>
                      </a:lnTo>
                      <a:lnTo>
                        <a:pt x="73" y="14"/>
                      </a:lnTo>
                      <a:lnTo>
                        <a:pt x="74" y="13"/>
                      </a:lnTo>
                      <a:lnTo>
                        <a:pt x="75" y="13"/>
                      </a:lnTo>
                      <a:lnTo>
                        <a:pt x="77" y="13"/>
                      </a:lnTo>
                      <a:lnTo>
                        <a:pt x="77" y="13"/>
                      </a:lnTo>
                      <a:lnTo>
                        <a:pt x="77" y="13"/>
                      </a:lnTo>
                      <a:lnTo>
                        <a:pt x="77" y="14"/>
                      </a:lnTo>
                      <a:lnTo>
                        <a:pt x="77" y="16"/>
                      </a:lnTo>
                      <a:lnTo>
                        <a:pt x="77" y="16"/>
                      </a:lnTo>
                      <a:lnTo>
                        <a:pt x="77" y="17"/>
                      </a:lnTo>
                      <a:lnTo>
                        <a:pt x="75" y="17"/>
                      </a:lnTo>
                      <a:lnTo>
                        <a:pt x="74" y="19"/>
                      </a:lnTo>
                      <a:lnTo>
                        <a:pt x="73" y="19"/>
                      </a:lnTo>
                      <a:lnTo>
                        <a:pt x="72" y="19"/>
                      </a:lnTo>
                      <a:lnTo>
                        <a:pt x="73" y="20"/>
                      </a:lnTo>
                      <a:lnTo>
                        <a:pt x="73" y="20"/>
                      </a:lnTo>
                      <a:lnTo>
                        <a:pt x="74" y="21"/>
                      </a:lnTo>
                      <a:lnTo>
                        <a:pt x="74" y="21"/>
                      </a:lnTo>
                      <a:lnTo>
                        <a:pt x="74" y="22"/>
                      </a:lnTo>
                      <a:lnTo>
                        <a:pt x="74" y="22"/>
                      </a:lnTo>
                      <a:lnTo>
                        <a:pt x="74" y="21"/>
                      </a:lnTo>
                      <a:lnTo>
                        <a:pt x="75" y="20"/>
                      </a:lnTo>
                      <a:lnTo>
                        <a:pt x="78" y="20"/>
                      </a:lnTo>
                      <a:lnTo>
                        <a:pt x="79" y="20"/>
                      </a:lnTo>
                      <a:lnTo>
                        <a:pt x="79" y="20"/>
                      </a:lnTo>
                      <a:lnTo>
                        <a:pt x="80" y="20"/>
                      </a:lnTo>
                      <a:lnTo>
                        <a:pt x="80" y="21"/>
                      </a:lnTo>
                      <a:lnTo>
                        <a:pt x="81" y="21"/>
                      </a:lnTo>
                      <a:lnTo>
                        <a:pt x="84" y="21"/>
                      </a:lnTo>
                      <a:lnTo>
                        <a:pt x="84" y="21"/>
                      </a:lnTo>
                      <a:lnTo>
                        <a:pt x="84" y="20"/>
                      </a:lnTo>
                      <a:lnTo>
                        <a:pt x="84" y="20"/>
                      </a:lnTo>
                      <a:lnTo>
                        <a:pt x="85" y="19"/>
                      </a:lnTo>
                      <a:lnTo>
                        <a:pt x="86" y="19"/>
                      </a:lnTo>
                      <a:lnTo>
                        <a:pt x="86" y="19"/>
                      </a:lnTo>
                      <a:lnTo>
                        <a:pt x="86" y="17"/>
                      </a:lnTo>
                      <a:lnTo>
                        <a:pt x="88" y="16"/>
                      </a:lnTo>
                      <a:lnTo>
                        <a:pt x="89" y="15"/>
                      </a:lnTo>
                      <a:lnTo>
                        <a:pt x="91" y="15"/>
                      </a:lnTo>
                      <a:lnTo>
                        <a:pt x="91" y="16"/>
                      </a:lnTo>
                      <a:lnTo>
                        <a:pt x="92" y="16"/>
                      </a:lnTo>
                      <a:lnTo>
                        <a:pt x="93" y="17"/>
                      </a:lnTo>
                      <a:lnTo>
                        <a:pt x="93" y="17"/>
                      </a:lnTo>
                      <a:lnTo>
                        <a:pt x="93" y="16"/>
                      </a:lnTo>
                      <a:lnTo>
                        <a:pt x="93" y="16"/>
                      </a:lnTo>
                      <a:lnTo>
                        <a:pt x="94" y="15"/>
                      </a:lnTo>
                      <a:lnTo>
                        <a:pt x="95" y="15"/>
                      </a:lnTo>
                      <a:lnTo>
                        <a:pt x="97" y="14"/>
                      </a:lnTo>
                      <a:lnTo>
                        <a:pt x="98" y="13"/>
                      </a:lnTo>
                      <a:lnTo>
                        <a:pt x="97" y="13"/>
                      </a:lnTo>
                      <a:lnTo>
                        <a:pt x="97" y="13"/>
                      </a:lnTo>
                      <a:lnTo>
                        <a:pt x="98" y="11"/>
                      </a:lnTo>
                      <a:lnTo>
                        <a:pt x="98" y="11"/>
                      </a:lnTo>
                      <a:lnTo>
                        <a:pt x="99" y="11"/>
                      </a:lnTo>
                      <a:lnTo>
                        <a:pt x="99" y="11"/>
                      </a:lnTo>
                      <a:lnTo>
                        <a:pt x="101" y="11"/>
                      </a:lnTo>
                      <a:lnTo>
                        <a:pt x="101" y="11"/>
                      </a:lnTo>
                      <a:lnTo>
                        <a:pt x="102" y="11"/>
                      </a:lnTo>
                      <a:lnTo>
                        <a:pt x="102" y="11"/>
                      </a:lnTo>
                      <a:lnTo>
                        <a:pt x="104" y="11"/>
                      </a:lnTo>
                      <a:lnTo>
                        <a:pt x="105" y="11"/>
                      </a:lnTo>
                      <a:lnTo>
                        <a:pt x="105" y="11"/>
                      </a:lnTo>
                      <a:lnTo>
                        <a:pt x="105" y="13"/>
                      </a:lnTo>
                      <a:lnTo>
                        <a:pt x="105" y="13"/>
                      </a:lnTo>
                      <a:lnTo>
                        <a:pt x="102" y="13"/>
                      </a:lnTo>
                      <a:lnTo>
                        <a:pt x="101" y="13"/>
                      </a:lnTo>
                      <a:lnTo>
                        <a:pt x="101" y="11"/>
                      </a:lnTo>
                      <a:lnTo>
                        <a:pt x="100" y="13"/>
                      </a:lnTo>
                      <a:lnTo>
                        <a:pt x="100" y="13"/>
                      </a:lnTo>
                      <a:lnTo>
                        <a:pt x="100" y="13"/>
                      </a:lnTo>
                      <a:lnTo>
                        <a:pt x="99" y="13"/>
                      </a:lnTo>
                      <a:lnTo>
                        <a:pt x="98" y="13"/>
                      </a:lnTo>
                      <a:lnTo>
                        <a:pt x="98" y="13"/>
                      </a:lnTo>
                      <a:lnTo>
                        <a:pt x="97" y="14"/>
                      </a:lnTo>
                      <a:lnTo>
                        <a:pt x="97" y="15"/>
                      </a:lnTo>
                      <a:lnTo>
                        <a:pt x="97" y="15"/>
                      </a:lnTo>
                      <a:lnTo>
                        <a:pt x="97" y="15"/>
                      </a:lnTo>
                      <a:lnTo>
                        <a:pt x="98" y="15"/>
                      </a:lnTo>
                      <a:lnTo>
                        <a:pt x="98" y="16"/>
                      </a:lnTo>
                      <a:lnTo>
                        <a:pt x="98" y="15"/>
                      </a:lnTo>
                      <a:lnTo>
                        <a:pt x="97" y="15"/>
                      </a:lnTo>
                      <a:lnTo>
                        <a:pt x="98" y="14"/>
                      </a:lnTo>
                      <a:lnTo>
                        <a:pt x="98" y="14"/>
                      </a:lnTo>
                      <a:lnTo>
                        <a:pt x="99" y="14"/>
                      </a:lnTo>
                      <a:lnTo>
                        <a:pt x="100" y="13"/>
                      </a:lnTo>
                      <a:lnTo>
                        <a:pt x="102" y="13"/>
                      </a:lnTo>
                      <a:lnTo>
                        <a:pt x="104" y="13"/>
                      </a:lnTo>
                      <a:lnTo>
                        <a:pt x="105" y="13"/>
                      </a:lnTo>
                      <a:lnTo>
                        <a:pt x="106" y="13"/>
                      </a:lnTo>
                      <a:lnTo>
                        <a:pt x="107" y="13"/>
                      </a:lnTo>
                      <a:lnTo>
                        <a:pt x="107" y="14"/>
                      </a:lnTo>
                      <a:lnTo>
                        <a:pt x="107" y="15"/>
                      </a:lnTo>
                      <a:lnTo>
                        <a:pt x="108" y="15"/>
                      </a:lnTo>
                      <a:lnTo>
                        <a:pt x="109" y="15"/>
                      </a:lnTo>
                      <a:lnTo>
                        <a:pt x="111" y="15"/>
                      </a:lnTo>
                      <a:lnTo>
                        <a:pt x="111" y="16"/>
                      </a:lnTo>
                      <a:lnTo>
                        <a:pt x="111" y="16"/>
                      </a:lnTo>
                      <a:lnTo>
                        <a:pt x="111" y="16"/>
                      </a:lnTo>
                      <a:lnTo>
                        <a:pt x="112" y="16"/>
                      </a:lnTo>
                      <a:lnTo>
                        <a:pt x="112" y="17"/>
                      </a:lnTo>
                      <a:lnTo>
                        <a:pt x="113" y="17"/>
                      </a:lnTo>
                      <a:lnTo>
                        <a:pt x="113" y="19"/>
                      </a:lnTo>
                      <a:lnTo>
                        <a:pt x="113" y="19"/>
                      </a:lnTo>
                      <a:lnTo>
                        <a:pt x="113" y="17"/>
                      </a:lnTo>
                      <a:lnTo>
                        <a:pt x="114" y="17"/>
                      </a:lnTo>
                      <a:lnTo>
                        <a:pt x="115" y="17"/>
                      </a:lnTo>
                      <a:lnTo>
                        <a:pt x="117" y="17"/>
                      </a:lnTo>
                      <a:lnTo>
                        <a:pt x="117" y="16"/>
                      </a:lnTo>
                      <a:lnTo>
                        <a:pt x="118" y="17"/>
                      </a:lnTo>
                      <a:lnTo>
                        <a:pt x="118" y="17"/>
                      </a:lnTo>
                      <a:lnTo>
                        <a:pt x="119" y="19"/>
                      </a:lnTo>
                      <a:lnTo>
                        <a:pt x="118" y="20"/>
                      </a:lnTo>
                      <a:lnTo>
                        <a:pt x="119" y="20"/>
                      </a:lnTo>
                      <a:lnTo>
                        <a:pt x="120" y="20"/>
                      </a:lnTo>
                      <a:lnTo>
                        <a:pt x="122" y="21"/>
                      </a:lnTo>
                      <a:lnTo>
                        <a:pt x="124" y="22"/>
                      </a:lnTo>
                      <a:lnTo>
                        <a:pt x="122" y="22"/>
                      </a:lnTo>
                      <a:lnTo>
                        <a:pt x="121" y="22"/>
                      </a:lnTo>
                      <a:lnTo>
                        <a:pt x="120" y="22"/>
                      </a:lnTo>
                      <a:lnTo>
                        <a:pt x="119" y="23"/>
                      </a:lnTo>
                      <a:lnTo>
                        <a:pt x="119" y="23"/>
                      </a:lnTo>
                      <a:lnTo>
                        <a:pt x="120" y="23"/>
                      </a:lnTo>
                      <a:lnTo>
                        <a:pt x="126" y="26"/>
                      </a:lnTo>
                      <a:lnTo>
                        <a:pt x="127" y="26"/>
                      </a:lnTo>
                      <a:lnTo>
                        <a:pt x="127" y="27"/>
                      </a:lnTo>
                      <a:lnTo>
                        <a:pt x="127" y="28"/>
                      </a:lnTo>
                      <a:lnTo>
                        <a:pt x="128" y="30"/>
                      </a:lnTo>
                      <a:lnTo>
                        <a:pt x="129" y="31"/>
                      </a:lnTo>
                      <a:lnTo>
                        <a:pt x="131" y="34"/>
                      </a:lnTo>
                      <a:lnTo>
                        <a:pt x="129" y="36"/>
                      </a:lnTo>
                      <a:lnTo>
                        <a:pt x="129" y="36"/>
                      </a:lnTo>
                      <a:lnTo>
                        <a:pt x="128" y="38"/>
                      </a:lnTo>
                      <a:lnTo>
                        <a:pt x="127" y="40"/>
                      </a:lnTo>
                      <a:lnTo>
                        <a:pt x="126" y="42"/>
                      </a:lnTo>
                      <a:lnTo>
                        <a:pt x="127" y="42"/>
                      </a:lnTo>
                      <a:lnTo>
                        <a:pt x="127" y="43"/>
                      </a:lnTo>
                      <a:lnTo>
                        <a:pt x="129" y="44"/>
                      </a:lnTo>
                      <a:lnTo>
                        <a:pt x="129" y="44"/>
                      </a:lnTo>
                      <a:lnTo>
                        <a:pt x="132" y="46"/>
                      </a:lnTo>
                      <a:lnTo>
                        <a:pt x="134" y="47"/>
                      </a:lnTo>
                      <a:lnTo>
                        <a:pt x="135" y="48"/>
                      </a:lnTo>
                      <a:lnTo>
                        <a:pt x="134" y="49"/>
                      </a:lnTo>
                      <a:lnTo>
                        <a:pt x="134" y="49"/>
                      </a:lnTo>
                      <a:lnTo>
                        <a:pt x="134" y="50"/>
                      </a:lnTo>
                      <a:lnTo>
                        <a:pt x="133" y="50"/>
                      </a:lnTo>
                      <a:lnTo>
                        <a:pt x="133" y="51"/>
                      </a:lnTo>
                      <a:lnTo>
                        <a:pt x="134" y="53"/>
                      </a:lnTo>
                      <a:lnTo>
                        <a:pt x="136" y="55"/>
                      </a:lnTo>
                      <a:lnTo>
                        <a:pt x="135" y="57"/>
                      </a:lnTo>
                      <a:lnTo>
                        <a:pt x="136" y="57"/>
                      </a:lnTo>
                      <a:lnTo>
                        <a:pt x="136" y="58"/>
                      </a:lnTo>
                      <a:lnTo>
                        <a:pt x="136" y="61"/>
                      </a:lnTo>
                      <a:lnTo>
                        <a:pt x="136" y="61"/>
                      </a:lnTo>
                      <a:lnTo>
                        <a:pt x="135" y="62"/>
                      </a:lnTo>
                      <a:lnTo>
                        <a:pt x="135" y="63"/>
                      </a:lnTo>
                      <a:lnTo>
                        <a:pt x="136" y="63"/>
                      </a:lnTo>
                      <a:lnTo>
                        <a:pt x="136" y="64"/>
                      </a:lnTo>
                      <a:lnTo>
                        <a:pt x="138" y="66"/>
                      </a:lnTo>
                      <a:lnTo>
                        <a:pt x="139" y="67"/>
                      </a:lnTo>
                      <a:lnTo>
                        <a:pt x="139" y="68"/>
                      </a:lnTo>
                      <a:lnTo>
                        <a:pt x="141" y="69"/>
                      </a:lnTo>
                      <a:lnTo>
                        <a:pt x="141" y="70"/>
                      </a:lnTo>
                      <a:lnTo>
                        <a:pt x="142" y="73"/>
                      </a:lnTo>
                      <a:lnTo>
                        <a:pt x="142" y="74"/>
                      </a:lnTo>
                      <a:lnTo>
                        <a:pt x="141" y="77"/>
                      </a:lnTo>
                      <a:lnTo>
                        <a:pt x="140" y="80"/>
                      </a:lnTo>
                      <a:lnTo>
                        <a:pt x="140" y="81"/>
                      </a:lnTo>
                      <a:lnTo>
                        <a:pt x="140" y="82"/>
                      </a:lnTo>
                      <a:lnTo>
                        <a:pt x="140" y="82"/>
                      </a:lnTo>
                      <a:lnTo>
                        <a:pt x="139" y="82"/>
                      </a:lnTo>
                      <a:lnTo>
                        <a:pt x="138" y="82"/>
                      </a:lnTo>
                      <a:lnTo>
                        <a:pt x="138" y="80"/>
                      </a:lnTo>
                      <a:lnTo>
                        <a:pt x="136" y="80"/>
                      </a:lnTo>
                      <a:lnTo>
                        <a:pt x="136" y="78"/>
                      </a:lnTo>
                      <a:lnTo>
                        <a:pt x="136" y="80"/>
                      </a:lnTo>
                      <a:lnTo>
                        <a:pt x="136" y="80"/>
                      </a:lnTo>
                      <a:lnTo>
                        <a:pt x="134" y="78"/>
                      </a:lnTo>
                      <a:lnTo>
                        <a:pt x="134" y="78"/>
                      </a:lnTo>
                      <a:lnTo>
                        <a:pt x="134" y="78"/>
                      </a:lnTo>
                      <a:lnTo>
                        <a:pt x="134" y="78"/>
                      </a:lnTo>
                      <a:lnTo>
                        <a:pt x="132" y="77"/>
                      </a:lnTo>
                      <a:lnTo>
                        <a:pt x="131" y="78"/>
                      </a:lnTo>
                      <a:lnTo>
                        <a:pt x="132" y="78"/>
                      </a:lnTo>
                      <a:lnTo>
                        <a:pt x="132" y="80"/>
                      </a:lnTo>
                      <a:lnTo>
                        <a:pt x="132" y="80"/>
                      </a:lnTo>
                      <a:lnTo>
                        <a:pt x="133" y="80"/>
                      </a:lnTo>
                      <a:lnTo>
                        <a:pt x="133" y="81"/>
                      </a:lnTo>
                      <a:lnTo>
                        <a:pt x="131" y="81"/>
                      </a:lnTo>
                      <a:lnTo>
                        <a:pt x="129" y="82"/>
                      </a:lnTo>
                      <a:lnTo>
                        <a:pt x="128" y="82"/>
                      </a:lnTo>
                      <a:lnTo>
                        <a:pt x="127" y="83"/>
                      </a:lnTo>
                      <a:lnTo>
                        <a:pt x="127" y="82"/>
                      </a:lnTo>
                      <a:lnTo>
                        <a:pt x="126" y="83"/>
                      </a:lnTo>
                      <a:lnTo>
                        <a:pt x="126" y="83"/>
                      </a:lnTo>
                      <a:lnTo>
                        <a:pt x="126" y="84"/>
                      </a:lnTo>
                      <a:lnTo>
                        <a:pt x="125" y="84"/>
                      </a:lnTo>
                      <a:lnTo>
                        <a:pt x="124" y="84"/>
                      </a:lnTo>
                      <a:lnTo>
                        <a:pt x="119" y="84"/>
                      </a:lnTo>
                      <a:lnTo>
                        <a:pt x="119" y="84"/>
                      </a:lnTo>
                      <a:lnTo>
                        <a:pt x="120" y="86"/>
                      </a:lnTo>
                      <a:lnTo>
                        <a:pt x="119" y="86"/>
                      </a:lnTo>
                      <a:lnTo>
                        <a:pt x="119" y="87"/>
                      </a:lnTo>
                      <a:lnTo>
                        <a:pt x="119" y="87"/>
                      </a:lnTo>
                      <a:lnTo>
                        <a:pt x="119" y="87"/>
                      </a:lnTo>
                      <a:lnTo>
                        <a:pt x="118" y="87"/>
                      </a:lnTo>
                      <a:lnTo>
                        <a:pt x="117" y="88"/>
                      </a:lnTo>
                      <a:lnTo>
                        <a:pt x="117" y="88"/>
                      </a:lnTo>
                      <a:lnTo>
                        <a:pt x="117" y="88"/>
                      </a:lnTo>
                      <a:lnTo>
                        <a:pt x="115" y="89"/>
                      </a:lnTo>
                      <a:lnTo>
                        <a:pt x="114" y="89"/>
                      </a:lnTo>
                      <a:lnTo>
                        <a:pt x="112" y="89"/>
                      </a:lnTo>
                      <a:lnTo>
                        <a:pt x="112" y="90"/>
                      </a:lnTo>
                      <a:lnTo>
                        <a:pt x="112" y="90"/>
                      </a:lnTo>
                      <a:lnTo>
                        <a:pt x="111" y="91"/>
                      </a:lnTo>
                      <a:lnTo>
                        <a:pt x="109" y="90"/>
                      </a:lnTo>
                      <a:lnTo>
                        <a:pt x="108" y="90"/>
                      </a:lnTo>
                      <a:lnTo>
                        <a:pt x="106" y="91"/>
                      </a:lnTo>
                      <a:lnTo>
                        <a:pt x="104" y="91"/>
                      </a:lnTo>
                      <a:lnTo>
                        <a:pt x="104" y="91"/>
                      </a:lnTo>
                      <a:lnTo>
                        <a:pt x="104" y="91"/>
                      </a:lnTo>
                      <a:lnTo>
                        <a:pt x="102" y="93"/>
                      </a:lnTo>
                      <a:lnTo>
                        <a:pt x="102" y="93"/>
                      </a:lnTo>
                      <a:lnTo>
                        <a:pt x="101" y="94"/>
                      </a:lnTo>
                      <a:lnTo>
                        <a:pt x="101" y="94"/>
                      </a:lnTo>
                      <a:lnTo>
                        <a:pt x="101" y="94"/>
                      </a:lnTo>
                      <a:lnTo>
                        <a:pt x="101" y="94"/>
                      </a:lnTo>
                      <a:lnTo>
                        <a:pt x="101" y="94"/>
                      </a:lnTo>
                      <a:lnTo>
                        <a:pt x="100" y="94"/>
                      </a:lnTo>
                      <a:lnTo>
                        <a:pt x="100" y="94"/>
                      </a:lnTo>
                      <a:lnTo>
                        <a:pt x="99" y="93"/>
                      </a:lnTo>
                      <a:lnTo>
                        <a:pt x="99" y="93"/>
                      </a:lnTo>
                      <a:lnTo>
                        <a:pt x="98" y="93"/>
                      </a:lnTo>
                      <a:lnTo>
                        <a:pt x="98" y="93"/>
                      </a:lnTo>
                      <a:lnTo>
                        <a:pt x="98" y="94"/>
                      </a:lnTo>
                      <a:lnTo>
                        <a:pt x="99" y="94"/>
                      </a:lnTo>
                      <a:lnTo>
                        <a:pt x="99" y="95"/>
                      </a:lnTo>
                      <a:lnTo>
                        <a:pt x="99" y="95"/>
                      </a:lnTo>
                      <a:lnTo>
                        <a:pt x="99" y="96"/>
                      </a:lnTo>
                      <a:lnTo>
                        <a:pt x="99" y="97"/>
                      </a:lnTo>
                      <a:lnTo>
                        <a:pt x="101" y="97"/>
                      </a:lnTo>
                      <a:lnTo>
                        <a:pt x="101" y="97"/>
                      </a:lnTo>
                      <a:lnTo>
                        <a:pt x="101" y="98"/>
                      </a:lnTo>
                      <a:lnTo>
                        <a:pt x="104" y="100"/>
                      </a:lnTo>
                      <a:lnTo>
                        <a:pt x="105" y="100"/>
                      </a:lnTo>
                      <a:lnTo>
                        <a:pt x="105" y="100"/>
                      </a:lnTo>
                      <a:lnTo>
                        <a:pt x="105" y="100"/>
                      </a:lnTo>
                      <a:lnTo>
                        <a:pt x="105" y="101"/>
                      </a:lnTo>
                      <a:lnTo>
                        <a:pt x="105" y="102"/>
                      </a:lnTo>
                      <a:lnTo>
                        <a:pt x="105" y="103"/>
                      </a:lnTo>
                      <a:lnTo>
                        <a:pt x="104" y="103"/>
                      </a:lnTo>
                      <a:lnTo>
                        <a:pt x="104" y="104"/>
                      </a:lnTo>
                      <a:lnTo>
                        <a:pt x="105" y="106"/>
                      </a:lnTo>
                      <a:lnTo>
                        <a:pt x="105" y="106"/>
                      </a:lnTo>
                      <a:lnTo>
                        <a:pt x="105" y="107"/>
                      </a:lnTo>
                      <a:lnTo>
                        <a:pt x="107" y="107"/>
                      </a:lnTo>
                      <a:lnTo>
                        <a:pt x="107" y="108"/>
                      </a:lnTo>
                      <a:lnTo>
                        <a:pt x="107" y="109"/>
                      </a:lnTo>
                      <a:lnTo>
                        <a:pt x="108" y="109"/>
                      </a:lnTo>
                      <a:lnTo>
                        <a:pt x="108" y="110"/>
                      </a:lnTo>
                      <a:lnTo>
                        <a:pt x="111" y="110"/>
                      </a:lnTo>
                      <a:lnTo>
                        <a:pt x="111" y="111"/>
                      </a:lnTo>
                      <a:lnTo>
                        <a:pt x="112" y="111"/>
                      </a:lnTo>
                      <a:lnTo>
                        <a:pt x="113" y="111"/>
                      </a:lnTo>
                      <a:lnTo>
                        <a:pt x="113" y="113"/>
                      </a:lnTo>
                      <a:lnTo>
                        <a:pt x="114" y="113"/>
                      </a:lnTo>
                      <a:lnTo>
                        <a:pt x="115" y="114"/>
                      </a:lnTo>
                      <a:lnTo>
                        <a:pt x="115" y="115"/>
                      </a:lnTo>
                      <a:lnTo>
                        <a:pt x="117" y="116"/>
                      </a:lnTo>
                      <a:lnTo>
                        <a:pt x="117" y="116"/>
                      </a:lnTo>
                      <a:lnTo>
                        <a:pt x="119" y="117"/>
                      </a:lnTo>
                      <a:lnTo>
                        <a:pt x="120" y="117"/>
                      </a:lnTo>
                      <a:lnTo>
                        <a:pt x="120" y="120"/>
                      </a:lnTo>
                      <a:lnTo>
                        <a:pt x="121" y="121"/>
                      </a:lnTo>
                      <a:lnTo>
                        <a:pt x="121" y="120"/>
                      </a:lnTo>
                      <a:lnTo>
                        <a:pt x="125" y="121"/>
                      </a:lnTo>
                      <a:lnTo>
                        <a:pt x="125" y="121"/>
                      </a:lnTo>
                      <a:lnTo>
                        <a:pt x="125" y="121"/>
                      </a:lnTo>
                      <a:lnTo>
                        <a:pt x="126" y="121"/>
                      </a:lnTo>
                      <a:lnTo>
                        <a:pt x="127" y="123"/>
                      </a:lnTo>
                      <a:lnTo>
                        <a:pt x="127" y="124"/>
                      </a:lnTo>
                      <a:lnTo>
                        <a:pt x="127" y="124"/>
                      </a:lnTo>
                      <a:lnTo>
                        <a:pt x="127" y="126"/>
                      </a:lnTo>
                      <a:lnTo>
                        <a:pt x="128" y="127"/>
                      </a:lnTo>
                      <a:lnTo>
                        <a:pt x="127" y="128"/>
                      </a:lnTo>
                      <a:lnTo>
                        <a:pt x="126" y="129"/>
                      </a:lnTo>
                      <a:lnTo>
                        <a:pt x="125" y="128"/>
                      </a:lnTo>
                      <a:lnTo>
                        <a:pt x="124" y="127"/>
                      </a:lnTo>
                      <a:lnTo>
                        <a:pt x="122" y="127"/>
                      </a:lnTo>
                      <a:lnTo>
                        <a:pt x="121" y="127"/>
                      </a:lnTo>
                      <a:lnTo>
                        <a:pt x="121" y="127"/>
                      </a:lnTo>
                      <a:lnTo>
                        <a:pt x="122" y="128"/>
                      </a:lnTo>
                      <a:lnTo>
                        <a:pt x="121" y="129"/>
                      </a:lnTo>
                      <a:lnTo>
                        <a:pt x="122" y="130"/>
                      </a:lnTo>
                      <a:lnTo>
                        <a:pt x="121" y="131"/>
                      </a:lnTo>
                      <a:lnTo>
                        <a:pt x="120" y="133"/>
                      </a:lnTo>
                      <a:lnTo>
                        <a:pt x="118" y="133"/>
                      </a:lnTo>
                      <a:lnTo>
                        <a:pt x="115" y="134"/>
                      </a:lnTo>
                      <a:lnTo>
                        <a:pt x="114" y="134"/>
                      </a:lnTo>
                      <a:lnTo>
                        <a:pt x="113" y="135"/>
                      </a:lnTo>
                      <a:lnTo>
                        <a:pt x="112" y="135"/>
                      </a:lnTo>
                      <a:lnTo>
                        <a:pt x="112" y="136"/>
                      </a:lnTo>
                      <a:lnTo>
                        <a:pt x="112" y="137"/>
                      </a:lnTo>
                      <a:lnTo>
                        <a:pt x="113" y="138"/>
                      </a:lnTo>
                      <a:lnTo>
                        <a:pt x="113" y="140"/>
                      </a:lnTo>
                      <a:lnTo>
                        <a:pt x="114" y="141"/>
                      </a:lnTo>
                      <a:lnTo>
                        <a:pt x="115" y="142"/>
                      </a:lnTo>
                      <a:lnTo>
                        <a:pt x="114" y="143"/>
                      </a:lnTo>
                      <a:lnTo>
                        <a:pt x="114" y="143"/>
                      </a:lnTo>
                      <a:lnTo>
                        <a:pt x="117" y="144"/>
                      </a:lnTo>
                      <a:lnTo>
                        <a:pt x="118" y="144"/>
                      </a:lnTo>
                      <a:lnTo>
                        <a:pt x="118" y="146"/>
                      </a:lnTo>
                      <a:lnTo>
                        <a:pt x="117" y="147"/>
                      </a:lnTo>
                      <a:lnTo>
                        <a:pt x="117" y="147"/>
                      </a:lnTo>
                      <a:lnTo>
                        <a:pt x="117" y="148"/>
                      </a:lnTo>
                      <a:lnTo>
                        <a:pt x="117" y="148"/>
                      </a:lnTo>
                      <a:lnTo>
                        <a:pt x="117" y="149"/>
                      </a:lnTo>
                      <a:lnTo>
                        <a:pt x="115" y="149"/>
                      </a:lnTo>
                      <a:lnTo>
                        <a:pt x="114" y="148"/>
                      </a:lnTo>
                      <a:lnTo>
                        <a:pt x="113" y="147"/>
                      </a:lnTo>
                      <a:lnTo>
                        <a:pt x="113" y="146"/>
                      </a:lnTo>
                      <a:lnTo>
                        <a:pt x="112" y="144"/>
                      </a:lnTo>
                      <a:lnTo>
                        <a:pt x="109" y="144"/>
                      </a:lnTo>
                      <a:lnTo>
                        <a:pt x="109" y="146"/>
                      </a:lnTo>
                      <a:lnTo>
                        <a:pt x="109" y="146"/>
                      </a:lnTo>
                      <a:lnTo>
                        <a:pt x="107" y="146"/>
                      </a:lnTo>
                      <a:lnTo>
                        <a:pt x="107" y="146"/>
                      </a:lnTo>
                      <a:lnTo>
                        <a:pt x="107" y="144"/>
                      </a:lnTo>
                      <a:lnTo>
                        <a:pt x="107" y="144"/>
                      </a:lnTo>
                      <a:lnTo>
                        <a:pt x="106" y="144"/>
                      </a:lnTo>
                      <a:lnTo>
                        <a:pt x="105" y="144"/>
                      </a:lnTo>
                      <a:lnTo>
                        <a:pt x="104" y="144"/>
                      </a:lnTo>
                      <a:lnTo>
                        <a:pt x="104" y="144"/>
                      </a:lnTo>
                      <a:lnTo>
                        <a:pt x="104" y="146"/>
                      </a:lnTo>
                      <a:lnTo>
                        <a:pt x="104" y="146"/>
                      </a:lnTo>
                      <a:lnTo>
                        <a:pt x="101" y="146"/>
                      </a:lnTo>
                      <a:lnTo>
                        <a:pt x="99" y="147"/>
                      </a:lnTo>
                      <a:lnTo>
                        <a:pt x="95" y="147"/>
                      </a:lnTo>
                      <a:lnTo>
                        <a:pt x="94" y="147"/>
                      </a:lnTo>
                      <a:lnTo>
                        <a:pt x="94" y="147"/>
                      </a:lnTo>
                      <a:lnTo>
                        <a:pt x="94" y="148"/>
                      </a:lnTo>
                      <a:lnTo>
                        <a:pt x="93" y="148"/>
                      </a:lnTo>
                      <a:lnTo>
                        <a:pt x="92" y="148"/>
                      </a:lnTo>
                      <a:lnTo>
                        <a:pt x="91" y="148"/>
                      </a:lnTo>
                      <a:lnTo>
                        <a:pt x="91" y="149"/>
                      </a:lnTo>
                      <a:lnTo>
                        <a:pt x="91" y="149"/>
                      </a:lnTo>
                      <a:lnTo>
                        <a:pt x="91" y="150"/>
                      </a:lnTo>
                      <a:lnTo>
                        <a:pt x="89" y="150"/>
                      </a:lnTo>
                      <a:lnTo>
                        <a:pt x="89" y="150"/>
                      </a:lnTo>
                      <a:lnTo>
                        <a:pt x="88" y="150"/>
                      </a:lnTo>
                      <a:lnTo>
                        <a:pt x="88" y="150"/>
                      </a:lnTo>
                      <a:lnTo>
                        <a:pt x="88" y="150"/>
                      </a:lnTo>
                      <a:lnTo>
                        <a:pt x="86" y="151"/>
                      </a:lnTo>
                      <a:lnTo>
                        <a:pt x="85" y="150"/>
                      </a:lnTo>
                      <a:lnTo>
                        <a:pt x="84" y="150"/>
                      </a:lnTo>
                      <a:lnTo>
                        <a:pt x="84" y="149"/>
                      </a:lnTo>
                      <a:lnTo>
                        <a:pt x="84" y="149"/>
                      </a:lnTo>
                      <a:lnTo>
                        <a:pt x="84" y="148"/>
                      </a:lnTo>
                      <a:lnTo>
                        <a:pt x="82" y="148"/>
                      </a:lnTo>
                      <a:lnTo>
                        <a:pt x="81" y="148"/>
                      </a:lnTo>
                      <a:lnTo>
                        <a:pt x="80" y="147"/>
                      </a:lnTo>
                      <a:lnTo>
                        <a:pt x="78" y="147"/>
                      </a:lnTo>
                      <a:lnTo>
                        <a:pt x="77" y="148"/>
                      </a:lnTo>
                      <a:lnTo>
                        <a:pt x="75" y="148"/>
                      </a:lnTo>
                      <a:lnTo>
                        <a:pt x="75" y="148"/>
                      </a:lnTo>
                      <a:lnTo>
                        <a:pt x="75" y="148"/>
                      </a:lnTo>
                      <a:lnTo>
                        <a:pt x="75" y="148"/>
                      </a:lnTo>
                      <a:lnTo>
                        <a:pt x="75" y="148"/>
                      </a:lnTo>
                      <a:lnTo>
                        <a:pt x="75" y="149"/>
                      </a:lnTo>
                      <a:lnTo>
                        <a:pt x="75" y="150"/>
                      </a:lnTo>
                      <a:lnTo>
                        <a:pt x="75" y="151"/>
                      </a:lnTo>
                      <a:lnTo>
                        <a:pt x="74" y="151"/>
                      </a:lnTo>
                      <a:lnTo>
                        <a:pt x="73" y="153"/>
                      </a:lnTo>
                      <a:lnTo>
                        <a:pt x="73" y="154"/>
                      </a:lnTo>
                      <a:lnTo>
                        <a:pt x="71" y="154"/>
                      </a:lnTo>
                      <a:lnTo>
                        <a:pt x="71" y="153"/>
                      </a:lnTo>
                      <a:lnTo>
                        <a:pt x="71" y="153"/>
                      </a:lnTo>
                      <a:lnTo>
                        <a:pt x="71" y="153"/>
                      </a:lnTo>
                      <a:lnTo>
                        <a:pt x="71" y="151"/>
                      </a:lnTo>
                      <a:lnTo>
                        <a:pt x="71" y="151"/>
                      </a:lnTo>
                      <a:lnTo>
                        <a:pt x="69" y="151"/>
                      </a:lnTo>
                      <a:lnTo>
                        <a:pt x="69" y="150"/>
                      </a:lnTo>
                      <a:lnTo>
                        <a:pt x="69" y="150"/>
                      </a:lnTo>
                      <a:lnTo>
                        <a:pt x="69" y="149"/>
                      </a:lnTo>
                      <a:lnTo>
                        <a:pt x="68" y="149"/>
                      </a:lnTo>
                      <a:lnTo>
                        <a:pt x="67" y="148"/>
                      </a:lnTo>
                      <a:lnTo>
                        <a:pt x="67" y="148"/>
                      </a:lnTo>
                      <a:lnTo>
                        <a:pt x="67" y="148"/>
                      </a:lnTo>
                      <a:lnTo>
                        <a:pt x="67" y="148"/>
                      </a:lnTo>
                      <a:lnTo>
                        <a:pt x="65" y="148"/>
                      </a:lnTo>
                      <a:lnTo>
                        <a:pt x="65" y="148"/>
                      </a:lnTo>
                      <a:lnTo>
                        <a:pt x="65" y="148"/>
                      </a:lnTo>
                      <a:lnTo>
                        <a:pt x="64" y="148"/>
                      </a:lnTo>
                      <a:lnTo>
                        <a:pt x="64" y="148"/>
                      </a:lnTo>
                      <a:lnTo>
                        <a:pt x="61" y="148"/>
                      </a:lnTo>
                      <a:lnTo>
                        <a:pt x="57" y="146"/>
                      </a:lnTo>
                      <a:lnTo>
                        <a:pt x="54" y="146"/>
                      </a:lnTo>
                      <a:lnTo>
                        <a:pt x="53" y="146"/>
                      </a:lnTo>
                      <a:lnTo>
                        <a:pt x="53" y="144"/>
                      </a:lnTo>
                      <a:lnTo>
                        <a:pt x="52" y="146"/>
                      </a:lnTo>
                      <a:lnTo>
                        <a:pt x="52" y="146"/>
                      </a:lnTo>
                      <a:lnTo>
                        <a:pt x="51" y="144"/>
                      </a:lnTo>
                      <a:lnTo>
                        <a:pt x="49" y="144"/>
                      </a:lnTo>
                      <a:lnTo>
                        <a:pt x="49" y="144"/>
                      </a:lnTo>
                      <a:lnTo>
                        <a:pt x="48" y="144"/>
                      </a:lnTo>
                      <a:lnTo>
                        <a:pt x="48" y="144"/>
                      </a:lnTo>
                      <a:lnTo>
                        <a:pt x="48" y="146"/>
                      </a:lnTo>
                      <a:lnTo>
                        <a:pt x="48" y="146"/>
                      </a:lnTo>
                      <a:lnTo>
                        <a:pt x="47" y="146"/>
                      </a:lnTo>
                      <a:lnTo>
                        <a:pt x="47" y="144"/>
                      </a:lnTo>
                      <a:lnTo>
                        <a:pt x="48" y="144"/>
                      </a:lnTo>
                      <a:lnTo>
                        <a:pt x="47" y="143"/>
                      </a:lnTo>
                      <a:lnTo>
                        <a:pt x="47" y="143"/>
                      </a:lnTo>
                      <a:lnTo>
                        <a:pt x="46" y="143"/>
                      </a:lnTo>
                      <a:lnTo>
                        <a:pt x="46" y="143"/>
                      </a:lnTo>
                      <a:lnTo>
                        <a:pt x="45" y="143"/>
                      </a:lnTo>
                      <a:lnTo>
                        <a:pt x="44" y="143"/>
                      </a:lnTo>
                      <a:lnTo>
                        <a:pt x="42" y="144"/>
                      </a:lnTo>
                      <a:lnTo>
                        <a:pt x="42" y="146"/>
                      </a:lnTo>
                      <a:lnTo>
                        <a:pt x="44" y="146"/>
                      </a:lnTo>
                      <a:lnTo>
                        <a:pt x="45" y="146"/>
                      </a:lnTo>
                      <a:lnTo>
                        <a:pt x="45" y="146"/>
                      </a:lnTo>
                      <a:lnTo>
                        <a:pt x="46" y="146"/>
                      </a:lnTo>
                      <a:lnTo>
                        <a:pt x="46" y="146"/>
                      </a:lnTo>
                      <a:lnTo>
                        <a:pt x="46" y="147"/>
                      </a:lnTo>
                      <a:lnTo>
                        <a:pt x="45" y="147"/>
                      </a:lnTo>
                      <a:lnTo>
                        <a:pt x="45" y="147"/>
                      </a:lnTo>
                      <a:lnTo>
                        <a:pt x="45" y="147"/>
                      </a:lnTo>
                      <a:lnTo>
                        <a:pt x="44" y="147"/>
                      </a:lnTo>
                      <a:lnTo>
                        <a:pt x="44" y="148"/>
                      </a:lnTo>
                      <a:lnTo>
                        <a:pt x="42" y="147"/>
                      </a:lnTo>
                      <a:lnTo>
                        <a:pt x="41" y="147"/>
                      </a:lnTo>
                      <a:lnTo>
                        <a:pt x="40" y="147"/>
                      </a:lnTo>
                      <a:lnTo>
                        <a:pt x="38" y="147"/>
                      </a:lnTo>
                      <a:lnTo>
                        <a:pt x="37" y="148"/>
                      </a:lnTo>
                      <a:lnTo>
                        <a:pt x="34" y="148"/>
                      </a:lnTo>
                      <a:lnTo>
                        <a:pt x="34" y="148"/>
                      </a:lnTo>
                      <a:lnTo>
                        <a:pt x="33" y="148"/>
                      </a:lnTo>
                      <a:lnTo>
                        <a:pt x="32" y="148"/>
                      </a:lnTo>
                      <a:lnTo>
                        <a:pt x="31" y="148"/>
                      </a:lnTo>
                      <a:lnTo>
                        <a:pt x="31" y="148"/>
                      </a:lnTo>
                      <a:lnTo>
                        <a:pt x="31" y="148"/>
                      </a:lnTo>
                      <a:lnTo>
                        <a:pt x="31" y="147"/>
                      </a:lnTo>
                      <a:lnTo>
                        <a:pt x="31" y="147"/>
                      </a:lnTo>
                      <a:lnTo>
                        <a:pt x="31" y="147"/>
                      </a:lnTo>
                      <a:lnTo>
                        <a:pt x="31" y="147"/>
                      </a:lnTo>
                      <a:lnTo>
                        <a:pt x="29" y="147"/>
                      </a:lnTo>
                      <a:lnTo>
                        <a:pt x="29" y="147"/>
                      </a:lnTo>
                      <a:lnTo>
                        <a:pt x="29" y="147"/>
                      </a:lnTo>
                      <a:lnTo>
                        <a:pt x="29" y="147"/>
                      </a:lnTo>
                      <a:lnTo>
                        <a:pt x="29" y="147"/>
                      </a:lnTo>
                      <a:lnTo>
                        <a:pt x="29" y="147"/>
                      </a:lnTo>
                      <a:lnTo>
                        <a:pt x="28" y="147"/>
                      </a:lnTo>
                      <a:lnTo>
                        <a:pt x="28" y="146"/>
                      </a:lnTo>
                      <a:lnTo>
                        <a:pt x="28" y="144"/>
                      </a:lnTo>
                      <a:lnTo>
                        <a:pt x="28" y="144"/>
                      </a:lnTo>
                      <a:lnTo>
                        <a:pt x="28" y="143"/>
                      </a:lnTo>
                      <a:lnTo>
                        <a:pt x="29" y="142"/>
                      </a:lnTo>
                      <a:lnTo>
                        <a:pt x="28" y="141"/>
                      </a:lnTo>
                      <a:lnTo>
                        <a:pt x="29" y="140"/>
                      </a:lnTo>
                      <a:lnTo>
                        <a:pt x="28" y="138"/>
                      </a:lnTo>
                      <a:lnTo>
                        <a:pt x="28" y="136"/>
                      </a:lnTo>
                      <a:lnTo>
                        <a:pt x="29" y="134"/>
                      </a:lnTo>
                      <a:lnTo>
                        <a:pt x="29" y="133"/>
                      </a:lnTo>
                      <a:lnTo>
                        <a:pt x="31" y="131"/>
                      </a:lnTo>
                      <a:lnTo>
                        <a:pt x="31" y="129"/>
                      </a:lnTo>
                      <a:lnTo>
                        <a:pt x="32" y="128"/>
                      </a:lnTo>
                      <a:lnTo>
                        <a:pt x="33" y="127"/>
                      </a:lnTo>
                      <a:lnTo>
                        <a:pt x="34" y="127"/>
                      </a:lnTo>
                      <a:lnTo>
                        <a:pt x="34" y="124"/>
                      </a:lnTo>
                      <a:lnTo>
                        <a:pt x="35" y="124"/>
                      </a:lnTo>
                      <a:lnTo>
                        <a:pt x="37" y="123"/>
                      </a:lnTo>
                      <a:lnTo>
                        <a:pt x="38" y="121"/>
                      </a:lnTo>
                      <a:lnTo>
                        <a:pt x="38" y="121"/>
                      </a:lnTo>
                      <a:lnTo>
                        <a:pt x="38" y="120"/>
                      </a:lnTo>
                      <a:lnTo>
                        <a:pt x="38" y="120"/>
                      </a:lnTo>
                      <a:lnTo>
                        <a:pt x="35" y="120"/>
                      </a:lnTo>
                      <a:lnTo>
                        <a:pt x="33" y="118"/>
                      </a:lnTo>
                      <a:lnTo>
                        <a:pt x="31" y="118"/>
                      </a:lnTo>
                      <a:lnTo>
                        <a:pt x="29" y="118"/>
                      </a:lnTo>
                      <a:lnTo>
                        <a:pt x="28" y="118"/>
                      </a:lnTo>
                      <a:lnTo>
                        <a:pt x="27" y="116"/>
                      </a:lnTo>
                      <a:lnTo>
                        <a:pt x="26" y="116"/>
                      </a:lnTo>
                      <a:lnTo>
                        <a:pt x="25" y="116"/>
                      </a:lnTo>
                      <a:lnTo>
                        <a:pt x="24" y="116"/>
                      </a:lnTo>
                      <a:lnTo>
                        <a:pt x="24" y="116"/>
                      </a:lnTo>
                      <a:lnTo>
                        <a:pt x="22" y="117"/>
                      </a:lnTo>
                      <a:lnTo>
                        <a:pt x="20" y="116"/>
                      </a:lnTo>
                      <a:lnTo>
                        <a:pt x="19" y="116"/>
                      </a:lnTo>
                      <a:lnTo>
                        <a:pt x="18" y="115"/>
                      </a:lnTo>
                      <a:lnTo>
                        <a:pt x="18" y="114"/>
                      </a:lnTo>
                      <a:lnTo>
                        <a:pt x="17" y="114"/>
                      </a:lnTo>
                      <a:lnTo>
                        <a:pt x="17" y="116"/>
                      </a:lnTo>
                      <a:lnTo>
                        <a:pt x="15" y="116"/>
                      </a:lnTo>
                      <a:lnTo>
                        <a:pt x="14" y="115"/>
                      </a:lnTo>
                      <a:lnTo>
                        <a:pt x="13" y="114"/>
                      </a:lnTo>
                      <a:lnTo>
                        <a:pt x="14" y="114"/>
                      </a:lnTo>
                      <a:lnTo>
                        <a:pt x="13" y="113"/>
                      </a:lnTo>
                      <a:lnTo>
                        <a:pt x="12" y="111"/>
                      </a:lnTo>
                      <a:lnTo>
                        <a:pt x="12" y="110"/>
                      </a:lnTo>
                      <a:lnTo>
                        <a:pt x="11" y="110"/>
                      </a:lnTo>
                      <a:lnTo>
                        <a:pt x="11" y="109"/>
                      </a:lnTo>
                      <a:lnTo>
                        <a:pt x="9" y="109"/>
                      </a:lnTo>
                      <a:lnTo>
                        <a:pt x="9" y="108"/>
                      </a:lnTo>
                      <a:lnTo>
                        <a:pt x="8" y="107"/>
                      </a:lnTo>
                      <a:lnTo>
                        <a:pt x="9" y="106"/>
                      </a:lnTo>
                      <a:lnTo>
                        <a:pt x="9" y="106"/>
                      </a:lnTo>
                      <a:lnTo>
                        <a:pt x="9" y="103"/>
                      </a:lnTo>
                      <a:lnTo>
                        <a:pt x="8" y="102"/>
                      </a:lnTo>
                      <a:lnTo>
                        <a:pt x="8" y="102"/>
                      </a:lnTo>
                      <a:lnTo>
                        <a:pt x="8" y="102"/>
                      </a:lnTo>
                      <a:lnTo>
                        <a:pt x="7" y="102"/>
                      </a:lnTo>
                      <a:lnTo>
                        <a:pt x="7" y="102"/>
                      </a:lnTo>
                      <a:lnTo>
                        <a:pt x="7" y="100"/>
                      </a:lnTo>
                      <a:lnTo>
                        <a:pt x="6" y="100"/>
                      </a:lnTo>
                      <a:lnTo>
                        <a:pt x="6" y="98"/>
                      </a:lnTo>
                      <a:lnTo>
                        <a:pt x="6" y="98"/>
                      </a:lnTo>
                      <a:lnTo>
                        <a:pt x="6" y="97"/>
                      </a:lnTo>
                      <a:lnTo>
                        <a:pt x="6" y="96"/>
                      </a:lnTo>
                      <a:lnTo>
                        <a:pt x="6" y="95"/>
                      </a:lnTo>
                      <a:lnTo>
                        <a:pt x="7" y="95"/>
                      </a:lnTo>
                      <a:lnTo>
                        <a:pt x="7" y="94"/>
                      </a:lnTo>
                      <a:lnTo>
                        <a:pt x="7" y="93"/>
                      </a:lnTo>
                      <a:lnTo>
                        <a:pt x="8" y="93"/>
                      </a:lnTo>
                      <a:lnTo>
                        <a:pt x="8" y="93"/>
                      </a:lnTo>
                      <a:lnTo>
                        <a:pt x="7" y="91"/>
                      </a:lnTo>
                      <a:lnTo>
                        <a:pt x="7" y="90"/>
                      </a:lnTo>
                      <a:lnTo>
                        <a:pt x="7" y="90"/>
                      </a:lnTo>
                      <a:lnTo>
                        <a:pt x="6" y="89"/>
                      </a:lnTo>
                      <a:lnTo>
                        <a:pt x="5" y="89"/>
                      </a:lnTo>
                      <a:lnTo>
                        <a:pt x="6" y="88"/>
                      </a:lnTo>
                      <a:lnTo>
                        <a:pt x="6" y="87"/>
                      </a:lnTo>
                      <a:lnTo>
                        <a:pt x="5" y="86"/>
                      </a:lnTo>
                      <a:lnTo>
                        <a:pt x="5" y="86"/>
                      </a:lnTo>
                      <a:lnTo>
                        <a:pt x="5" y="86"/>
                      </a:lnTo>
                      <a:close/>
                      <a:moveTo>
                        <a:pt x="42" y="11"/>
                      </a:moveTo>
                      <a:lnTo>
                        <a:pt x="42" y="11"/>
                      </a:lnTo>
                      <a:lnTo>
                        <a:pt x="42" y="11"/>
                      </a:lnTo>
                      <a:lnTo>
                        <a:pt x="42" y="11"/>
                      </a:lnTo>
                      <a:lnTo>
                        <a:pt x="44" y="11"/>
                      </a:lnTo>
                      <a:lnTo>
                        <a:pt x="44" y="11"/>
                      </a:lnTo>
                      <a:lnTo>
                        <a:pt x="44" y="10"/>
                      </a:lnTo>
                      <a:lnTo>
                        <a:pt x="44" y="10"/>
                      </a:lnTo>
                      <a:lnTo>
                        <a:pt x="45" y="10"/>
                      </a:lnTo>
                      <a:lnTo>
                        <a:pt x="44" y="10"/>
                      </a:lnTo>
                      <a:lnTo>
                        <a:pt x="44" y="10"/>
                      </a:lnTo>
                      <a:lnTo>
                        <a:pt x="42" y="10"/>
                      </a:lnTo>
                      <a:lnTo>
                        <a:pt x="42" y="10"/>
                      </a:lnTo>
                      <a:lnTo>
                        <a:pt x="42" y="10"/>
                      </a:lnTo>
                      <a:lnTo>
                        <a:pt x="42" y="11"/>
                      </a:lnTo>
                      <a:lnTo>
                        <a:pt x="42" y="11"/>
                      </a:lnTo>
                      <a:close/>
                      <a:moveTo>
                        <a:pt x="35" y="7"/>
                      </a:moveTo>
                      <a:lnTo>
                        <a:pt x="35" y="7"/>
                      </a:lnTo>
                      <a:lnTo>
                        <a:pt x="37" y="7"/>
                      </a:lnTo>
                      <a:lnTo>
                        <a:pt x="37" y="7"/>
                      </a:lnTo>
                      <a:lnTo>
                        <a:pt x="37" y="7"/>
                      </a:lnTo>
                      <a:lnTo>
                        <a:pt x="38" y="7"/>
                      </a:lnTo>
                      <a:lnTo>
                        <a:pt x="38" y="7"/>
                      </a:lnTo>
                      <a:lnTo>
                        <a:pt x="39" y="7"/>
                      </a:lnTo>
                      <a:lnTo>
                        <a:pt x="39" y="7"/>
                      </a:lnTo>
                      <a:lnTo>
                        <a:pt x="39" y="6"/>
                      </a:lnTo>
                      <a:lnTo>
                        <a:pt x="38" y="6"/>
                      </a:lnTo>
                      <a:lnTo>
                        <a:pt x="38" y="6"/>
                      </a:lnTo>
                      <a:lnTo>
                        <a:pt x="37" y="6"/>
                      </a:lnTo>
                      <a:lnTo>
                        <a:pt x="37" y="6"/>
                      </a:lnTo>
                      <a:lnTo>
                        <a:pt x="37" y="6"/>
                      </a:lnTo>
                      <a:lnTo>
                        <a:pt x="35" y="6"/>
                      </a:lnTo>
                      <a:lnTo>
                        <a:pt x="35" y="6"/>
                      </a:lnTo>
                      <a:lnTo>
                        <a:pt x="35" y="7"/>
                      </a:lnTo>
                      <a:lnTo>
                        <a:pt x="35" y="7"/>
                      </a:lnTo>
                      <a:close/>
                      <a:moveTo>
                        <a:pt x="41" y="20"/>
                      </a:moveTo>
                      <a:lnTo>
                        <a:pt x="41" y="20"/>
                      </a:lnTo>
                      <a:lnTo>
                        <a:pt x="41" y="20"/>
                      </a:lnTo>
                      <a:lnTo>
                        <a:pt x="41" y="19"/>
                      </a:lnTo>
                      <a:lnTo>
                        <a:pt x="41" y="19"/>
                      </a:lnTo>
                      <a:lnTo>
                        <a:pt x="41" y="19"/>
                      </a:lnTo>
                      <a:lnTo>
                        <a:pt x="41" y="19"/>
                      </a:lnTo>
                      <a:lnTo>
                        <a:pt x="41" y="19"/>
                      </a:lnTo>
                      <a:lnTo>
                        <a:pt x="40" y="19"/>
                      </a:lnTo>
                      <a:lnTo>
                        <a:pt x="40" y="19"/>
                      </a:lnTo>
                      <a:lnTo>
                        <a:pt x="40" y="19"/>
                      </a:lnTo>
                      <a:lnTo>
                        <a:pt x="40" y="19"/>
                      </a:lnTo>
                      <a:lnTo>
                        <a:pt x="40" y="19"/>
                      </a:lnTo>
                      <a:lnTo>
                        <a:pt x="40" y="20"/>
                      </a:lnTo>
                      <a:lnTo>
                        <a:pt x="40" y="20"/>
                      </a:lnTo>
                      <a:lnTo>
                        <a:pt x="40" y="20"/>
                      </a:lnTo>
                      <a:lnTo>
                        <a:pt x="40" y="20"/>
                      </a:lnTo>
                      <a:lnTo>
                        <a:pt x="41" y="20"/>
                      </a:lnTo>
                      <a:lnTo>
                        <a:pt x="41" y="20"/>
                      </a:lnTo>
                      <a:close/>
                      <a:moveTo>
                        <a:pt x="37" y="22"/>
                      </a:moveTo>
                      <a:lnTo>
                        <a:pt x="37" y="22"/>
                      </a:lnTo>
                      <a:lnTo>
                        <a:pt x="37" y="22"/>
                      </a:lnTo>
                      <a:lnTo>
                        <a:pt x="37" y="22"/>
                      </a:lnTo>
                      <a:lnTo>
                        <a:pt x="37" y="21"/>
                      </a:lnTo>
                      <a:lnTo>
                        <a:pt x="37" y="21"/>
                      </a:lnTo>
                      <a:lnTo>
                        <a:pt x="37" y="21"/>
                      </a:lnTo>
                      <a:lnTo>
                        <a:pt x="37" y="21"/>
                      </a:lnTo>
                      <a:lnTo>
                        <a:pt x="37" y="21"/>
                      </a:lnTo>
                      <a:lnTo>
                        <a:pt x="37" y="21"/>
                      </a:lnTo>
                      <a:lnTo>
                        <a:pt x="37" y="21"/>
                      </a:lnTo>
                      <a:lnTo>
                        <a:pt x="37" y="21"/>
                      </a:lnTo>
                      <a:lnTo>
                        <a:pt x="37" y="21"/>
                      </a:lnTo>
                      <a:lnTo>
                        <a:pt x="37" y="21"/>
                      </a:lnTo>
                      <a:lnTo>
                        <a:pt x="37" y="22"/>
                      </a:lnTo>
                      <a:lnTo>
                        <a:pt x="37" y="22"/>
                      </a:lnTo>
                      <a:lnTo>
                        <a:pt x="37" y="22"/>
                      </a:lnTo>
                      <a:lnTo>
                        <a:pt x="37" y="22"/>
                      </a:lnTo>
                      <a:lnTo>
                        <a:pt x="37" y="22"/>
                      </a:lnTo>
                      <a:close/>
                      <a:moveTo>
                        <a:pt x="32" y="26"/>
                      </a:moveTo>
                      <a:lnTo>
                        <a:pt x="32" y="26"/>
                      </a:lnTo>
                      <a:lnTo>
                        <a:pt x="33" y="26"/>
                      </a:lnTo>
                      <a:lnTo>
                        <a:pt x="33" y="26"/>
                      </a:lnTo>
                      <a:lnTo>
                        <a:pt x="33" y="26"/>
                      </a:lnTo>
                      <a:lnTo>
                        <a:pt x="33" y="26"/>
                      </a:lnTo>
                      <a:lnTo>
                        <a:pt x="33" y="26"/>
                      </a:lnTo>
                      <a:lnTo>
                        <a:pt x="33" y="26"/>
                      </a:lnTo>
                      <a:lnTo>
                        <a:pt x="33" y="26"/>
                      </a:lnTo>
                      <a:lnTo>
                        <a:pt x="33" y="26"/>
                      </a:lnTo>
                      <a:lnTo>
                        <a:pt x="33" y="26"/>
                      </a:lnTo>
                      <a:lnTo>
                        <a:pt x="33" y="26"/>
                      </a:lnTo>
                      <a:lnTo>
                        <a:pt x="33" y="26"/>
                      </a:lnTo>
                      <a:lnTo>
                        <a:pt x="33" y="26"/>
                      </a:lnTo>
                      <a:lnTo>
                        <a:pt x="33" y="26"/>
                      </a:lnTo>
                      <a:lnTo>
                        <a:pt x="32" y="26"/>
                      </a:lnTo>
                      <a:lnTo>
                        <a:pt x="32" y="26"/>
                      </a:lnTo>
                      <a:lnTo>
                        <a:pt x="32" y="26"/>
                      </a:lnTo>
                      <a:lnTo>
                        <a:pt x="32" y="26"/>
                      </a:lnTo>
                      <a:lnTo>
                        <a:pt x="32" y="26"/>
                      </a:lnTo>
                      <a:close/>
                      <a:moveTo>
                        <a:pt x="26" y="24"/>
                      </a:moveTo>
                      <a:lnTo>
                        <a:pt x="26" y="24"/>
                      </a:lnTo>
                      <a:lnTo>
                        <a:pt x="27" y="24"/>
                      </a:lnTo>
                      <a:lnTo>
                        <a:pt x="27" y="24"/>
                      </a:lnTo>
                      <a:lnTo>
                        <a:pt x="27" y="24"/>
                      </a:lnTo>
                      <a:lnTo>
                        <a:pt x="27" y="24"/>
                      </a:lnTo>
                      <a:lnTo>
                        <a:pt x="27" y="24"/>
                      </a:lnTo>
                      <a:lnTo>
                        <a:pt x="27" y="24"/>
                      </a:lnTo>
                      <a:lnTo>
                        <a:pt x="27" y="24"/>
                      </a:lnTo>
                      <a:lnTo>
                        <a:pt x="26" y="24"/>
                      </a:lnTo>
                      <a:lnTo>
                        <a:pt x="26" y="24"/>
                      </a:lnTo>
                      <a:lnTo>
                        <a:pt x="26" y="24"/>
                      </a:lnTo>
                      <a:lnTo>
                        <a:pt x="26" y="24"/>
                      </a:lnTo>
                      <a:lnTo>
                        <a:pt x="25" y="24"/>
                      </a:lnTo>
                      <a:lnTo>
                        <a:pt x="25" y="24"/>
                      </a:lnTo>
                      <a:lnTo>
                        <a:pt x="26" y="26"/>
                      </a:lnTo>
                      <a:lnTo>
                        <a:pt x="26" y="26"/>
                      </a:lnTo>
                      <a:lnTo>
                        <a:pt x="26" y="24"/>
                      </a:lnTo>
                      <a:lnTo>
                        <a:pt x="26" y="24"/>
                      </a:lnTo>
                      <a:close/>
                      <a:moveTo>
                        <a:pt x="24" y="26"/>
                      </a:moveTo>
                      <a:lnTo>
                        <a:pt x="24" y="26"/>
                      </a:lnTo>
                      <a:lnTo>
                        <a:pt x="24" y="26"/>
                      </a:lnTo>
                      <a:lnTo>
                        <a:pt x="24" y="26"/>
                      </a:lnTo>
                      <a:lnTo>
                        <a:pt x="25" y="26"/>
                      </a:lnTo>
                      <a:lnTo>
                        <a:pt x="25" y="26"/>
                      </a:lnTo>
                      <a:lnTo>
                        <a:pt x="25" y="26"/>
                      </a:lnTo>
                      <a:lnTo>
                        <a:pt x="25" y="26"/>
                      </a:lnTo>
                      <a:lnTo>
                        <a:pt x="25" y="24"/>
                      </a:lnTo>
                      <a:lnTo>
                        <a:pt x="24" y="24"/>
                      </a:lnTo>
                      <a:lnTo>
                        <a:pt x="24" y="24"/>
                      </a:lnTo>
                      <a:lnTo>
                        <a:pt x="22" y="24"/>
                      </a:lnTo>
                      <a:lnTo>
                        <a:pt x="22" y="24"/>
                      </a:lnTo>
                      <a:lnTo>
                        <a:pt x="22" y="26"/>
                      </a:lnTo>
                      <a:lnTo>
                        <a:pt x="22" y="26"/>
                      </a:lnTo>
                      <a:lnTo>
                        <a:pt x="22" y="26"/>
                      </a:lnTo>
                      <a:lnTo>
                        <a:pt x="22" y="26"/>
                      </a:lnTo>
                      <a:lnTo>
                        <a:pt x="22" y="26"/>
                      </a:lnTo>
                      <a:lnTo>
                        <a:pt x="22" y="26"/>
                      </a:lnTo>
                      <a:lnTo>
                        <a:pt x="24" y="26"/>
                      </a:lnTo>
                      <a:lnTo>
                        <a:pt x="24" y="26"/>
                      </a:lnTo>
                      <a:close/>
                      <a:moveTo>
                        <a:pt x="18" y="26"/>
                      </a:moveTo>
                      <a:lnTo>
                        <a:pt x="19" y="26"/>
                      </a:lnTo>
                      <a:lnTo>
                        <a:pt x="19" y="26"/>
                      </a:lnTo>
                      <a:lnTo>
                        <a:pt x="20" y="26"/>
                      </a:lnTo>
                      <a:lnTo>
                        <a:pt x="20" y="26"/>
                      </a:lnTo>
                      <a:lnTo>
                        <a:pt x="20" y="26"/>
                      </a:lnTo>
                      <a:lnTo>
                        <a:pt x="20" y="26"/>
                      </a:lnTo>
                      <a:lnTo>
                        <a:pt x="20" y="26"/>
                      </a:lnTo>
                      <a:lnTo>
                        <a:pt x="20" y="26"/>
                      </a:lnTo>
                      <a:lnTo>
                        <a:pt x="20" y="26"/>
                      </a:lnTo>
                      <a:lnTo>
                        <a:pt x="19" y="26"/>
                      </a:lnTo>
                      <a:lnTo>
                        <a:pt x="19" y="26"/>
                      </a:lnTo>
                      <a:lnTo>
                        <a:pt x="18" y="26"/>
                      </a:lnTo>
                      <a:lnTo>
                        <a:pt x="18" y="26"/>
                      </a:lnTo>
                      <a:lnTo>
                        <a:pt x="18" y="26"/>
                      </a:lnTo>
                      <a:lnTo>
                        <a:pt x="18" y="26"/>
                      </a:lnTo>
                      <a:lnTo>
                        <a:pt x="18" y="26"/>
                      </a:lnTo>
                      <a:lnTo>
                        <a:pt x="18" y="26"/>
                      </a:lnTo>
                      <a:lnTo>
                        <a:pt x="18" y="26"/>
                      </a:lnTo>
                      <a:lnTo>
                        <a:pt x="18" y="26"/>
                      </a:lnTo>
                      <a:lnTo>
                        <a:pt x="18" y="26"/>
                      </a:lnTo>
                      <a:close/>
                      <a:moveTo>
                        <a:pt x="14" y="27"/>
                      </a:moveTo>
                      <a:lnTo>
                        <a:pt x="14" y="27"/>
                      </a:lnTo>
                      <a:lnTo>
                        <a:pt x="15" y="27"/>
                      </a:lnTo>
                      <a:lnTo>
                        <a:pt x="15" y="27"/>
                      </a:lnTo>
                      <a:lnTo>
                        <a:pt x="15" y="27"/>
                      </a:lnTo>
                      <a:lnTo>
                        <a:pt x="17" y="27"/>
                      </a:lnTo>
                      <a:lnTo>
                        <a:pt x="17" y="27"/>
                      </a:lnTo>
                      <a:lnTo>
                        <a:pt x="17" y="27"/>
                      </a:lnTo>
                      <a:lnTo>
                        <a:pt x="17" y="27"/>
                      </a:lnTo>
                      <a:lnTo>
                        <a:pt x="17" y="27"/>
                      </a:lnTo>
                      <a:lnTo>
                        <a:pt x="15" y="27"/>
                      </a:lnTo>
                      <a:lnTo>
                        <a:pt x="15" y="27"/>
                      </a:lnTo>
                      <a:lnTo>
                        <a:pt x="14" y="27"/>
                      </a:lnTo>
                      <a:lnTo>
                        <a:pt x="14" y="27"/>
                      </a:lnTo>
                      <a:lnTo>
                        <a:pt x="14" y="27"/>
                      </a:lnTo>
                      <a:lnTo>
                        <a:pt x="13" y="27"/>
                      </a:lnTo>
                      <a:lnTo>
                        <a:pt x="13" y="27"/>
                      </a:lnTo>
                      <a:lnTo>
                        <a:pt x="13" y="27"/>
                      </a:lnTo>
                      <a:lnTo>
                        <a:pt x="13" y="27"/>
                      </a:lnTo>
                      <a:lnTo>
                        <a:pt x="14" y="27"/>
                      </a:lnTo>
                      <a:lnTo>
                        <a:pt x="14" y="27"/>
                      </a:lnTo>
                      <a:lnTo>
                        <a:pt x="14" y="27"/>
                      </a:lnTo>
                      <a:close/>
                      <a:moveTo>
                        <a:pt x="11" y="29"/>
                      </a:moveTo>
                      <a:lnTo>
                        <a:pt x="11" y="29"/>
                      </a:lnTo>
                      <a:lnTo>
                        <a:pt x="11" y="28"/>
                      </a:lnTo>
                      <a:lnTo>
                        <a:pt x="11" y="28"/>
                      </a:lnTo>
                      <a:lnTo>
                        <a:pt x="11" y="28"/>
                      </a:lnTo>
                      <a:lnTo>
                        <a:pt x="11" y="28"/>
                      </a:lnTo>
                      <a:lnTo>
                        <a:pt x="11" y="28"/>
                      </a:lnTo>
                      <a:lnTo>
                        <a:pt x="11" y="28"/>
                      </a:lnTo>
                      <a:lnTo>
                        <a:pt x="11" y="28"/>
                      </a:lnTo>
                      <a:lnTo>
                        <a:pt x="11" y="28"/>
                      </a:lnTo>
                      <a:lnTo>
                        <a:pt x="11" y="28"/>
                      </a:lnTo>
                      <a:lnTo>
                        <a:pt x="11" y="28"/>
                      </a:lnTo>
                      <a:lnTo>
                        <a:pt x="11" y="28"/>
                      </a:lnTo>
                      <a:lnTo>
                        <a:pt x="11" y="28"/>
                      </a:lnTo>
                      <a:lnTo>
                        <a:pt x="11" y="28"/>
                      </a:lnTo>
                      <a:lnTo>
                        <a:pt x="11" y="29"/>
                      </a:lnTo>
                      <a:lnTo>
                        <a:pt x="11" y="29"/>
                      </a:lnTo>
                      <a:lnTo>
                        <a:pt x="11" y="29"/>
                      </a:lnTo>
                      <a:lnTo>
                        <a:pt x="11" y="29"/>
                      </a:lnTo>
                      <a:close/>
                    </a:path>
                  </a:pathLst>
                </a:custGeom>
                <a:solidFill>
                  <a:srgbClr val="D4E458"/>
                </a:solid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02" name="Georgia">
                  <a:extLst>
                    <a:ext uri="{FF2B5EF4-FFF2-40B4-BE49-F238E27FC236}">
                      <a16:creationId xmlns:a16="http://schemas.microsoft.com/office/drawing/2014/main" id="{D6D7556C-09BB-6E42-9445-E614685C2A51}"/>
                    </a:ext>
                  </a:extLst>
                </p:cNvPr>
                <p:cNvSpPr>
                  <a:spLocks/>
                </p:cNvSpPr>
                <p:nvPr/>
              </p:nvSpPr>
              <p:spPr bwMode="auto">
                <a:xfrm>
                  <a:off x="7311455" y="2677294"/>
                  <a:ext cx="177870" cy="75813"/>
                </a:xfrm>
                <a:custGeom>
                  <a:avLst/>
                  <a:gdLst>
                    <a:gd name="T0" fmla="*/ 102 w 122"/>
                    <a:gd name="T1" fmla="*/ 23 h 52"/>
                    <a:gd name="T2" fmla="*/ 86 w 122"/>
                    <a:gd name="T3" fmla="*/ 19 h 52"/>
                    <a:gd name="T4" fmla="*/ 69 w 122"/>
                    <a:gd name="T5" fmla="*/ 20 h 52"/>
                    <a:gd name="T6" fmla="*/ 56 w 122"/>
                    <a:gd name="T7" fmla="*/ 13 h 52"/>
                    <a:gd name="T8" fmla="*/ 39 w 122"/>
                    <a:gd name="T9" fmla="*/ 11 h 52"/>
                    <a:gd name="T10" fmla="*/ 23 w 122"/>
                    <a:gd name="T11" fmla="*/ 5 h 52"/>
                    <a:gd name="T12" fmla="*/ 11 w 122"/>
                    <a:gd name="T13" fmla="*/ 0 h 52"/>
                    <a:gd name="T14" fmla="*/ 0 w 122"/>
                    <a:gd name="T15" fmla="*/ 0 h 52"/>
                    <a:gd name="T16" fmla="*/ 7 w 122"/>
                    <a:gd name="T17" fmla="*/ 7 h 52"/>
                    <a:gd name="T18" fmla="*/ 14 w 122"/>
                    <a:gd name="T19" fmla="*/ 12 h 52"/>
                    <a:gd name="T20" fmla="*/ 19 w 122"/>
                    <a:gd name="T21" fmla="*/ 14 h 52"/>
                    <a:gd name="T22" fmla="*/ 23 w 122"/>
                    <a:gd name="T23" fmla="*/ 17 h 52"/>
                    <a:gd name="T24" fmla="*/ 27 w 122"/>
                    <a:gd name="T25" fmla="*/ 18 h 52"/>
                    <a:gd name="T26" fmla="*/ 30 w 122"/>
                    <a:gd name="T27" fmla="*/ 20 h 52"/>
                    <a:gd name="T28" fmla="*/ 33 w 122"/>
                    <a:gd name="T29" fmla="*/ 24 h 52"/>
                    <a:gd name="T30" fmla="*/ 34 w 122"/>
                    <a:gd name="T31" fmla="*/ 26 h 52"/>
                    <a:gd name="T32" fmla="*/ 36 w 122"/>
                    <a:gd name="T33" fmla="*/ 30 h 52"/>
                    <a:gd name="T34" fmla="*/ 39 w 122"/>
                    <a:gd name="T35" fmla="*/ 32 h 52"/>
                    <a:gd name="T36" fmla="*/ 40 w 122"/>
                    <a:gd name="T37" fmla="*/ 36 h 52"/>
                    <a:gd name="T38" fmla="*/ 39 w 122"/>
                    <a:gd name="T39" fmla="*/ 39 h 52"/>
                    <a:gd name="T40" fmla="*/ 39 w 122"/>
                    <a:gd name="T41" fmla="*/ 46 h 52"/>
                    <a:gd name="T42" fmla="*/ 42 w 122"/>
                    <a:gd name="T43" fmla="*/ 47 h 52"/>
                    <a:gd name="T44" fmla="*/ 44 w 122"/>
                    <a:gd name="T45" fmla="*/ 46 h 52"/>
                    <a:gd name="T46" fmla="*/ 47 w 122"/>
                    <a:gd name="T47" fmla="*/ 46 h 52"/>
                    <a:gd name="T48" fmla="*/ 53 w 122"/>
                    <a:gd name="T49" fmla="*/ 47 h 52"/>
                    <a:gd name="T50" fmla="*/ 56 w 122"/>
                    <a:gd name="T51" fmla="*/ 47 h 52"/>
                    <a:gd name="T52" fmla="*/ 59 w 122"/>
                    <a:gd name="T53" fmla="*/ 44 h 52"/>
                    <a:gd name="T54" fmla="*/ 61 w 122"/>
                    <a:gd name="T55" fmla="*/ 46 h 52"/>
                    <a:gd name="T56" fmla="*/ 64 w 122"/>
                    <a:gd name="T57" fmla="*/ 50 h 52"/>
                    <a:gd name="T58" fmla="*/ 81 w 122"/>
                    <a:gd name="T59" fmla="*/ 50 h 52"/>
                    <a:gd name="T60" fmla="*/ 93 w 122"/>
                    <a:gd name="T61" fmla="*/ 47 h 52"/>
                    <a:gd name="T62" fmla="*/ 104 w 122"/>
                    <a:gd name="T63" fmla="*/ 44 h 52"/>
                    <a:gd name="T64" fmla="*/ 120 w 122"/>
                    <a:gd name="T65" fmla="*/ 51 h 52"/>
                    <a:gd name="T66" fmla="*/ 116 w 122"/>
                    <a:gd name="T67" fmla="*/ 36 h 52"/>
                    <a:gd name="T68" fmla="*/ 101 w 122"/>
                    <a:gd name="T69" fmla="*/ 27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22" h="52">
                      <a:moveTo>
                        <a:pt x="101" y="27"/>
                      </a:moveTo>
                      <a:lnTo>
                        <a:pt x="102" y="23"/>
                      </a:lnTo>
                      <a:lnTo>
                        <a:pt x="96" y="23"/>
                      </a:lnTo>
                      <a:lnTo>
                        <a:pt x="86" y="19"/>
                      </a:lnTo>
                      <a:lnTo>
                        <a:pt x="77" y="18"/>
                      </a:lnTo>
                      <a:lnTo>
                        <a:pt x="69" y="20"/>
                      </a:lnTo>
                      <a:lnTo>
                        <a:pt x="64" y="19"/>
                      </a:lnTo>
                      <a:lnTo>
                        <a:pt x="56" y="13"/>
                      </a:lnTo>
                      <a:lnTo>
                        <a:pt x="48" y="11"/>
                      </a:lnTo>
                      <a:lnTo>
                        <a:pt x="39" y="11"/>
                      </a:lnTo>
                      <a:lnTo>
                        <a:pt x="28" y="7"/>
                      </a:lnTo>
                      <a:lnTo>
                        <a:pt x="23" y="5"/>
                      </a:lnTo>
                      <a:lnTo>
                        <a:pt x="20" y="1"/>
                      </a:lnTo>
                      <a:lnTo>
                        <a:pt x="11" y="0"/>
                      </a:lnTo>
                      <a:lnTo>
                        <a:pt x="8" y="1"/>
                      </a:lnTo>
                      <a:lnTo>
                        <a:pt x="0" y="0"/>
                      </a:lnTo>
                      <a:lnTo>
                        <a:pt x="6" y="4"/>
                      </a:lnTo>
                      <a:lnTo>
                        <a:pt x="7" y="7"/>
                      </a:lnTo>
                      <a:lnTo>
                        <a:pt x="10" y="11"/>
                      </a:lnTo>
                      <a:lnTo>
                        <a:pt x="14" y="12"/>
                      </a:lnTo>
                      <a:lnTo>
                        <a:pt x="16" y="13"/>
                      </a:lnTo>
                      <a:lnTo>
                        <a:pt x="19" y="14"/>
                      </a:lnTo>
                      <a:lnTo>
                        <a:pt x="22" y="14"/>
                      </a:lnTo>
                      <a:lnTo>
                        <a:pt x="23" y="17"/>
                      </a:lnTo>
                      <a:lnTo>
                        <a:pt x="26" y="18"/>
                      </a:lnTo>
                      <a:lnTo>
                        <a:pt x="27" y="18"/>
                      </a:lnTo>
                      <a:lnTo>
                        <a:pt x="29" y="19"/>
                      </a:lnTo>
                      <a:lnTo>
                        <a:pt x="30" y="20"/>
                      </a:lnTo>
                      <a:lnTo>
                        <a:pt x="31" y="23"/>
                      </a:lnTo>
                      <a:lnTo>
                        <a:pt x="33" y="24"/>
                      </a:lnTo>
                      <a:lnTo>
                        <a:pt x="34" y="26"/>
                      </a:lnTo>
                      <a:lnTo>
                        <a:pt x="34" y="26"/>
                      </a:lnTo>
                      <a:lnTo>
                        <a:pt x="36" y="29"/>
                      </a:lnTo>
                      <a:lnTo>
                        <a:pt x="36" y="30"/>
                      </a:lnTo>
                      <a:lnTo>
                        <a:pt x="36" y="31"/>
                      </a:lnTo>
                      <a:lnTo>
                        <a:pt x="39" y="32"/>
                      </a:lnTo>
                      <a:lnTo>
                        <a:pt x="40" y="33"/>
                      </a:lnTo>
                      <a:lnTo>
                        <a:pt x="40" y="36"/>
                      </a:lnTo>
                      <a:lnTo>
                        <a:pt x="39" y="37"/>
                      </a:lnTo>
                      <a:lnTo>
                        <a:pt x="39" y="39"/>
                      </a:lnTo>
                      <a:lnTo>
                        <a:pt x="39" y="43"/>
                      </a:lnTo>
                      <a:lnTo>
                        <a:pt x="39" y="46"/>
                      </a:lnTo>
                      <a:lnTo>
                        <a:pt x="40" y="46"/>
                      </a:lnTo>
                      <a:lnTo>
                        <a:pt x="42" y="47"/>
                      </a:lnTo>
                      <a:lnTo>
                        <a:pt x="42" y="46"/>
                      </a:lnTo>
                      <a:lnTo>
                        <a:pt x="44" y="46"/>
                      </a:lnTo>
                      <a:lnTo>
                        <a:pt x="46" y="46"/>
                      </a:lnTo>
                      <a:lnTo>
                        <a:pt x="47" y="46"/>
                      </a:lnTo>
                      <a:lnTo>
                        <a:pt x="49" y="46"/>
                      </a:lnTo>
                      <a:lnTo>
                        <a:pt x="53" y="47"/>
                      </a:lnTo>
                      <a:lnTo>
                        <a:pt x="55" y="47"/>
                      </a:lnTo>
                      <a:lnTo>
                        <a:pt x="56" y="47"/>
                      </a:lnTo>
                      <a:lnTo>
                        <a:pt x="56" y="44"/>
                      </a:lnTo>
                      <a:lnTo>
                        <a:pt x="59" y="44"/>
                      </a:lnTo>
                      <a:lnTo>
                        <a:pt x="61" y="44"/>
                      </a:lnTo>
                      <a:lnTo>
                        <a:pt x="61" y="46"/>
                      </a:lnTo>
                      <a:lnTo>
                        <a:pt x="63" y="47"/>
                      </a:lnTo>
                      <a:lnTo>
                        <a:pt x="64" y="50"/>
                      </a:lnTo>
                      <a:lnTo>
                        <a:pt x="75" y="52"/>
                      </a:lnTo>
                      <a:lnTo>
                        <a:pt x="81" y="50"/>
                      </a:lnTo>
                      <a:lnTo>
                        <a:pt x="87" y="50"/>
                      </a:lnTo>
                      <a:lnTo>
                        <a:pt x="93" y="47"/>
                      </a:lnTo>
                      <a:lnTo>
                        <a:pt x="96" y="43"/>
                      </a:lnTo>
                      <a:lnTo>
                        <a:pt x="104" y="44"/>
                      </a:lnTo>
                      <a:lnTo>
                        <a:pt x="111" y="49"/>
                      </a:lnTo>
                      <a:lnTo>
                        <a:pt x="120" y="51"/>
                      </a:lnTo>
                      <a:lnTo>
                        <a:pt x="122" y="46"/>
                      </a:lnTo>
                      <a:lnTo>
                        <a:pt x="116" y="36"/>
                      </a:lnTo>
                      <a:lnTo>
                        <a:pt x="101" y="27"/>
                      </a:lnTo>
                      <a:lnTo>
                        <a:pt x="101" y="27"/>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grpSp>
              <p:nvGrpSpPr>
                <p:cNvPr id="403" name="France">
                  <a:extLst>
                    <a:ext uri="{FF2B5EF4-FFF2-40B4-BE49-F238E27FC236}">
                      <a16:creationId xmlns:a16="http://schemas.microsoft.com/office/drawing/2014/main" id="{343D2D76-026C-564F-9EB6-245EC100B531}"/>
                    </a:ext>
                  </a:extLst>
                </p:cNvPr>
                <p:cNvGrpSpPr/>
                <p:nvPr/>
              </p:nvGrpSpPr>
              <p:grpSpPr>
                <a:xfrm>
                  <a:off x="4745465" y="2461517"/>
                  <a:ext cx="5957178" cy="3017954"/>
                  <a:chOff x="3248653" y="2652312"/>
                  <a:chExt cx="6569418" cy="3328120"/>
                </a:xfrm>
                <a:grpFill/>
              </p:grpSpPr>
              <p:sp>
                <p:nvSpPr>
                  <p:cNvPr id="496" name="Freeform 226">
                    <a:extLst>
                      <a:ext uri="{FF2B5EF4-FFF2-40B4-BE49-F238E27FC236}">
                        <a16:creationId xmlns:a16="http://schemas.microsoft.com/office/drawing/2014/main" id="{D4EC9718-76F8-1349-BB8D-11121A9D9937}"/>
                      </a:ext>
                    </a:extLst>
                  </p:cNvPr>
                  <p:cNvSpPr>
                    <a:spLocks/>
                  </p:cNvSpPr>
                  <p:nvPr/>
                </p:nvSpPr>
                <p:spPr bwMode="auto">
                  <a:xfrm>
                    <a:off x="6383839" y="4702242"/>
                    <a:ext cx="1609" cy="0"/>
                  </a:xfrm>
                  <a:custGeom>
                    <a:avLst/>
                    <a:gdLst>
                      <a:gd name="T0" fmla="*/ 0 w 1"/>
                      <a:gd name="T1" fmla="*/ 0 w 1"/>
                      <a:gd name="T2" fmla="*/ 0 w 1"/>
                      <a:gd name="T3" fmla="*/ 0 w 1"/>
                      <a:gd name="T4" fmla="*/ 1 w 1"/>
                      <a:gd name="T5" fmla="*/ 0 w 1"/>
                      <a:gd name="T6" fmla="*/ 0 w 1"/>
                    </a:gdLst>
                    <a:ahLst/>
                    <a:cxnLst>
                      <a:cxn ang="0">
                        <a:pos x="T0" y="0"/>
                      </a:cxn>
                      <a:cxn ang="0">
                        <a:pos x="T1" y="0"/>
                      </a:cxn>
                      <a:cxn ang="0">
                        <a:pos x="T2" y="0"/>
                      </a:cxn>
                      <a:cxn ang="0">
                        <a:pos x="T3" y="0"/>
                      </a:cxn>
                      <a:cxn ang="0">
                        <a:pos x="T4" y="0"/>
                      </a:cxn>
                      <a:cxn ang="0">
                        <a:pos x="T5" y="0"/>
                      </a:cxn>
                      <a:cxn ang="0">
                        <a:pos x="T6" y="0"/>
                      </a:cxn>
                    </a:cxnLst>
                    <a:rect l="0" t="0" r="r" b="b"/>
                    <a:pathLst>
                      <a:path w="1">
                        <a:moveTo>
                          <a:pt x="0" y="0"/>
                        </a:moveTo>
                        <a:lnTo>
                          <a:pt x="0" y="0"/>
                        </a:lnTo>
                        <a:lnTo>
                          <a:pt x="0" y="0"/>
                        </a:lnTo>
                        <a:lnTo>
                          <a:pt x="0" y="0"/>
                        </a:lnTo>
                        <a:lnTo>
                          <a:pt x="1" y="0"/>
                        </a:lnTo>
                        <a:lnTo>
                          <a:pt x="0" y="0"/>
                        </a:lnTo>
                        <a:lnTo>
                          <a:pt x="0" y="0"/>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grpSp>
                <p:nvGrpSpPr>
                  <p:cNvPr id="497" name="France">
                    <a:extLst>
                      <a:ext uri="{FF2B5EF4-FFF2-40B4-BE49-F238E27FC236}">
                        <a16:creationId xmlns:a16="http://schemas.microsoft.com/office/drawing/2014/main" id="{B3AF8285-FC44-1643-A0E3-54FD755FD9EE}"/>
                      </a:ext>
                    </a:extLst>
                  </p:cNvPr>
                  <p:cNvGrpSpPr/>
                  <p:nvPr/>
                </p:nvGrpSpPr>
                <p:grpSpPr>
                  <a:xfrm>
                    <a:off x="3248653" y="2652312"/>
                    <a:ext cx="6569418" cy="3328120"/>
                    <a:chOff x="3248653" y="2652312"/>
                    <a:chExt cx="6569418" cy="3328120"/>
                  </a:xfrm>
                  <a:grpFill/>
                </p:grpSpPr>
                <p:sp>
                  <p:nvSpPr>
                    <p:cNvPr id="498" name="Freeform 9">
                      <a:extLst>
                        <a:ext uri="{FF2B5EF4-FFF2-40B4-BE49-F238E27FC236}">
                          <a16:creationId xmlns:a16="http://schemas.microsoft.com/office/drawing/2014/main" id="{87E7D651-3329-7A4B-8A15-701A3E356D52}"/>
                        </a:ext>
                      </a:extLst>
                    </p:cNvPr>
                    <p:cNvSpPr>
                      <a:spLocks/>
                    </p:cNvSpPr>
                    <p:nvPr/>
                  </p:nvSpPr>
                  <p:spPr bwMode="auto">
                    <a:xfrm>
                      <a:off x="6353289" y="4753690"/>
                      <a:ext cx="4823" cy="9647"/>
                    </a:xfrm>
                    <a:custGeom>
                      <a:avLst/>
                      <a:gdLst>
                        <a:gd name="T0" fmla="*/ 0 w 3"/>
                        <a:gd name="T1" fmla="*/ 6 h 6"/>
                        <a:gd name="T2" fmla="*/ 0 w 3"/>
                        <a:gd name="T3" fmla="*/ 4 h 6"/>
                        <a:gd name="T4" fmla="*/ 0 w 3"/>
                        <a:gd name="T5" fmla="*/ 3 h 6"/>
                        <a:gd name="T6" fmla="*/ 0 w 3"/>
                        <a:gd name="T7" fmla="*/ 2 h 6"/>
                        <a:gd name="T8" fmla="*/ 0 w 3"/>
                        <a:gd name="T9" fmla="*/ 2 h 6"/>
                        <a:gd name="T10" fmla="*/ 0 w 3"/>
                        <a:gd name="T11" fmla="*/ 1 h 6"/>
                        <a:gd name="T12" fmla="*/ 2 w 3"/>
                        <a:gd name="T13" fmla="*/ 0 h 6"/>
                        <a:gd name="T14" fmla="*/ 3 w 3"/>
                        <a:gd name="T15" fmla="*/ 2 h 6"/>
                        <a:gd name="T16" fmla="*/ 2 w 3"/>
                        <a:gd name="T17" fmla="*/ 3 h 6"/>
                        <a:gd name="T18" fmla="*/ 2 w 3"/>
                        <a:gd name="T19" fmla="*/ 4 h 6"/>
                        <a:gd name="T20" fmla="*/ 2 w 3"/>
                        <a:gd name="T21" fmla="*/ 4 h 6"/>
                        <a:gd name="T22" fmla="*/ 0 w 3"/>
                        <a:gd name="T23" fmla="*/ 6 h 6"/>
                        <a:gd name="T24" fmla="*/ 0 w 3"/>
                        <a:gd name="T25" fmla="*/ 6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 h="6">
                          <a:moveTo>
                            <a:pt x="0" y="6"/>
                          </a:moveTo>
                          <a:lnTo>
                            <a:pt x="0" y="4"/>
                          </a:lnTo>
                          <a:lnTo>
                            <a:pt x="0" y="3"/>
                          </a:lnTo>
                          <a:lnTo>
                            <a:pt x="0" y="2"/>
                          </a:lnTo>
                          <a:lnTo>
                            <a:pt x="0" y="2"/>
                          </a:lnTo>
                          <a:lnTo>
                            <a:pt x="0" y="1"/>
                          </a:lnTo>
                          <a:lnTo>
                            <a:pt x="2" y="0"/>
                          </a:lnTo>
                          <a:lnTo>
                            <a:pt x="3" y="2"/>
                          </a:lnTo>
                          <a:lnTo>
                            <a:pt x="2" y="3"/>
                          </a:lnTo>
                          <a:lnTo>
                            <a:pt x="2" y="4"/>
                          </a:lnTo>
                          <a:lnTo>
                            <a:pt x="2" y="4"/>
                          </a:lnTo>
                          <a:lnTo>
                            <a:pt x="0" y="6"/>
                          </a:lnTo>
                          <a:lnTo>
                            <a:pt x="0" y="6"/>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99" name="Freeform 29">
                      <a:extLst>
                        <a:ext uri="{FF2B5EF4-FFF2-40B4-BE49-F238E27FC236}">
                          <a16:creationId xmlns:a16="http://schemas.microsoft.com/office/drawing/2014/main" id="{D6F8E65D-EC28-9E48-8A71-FEE4F6C2E865}"/>
                        </a:ext>
                      </a:extLst>
                    </p:cNvPr>
                    <p:cNvSpPr>
                      <a:spLocks/>
                    </p:cNvSpPr>
                    <p:nvPr/>
                  </p:nvSpPr>
                  <p:spPr bwMode="auto">
                    <a:xfrm>
                      <a:off x="6819548" y="5938629"/>
                      <a:ext cx="56272" cy="41803"/>
                    </a:xfrm>
                    <a:custGeom>
                      <a:avLst/>
                      <a:gdLst>
                        <a:gd name="T0" fmla="*/ 2 w 35"/>
                        <a:gd name="T1" fmla="*/ 21 h 26"/>
                        <a:gd name="T2" fmla="*/ 0 w 35"/>
                        <a:gd name="T3" fmla="*/ 20 h 26"/>
                        <a:gd name="T4" fmla="*/ 0 w 35"/>
                        <a:gd name="T5" fmla="*/ 19 h 26"/>
                        <a:gd name="T6" fmla="*/ 0 w 35"/>
                        <a:gd name="T7" fmla="*/ 18 h 26"/>
                        <a:gd name="T8" fmla="*/ 1 w 35"/>
                        <a:gd name="T9" fmla="*/ 16 h 26"/>
                        <a:gd name="T10" fmla="*/ 1 w 35"/>
                        <a:gd name="T11" fmla="*/ 15 h 26"/>
                        <a:gd name="T12" fmla="*/ 2 w 35"/>
                        <a:gd name="T13" fmla="*/ 15 h 26"/>
                        <a:gd name="T14" fmla="*/ 3 w 35"/>
                        <a:gd name="T15" fmla="*/ 14 h 26"/>
                        <a:gd name="T16" fmla="*/ 3 w 35"/>
                        <a:gd name="T17" fmla="*/ 13 h 26"/>
                        <a:gd name="T18" fmla="*/ 4 w 35"/>
                        <a:gd name="T19" fmla="*/ 12 h 26"/>
                        <a:gd name="T20" fmla="*/ 6 w 35"/>
                        <a:gd name="T21" fmla="*/ 9 h 26"/>
                        <a:gd name="T22" fmla="*/ 7 w 35"/>
                        <a:gd name="T23" fmla="*/ 8 h 26"/>
                        <a:gd name="T24" fmla="*/ 7 w 35"/>
                        <a:gd name="T25" fmla="*/ 6 h 26"/>
                        <a:gd name="T26" fmla="*/ 7 w 35"/>
                        <a:gd name="T27" fmla="*/ 5 h 26"/>
                        <a:gd name="T28" fmla="*/ 8 w 35"/>
                        <a:gd name="T29" fmla="*/ 4 h 26"/>
                        <a:gd name="T30" fmla="*/ 8 w 35"/>
                        <a:gd name="T31" fmla="*/ 1 h 26"/>
                        <a:gd name="T32" fmla="*/ 9 w 35"/>
                        <a:gd name="T33" fmla="*/ 0 h 26"/>
                        <a:gd name="T34" fmla="*/ 12 w 35"/>
                        <a:gd name="T35" fmla="*/ 0 h 26"/>
                        <a:gd name="T36" fmla="*/ 13 w 35"/>
                        <a:gd name="T37" fmla="*/ 0 h 26"/>
                        <a:gd name="T38" fmla="*/ 13 w 35"/>
                        <a:gd name="T39" fmla="*/ 2 h 26"/>
                        <a:gd name="T40" fmla="*/ 13 w 35"/>
                        <a:gd name="T41" fmla="*/ 5 h 26"/>
                        <a:gd name="T42" fmla="*/ 14 w 35"/>
                        <a:gd name="T43" fmla="*/ 5 h 26"/>
                        <a:gd name="T44" fmla="*/ 16 w 35"/>
                        <a:gd name="T45" fmla="*/ 5 h 26"/>
                        <a:gd name="T46" fmla="*/ 19 w 35"/>
                        <a:gd name="T47" fmla="*/ 6 h 26"/>
                        <a:gd name="T48" fmla="*/ 19 w 35"/>
                        <a:gd name="T49" fmla="*/ 7 h 26"/>
                        <a:gd name="T50" fmla="*/ 19 w 35"/>
                        <a:gd name="T51" fmla="*/ 8 h 26"/>
                        <a:gd name="T52" fmla="*/ 19 w 35"/>
                        <a:gd name="T53" fmla="*/ 9 h 26"/>
                        <a:gd name="T54" fmla="*/ 21 w 35"/>
                        <a:gd name="T55" fmla="*/ 11 h 26"/>
                        <a:gd name="T56" fmla="*/ 21 w 35"/>
                        <a:gd name="T57" fmla="*/ 13 h 26"/>
                        <a:gd name="T58" fmla="*/ 22 w 35"/>
                        <a:gd name="T59" fmla="*/ 12 h 26"/>
                        <a:gd name="T60" fmla="*/ 24 w 35"/>
                        <a:gd name="T61" fmla="*/ 11 h 26"/>
                        <a:gd name="T62" fmla="*/ 26 w 35"/>
                        <a:gd name="T63" fmla="*/ 9 h 26"/>
                        <a:gd name="T64" fmla="*/ 27 w 35"/>
                        <a:gd name="T65" fmla="*/ 8 h 26"/>
                        <a:gd name="T66" fmla="*/ 29 w 35"/>
                        <a:gd name="T67" fmla="*/ 7 h 26"/>
                        <a:gd name="T68" fmla="*/ 32 w 35"/>
                        <a:gd name="T69" fmla="*/ 7 h 26"/>
                        <a:gd name="T70" fmla="*/ 33 w 35"/>
                        <a:gd name="T71" fmla="*/ 8 h 26"/>
                        <a:gd name="T72" fmla="*/ 34 w 35"/>
                        <a:gd name="T73" fmla="*/ 8 h 26"/>
                        <a:gd name="T74" fmla="*/ 34 w 35"/>
                        <a:gd name="T75" fmla="*/ 11 h 26"/>
                        <a:gd name="T76" fmla="*/ 35 w 35"/>
                        <a:gd name="T77" fmla="*/ 12 h 26"/>
                        <a:gd name="T78" fmla="*/ 35 w 35"/>
                        <a:gd name="T79" fmla="*/ 14 h 26"/>
                        <a:gd name="T80" fmla="*/ 35 w 35"/>
                        <a:gd name="T81" fmla="*/ 15 h 26"/>
                        <a:gd name="T82" fmla="*/ 33 w 35"/>
                        <a:gd name="T83" fmla="*/ 15 h 26"/>
                        <a:gd name="T84" fmla="*/ 32 w 35"/>
                        <a:gd name="T85" fmla="*/ 15 h 26"/>
                        <a:gd name="T86" fmla="*/ 30 w 35"/>
                        <a:gd name="T87" fmla="*/ 15 h 26"/>
                        <a:gd name="T88" fmla="*/ 29 w 35"/>
                        <a:gd name="T89" fmla="*/ 16 h 26"/>
                        <a:gd name="T90" fmla="*/ 28 w 35"/>
                        <a:gd name="T91" fmla="*/ 19 h 26"/>
                        <a:gd name="T92" fmla="*/ 28 w 35"/>
                        <a:gd name="T93" fmla="*/ 20 h 26"/>
                        <a:gd name="T94" fmla="*/ 27 w 35"/>
                        <a:gd name="T95" fmla="*/ 21 h 26"/>
                        <a:gd name="T96" fmla="*/ 26 w 35"/>
                        <a:gd name="T97" fmla="*/ 21 h 26"/>
                        <a:gd name="T98" fmla="*/ 24 w 35"/>
                        <a:gd name="T99" fmla="*/ 22 h 26"/>
                        <a:gd name="T100" fmla="*/ 24 w 35"/>
                        <a:gd name="T101" fmla="*/ 24 h 26"/>
                        <a:gd name="T102" fmla="*/ 22 w 35"/>
                        <a:gd name="T103" fmla="*/ 25 h 26"/>
                        <a:gd name="T104" fmla="*/ 20 w 35"/>
                        <a:gd name="T105" fmla="*/ 25 h 26"/>
                        <a:gd name="T106" fmla="*/ 17 w 35"/>
                        <a:gd name="T107" fmla="*/ 24 h 26"/>
                        <a:gd name="T108" fmla="*/ 17 w 35"/>
                        <a:gd name="T109" fmla="*/ 21 h 26"/>
                        <a:gd name="T110" fmla="*/ 16 w 35"/>
                        <a:gd name="T111" fmla="*/ 20 h 26"/>
                        <a:gd name="T112" fmla="*/ 14 w 35"/>
                        <a:gd name="T113" fmla="*/ 20 h 26"/>
                        <a:gd name="T114" fmla="*/ 13 w 35"/>
                        <a:gd name="T115" fmla="*/ 20 h 26"/>
                        <a:gd name="T116" fmla="*/ 12 w 35"/>
                        <a:gd name="T117" fmla="*/ 19 h 26"/>
                        <a:gd name="T118" fmla="*/ 9 w 35"/>
                        <a:gd name="T119" fmla="*/ 19 h 26"/>
                        <a:gd name="T120" fmla="*/ 9 w 35"/>
                        <a:gd name="T121" fmla="*/ 20 h 26"/>
                        <a:gd name="T122" fmla="*/ 8 w 35"/>
                        <a:gd name="T123" fmla="*/ 21 h 26"/>
                        <a:gd name="T124" fmla="*/ 7 w 35"/>
                        <a:gd name="T125" fmla="*/ 22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35" h="26">
                          <a:moveTo>
                            <a:pt x="6" y="22"/>
                          </a:moveTo>
                          <a:lnTo>
                            <a:pt x="3" y="21"/>
                          </a:lnTo>
                          <a:lnTo>
                            <a:pt x="2" y="21"/>
                          </a:lnTo>
                          <a:lnTo>
                            <a:pt x="2" y="21"/>
                          </a:lnTo>
                          <a:lnTo>
                            <a:pt x="2" y="21"/>
                          </a:lnTo>
                          <a:lnTo>
                            <a:pt x="2" y="21"/>
                          </a:lnTo>
                          <a:lnTo>
                            <a:pt x="2" y="21"/>
                          </a:lnTo>
                          <a:lnTo>
                            <a:pt x="1" y="21"/>
                          </a:lnTo>
                          <a:lnTo>
                            <a:pt x="1" y="21"/>
                          </a:lnTo>
                          <a:lnTo>
                            <a:pt x="1" y="21"/>
                          </a:lnTo>
                          <a:lnTo>
                            <a:pt x="1" y="21"/>
                          </a:lnTo>
                          <a:lnTo>
                            <a:pt x="1" y="20"/>
                          </a:lnTo>
                          <a:lnTo>
                            <a:pt x="0" y="20"/>
                          </a:lnTo>
                          <a:lnTo>
                            <a:pt x="0" y="20"/>
                          </a:lnTo>
                          <a:lnTo>
                            <a:pt x="0" y="20"/>
                          </a:lnTo>
                          <a:lnTo>
                            <a:pt x="0" y="20"/>
                          </a:lnTo>
                          <a:lnTo>
                            <a:pt x="0" y="20"/>
                          </a:lnTo>
                          <a:lnTo>
                            <a:pt x="0" y="20"/>
                          </a:lnTo>
                          <a:lnTo>
                            <a:pt x="0" y="20"/>
                          </a:lnTo>
                          <a:lnTo>
                            <a:pt x="0" y="20"/>
                          </a:lnTo>
                          <a:lnTo>
                            <a:pt x="0" y="19"/>
                          </a:lnTo>
                          <a:lnTo>
                            <a:pt x="0" y="19"/>
                          </a:lnTo>
                          <a:lnTo>
                            <a:pt x="0" y="19"/>
                          </a:lnTo>
                          <a:lnTo>
                            <a:pt x="0" y="19"/>
                          </a:lnTo>
                          <a:lnTo>
                            <a:pt x="0" y="19"/>
                          </a:lnTo>
                          <a:lnTo>
                            <a:pt x="0" y="19"/>
                          </a:lnTo>
                          <a:lnTo>
                            <a:pt x="0" y="18"/>
                          </a:lnTo>
                          <a:lnTo>
                            <a:pt x="0" y="18"/>
                          </a:lnTo>
                          <a:lnTo>
                            <a:pt x="0" y="18"/>
                          </a:lnTo>
                          <a:lnTo>
                            <a:pt x="0" y="18"/>
                          </a:lnTo>
                          <a:lnTo>
                            <a:pt x="0" y="18"/>
                          </a:lnTo>
                          <a:lnTo>
                            <a:pt x="0" y="18"/>
                          </a:lnTo>
                          <a:lnTo>
                            <a:pt x="0" y="18"/>
                          </a:lnTo>
                          <a:lnTo>
                            <a:pt x="0" y="16"/>
                          </a:lnTo>
                          <a:lnTo>
                            <a:pt x="1" y="16"/>
                          </a:lnTo>
                          <a:lnTo>
                            <a:pt x="1" y="16"/>
                          </a:lnTo>
                          <a:lnTo>
                            <a:pt x="1" y="16"/>
                          </a:lnTo>
                          <a:lnTo>
                            <a:pt x="1" y="16"/>
                          </a:lnTo>
                          <a:lnTo>
                            <a:pt x="1" y="15"/>
                          </a:lnTo>
                          <a:lnTo>
                            <a:pt x="1" y="15"/>
                          </a:lnTo>
                          <a:lnTo>
                            <a:pt x="1" y="15"/>
                          </a:lnTo>
                          <a:lnTo>
                            <a:pt x="1" y="15"/>
                          </a:lnTo>
                          <a:lnTo>
                            <a:pt x="1" y="15"/>
                          </a:lnTo>
                          <a:lnTo>
                            <a:pt x="1" y="15"/>
                          </a:lnTo>
                          <a:lnTo>
                            <a:pt x="2" y="15"/>
                          </a:lnTo>
                          <a:lnTo>
                            <a:pt x="2" y="15"/>
                          </a:lnTo>
                          <a:lnTo>
                            <a:pt x="2" y="15"/>
                          </a:lnTo>
                          <a:lnTo>
                            <a:pt x="2" y="15"/>
                          </a:lnTo>
                          <a:lnTo>
                            <a:pt x="2" y="15"/>
                          </a:lnTo>
                          <a:lnTo>
                            <a:pt x="2" y="15"/>
                          </a:lnTo>
                          <a:lnTo>
                            <a:pt x="2" y="15"/>
                          </a:lnTo>
                          <a:lnTo>
                            <a:pt x="3" y="14"/>
                          </a:lnTo>
                          <a:lnTo>
                            <a:pt x="3" y="14"/>
                          </a:lnTo>
                          <a:lnTo>
                            <a:pt x="3" y="14"/>
                          </a:lnTo>
                          <a:lnTo>
                            <a:pt x="3" y="14"/>
                          </a:lnTo>
                          <a:lnTo>
                            <a:pt x="3" y="14"/>
                          </a:lnTo>
                          <a:lnTo>
                            <a:pt x="3" y="14"/>
                          </a:lnTo>
                          <a:lnTo>
                            <a:pt x="3" y="13"/>
                          </a:lnTo>
                          <a:lnTo>
                            <a:pt x="3" y="13"/>
                          </a:lnTo>
                          <a:lnTo>
                            <a:pt x="3" y="13"/>
                          </a:lnTo>
                          <a:lnTo>
                            <a:pt x="3" y="13"/>
                          </a:lnTo>
                          <a:lnTo>
                            <a:pt x="3" y="13"/>
                          </a:lnTo>
                          <a:lnTo>
                            <a:pt x="3" y="13"/>
                          </a:lnTo>
                          <a:lnTo>
                            <a:pt x="3" y="12"/>
                          </a:lnTo>
                          <a:lnTo>
                            <a:pt x="3" y="13"/>
                          </a:lnTo>
                          <a:lnTo>
                            <a:pt x="3" y="12"/>
                          </a:lnTo>
                          <a:lnTo>
                            <a:pt x="4" y="12"/>
                          </a:lnTo>
                          <a:lnTo>
                            <a:pt x="4" y="12"/>
                          </a:lnTo>
                          <a:lnTo>
                            <a:pt x="4" y="12"/>
                          </a:lnTo>
                          <a:lnTo>
                            <a:pt x="4" y="12"/>
                          </a:lnTo>
                          <a:lnTo>
                            <a:pt x="4" y="11"/>
                          </a:lnTo>
                          <a:lnTo>
                            <a:pt x="4" y="11"/>
                          </a:lnTo>
                          <a:lnTo>
                            <a:pt x="4" y="11"/>
                          </a:lnTo>
                          <a:lnTo>
                            <a:pt x="4" y="11"/>
                          </a:lnTo>
                          <a:lnTo>
                            <a:pt x="6" y="9"/>
                          </a:lnTo>
                          <a:lnTo>
                            <a:pt x="6" y="9"/>
                          </a:lnTo>
                          <a:lnTo>
                            <a:pt x="6" y="9"/>
                          </a:lnTo>
                          <a:lnTo>
                            <a:pt x="6" y="9"/>
                          </a:lnTo>
                          <a:lnTo>
                            <a:pt x="6" y="9"/>
                          </a:lnTo>
                          <a:lnTo>
                            <a:pt x="6" y="9"/>
                          </a:lnTo>
                          <a:lnTo>
                            <a:pt x="7" y="9"/>
                          </a:lnTo>
                          <a:lnTo>
                            <a:pt x="7" y="9"/>
                          </a:lnTo>
                          <a:lnTo>
                            <a:pt x="7" y="8"/>
                          </a:lnTo>
                          <a:lnTo>
                            <a:pt x="7" y="8"/>
                          </a:lnTo>
                          <a:lnTo>
                            <a:pt x="7" y="8"/>
                          </a:lnTo>
                          <a:lnTo>
                            <a:pt x="7" y="8"/>
                          </a:lnTo>
                          <a:lnTo>
                            <a:pt x="7" y="7"/>
                          </a:lnTo>
                          <a:lnTo>
                            <a:pt x="7" y="7"/>
                          </a:lnTo>
                          <a:lnTo>
                            <a:pt x="7" y="7"/>
                          </a:lnTo>
                          <a:lnTo>
                            <a:pt x="7" y="7"/>
                          </a:lnTo>
                          <a:lnTo>
                            <a:pt x="7" y="6"/>
                          </a:lnTo>
                          <a:lnTo>
                            <a:pt x="7" y="6"/>
                          </a:lnTo>
                          <a:lnTo>
                            <a:pt x="7" y="6"/>
                          </a:lnTo>
                          <a:lnTo>
                            <a:pt x="7" y="6"/>
                          </a:lnTo>
                          <a:lnTo>
                            <a:pt x="7" y="6"/>
                          </a:lnTo>
                          <a:lnTo>
                            <a:pt x="7" y="5"/>
                          </a:lnTo>
                          <a:lnTo>
                            <a:pt x="7" y="5"/>
                          </a:lnTo>
                          <a:lnTo>
                            <a:pt x="7" y="5"/>
                          </a:lnTo>
                          <a:lnTo>
                            <a:pt x="7" y="5"/>
                          </a:lnTo>
                          <a:lnTo>
                            <a:pt x="7" y="4"/>
                          </a:lnTo>
                          <a:lnTo>
                            <a:pt x="7" y="4"/>
                          </a:lnTo>
                          <a:lnTo>
                            <a:pt x="7" y="4"/>
                          </a:lnTo>
                          <a:lnTo>
                            <a:pt x="7" y="4"/>
                          </a:lnTo>
                          <a:lnTo>
                            <a:pt x="7" y="4"/>
                          </a:lnTo>
                          <a:lnTo>
                            <a:pt x="8" y="4"/>
                          </a:lnTo>
                          <a:lnTo>
                            <a:pt x="8" y="2"/>
                          </a:lnTo>
                          <a:lnTo>
                            <a:pt x="8" y="2"/>
                          </a:lnTo>
                          <a:lnTo>
                            <a:pt x="8" y="2"/>
                          </a:lnTo>
                          <a:lnTo>
                            <a:pt x="8" y="2"/>
                          </a:lnTo>
                          <a:lnTo>
                            <a:pt x="8" y="2"/>
                          </a:lnTo>
                          <a:lnTo>
                            <a:pt x="8" y="2"/>
                          </a:lnTo>
                          <a:lnTo>
                            <a:pt x="8" y="1"/>
                          </a:lnTo>
                          <a:lnTo>
                            <a:pt x="8" y="1"/>
                          </a:lnTo>
                          <a:lnTo>
                            <a:pt x="8" y="1"/>
                          </a:lnTo>
                          <a:lnTo>
                            <a:pt x="8" y="0"/>
                          </a:lnTo>
                          <a:lnTo>
                            <a:pt x="9" y="0"/>
                          </a:lnTo>
                          <a:lnTo>
                            <a:pt x="9" y="0"/>
                          </a:lnTo>
                          <a:lnTo>
                            <a:pt x="9" y="0"/>
                          </a:lnTo>
                          <a:lnTo>
                            <a:pt x="9" y="0"/>
                          </a:lnTo>
                          <a:lnTo>
                            <a:pt x="9" y="0"/>
                          </a:lnTo>
                          <a:lnTo>
                            <a:pt x="9" y="0"/>
                          </a:lnTo>
                          <a:lnTo>
                            <a:pt x="9" y="0"/>
                          </a:lnTo>
                          <a:lnTo>
                            <a:pt x="10" y="0"/>
                          </a:lnTo>
                          <a:lnTo>
                            <a:pt x="10" y="0"/>
                          </a:lnTo>
                          <a:lnTo>
                            <a:pt x="10" y="0"/>
                          </a:lnTo>
                          <a:lnTo>
                            <a:pt x="12" y="0"/>
                          </a:lnTo>
                          <a:lnTo>
                            <a:pt x="12" y="0"/>
                          </a:lnTo>
                          <a:lnTo>
                            <a:pt x="12" y="0"/>
                          </a:lnTo>
                          <a:lnTo>
                            <a:pt x="12" y="0"/>
                          </a:lnTo>
                          <a:lnTo>
                            <a:pt x="13" y="0"/>
                          </a:lnTo>
                          <a:lnTo>
                            <a:pt x="13" y="0"/>
                          </a:lnTo>
                          <a:lnTo>
                            <a:pt x="13" y="0"/>
                          </a:lnTo>
                          <a:lnTo>
                            <a:pt x="13" y="0"/>
                          </a:lnTo>
                          <a:lnTo>
                            <a:pt x="13" y="0"/>
                          </a:lnTo>
                          <a:lnTo>
                            <a:pt x="13" y="1"/>
                          </a:lnTo>
                          <a:lnTo>
                            <a:pt x="13" y="1"/>
                          </a:lnTo>
                          <a:lnTo>
                            <a:pt x="13" y="1"/>
                          </a:lnTo>
                          <a:lnTo>
                            <a:pt x="13" y="1"/>
                          </a:lnTo>
                          <a:lnTo>
                            <a:pt x="13" y="1"/>
                          </a:lnTo>
                          <a:lnTo>
                            <a:pt x="13" y="2"/>
                          </a:lnTo>
                          <a:lnTo>
                            <a:pt x="13" y="2"/>
                          </a:lnTo>
                          <a:lnTo>
                            <a:pt x="13" y="2"/>
                          </a:lnTo>
                          <a:lnTo>
                            <a:pt x="13" y="2"/>
                          </a:lnTo>
                          <a:lnTo>
                            <a:pt x="13" y="4"/>
                          </a:lnTo>
                          <a:lnTo>
                            <a:pt x="13" y="4"/>
                          </a:lnTo>
                          <a:lnTo>
                            <a:pt x="13" y="4"/>
                          </a:lnTo>
                          <a:lnTo>
                            <a:pt x="13" y="5"/>
                          </a:lnTo>
                          <a:lnTo>
                            <a:pt x="13" y="5"/>
                          </a:lnTo>
                          <a:lnTo>
                            <a:pt x="13" y="5"/>
                          </a:lnTo>
                          <a:lnTo>
                            <a:pt x="13" y="5"/>
                          </a:lnTo>
                          <a:lnTo>
                            <a:pt x="13" y="5"/>
                          </a:lnTo>
                          <a:lnTo>
                            <a:pt x="13" y="5"/>
                          </a:lnTo>
                          <a:lnTo>
                            <a:pt x="14" y="5"/>
                          </a:lnTo>
                          <a:lnTo>
                            <a:pt x="14" y="5"/>
                          </a:lnTo>
                          <a:lnTo>
                            <a:pt x="14" y="5"/>
                          </a:lnTo>
                          <a:lnTo>
                            <a:pt x="14" y="5"/>
                          </a:lnTo>
                          <a:lnTo>
                            <a:pt x="14" y="5"/>
                          </a:lnTo>
                          <a:lnTo>
                            <a:pt x="15" y="5"/>
                          </a:lnTo>
                          <a:lnTo>
                            <a:pt x="15" y="5"/>
                          </a:lnTo>
                          <a:lnTo>
                            <a:pt x="15" y="5"/>
                          </a:lnTo>
                          <a:lnTo>
                            <a:pt x="16" y="5"/>
                          </a:lnTo>
                          <a:lnTo>
                            <a:pt x="16" y="5"/>
                          </a:lnTo>
                          <a:lnTo>
                            <a:pt x="16" y="5"/>
                          </a:lnTo>
                          <a:lnTo>
                            <a:pt x="17" y="5"/>
                          </a:lnTo>
                          <a:lnTo>
                            <a:pt x="17" y="5"/>
                          </a:lnTo>
                          <a:lnTo>
                            <a:pt x="17" y="5"/>
                          </a:lnTo>
                          <a:lnTo>
                            <a:pt x="19" y="6"/>
                          </a:lnTo>
                          <a:lnTo>
                            <a:pt x="19" y="6"/>
                          </a:lnTo>
                          <a:lnTo>
                            <a:pt x="19" y="6"/>
                          </a:lnTo>
                          <a:lnTo>
                            <a:pt x="19" y="6"/>
                          </a:lnTo>
                          <a:lnTo>
                            <a:pt x="19" y="6"/>
                          </a:lnTo>
                          <a:lnTo>
                            <a:pt x="19" y="6"/>
                          </a:lnTo>
                          <a:lnTo>
                            <a:pt x="19" y="6"/>
                          </a:lnTo>
                          <a:lnTo>
                            <a:pt x="19" y="6"/>
                          </a:lnTo>
                          <a:lnTo>
                            <a:pt x="19" y="7"/>
                          </a:lnTo>
                          <a:lnTo>
                            <a:pt x="19" y="7"/>
                          </a:lnTo>
                          <a:lnTo>
                            <a:pt x="19" y="7"/>
                          </a:lnTo>
                          <a:lnTo>
                            <a:pt x="19" y="7"/>
                          </a:lnTo>
                          <a:lnTo>
                            <a:pt x="19" y="7"/>
                          </a:lnTo>
                          <a:lnTo>
                            <a:pt x="19" y="8"/>
                          </a:lnTo>
                          <a:lnTo>
                            <a:pt x="19" y="8"/>
                          </a:lnTo>
                          <a:lnTo>
                            <a:pt x="19" y="8"/>
                          </a:lnTo>
                          <a:lnTo>
                            <a:pt x="19" y="8"/>
                          </a:lnTo>
                          <a:lnTo>
                            <a:pt x="19" y="8"/>
                          </a:lnTo>
                          <a:lnTo>
                            <a:pt x="19" y="9"/>
                          </a:lnTo>
                          <a:lnTo>
                            <a:pt x="19" y="9"/>
                          </a:lnTo>
                          <a:lnTo>
                            <a:pt x="19" y="9"/>
                          </a:lnTo>
                          <a:lnTo>
                            <a:pt x="19" y="9"/>
                          </a:lnTo>
                          <a:lnTo>
                            <a:pt x="19" y="9"/>
                          </a:lnTo>
                          <a:lnTo>
                            <a:pt x="19" y="11"/>
                          </a:lnTo>
                          <a:lnTo>
                            <a:pt x="20" y="11"/>
                          </a:lnTo>
                          <a:lnTo>
                            <a:pt x="20" y="11"/>
                          </a:lnTo>
                          <a:lnTo>
                            <a:pt x="20" y="11"/>
                          </a:lnTo>
                          <a:lnTo>
                            <a:pt x="20" y="11"/>
                          </a:lnTo>
                          <a:lnTo>
                            <a:pt x="20" y="11"/>
                          </a:lnTo>
                          <a:lnTo>
                            <a:pt x="21" y="11"/>
                          </a:lnTo>
                          <a:lnTo>
                            <a:pt x="21" y="12"/>
                          </a:lnTo>
                          <a:lnTo>
                            <a:pt x="21" y="12"/>
                          </a:lnTo>
                          <a:lnTo>
                            <a:pt x="21" y="12"/>
                          </a:lnTo>
                          <a:lnTo>
                            <a:pt x="21" y="12"/>
                          </a:lnTo>
                          <a:lnTo>
                            <a:pt x="21" y="12"/>
                          </a:lnTo>
                          <a:lnTo>
                            <a:pt x="21" y="12"/>
                          </a:lnTo>
                          <a:lnTo>
                            <a:pt x="21" y="13"/>
                          </a:lnTo>
                          <a:lnTo>
                            <a:pt x="21" y="13"/>
                          </a:lnTo>
                          <a:lnTo>
                            <a:pt x="21" y="13"/>
                          </a:lnTo>
                          <a:lnTo>
                            <a:pt x="21" y="13"/>
                          </a:lnTo>
                          <a:lnTo>
                            <a:pt x="22" y="12"/>
                          </a:lnTo>
                          <a:lnTo>
                            <a:pt x="22" y="12"/>
                          </a:lnTo>
                          <a:lnTo>
                            <a:pt x="22" y="12"/>
                          </a:lnTo>
                          <a:lnTo>
                            <a:pt x="22" y="12"/>
                          </a:lnTo>
                          <a:lnTo>
                            <a:pt x="22" y="12"/>
                          </a:lnTo>
                          <a:lnTo>
                            <a:pt x="23" y="12"/>
                          </a:lnTo>
                          <a:lnTo>
                            <a:pt x="23" y="12"/>
                          </a:lnTo>
                          <a:lnTo>
                            <a:pt x="23" y="12"/>
                          </a:lnTo>
                          <a:lnTo>
                            <a:pt x="24" y="11"/>
                          </a:lnTo>
                          <a:lnTo>
                            <a:pt x="24" y="11"/>
                          </a:lnTo>
                          <a:lnTo>
                            <a:pt x="24" y="11"/>
                          </a:lnTo>
                          <a:lnTo>
                            <a:pt x="24" y="11"/>
                          </a:lnTo>
                          <a:lnTo>
                            <a:pt x="26" y="11"/>
                          </a:lnTo>
                          <a:lnTo>
                            <a:pt x="26" y="11"/>
                          </a:lnTo>
                          <a:lnTo>
                            <a:pt x="26" y="11"/>
                          </a:lnTo>
                          <a:lnTo>
                            <a:pt x="26" y="11"/>
                          </a:lnTo>
                          <a:lnTo>
                            <a:pt x="26" y="9"/>
                          </a:lnTo>
                          <a:lnTo>
                            <a:pt x="26" y="9"/>
                          </a:lnTo>
                          <a:lnTo>
                            <a:pt x="26" y="9"/>
                          </a:lnTo>
                          <a:lnTo>
                            <a:pt x="26" y="9"/>
                          </a:lnTo>
                          <a:lnTo>
                            <a:pt x="27" y="9"/>
                          </a:lnTo>
                          <a:lnTo>
                            <a:pt x="27" y="8"/>
                          </a:lnTo>
                          <a:lnTo>
                            <a:pt x="27" y="8"/>
                          </a:lnTo>
                          <a:lnTo>
                            <a:pt x="27" y="8"/>
                          </a:lnTo>
                          <a:lnTo>
                            <a:pt x="27" y="8"/>
                          </a:lnTo>
                          <a:lnTo>
                            <a:pt x="28" y="8"/>
                          </a:lnTo>
                          <a:lnTo>
                            <a:pt x="28" y="8"/>
                          </a:lnTo>
                          <a:lnTo>
                            <a:pt x="28" y="8"/>
                          </a:lnTo>
                          <a:lnTo>
                            <a:pt x="28" y="8"/>
                          </a:lnTo>
                          <a:lnTo>
                            <a:pt x="29" y="7"/>
                          </a:lnTo>
                          <a:lnTo>
                            <a:pt x="29" y="7"/>
                          </a:lnTo>
                          <a:lnTo>
                            <a:pt x="29" y="7"/>
                          </a:lnTo>
                          <a:lnTo>
                            <a:pt x="29" y="8"/>
                          </a:lnTo>
                          <a:lnTo>
                            <a:pt x="30" y="7"/>
                          </a:lnTo>
                          <a:lnTo>
                            <a:pt x="30" y="7"/>
                          </a:lnTo>
                          <a:lnTo>
                            <a:pt x="30" y="7"/>
                          </a:lnTo>
                          <a:lnTo>
                            <a:pt x="30" y="7"/>
                          </a:lnTo>
                          <a:lnTo>
                            <a:pt x="32" y="7"/>
                          </a:lnTo>
                          <a:lnTo>
                            <a:pt x="32" y="7"/>
                          </a:lnTo>
                          <a:lnTo>
                            <a:pt x="32" y="7"/>
                          </a:lnTo>
                          <a:lnTo>
                            <a:pt x="32" y="7"/>
                          </a:lnTo>
                          <a:lnTo>
                            <a:pt x="33" y="7"/>
                          </a:lnTo>
                          <a:lnTo>
                            <a:pt x="33" y="7"/>
                          </a:lnTo>
                          <a:lnTo>
                            <a:pt x="33" y="7"/>
                          </a:lnTo>
                          <a:lnTo>
                            <a:pt x="33" y="7"/>
                          </a:lnTo>
                          <a:lnTo>
                            <a:pt x="33" y="8"/>
                          </a:lnTo>
                          <a:lnTo>
                            <a:pt x="34" y="8"/>
                          </a:lnTo>
                          <a:lnTo>
                            <a:pt x="34" y="8"/>
                          </a:lnTo>
                          <a:lnTo>
                            <a:pt x="34" y="8"/>
                          </a:lnTo>
                          <a:lnTo>
                            <a:pt x="34" y="8"/>
                          </a:lnTo>
                          <a:lnTo>
                            <a:pt x="34" y="8"/>
                          </a:lnTo>
                          <a:lnTo>
                            <a:pt x="34" y="8"/>
                          </a:lnTo>
                          <a:lnTo>
                            <a:pt x="34" y="8"/>
                          </a:lnTo>
                          <a:lnTo>
                            <a:pt x="34" y="9"/>
                          </a:lnTo>
                          <a:lnTo>
                            <a:pt x="35" y="9"/>
                          </a:lnTo>
                          <a:lnTo>
                            <a:pt x="35" y="9"/>
                          </a:lnTo>
                          <a:lnTo>
                            <a:pt x="35" y="9"/>
                          </a:lnTo>
                          <a:lnTo>
                            <a:pt x="34" y="9"/>
                          </a:lnTo>
                          <a:lnTo>
                            <a:pt x="34" y="9"/>
                          </a:lnTo>
                          <a:lnTo>
                            <a:pt x="34" y="11"/>
                          </a:lnTo>
                          <a:lnTo>
                            <a:pt x="35" y="11"/>
                          </a:lnTo>
                          <a:lnTo>
                            <a:pt x="35" y="11"/>
                          </a:lnTo>
                          <a:lnTo>
                            <a:pt x="35" y="12"/>
                          </a:lnTo>
                          <a:lnTo>
                            <a:pt x="35" y="12"/>
                          </a:lnTo>
                          <a:lnTo>
                            <a:pt x="35" y="12"/>
                          </a:lnTo>
                          <a:lnTo>
                            <a:pt x="35" y="12"/>
                          </a:lnTo>
                          <a:lnTo>
                            <a:pt x="35" y="12"/>
                          </a:lnTo>
                          <a:lnTo>
                            <a:pt x="35" y="13"/>
                          </a:lnTo>
                          <a:lnTo>
                            <a:pt x="35" y="13"/>
                          </a:lnTo>
                          <a:lnTo>
                            <a:pt x="35" y="13"/>
                          </a:lnTo>
                          <a:lnTo>
                            <a:pt x="35" y="13"/>
                          </a:lnTo>
                          <a:lnTo>
                            <a:pt x="35" y="13"/>
                          </a:lnTo>
                          <a:lnTo>
                            <a:pt x="35" y="13"/>
                          </a:lnTo>
                          <a:lnTo>
                            <a:pt x="35" y="14"/>
                          </a:lnTo>
                          <a:lnTo>
                            <a:pt x="35" y="14"/>
                          </a:lnTo>
                          <a:lnTo>
                            <a:pt x="35" y="14"/>
                          </a:lnTo>
                          <a:lnTo>
                            <a:pt x="35" y="14"/>
                          </a:lnTo>
                          <a:lnTo>
                            <a:pt x="35" y="14"/>
                          </a:lnTo>
                          <a:lnTo>
                            <a:pt x="35" y="15"/>
                          </a:lnTo>
                          <a:lnTo>
                            <a:pt x="35" y="15"/>
                          </a:lnTo>
                          <a:lnTo>
                            <a:pt x="35" y="15"/>
                          </a:lnTo>
                          <a:lnTo>
                            <a:pt x="35" y="15"/>
                          </a:lnTo>
                          <a:lnTo>
                            <a:pt x="35" y="15"/>
                          </a:lnTo>
                          <a:lnTo>
                            <a:pt x="34" y="15"/>
                          </a:lnTo>
                          <a:lnTo>
                            <a:pt x="34" y="15"/>
                          </a:lnTo>
                          <a:lnTo>
                            <a:pt x="34" y="15"/>
                          </a:lnTo>
                          <a:lnTo>
                            <a:pt x="34" y="15"/>
                          </a:lnTo>
                          <a:lnTo>
                            <a:pt x="33" y="15"/>
                          </a:lnTo>
                          <a:lnTo>
                            <a:pt x="33" y="15"/>
                          </a:lnTo>
                          <a:lnTo>
                            <a:pt x="33" y="15"/>
                          </a:lnTo>
                          <a:lnTo>
                            <a:pt x="33" y="15"/>
                          </a:lnTo>
                          <a:lnTo>
                            <a:pt x="33" y="15"/>
                          </a:lnTo>
                          <a:lnTo>
                            <a:pt x="32" y="15"/>
                          </a:lnTo>
                          <a:lnTo>
                            <a:pt x="32" y="15"/>
                          </a:lnTo>
                          <a:lnTo>
                            <a:pt x="32" y="15"/>
                          </a:lnTo>
                          <a:lnTo>
                            <a:pt x="32" y="15"/>
                          </a:lnTo>
                          <a:lnTo>
                            <a:pt x="32" y="15"/>
                          </a:lnTo>
                          <a:lnTo>
                            <a:pt x="32" y="16"/>
                          </a:lnTo>
                          <a:lnTo>
                            <a:pt x="32" y="15"/>
                          </a:lnTo>
                          <a:lnTo>
                            <a:pt x="32" y="15"/>
                          </a:lnTo>
                          <a:lnTo>
                            <a:pt x="30" y="15"/>
                          </a:lnTo>
                          <a:lnTo>
                            <a:pt x="30" y="15"/>
                          </a:lnTo>
                          <a:lnTo>
                            <a:pt x="30" y="16"/>
                          </a:lnTo>
                          <a:lnTo>
                            <a:pt x="30" y="16"/>
                          </a:lnTo>
                          <a:lnTo>
                            <a:pt x="29" y="16"/>
                          </a:lnTo>
                          <a:lnTo>
                            <a:pt x="29" y="16"/>
                          </a:lnTo>
                          <a:lnTo>
                            <a:pt x="29" y="16"/>
                          </a:lnTo>
                          <a:lnTo>
                            <a:pt x="29" y="16"/>
                          </a:lnTo>
                          <a:lnTo>
                            <a:pt x="29" y="16"/>
                          </a:lnTo>
                          <a:lnTo>
                            <a:pt x="28" y="16"/>
                          </a:lnTo>
                          <a:lnTo>
                            <a:pt x="28" y="16"/>
                          </a:lnTo>
                          <a:lnTo>
                            <a:pt x="28" y="18"/>
                          </a:lnTo>
                          <a:lnTo>
                            <a:pt x="28" y="18"/>
                          </a:lnTo>
                          <a:lnTo>
                            <a:pt x="28" y="18"/>
                          </a:lnTo>
                          <a:lnTo>
                            <a:pt x="28" y="18"/>
                          </a:lnTo>
                          <a:lnTo>
                            <a:pt x="28" y="19"/>
                          </a:lnTo>
                          <a:lnTo>
                            <a:pt x="28" y="19"/>
                          </a:lnTo>
                          <a:lnTo>
                            <a:pt x="28" y="19"/>
                          </a:lnTo>
                          <a:lnTo>
                            <a:pt x="28" y="19"/>
                          </a:lnTo>
                          <a:lnTo>
                            <a:pt x="28" y="20"/>
                          </a:lnTo>
                          <a:lnTo>
                            <a:pt x="28" y="20"/>
                          </a:lnTo>
                          <a:lnTo>
                            <a:pt x="28" y="20"/>
                          </a:lnTo>
                          <a:lnTo>
                            <a:pt x="28" y="20"/>
                          </a:lnTo>
                          <a:lnTo>
                            <a:pt x="28" y="21"/>
                          </a:lnTo>
                          <a:lnTo>
                            <a:pt x="28" y="21"/>
                          </a:lnTo>
                          <a:lnTo>
                            <a:pt x="28" y="21"/>
                          </a:lnTo>
                          <a:lnTo>
                            <a:pt x="28" y="21"/>
                          </a:lnTo>
                          <a:lnTo>
                            <a:pt x="28" y="21"/>
                          </a:lnTo>
                          <a:lnTo>
                            <a:pt x="28" y="21"/>
                          </a:lnTo>
                          <a:lnTo>
                            <a:pt x="27" y="21"/>
                          </a:lnTo>
                          <a:lnTo>
                            <a:pt x="27" y="22"/>
                          </a:lnTo>
                          <a:lnTo>
                            <a:pt x="27" y="22"/>
                          </a:lnTo>
                          <a:lnTo>
                            <a:pt x="27" y="22"/>
                          </a:lnTo>
                          <a:lnTo>
                            <a:pt x="27" y="22"/>
                          </a:lnTo>
                          <a:lnTo>
                            <a:pt x="26" y="22"/>
                          </a:lnTo>
                          <a:lnTo>
                            <a:pt x="26" y="22"/>
                          </a:lnTo>
                          <a:lnTo>
                            <a:pt x="26" y="21"/>
                          </a:lnTo>
                          <a:lnTo>
                            <a:pt x="24" y="21"/>
                          </a:lnTo>
                          <a:lnTo>
                            <a:pt x="24" y="21"/>
                          </a:lnTo>
                          <a:lnTo>
                            <a:pt x="24" y="21"/>
                          </a:lnTo>
                          <a:lnTo>
                            <a:pt x="24" y="21"/>
                          </a:lnTo>
                          <a:lnTo>
                            <a:pt x="24" y="21"/>
                          </a:lnTo>
                          <a:lnTo>
                            <a:pt x="24" y="21"/>
                          </a:lnTo>
                          <a:lnTo>
                            <a:pt x="24" y="22"/>
                          </a:lnTo>
                          <a:lnTo>
                            <a:pt x="24" y="22"/>
                          </a:lnTo>
                          <a:lnTo>
                            <a:pt x="24" y="22"/>
                          </a:lnTo>
                          <a:lnTo>
                            <a:pt x="24" y="22"/>
                          </a:lnTo>
                          <a:lnTo>
                            <a:pt x="24" y="24"/>
                          </a:lnTo>
                          <a:lnTo>
                            <a:pt x="24" y="24"/>
                          </a:lnTo>
                          <a:lnTo>
                            <a:pt x="24" y="24"/>
                          </a:lnTo>
                          <a:lnTo>
                            <a:pt x="24" y="24"/>
                          </a:lnTo>
                          <a:lnTo>
                            <a:pt x="23" y="24"/>
                          </a:lnTo>
                          <a:lnTo>
                            <a:pt x="23" y="24"/>
                          </a:lnTo>
                          <a:lnTo>
                            <a:pt x="23" y="25"/>
                          </a:lnTo>
                          <a:lnTo>
                            <a:pt x="23" y="25"/>
                          </a:lnTo>
                          <a:lnTo>
                            <a:pt x="23" y="25"/>
                          </a:lnTo>
                          <a:lnTo>
                            <a:pt x="23" y="25"/>
                          </a:lnTo>
                          <a:lnTo>
                            <a:pt x="22" y="25"/>
                          </a:lnTo>
                          <a:lnTo>
                            <a:pt x="22" y="25"/>
                          </a:lnTo>
                          <a:lnTo>
                            <a:pt x="22" y="26"/>
                          </a:lnTo>
                          <a:lnTo>
                            <a:pt x="21" y="25"/>
                          </a:lnTo>
                          <a:lnTo>
                            <a:pt x="21" y="25"/>
                          </a:lnTo>
                          <a:lnTo>
                            <a:pt x="21" y="25"/>
                          </a:lnTo>
                          <a:lnTo>
                            <a:pt x="20" y="25"/>
                          </a:lnTo>
                          <a:lnTo>
                            <a:pt x="20" y="25"/>
                          </a:lnTo>
                          <a:lnTo>
                            <a:pt x="20" y="25"/>
                          </a:lnTo>
                          <a:lnTo>
                            <a:pt x="19" y="25"/>
                          </a:lnTo>
                          <a:lnTo>
                            <a:pt x="19" y="25"/>
                          </a:lnTo>
                          <a:lnTo>
                            <a:pt x="19" y="25"/>
                          </a:lnTo>
                          <a:lnTo>
                            <a:pt x="19" y="25"/>
                          </a:lnTo>
                          <a:lnTo>
                            <a:pt x="19" y="25"/>
                          </a:lnTo>
                          <a:lnTo>
                            <a:pt x="17" y="24"/>
                          </a:lnTo>
                          <a:lnTo>
                            <a:pt x="17" y="24"/>
                          </a:lnTo>
                          <a:lnTo>
                            <a:pt x="17" y="24"/>
                          </a:lnTo>
                          <a:lnTo>
                            <a:pt x="17" y="24"/>
                          </a:lnTo>
                          <a:lnTo>
                            <a:pt x="17" y="24"/>
                          </a:lnTo>
                          <a:lnTo>
                            <a:pt x="17" y="22"/>
                          </a:lnTo>
                          <a:lnTo>
                            <a:pt x="17" y="22"/>
                          </a:lnTo>
                          <a:lnTo>
                            <a:pt x="17" y="21"/>
                          </a:lnTo>
                          <a:lnTo>
                            <a:pt x="17" y="21"/>
                          </a:lnTo>
                          <a:lnTo>
                            <a:pt x="17" y="21"/>
                          </a:lnTo>
                          <a:lnTo>
                            <a:pt x="17" y="20"/>
                          </a:lnTo>
                          <a:lnTo>
                            <a:pt x="17" y="20"/>
                          </a:lnTo>
                          <a:lnTo>
                            <a:pt x="16" y="20"/>
                          </a:lnTo>
                          <a:lnTo>
                            <a:pt x="16" y="20"/>
                          </a:lnTo>
                          <a:lnTo>
                            <a:pt x="16" y="20"/>
                          </a:lnTo>
                          <a:lnTo>
                            <a:pt x="16" y="20"/>
                          </a:lnTo>
                          <a:lnTo>
                            <a:pt x="16" y="20"/>
                          </a:lnTo>
                          <a:lnTo>
                            <a:pt x="15" y="20"/>
                          </a:lnTo>
                          <a:lnTo>
                            <a:pt x="15" y="20"/>
                          </a:lnTo>
                          <a:lnTo>
                            <a:pt x="15" y="20"/>
                          </a:lnTo>
                          <a:lnTo>
                            <a:pt x="14" y="20"/>
                          </a:lnTo>
                          <a:lnTo>
                            <a:pt x="14" y="20"/>
                          </a:lnTo>
                          <a:lnTo>
                            <a:pt x="14" y="20"/>
                          </a:lnTo>
                          <a:lnTo>
                            <a:pt x="14" y="20"/>
                          </a:lnTo>
                          <a:lnTo>
                            <a:pt x="13" y="20"/>
                          </a:lnTo>
                          <a:lnTo>
                            <a:pt x="13" y="20"/>
                          </a:lnTo>
                          <a:lnTo>
                            <a:pt x="13" y="20"/>
                          </a:lnTo>
                          <a:lnTo>
                            <a:pt x="13" y="20"/>
                          </a:lnTo>
                          <a:lnTo>
                            <a:pt x="13" y="20"/>
                          </a:lnTo>
                          <a:lnTo>
                            <a:pt x="13" y="20"/>
                          </a:lnTo>
                          <a:lnTo>
                            <a:pt x="12" y="20"/>
                          </a:lnTo>
                          <a:lnTo>
                            <a:pt x="12" y="20"/>
                          </a:lnTo>
                          <a:lnTo>
                            <a:pt x="12" y="20"/>
                          </a:lnTo>
                          <a:lnTo>
                            <a:pt x="12" y="20"/>
                          </a:lnTo>
                          <a:lnTo>
                            <a:pt x="12" y="20"/>
                          </a:lnTo>
                          <a:lnTo>
                            <a:pt x="12" y="19"/>
                          </a:lnTo>
                          <a:lnTo>
                            <a:pt x="10" y="19"/>
                          </a:lnTo>
                          <a:lnTo>
                            <a:pt x="10" y="19"/>
                          </a:lnTo>
                          <a:lnTo>
                            <a:pt x="10" y="19"/>
                          </a:lnTo>
                          <a:lnTo>
                            <a:pt x="10" y="19"/>
                          </a:lnTo>
                          <a:lnTo>
                            <a:pt x="10" y="19"/>
                          </a:lnTo>
                          <a:lnTo>
                            <a:pt x="10" y="19"/>
                          </a:lnTo>
                          <a:lnTo>
                            <a:pt x="9" y="19"/>
                          </a:lnTo>
                          <a:lnTo>
                            <a:pt x="9" y="19"/>
                          </a:lnTo>
                          <a:lnTo>
                            <a:pt x="9" y="20"/>
                          </a:lnTo>
                          <a:lnTo>
                            <a:pt x="9" y="20"/>
                          </a:lnTo>
                          <a:lnTo>
                            <a:pt x="9" y="20"/>
                          </a:lnTo>
                          <a:lnTo>
                            <a:pt x="9" y="20"/>
                          </a:lnTo>
                          <a:lnTo>
                            <a:pt x="9" y="20"/>
                          </a:lnTo>
                          <a:lnTo>
                            <a:pt x="9" y="20"/>
                          </a:lnTo>
                          <a:lnTo>
                            <a:pt x="8" y="20"/>
                          </a:lnTo>
                          <a:lnTo>
                            <a:pt x="8" y="20"/>
                          </a:lnTo>
                          <a:lnTo>
                            <a:pt x="8" y="21"/>
                          </a:lnTo>
                          <a:lnTo>
                            <a:pt x="8" y="21"/>
                          </a:lnTo>
                          <a:lnTo>
                            <a:pt x="8" y="21"/>
                          </a:lnTo>
                          <a:lnTo>
                            <a:pt x="8" y="21"/>
                          </a:lnTo>
                          <a:lnTo>
                            <a:pt x="8" y="21"/>
                          </a:lnTo>
                          <a:lnTo>
                            <a:pt x="7" y="21"/>
                          </a:lnTo>
                          <a:lnTo>
                            <a:pt x="7" y="21"/>
                          </a:lnTo>
                          <a:lnTo>
                            <a:pt x="7" y="22"/>
                          </a:lnTo>
                          <a:lnTo>
                            <a:pt x="7" y="22"/>
                          </a:lnTo>
                          <a:lnTo>
                            <a:pt x="7" y="22"/>
                          </a:lnTo>
                          <a:lnTo>
                            <a:pt x="7" y="22"/>
                          </a:lnTo>
                          <a:lnTo>
                            <a:pt x="7" y="22"/>
                          </a:lnTo>
                          <a:lnTo>
                            <a:pt x="7" y="21"/>
                          </a:lnTo>
                          <a:lnTo>
                            <a:pt x="7" y="21"/>
                          </a:lnTo>
                          <a:lnTo>
                            <a:pt x="6" y="21"/>
                          </a:lnTo>
                          <a:lnTo>
                            <a:pt x="6" y="21"/>
                          </a:lnTo>
                          <a:lnTo>
                            <a:pt x="6" y="22"/>
                          </a:lnTo>
                          <a:lnTo>
                            <a:pt x="6" y="22"/>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500" name="Freeform 43">
                      <a:extLst>
                        <a:ext uri="{FF2B5EF4-FFF2-40B4-BE49-F238E27FC236}">
                          <a16:creationId xmlns:a16="http://schemas.microsoft.com/office/drawing/2014/main" id="{23DC381E-D901-324A-897C-43BCAFC13264}"/>
                        </a:ext>
                      </a:extLst>
                    </p:cNvPr>
                    <p:cNvSpPr>
                      <a:spLocks/>
                    </p:cNvSpPr>
                    <p:nvPr/>
                  </p:nvSpPr>
                  <p:spPr bwMode="auto">
                    <a:xfrm>
                      <a:off x="6615359" y="5025405"/>
                      <a:ext cx="50418" cy="50418"/>
                    </a:xfrm>
                    <a:custGeom>
                      <a:avLst/>
                      <a:gdLst>
                        <a:gd name="T0" fmla="*/ 7 w 12"/>
                        <a:gd name="T1" fmla="*/ 11 h 11"/>
                        <a:gd name="T2" fmla="*/ 2 w 12"/>
                        <a:gd name="T3" fmla="*/ 8 h 11"/>
                        <a:gd name="T4" fmla="*/ 0 w 12"/>
                        <a:gd name="T5" fmla="*/ 2 h 11"/>
                        <a:gd name="T6" fmla="*/ 1 w 12"/>
                        <a:gd name="T7" fmla="*/ 2 h 11"/>
                        <a:gd name="T8" fmla="*/ 1 w 12"/>
                        <a:gd name="T9" fmla="*/ 0 h 11"/>
                        <a:gd name="T10" fmla="*/ 3 w 12"/>
                        <a:gd name="T11" fmla="*/ 0 h 11"/>
                        <a:gd name="T12" fmla="*/ 7 w 12"/>
                        <a:gd name="T13" fmla="*/ 0 h 11"/>
                        <a:gd name="T14" fmla="*/ 8 w 12"/>
                        <a:gd name="T15" fmla="*/ 1 h 11"/>
                        <a:gd name="T16" fmla="*/ 9 w 12"/>
                        <a:gd name="T17" fmla="*/ 2 h 11"/>
                        <a:gd name="T18" fmla="*/ 12 w 12"/>
                        <a:gd name="T19" fmla="*/ 6 h 11"/>
                        <a:gd name="T20" fmla="*/ 10 w 12"/>
                        <a:gd name="T21" fmla="*/ 9 h 11"/>
                        <a:gd name="T22" fmla="*/ 10 w 12"/>
                        <a:gd name="T23" fmla="*/ 9 h 11"/>
                        <a:gd name="T24" fmla="*/ 7 w 12"/>
                        <a:gd name="T25" fmla="*/ 11 h 11"/>
                        <a:gd name="T26" fmla="*/ 7 w 12"/>
                        <a:gd name="T2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2" h="11">
                          <a:moveTo>
                            <a:pt x="7" y="11"/>
                          </a:moveTo>
                          <a:lnTo>
                            <a:pt x="2" y="8"/>
                          </a:lnTo>
                          <a:lnTo>
                            <a:pt x="0" y="2"/>
                          </a:lnTo>
                          <a:lnTo>
                            <a:pt x="1" y="2"/>
                          </a:lnTo>
                          <a:lnTo>
                            <a:pt x="1" y="0"/>
                          </a:lnTo>
                          <a:lnTo>
                            <a:pt x="3" y="0"/>
                          </a:lnTo>
                          <a:lnTo>
                            <a:pt x="7" y="0"/>
                          </a:lnTo>
                          <a:lnTo>
                            <a:pt x="8" y="1"/>
                          </a:lnTo>
                          <a:lnTo>
                            <a:pt x="9" y="2"/>
                          </a:lnTo>
                          <a:lnTo>
                            <a:pt x="12" y="6"/>
                          </a:lnTo>
                          <a:lnTo>
                            <a:pt x="10" y="9"/>
                          </a:lnTo>
                          <a:lnTo>
                            <a:pt x="10" y="9"/>
                          </a:lnTo>
                          <a:lnTo>
                            <a:pt x="7" y="11"/>
                          </a:lnTo>
                          <a:lnTo>
                            <a:pt x="7" y="11"/>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501" name="Freeform 61">
                      <a:extLst>
                        <a:ext uri="{FF2B5EF4-FFF2-40B4-BE49-F238E27FC236}">
                          <a16:creationId xmlns:a16="http://schemas.microsoft.com/office/drawing/2014/main" id="{FD3E63B6-20B7-804E-A13A-200B7C4402D4}"/>
                        </a:ext>
                      </a:extLst>
                    </p:cNvPr>
                    <p:cNvSpPr>
                      <a:spLocks noEditPoints="1"/>
                    </p:cNvSpPr>
                    <p:nvPr/>
                  </p:nvSpPr>
                  <p:spPr bwMode="auto">
                    <a:xfrm>
                      <a:off x="9716781" y="5017368"/>
                      <a:ext cx="101290" cy="70743"/>
                    </a:xfrm>
                    <a:custGeom>
                      <a:avLst/>
                      <a:gdLst>
                        <a:gd name="T0" fmla="*/ 63 w 63"/>
                        <a:gd name="T1" fmla="*/ 24 h 44"/>
                        <a:gd name="T2" fmla="*/ 62 w 63"/>
                        <a:gd name="T3" fmla="*/ 27 h 44"/>
                        <a:gd name="T4" fmla="*/ 62 w 63"/>
                        <a:gd name="T5" fmla="*/ 25 h 44"/>
                        <a:gd name="T6" fmla="*/ 63 w 63"/>
                        <a:gd name="T7" fmla="*/ 24 h 44"/>
                        <a:gd name="T8" fmla="*/ 63 w 63"/>
                        <a:gd name="T9" fmla="*/ 24 h 44"/>
                        <a:gd name="T10" fmla="*/ 56 w 63"/>
                        <a:gd name="T11" fmla="*/ 17 h 44"/>
                        <a:gd name="T12" fmla="*/ 54 w 63"/>
                        <a:gd name="T13" fmla="*/ 16 h 44"/>
                        <a:gd name="T14" fmla="*/ 51 w 63"/>
                        <a:gd name="T15" fmla="*/ 14 h 44"/>
                        <a:gd name="T16" fmla="*/ 53 w 63"/>
                        <a:gd name="T17" fmla="*/ 12 h 44"/>
                        <a:gd name="T18" fmla="*/ 56 w 63"/>
                        <a:gd name="T19" fmla="*/ 17 h 44"/>
                        <a:gd name="T20" fmla="*/ 56 w 63"/>
                        <a:gd name="T21" fmla="*/ 17 h 44"/>
                        <a:gd name="T22" fmla="*/ 8 w 63"/>
                        <a:gd name="T23" fmla="*/ 21 h 44"/>
                        <a:gd name="T24" fmla="*/ 2 w 63"/>
                        <a:gd name="T25" fmla="*/ 6 h 44"/>
                        <a:gd name="T26" fmla="*/ 2 w 63"/>
                        <a:gd name="T27" fmla="*/ 3 h 44"/>
                        <a:gd name="T28" fmla="*/ 0 w 63"/>
                        <a:gd name="T29" fmla="*/ 0 h 44"/>
                        <a:gd name="T30" fmla="*/ 3 w 63"/>
                        <a:gd name="T31" fmla="*/ 0 h 44"/>
                        <a:gd name="T32" fmla="*/ 11 w 63"/>
                        <a:gd name="T33" fmla="*/ 7 h 44"/>
                        <a:gd name="T34" fmla="*/ 17 w 63"/>
                        <a:gd name="T35" fmla="*/ 11 h 44"/>
                        <a:gd name="T36" fmla="*/ 20 w 63"/>
                        <a:gd name="T37" fmla="*/ 12 h 44"/>
                        <a:gd name="T38" fmla="*/ 20 w 63"/>
                        <a:gd name="T39" fmla="*/ 18 h 44"/>
                        <a:gd name="T40" fmla="*/ 22 w 63"/>
                        <a:gd name="T41" fmla="*/ 24 h 44"/>
                        <a:gd name="T42" fmla="*/ 26 w 63"/>
                        <a:gd name="T43" fmla="*/ 26 h 44"/>
                        <a:gd name="T44" fmla="*/ 35 w 63"/>
                        <a:gd name="T45" fmla="*/ 33 h 44"/>
                        <a:gd name="T46" fmla="*/ 36 w 63"/>
                        <a:gd name="T47" fmla="*/ 36 h 44"/>
                        <a:gd name="T48" fmla="*/ 38 w 63"/>
                        <a:gd name="T49" fmla="*/ 38 h 44"/>
                        <a:gd name="T50" fmla="*/ 38 w 63"/>
                        <a:gd name="T51" fmla="*/ 44 h 44"/>
                        <a:gd name="T52" fmla="*/ 36 w 63"/>
                        <a:gd name="T53" fmla="*/ 44 h 44"/>
                        <a:gd name="T54" fmla="*/ 30 w 63"/>
                        <a:gd name="T55" fmla="*/ 40 h 44"/>
                        <a:gd name="T56" fmla="*/ 27 w 63"/>
                        <a:gd name="T57" fmla="*/ 38 h 44"/>
                        <a:gd name="T58" fmla="*/ 23 w 63"/>
                        <a:gd name="T59" fmla="*/ 34 h 44"/>
                        <a:gd name="T60" fmla="*/ 20 w 63"/>
                        <a:gd name="T61" fmla="*/ 32 h 44"/>
                        <a:gd name="T62" fmla="*/ 15 w 63"/>
                        <a:gd name="T63" fmla="*/ 26 h 44"/>
                        <a:gd name="T64" fmla="*/ 14 w 63"/>
                        <a:gd name="T65" fmla="*/ 25 h 44"/>
                        <a:gd name="T66" fmla="*/ 8 w 63"/>
                        <a:gd name="T67" fmla="*/ 21 h 44"/>
                        <a:gd name="T68" fmla="*/ 8 w 63"/>
                        <a:gd name="T69" fmla="*/ 21 h 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3" h="44">
                          <a:moveTo>
                            <a:pt x="63" y="24"/>
                          </a:moveTo>
                          <a:lnTo>
                            <a:pt x="62" y="27"/>
                          </a:lnTo>
                          <a:lnTo>
                            <a:pt x="62" y="25"/>
                          </a:lnTo>
                          <a:lnTo>
                            <a:pt x="63" y="24"/>
                          </a:lnTo>
                          <a:lnTo>
                            <a:pt x="63" y="24"/>
                          </a:lnTo>
                          <a:close/>
                          <a:moveTo>
                            <a:pt x="56" y="17"/>
                          </a:moveTo>
                          <a:lnTo>
                            <a:pt x="54" y="16"/>
                          </a:lnTo>
                          <a:lnTo>
                            <a:pt x="51" y="14"/>
                          </a:lnTo>
                          <a:lnTo>
                            <a:pt x="53" y="12"/>
                          </a:lnTo>
                          <a:lnTo>
                            <a:pt x="56" y="17"/>
                          </a:lnTo>
                          <a:lnTo>
                            <a:pt x="56" y="17"/>
                          </a:lnTo>
                          <a:close/>
                          <a:moveTo>
                            <a:pt x="8" y="21"/>
                          </a:moveTo>
                          <a:lnTo>
                            <a:pt x="2" y="6"/>
                          </a:lnTo>
                          <a:lnTo>
                            <a:pt x="2" y="3"/>
                          </a:lnTo>
                          <a:lnTo>
                            <a:pt x="0" y="0"/>
                          </a:lnTo>
                          <a:lnTo>
                            <a:pt x="3" y="0"/>
                          </a:lnTo>
                          <a:lnTo>
                            <a:pt x="11" y="7"/>
                          </a:lnTo>
                          <a:lnTo>
                            <a:pt x="17" y="11"/>
                          </a:lnTo>
                          <a:lnTo>
                            <a:pt x="20" y="12"/>
                          </a:lnTo>
                          <a:lnTo>
                            <a:pt x="20" y="18"/>
                          </a:lnTo>
                          <a:lnTo>
                            <a:pt x="22" y="24"/>
                          </a:lnTo>
                          <a:lnTo>
                            <a:pt x="26" y="26"/>
                          </a:lnTo>
                          <a:lnTo>
                            <a:pt x="35" y="33"/>
                          </a:lnTo>
                          <a:lnTo>
                            <a:pt x="36" y="36"/>
                          </a:lnTo>
                          <a:lnTo>
                            <a:pt x="38" y="38"/>
                          </a:lnTo>
                          <a:lnTo>
                            <a:pt x="38" y="44"/>
                          </a:lnTo>
                          <a:lnTo>
                            <a:pt x="36" y="44"/>
                          </a:lnTo>
                          <a:lnTo>
                            <a:pt x="30" y="40"/>
                          </a:lnTo>
                          <a:lnTo>
                            <a:pt x="27" y="38"/>
                          </a:lnTo>
                          <a:lnTo>
                            <a:pt x="23" y="34"/>
                          </a:lnTo>
                          <a:lnTo>
                            <a:pt x="20" y="32"/>
                          </a:lnTo>
                          <a:lnTo>
                            <a:pt x="15" y="26"/>
                          </a:lnTo>
                          <a:lnTo>
                            <a:pt x="14" y="25"/>
                          </a:lnTo>
                          <a:lnTo>
                            <a:pt x="8" y="21"/>
                          </a:lnTo>
                          <a:lnTo>
                            <a:pt x="8" y="21"/>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502" name="Freeform 158">
                      <a:extLst>
                        <a:ext uri="{FF2B5EF4-FFF2-40B4-BE49-F238E27FC236}">
                          <a16:creationId xmlns:a16="http://schemas.microsoft.com/office/drawing/2014/main" id="{046DFF14-DA27-BA42-8F59-55D7D3FD4285}"/>
                        </a:ext>
                      </a:extLst>
                    </p:cNvPr>
                    <p:cNvSpPr>
                      <a:spLocks/>
                    </p:cNvSpPr>
                    <p:nvPr/>
                  </p:nvSpPr>
                  <p:spPr bwMode="auto">
                    <a:xfrm>
                      <a:off x="5258387" y="2915989"/>
                      <a:ext cx="27333" cy="54665"/>
                    </a:xfrm>
                    <a:custGeom>
                      <a:avLst/>
                      <a:gdLst>
                        <a:gd name="T0" fmla="*/ 12 w 17"/>
                        <a:gd name="T1" fmla="*/ 0 h 34"/>
                        <a:gd name="T2" fmla="*/ 13 w 17"/>
                        <a:gd name="T3" fmla="*/ 1 h 34"/>
                        <a:gd name="T4" fmla="*/ 12 w 17"/>
                        <a:gd name="T5" fmla="*/ 3 h 34"/>
                        <a:gd name="T6" fmla="*/ 13 w 17"/>
                        <a:gd name="T7" fmla="*/ 4 h 34"/>
                        <a:gd name="T8" fmla="*/ 12 w 17"/>
                        <a:gd name="T9" fmla="*/ 5 h 34"/>
                        <a:gd name="T10" fmla="*/ 9 w 17"/>
                        <a:gd name="T11" fmla="*/ 4 h 34"/>
                        <a:gd name="T12" fmla="*/ 8 w 17"/>
                        <a:gd name="T13" fmla="*/ 7 h 34"/>
                        <a:gd name="T14" fmla="*/ 5 w 17"/>
                        <a:gd name="T15" fmla="*/ 8 h 34"/>
                        <a:gd name="T16" fmla="*/ 3 w 17"/>
                        <a:gd name="T17" fmla="*/ 8 h 34"/>
                        <a:gd name="T18" fmla="*/ 2 w 17"/>
                        <a:gd name="T19" fmla="*/ 9 h 34"/>
                        <a:gd name="T20" fmla="*/ 2 w 17"/>
                        <a:gd name="T21" fmla="*/ 10 h 34"/>
                        <a:gd name="T22" fmla="*/ 2 w 17"/>
                        <a:gd name="T23" fmla="*/ 11 h 34"/>
                        <a:gd name="T24" fmla="*/ 0 w 17"/>
                        <a:gd name="T25" fmla="*/ 13 h 34"/>
                        <a:gd name="T26" fmla="*/ 2 w 17"/>
                        <a:gd name="T27" fmla="*/ 14 h 34"/>
                        <a:gd name="T28" fmla="*/ 2 w 17"/>
                        <a:gd name="T29" fmla="*/ 15 h 34"/>
                        <a:gd name="T30" fmla="*/ 0 w 17"/>
                        <a:gd name="T31" fmla="*/ 16 h 34"/>
                        <a:gd name="T32" fmla="*/ 2 w 17"/>
                        <a:gd name="T33" fmla="*/ 17 h 34"/>
                        <a:gd name="T34" fmla="*/ 3 w 17"/>
                        <a:gd name="T35" fmla="*/ 18 h 34"/>
                        <a:gd name="T36" fmla="*/ 2 w 17"/>
                        <a:gd name="T37" fmla="*/ 20 h 34"/>
                        <a:gd name="T38" fmla="*/ 0 w 17"/>
                        <a:gd name="T39" fmla="*/ 21 h 34"/>
                        <a:gd name="T40" fmla="*/ 2 w 17"/>
                        <a:gd name="T41" fmla="*/ 22 h 34"/>
                        <a:gd name="T42" fmla="*/ 4 w 17"/>
                        <a:gd name="T43" fmla="*/ 22 h 34"/>
                        <a:gd name="T44" fmla="*/ 3 w 17"/>
                        <a:gd name="T45" fmla="*/ 24 h 34"/>
                        <a:gd name="T46" fmla="*/ 2 w 17"/>
                        <a:gd name="T47" fmla="*/ 25 h 34"/>
                        <a:gd name="T48" fmla="*/ 4 w 17"/>
                        <a:gd name="T49" fmla="*/ 25 h 34"/>
                        <a:gd name="T50" fmla="*/ 5 w 17"/>
                        <a:gd name="T51" fmla="*/ 25 h 34"/>
                        <a:gd name="T52" fmla="*/ 8 w 17"/>
                        <a:gd name="T53" fmla="*/ 27 h 34"/>
                        <a:gd name="T54" fmla="*/ 4 w 17"/>
                        <a:gd name="T55" fmla="*/ 27 h 34"/>
                        <a:gd name="T56" fmla="*/ 4 w 17"/>
                        <a:gd name="T57" fmla="*/ 28 h 34"/>
                        <a:gd name="T58" fmla="*/ 5 w 17"/>
                        <a:gd name="T59" fmla="*/ 29 h 34"/>
                        <a:gd name="T60" fmla="*/ 6 w 17"/>
                        <a:gd name="T61" fmla="*/ 30 h 34"/>
                        <a:gd name="T62" fmla="*/ 9 w 17"/>
                        <a:gd name="T63" fmla="*/ 31 h 34"/>
                        <a:gd name="T64" fmla="*/ 10 w 17"/>
                        <a:gd name="T65" fmla="*/ 31 h 34"/>
                        <a:gd name="T66" fmla="*/ 11 w 17"/>
                        <a:gd name="T67" fmla="*/ 33 h 34"/>
                        <a:gd name="T68" fmla="*/ 12 w 17"/>
                        <a:gd name="T69" fmla="*/ 33 h 34"/>
                        <a:gd name="T70" fmla="*/ 12 w 17"/>
                        <a:gd name="T71" fmla="*/ 31 h 34"/>
                        <a:gd name="T72" fmla="*/ 13 w 17"/>
                        <a:gd name="T73" fmla="*/ 30 h 34"/>
                        <a:gd name="T74" fmla="*/ 15 w 17"/>
                        <a:gd name="T75" fmla="*/ 28 h 34"/>
                        <a:gd name="T76" fmla="*/ 12 w 17"/>
                        <a:gd name="T77" fmla="*/ 28 h 34"/>
                        <a:gd name="T78" fmla="*/ 13 w 17"/>
                        <a:gd name="T79" fmla="*/ 27 h 34"/>
                        <a:gd name="T80" fmla="*/ 15 w 17"/>
                        <a:gd name="T81" fmla="*/ 25 h 34"/>
                        <a:gd name="T82" fmla="*/ 16 w 17"/>
                        <a:gd name="T83" fmla="*/ 24 h 34"/>
                        <a:gd name="T84" fmla="*/ 16 w 17"/>
                        <a:gd name="T85" fmla="*/ 22 h 34"/>
                        <a:gd name="T86" fmla="*/ 16 w 17"/>
                        <a:gd name="T87" fmla="*/ 20 h 34"/>
                        <a:gd name="T88" fmla="*/ 17 w 17"/>
                        <a:gd name="T89" fmla="*/ 18 h 34"/>
                        <a:gd name="T90" fmla="*/ 17 w 17"/>
                        <a:gd name="T91" fmla="*/ 16 h 34"/>
                        <a:gd name="T92" fmla="*/ 17 w 17"/>
                        <a:gd name="T93" fmla="*/ 13 h 34"/>
                        <a:gd name="T94" fmla="*/ 17 w 17"/>
                        <a:gd name="T95" fmla="*/ 10 h 34"/>
                        <a:gd name="T96" fmla="*/ 16 w 17"/>
                        <a:gd name="T97" fmla="*/ 8 h 34"/>
                        <a:gd name="T98" fmla="*/ 15 w 17"/>
                        <a:gd name="T99" fmla="*/ 7 h 34"/>
                        <a:gd name="T100" fmla="*/ 15 w 17"/>
                        <a:gd name="T101" fmla="*/ 4 h 34"/>
                        <a:gd name="T102" fmla="*/ 15 w 17"/>
                        <a:gd name="T103" fmla="*/ 1 h 34"/>
                        <a:gd name="T104" fmla="*/ 15 w 17"/>
                        <a:gd name="T105" fmla="*/ 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7" h="34">
                          <a:moveTo>
                            <a:pt x="15" y="0"/>
                          </a:moveTo>
                          <a:lnTo>
                            <a:pt x="13" y="0"/>
                          </a:lnTo>
                          <a:lnTo>
                            <a:pt x="13" y="0"/>
                          </a:lnTo>
                          <a:lnTo>
                            <a:pt x="12" y="0"/>
                          </a:lnTo>
                          <a:lnTo>
                            <a:pt x="12" y="0"/>
                          </a:lnTo>
                          <a:lnTo>
                            <a:pt x="12" y="0"/>
                          </a:lnTo>
                          <a:lnTo>
                            <a:pt x="12" y="1"/>
                          </a:lnTo>
                          <a:lnTo>
                            <a:pt x="13" y="1"/>
                          </a:lnTo>
                          <a:lnTo>
                            <a:pt x="13" y="2"/>
                          </a:lnTo>
                          <a:lnTo>
                            <a:pt x="12" y="2"/>
                          </a:lnTo>
                          <a:lnTo>
                            <a:pt x="12" y="3"/>
                          </a:lnTo>
                          <a:lnTo>
                            <a:pt x="12" y="3"/>
                          </a:lnTo>
                          <a:lnTo>
                            <a:pt x="12" y="3"/>
                          </a:lnTo>
                          <a:lnTo>
                            <a:pt x="12" y="4"/>
                          </a:lnTo>
                          <a:lnTo>
                            <a:pt x="12" y="4"/>
                          </a:lnTo>
                          <a:lnTo>
                            <a:pt x="13" y="4"/>
                          </a:lnTo>
                          <a:lnTo>
                            <a:pt x="13" y="5"/>
                          </a:lnTo>
                          <a:lnTo>
                            <a:pt x="12" y="5"/>
                          </a:lnTo>
                          <a:lnTo>
                            <a:pt x="12" y="7"/>
                          </a:lnTo>
                          <a:lnTo>
                            <a:pt x="12" y="5"/>
                          </a:lnTo>
                          <a:lnTo>
                            <a:pt x="11" y="5"/>
                          </a:lnTo>
                          <a:lnTo>
                            <a:pt x="11" y="4"/>
                          </a:lnTo>
                          <a:lnTo>
                            <a:pt x="10" y="4"/>
                          </a:lnTo>
                          <a:lnTo>
                            <a:pt x="9" y="4"/>
                          </a:lnTo>
                          <a:lnTo>
                            <a:pt x="9" y="5"/>
                          </a:lnTo>
                          <a:lnTo>
                            <a:pt x="8" y="5"/>
                          </a:lnTo>
                          <a:lnTo>
                            <a:pt x="9" y="5"/>
                          </a:lnTo>
                          <a:lnTo>
                            <a:pt x="8" y="7"/>
                          </a:lnTo>
                          <a:lnTo>
                            <a:pt x="8" y="7"/>
                          </a:lnTo>
                          <a:lnTo>
                            <a:pt x="6" y="7"/>
                          </a:lnTo>
                          <a:lnTo>
                            <a:pt x="6" y="7"/>
                          </a:lnTo>
                          <a:lnTo>
                            <a:pt x="5" y="8"/>
                          </a:lnTo>
                          <a:lnTo>
                            <a:pt x="5" y="8"/>
                          </a:lnTo>
                          <a:lnTo>
                            <a:pt x="4" y="8"/>
                          </a:lnTo>
                          <a:lnTo>
                            <a:pt x="3" y="8"/>
                          </a:lnTo>
                          <a:lnTo>
                            <a:pt x="3" y="8"/>
                          </a:lnTo>
                          <a:lnTo>
                            <a:pt x="3" y="8"/>
                          </a:lnTo>
                          <a:lnTo>
                            <a:pt x="3" y="9"/>
                          </a:lnTo>
                          <a:lnTo>
                            <a:pt x="2" y="9"/>
                          </a:lnTo>
                          <a:lnTo>
                            <a:pt x="2" y="9"/>
                          </a:lnTo>
                          <a:lnTo>
                            <a:pt x="2" y="9"/>
                          </a:lnTo>
                          <a:lnTo>
                            <a:pt x="2" y="10"/>
                          </a:lnTo>
                          <a:lnTo>
                            <a:pt x="2" y="10"/>
                          </a:lnTo>
                          <a:lnTo>
                            <a:pt x="2" y="10"/>
                          </a:lnTo>
                          <a:lnTo>
                            <a:pt x="2" y="11"/>
                          </a:lnTo>
                          <a:lnTo>
                            <a:pt x="2" y="11"/>
                          </a:lnTo>
                          <a:lnTo>
                            <a:pt x="2" y="11"/>
                          </a:lnTo>
                          <a:lnTo>
                            <a:pt x="2" y="11"/>
                          </a:lnTo>
                          <a:lnTo>
                            <a:pt x="2" y="11"/>
                          </a:lnTo>
                          <a:lnTo>
                            <a:pt x="0" y="11"/>
                          </a:lnTo>
                          <a:lnTo>
                            <a:pt x="0" y="13"/>
                          </a:lnTo>
                          <a:lnTo>
                            <a:pt x="0" y="13"/>
                          </a:lnTo>
                          <a:lnTo>
                            <a:pt x="0" y="14"/>
                          </a:lnTo>
                          <a:lnTo>
                            <a:pt x="0" y="14"/>
                          </a:lnTo>
                          <a:lnTo>
                            <a:pt x="2" y="14"/>
                          </a:lnTo>
                          <a:lnTo>
                            <a:pt x="2" y="14"/>
                          </a:lnTo>
                          <a:lnTo>
                            <a:pt x="2" y="14"/>
                          </a:lnTo>
                          <a:lnTo>
                            <a:pt x="3" y="15"/>
                          </a:lnTo>
                          <a:lnTo>
                            <a:pt x="2" y="15"/>
                          </a:lnTo>
                          <a:lnTo>
                            <a:pt x="2" y="15"/>
                          </a:lnTo>
                          <a:lnTo>
                            <a:pt x="0" y="15"/>
                          </a:lnTo>
                          <a:lnTo>
                            <a:pt x="0" y="15"/>
                          </a:lnTo>
                          <a:lnTo>
                            <a:pt x="0" y="16"/>
                          </a:lnTo>
                          <a:lnTo>
                            <a:pt x="0" y="16"/>
                          </a:lnTo>
                          <a:lnTo>
                            <a:pt x="0" y="17"/>
                          </a:lnTo>
                          <a:lnTo>
                            <a:pt x="2" y="17"/>
                          </a:lnTo>
                          <a:lnTo>
                            <a:pt x="2" y="17"/>
                          </a:lnTo>
                          <a:lnTo>
                            <a:pt x="2" y="17"/>
                          </a:lnTo>
                          <a:lnTo>
                            <a:pt x="3" y="17"/>
                          </a:lnTo>
                          <a:lnTo>
                            <a:pt x="3" y="18"/>
                          </a:lnTo>
                          <a:lnTo>
                            <a:pt x="3" y="18"/>
                          </a:lnTo>
                          <a:lnTo>
                            <a:pt x="3" y="18"/>
                          </a:lnTo>
                          <a:lnTo>
                            <a:pt x="3" y="20"/>
                          </a:lnTo>
                          <a:lnTo>
                            <a:pt x="2" y="20"/>
                          </a:lnTo>
                          <a:lnTo>
                            <a:pt x="2" y="20"/>
                          </a:lnTo>
                          <a:lnTo>
                            <a:pt x="2" y="20"/>
                          </a:lnTo>
                          <a:lnTo>
                            <a:pt x="3" y="20"/>
                          </a:lnTo>
                          <a:lnTo>
                            <a:pt x="2" y="20"/>
                          </a:lnTo>
                          <a:lnTo>
                            <a:pt x="2" y="21"/>
                          </a:lnTo>
                          <a:lnTo>
                            <a:pt x="0" y="21"/>
                          </a:lnTo>
                          <a:lnTo>
                            <a:pt x="2" y="21"/>
                          </a:lnTo>
                          <a:lnTo>
                            <a:pt x="2" y="22"/>
                          </a:lnTo>
                          <a:lnTo>
                            <a:pt x="2" y="22"/>
                          </a:lnTo>
                          <a:lnTo>
                            <a:pt x="2" y="22"/>
                          </a:lnTo>
                          <a:lnTo>
                            <a:pt x="3" y="22"/>
                          </a:lnTo>
                          <a:lnTo>
                            <a:pt x="3" y="21"/>
                          </a:lnTo>
                          <a:lnTo>
                            <a:pt x="4" y="22"/>
                          </a:lnTo>
                          <a:lnTo>
                            <a:pt x="4" y="22"/>
                          </a:lnTo>
                          <a:lnTo>
                            <a:pt x="4" y="23"/>
                          </a:lnTo>
                          <a:lnTo>
                            <a:pt x="4" y="23"/>
                          </a:lnTo>
                          <a:lnTo>
                            <a:pt x="4" y="23"/>
                          </a:lnTo>
                          <a:lnTo>
                            <a:pt x="3" y="24"/>
                          </a:lnTo>
                          <a:lnTo>
                            <a:pt x="3" y="24"/>
                          </a:lnTo>
                          <a:lnTo>
                            <a:pt x="3" y="24"/>
                          </a:lnTo>
                          <a:lnTo>
                            <a:pt x="2" y="24"/>
                          </a:lnTo>
                          <a:lnTo>
                            <a:pt x="2" y="25"/>
                          </a:lnTo>
                          <a:lnTo>
                            <a:pt x="2" y="25"/>
                          </a:lnTo>
                          <a:lnTo>
                            <a:pt x="3" y="25"/>
                          </a:lnTo>
                          <a:lnTo>
                            <a:pt x="3" y="25"/>
                          </a:lnTo>
                          <a:lnTo>
                            <a:pt x="4" y="25"/>
                          </a:lnTo>
                          <a:lnTo>
                            <a:pt x="4" y="25"/>
                          </a:lnTo>
                          <a:lnTo>
                            <a:pt x="4" y="25"/>
                          </a:lnTo>
                          <a:lnTo>
                            <a:pt x="5" y="25"/>
                          </a:lnTo>
                          <a:lnTo>
                            <a:pt x="5" y="25"/>
                          </a:lnTo>
                          <a:lnTo>
                            <a:pt x="5" y="25"/>
                          </a:lnTo>
                          <a:lnTo>
                            <a:pt x="6" y="25"/>
                          </a:lnTo>
                          <a:lnTo>
                            <a:pt x="8" y="25"/>
                          </a:lnTo>
                          <a:lnTo>
                            <a:pt x="8" y="27"/>
                          </a:lnTo>
                          <a:lnTo>
                            <a:pt x="6" y="27"/>
                          </a:lnTo>
                          <a:lnTo>
                            <a:pt x="5" y="27"/>
                          </a:lnTo>
                          <a:lnTo>
                            <a:pt x="5" y="27"/>
                          </a:lnTo>
                          <a:lnTo>
                            <a:pt x="4" y="27"/>
                          </a:lnTo>
                          <a:lnTo>
                            <a:pt x="4" y="27"/>
                          </a:lnTo>
                          <a:lnTo>
                            <a:pt x="4" y="28"/>
                          </a:lnTo>
                          <a:lnTo>
                            <a:pt x="4" y="28"/>
                          </a:lnTo>
                          <a:lnTo>
                            <a:pt x="4" y="28"/>
                          </a:lnTo>
                          <a:lnTo>
                            <a:pt x="4" y="29"/>
                          </a:lnTo>
                          <a:lnTo>
                            <a:pt x="4" y="29"/>
                          </a:lnTo>
                          <a:lnTo>
                            <a:pt x="4" y="30"/>
                          </a:lnTo>
                          <a:lnTo>
                            <a:pt x="5" y="29"/>
                          </a:lnTo>
                          <a:lnTo>
                            <a:pt x="5" y="29"/>
                          </a:lnTo>
                          <a:lnTo>
                            <a:pt x="6" y="30"/>
                          </a:lnTo>
                          <a:lnTo>
                            <a:pt x="6" y="30"/>
                          </a:lnTo>
                          <a:lnTo>
                            <a:pt x="6" y="30"/>
                          </a:lnTo>
                          <a:lnTo>
                            <a:pt x="6" y="30"/>
                          </a:lnTo>
                          <a:lnTo>
                            <a:pt x="8" y="30"/>
                          </a:lnTo>
                          <a:lnTo>
                            <a:pt x="8" y="31"/>
                          </a:lnTo>
                          <a:lnTo>
                            <a:pt x="9" y="31"/>
                          </a:lnTo>
                          <a:lnTo>
                            <a:pt x="9" y="31"/>
                          </a:lnTo>
                          <a:lnTo>
                            <a:pt x="10" y="31"/>
                          </a:lnTo>
                          <a:lnTo>
                            <a:pt x="10" y="31"/>
                          </a:lnTo>
                          <a:lnTo>
                            <a:pt x="10" y="31"/>
                          </a:lnTo>
                          <a:lnTo>
                            <a:pt x="10" y="31"/>
                          </a:lnTo>
                          <a:lnTo>
                            <a:pt x="10" y="33"/>
                          </a:lnTo>
                          <a:lnTo>
                            <a:pt x="10" y="33"/>
                          </a:lnTo>
                          <a:lnTo>
                            <a:pt x="11" y="33"/>
                          </a:lnTo>
                          <a:lnTo>
                            <a:pt x="11" y="33"/>
                          </a:lnTo>
                          <a:lnTo>
                            <a:pt x="11" y="34"/>
                          </a:lnTo>
                          <a:lnTo>
                            <a:pt x="12" y="34"/>
                          </a:lnTo>
                          <a:lnTo>
                            <a:pt x="12" y="33"/>
                          </a:lnTo>
                          <a:lnTo>
                            <a:pt x="12" y="33"/>
                          </a:lnTo>
                          <a:lnTo>
                            <a:pt x="12" y="33"/>
                          </a:lnTo>
                          <a:lnTo>
                            <a:pt x="12" y="31"/>
                          </a:lnTo>
                          <a:lnTo>
                            <a:pt x="12" y="31"/>
                          </a:lnTo>
                          <a:lnTo>
                            <a:pt x="13" y="30"/>
                          </a:lnTo>
                          <a:lnTo>
                            <a:pt x="13" y="30"/>
                          </a:lnTo>
                          <a:lnTo>
                            <a:pt x="13" y="30"/>
                          </a:lnTo>
                          <a:lnTo>
                            <a:pt x="13" y="30"/>
                          </a:lnTo>
                          <a:lnTo>
                            <a:pt x="15" y="29"/>
                          </a:lnTo>
                          <a:lnTo>
                            <a:pt x="15" y="29"/>
                          </a:lnTo>
                          <a:lnTo>
                            <a:pt x="15" y="29"/>
                          </a:lnTo>
                          <a:lnTo>
                            <a:pt x="15" y="28"/>
                          </a:lnTo>
                          <a:lnTo>
                            <a:pt x="13" y="28"/>
                          </a:lnTo>
                          <a:lnTo>
                            <a:pt x="13" y="28"/>
                          </a:lnTo>
                          <a:lnTo>
                            <a:pt x="12" y="28"/>
                          </a:lnTo>
                          <a:lnTo>
                            <a:pt x="12" y="28"/>
                          </a:lnTo>
                          <a:lnTo>
                            <a:pt x="12" y="27"/>
                          </a:lnTo>
                          <a:lnTo>
                            <a:pt x="13" y="27"/>
                          </a:lnTo>
                          <a:lnTo>
                            <a:pt x="13" y="27"/>
                          </a:lnTo>
                          <a:lnTo>
                            <a:pt x="13" y="27"/>
                          </a:lnTo>
                          <a:lnTo>
                            <a:pt x="15" y="27"/>
                          </a:lnTo>
                          <a:lnTo>
                            <a:pt x="15" y="27"/>
                          </a:lnTo>
                          <a:lnTo>
                            <a:pt x="15" y="27"/>
                          </a:lnTo>
                          <a:lnTo>
                            <a:pt x="15" y="25"/>
                          </a:lnTo>
                          <a:lnTo>
                            <a:pt x="16" y="25"/>
                          </a:lnTo>
                          <a:lnTo>
                            <a:pt x="16" y="25"/>
                          </a:lnTo>
                          <a:lnTo>
                            <a:pt x="16" y="24"/>
                          </a:lnTo>
                          <a:lnTo>
                            <a:pt x="16" y="24"/>
                          </a:lnTo>
                          <a:lnTo>
                            <a:pt x="16" y="24"/>
                          </a:lnTo>
                          <a:lnTo>
                            <a:pt x="16" y="23"/>
                          </a:lnTo>
                          <a:lnTo>
                            <a:pt x="16" y="23"/>
                          </a:lnTo>
                          <a:lnTo>
                            <a:pt x="16" y="22"/>
                          </a:lnTo>
                          <a:lnTo>
                            <a:pt x="16" y="21"/>
                          </a:lnTo>
                          <a:lnTo>
                            <a:pt x="15" y="21"/>
                          </a:lnTo>
                          <a:lnTo>
                            <a:pt x="16" y="21"/>
                          </a:lnTo>
                          <a:lnTo>
                            <a:pt x="16" y="20"/>
                          </a:lnTo>
                          <a:lnTo>
                            <a:pt x="16" y="20"/>
                          </a:lnTo>
                          <a:lnTo>
                            <a:pt x="16" y="20"/>
                          </a:lnTo>
                          <a:lnTo>
                            <a:pt x="17" y="18"/>
                          </a:lnTo>
                          <a:lnTo>
                            <a:pt x="17" y="18"/>
                          </a:lnTo>
                          <a:lnTo>
                            <a:pt x="17" y="17"/>
                          </a:lnTo>
                          <a:lnTo>
                            <a:pt x="17" y="17"/>
                          </a:lnTo>
                          <a:lnTo>
                            <a:pt x="17" y="17"/>
                          </a:lnTo>
                          <a:lnTo>
                            <a:pt x="17" y="16"/>
                          </a:lnTo>
                          <a:lnTo>
                            <a:pt x="17" y="15"/>
                          </a:lnTo>
                          <a:lnTo>
                            <a:pt x="17" y="15"/>
                          </a:lnTo>
                          <a:lnTo>
                            <a:pt x="17" y="14"/>
                          </a:lnTo>
                          <a:lnTo>
                            <a:pt x="17" y="13"/>
                          </a:lnTo>
                          <a:lnTo>
                            <a:pt x="17" y="13"/>
                          </a:lnTo>
                          <a:lnTo>
                            <a:pt x="17" y="11"/>
                          </a:lnTo>
                          <a:lnTo>
                            <a:pt x="17" y="11"/>
                          </a:lnTo>
                          <a:lnTo>
                            <a:pt x="17" y="10"/>
                          </a:lnTo>
                          <a:lnTo>
                            <a:pt x="17" y="10"/>
                          </a:lnTo>
                          <a:lnTo>
                            <a:pt x="17" y="9"/>
                          </a:lnTo>
                          <a:lnTo>
                            <a:pt x="16" y="8"/>
                          </a:lnTo>
                          <a:lnTo>
                            <a:pt x="16" y="8"/>
                          </a:lnTo>
                          <a:lnTo>
                            <a:pt x="15" y="8"/>
                          </a:lnTo>
                          <a:lnTo>
                            <a:pt x="15" y="8"/>
                          </a:lnTo>
                          <a:lnTo>
                            <a:pt x="15" y="7"/>
                          </a:lnTo>
                          <a:lnTo>
                            <a:pt x="15" y="7"/>
                          </a:lnTo>
                          <a:lnTo>
                            <a:pt x="15" y="7"/>
                          </a:lnTo>
                          <a:lnTo>
                            <a:pt x="15" y="5"/>
                          </a:lnTo>
                          <a:lnTo>
                            <a:pt x="15" y="5"/>
                          </a:lnTo>
                          <a:lnTo>
                            <a:pt x="15" y="4"/>
                          </a:lnTo>
                          <a:lnTo>
                            <a:pt x="15" y="3"/>
                          </a:lnTo>
                          <a:lnTo>
                            <a:pt x="15" y="3"/>
                          </a:lnTo>
                          <a:lnTo>
                            <a:pt x="15" y="2"/>
                          </a:lnTo>
                          <a:lnTo>
                            <a:pt x="15" y="1"/>
                          </a:lnTo>
                          <a:lnTo>
                            <a:pt x="15" y="1"/>
                          </a:lnTo>
                          <a:lnTo>
                            <a:pt x="15" y="1"/>
                          </a:lnTo>
                          <a:lnTo>
                            <a:pt x="15" y="0"/>
                          </a:lnTo>
                          <a:lnTo>
                            <a:pt x="15" y="0"/>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503" name="Freeform 178">
                      <a:extLst>
                        <a:ext uri="{FF2B5EF4-FFF2-40B4-BE49-F238E27FC236}">
                          <a16:creationId xmlns:a16="http://schemas.microsoft.com/office/drawing/2014/main" id="{2E26E699-4104-154B-AB68-A836941166D6}"/>
                        </a:ext>
                      </a:extLst>
                    </p:cNvPr>
                    <p:cNvSpPr>
                      <a:spLocks/>
                    </p:cNvSpPr>
                    <p:nvPr/>
                  </p:nvSpPr>
                  <p:spPr bwMode="auto">
                    <a:xfrm>
                      <a:off x="3261515" y="3842074"/>
                      <a:ext cx="11254" cy="14470"/>
                    </a:xfrm>
                    <a:custGeom>
                      <a:avLst/>
                      <a:gdLst>
                        <a:gd name="T0" fmla="*/ 7 w 7"/>
                        <a:gd name="T1" fmla="*/ 9 h 9"/>
                        <a:gd name="T2" fmla="*/ 6 w 7"/>
                        <a:gd name="T3" fmla="*/ 9 h 9"/>
                        <a:gd name="T4" fmla="*/ 7 w 7"/>
                        <a:gd name="T5" fmla="*/ 8 h 9"/>
                        <a:gd name="T6" fmla="*/ 4 w 7"/>
                        <a:gd name="T7" fmla="*/ 8 h 9"/>
                        <a:gd name="T8" fmla="*/ 3 w 7"/>
                        <a:gd name="T9" fmla="*/ 8 h 9"/>
                        <a:gd name="T10" fmla="*/ 3 w 7"/>
                        <a:gd name="T11" fmla="*/ 8 h 9"/>
                        <a:gd name="T12" fmla="*/ 4 w 7"/>
                        <a:gd name="T13" fmla="*/ 7 h 9"/>
                        <a:gd name="T14" fmla="*/ 4 w 7"/>
                        <a:gd name="T15" fmla="*/ 7 h 9"/>
                        <a:gd name="T16" fmla="*/ 4 w 7"/>
                        <a:gd name="T17" fmla="*/ 6 h 9"/>
                        <a:gd name="T18" fmla="*/ 3 w 7"/>
                        <a:gd name="T19" fmla="*/ 6 h 9"/>
                        <a:gd name="T20" fmla="*/ 0 w 7"/>
                        <a:gd name="T21" fmla="*/ 2 h 9"/>
                        <a:gd name="T22" fmla="*/ 0 w 7"/>
                        <a:gd name="T23" fmla="*/ 1 h 9"/>
                        <a:gd name="T24" fmla="*/ 2 w 7"/>
                        <a:gd name="T25" fmla="*/ 0 h 9"/>
                        <a:gd name="T26" fmla="*/ 5 w 7"/>
                        <a:gd name="T27" fmla="*/ 2 h 9"/>
                        <a:gd name="T28" fmla="*/ 5 w 7"/>
                        <a:gd name="T29" fmla="*/ 2 h 9"/>
                        <a:gd name="T30" fmla="*/ 6 w 7"/>
                        <a:gd name="T31" fmla="*/ 2 h 9"/>
                        <a:gd name="T32" fmla="*/ 5 w 7"/>
                        <a:gd name="T33" fmla="*/ 3 h 9"/>
                        <a:gd name="T34" fmla="*/ 6 w 7"/>
                        <a:gd name="T35" fmla="*/ 6 h 9"/>
                        <a:gd name="T36" fmla="*/ 7 w 7"/>
                        <a:gd name="T37" fmla="*/ 7 h 9"/>
                        <a:gd name="T38" fmla="*/ 7 w 7"/>
                        <a:gd name="T39" fmla="*/ 8 h 9"/>
                        <a:gd name="T40" fmla="*/ 7 w 7"/>
                        <a:gd name="T41" fmla="*/ 9 h 9"/>
                        <a:gd name="T42" fmla="*/ 7 w 7"/>
                        <a:gd name="T43" fmla="*/ 9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7" h="9">
                          <a:moveTo>
                            <a:pt x="7" y="9"/>
                          </a:moveTo>
                          <a:lnTo>
                            <a:pt x="6" y="9"/>
                          </a:lnTo>
                          <a:lnTo>
                            <a:pt x="7" y="8"/>
                          </a:lnTo>
                          <a:lnTo>
                            <a:pt x="4" y="8"/>
                          </a:lnTo>
                          <a:lnTo>
                            <a:pt x="3" y="8"/>
                          </a:lnTo>
                          <a:lnTo>
                            <a:pt x="3" y="8"/>
                          </a:lnTo>
                          <a:lnTo>
                            <a:pt x="4" y="7"/>
                          </a:lnTo>
                          <a:lnTo>
                            <a:pt x="4" y="7"/>
                          </a:lnTo>
                          <a:lnTo>
                            <a:pt x="4" y="6"/>
                          </a:lnTo>
                          <a:lnTo>
                            <a:pt x="3" y="6"/>
                          </a:lnTo>
                          <a:lnTo>
                            <a:pt x="0" y="2"/>
                          </a:lnTo>
                          <a:lnTo>
                            <a:pt x="0" y="1"/>
                          </a:lnTo>
                          <a:lnTo>
                            <a:pt x="2" y="0"/>
                          </a:lnTo>
                          <a:lnTo>
                            <a:pt x="5" y="2"/>
                          </a:lnTo>
                          <a:lnTo>
                            <a:pt x="5" y="2"/>
                          </a:lnTo>
                          <a:lnTo>
                            <a:pt x="6" y="2"/>
                          </a:lnTo>
                          <a:lnTo>
                            <a:pt x="5" y="3"/>
                          </a:lnTo>
                          <a:lnTo>
                            <a:pt x="6" y="6"/>
                          </a:lnTo>
                          <a:lnTo>
                            <a:pt x="7" y="7"/>
                          </a:lnTo>
                          <a:lnTo>
                            <a:pt x="7" y="8"/>
                          </a:lnTo>
                          <a:lnTo>
                            <a:pt x="7" y="9"/>
                          </a:lnTo>
                          <a:lnTo>
                            <a:pt x="7" y="9"/>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504" name="Freeform 225">
                      <a:extLst>
                        <a:ext uri="{FF2B5EF4-FFF2-40B4-BE49-F238E27FC236}">
                          <a16:creationId xmlns:a16="http://schemas.microsoft.com/office/drawing/2014/main" id="{83863AD9-A97D-8740-A1CC-509A9471E6F5}"/>
                        </a:ext>
                      </a:extLst>
                    </p:cNvPr>
                    <p:cNvSpPr>
                      <a:spLocks noEditPoints="1"/>
                    </p:cNvSpPr>
                    <p:nvPr/>
                  </p:nvSpPr>
                  <p:spPr bwMode="auto">
                    <a:xfrm>
                      <a:off x="3248653" y="3787410"/>
                      <a:ext cx="19294" cy="16077"/>
                    </a:xfrm>
                    <a:custGeom>
                      <a:avLst/>
                      <a:gdLst>
                        <a:gd name="T0" fmla="*/ 3 w 12"/>
                        <a:gd name="T1" fmla="*/ 10 h 10"/>
                        <a:gd name="T2" fmla="*/ 0 w 12"/>
                        <a:gd name="T3" fmla="*/ 9 h 10"/>
                        <a:gd name="T4" fmla="*/ 0 w 12"/>
                        <a:gd name="T5" fmla="*/ 3 h 10"/>
                        <a:gd name="T6" fmla="*/ 1 w 12"/>
                        <a:gd name="T7" fmla="*/ 2 h 10"/>
                        <a:gd name="T8" fmla="*/ 5 w 12"/>
                        <a:gd name="T9" fmla="*/ 4 h 10"/>
                        <a:gd name="T10" fmla="*/ 5 w 12"/>
                        <a:gd name="T11" fmla="*/ 9 h 10"/>
                        <a:gd name="T12" fmla="*/ 3 w 12"/>
                        <a:gd name="T13" fmla="*/ 10 h 10"/>
                        <a:gd name="T14" fmla="*/ 3 w 12"/>
                        <a:gd name="T15" fmla="*/ 10 h 10"/>
                        <a:gd name="T16" fmla="*/ 7 w 12"/>
                        <a:gd name="T17" fmla="*/ 6 h 10"/>
                        <a:gd name="T18" fmla="*/ 6 w 12"/>
                        <a:gd name="T19" fmla="*/ 6 h 10"/>
                        <a:gd name="T20" fmla="*/ 6 w 12"/>
                        <a:gd name="T21" fmla="*/ 4 h 10"/>
                        <a:gd name="T22" fmla="*/ 6 w 12"/>
                        <a:gd name="T23" fmla="*/ 2 h 10"/>
                        <a:gd name="T24" fmla="*/ 6 w 12"/>
                        <a:gd name="T25" fmla="*/ 1 h 10"/>
                        <a:gd name="T26" fmla="*/ 7 w 12"/>
                        <a:gd name="T27" fmla="*/ 0 h 10"/>
                        <a:gd name="T28" fmla="*/ 8 w 12"/>
                        <a:gd name="T29" fmla="*/ 0 h 10"/>
                        <a:gd name="T30" fmla="*/ 8 w 12"/>
                        <a:gd name="T31" fmla="*/ 2 h 10"/>
                        <a:gd name="T32" fmla="*/ 12 w 12"/>
                        <a:gd name="T33" fmla="*/ 4 h 10"/>
                        <a:gd name="T34" fmla="*/ 12 w 12"/>
                        <a:gd name="T35" fmla="*/ 4 h 10"/>
                        <a:gd name="T36" fmla="*/ 7 w 12"/>
                        <a:gd name="T37" fmla="*/ 6 h 10"/>
                        <a:gd name="T38" fmla="*/ 7 w 12"/>
                        <a:gd name="T39" fmla="*/ 6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2" h="10">
                          <a:moveTo>
                            <a:pt x="3" y="10"/>
                          </a:moveTo>
                          <a:lnTo>
                            <a:pt x="0" y="9"/>
                          </a:lnTo>
                          <a:lnTo>
                            <a:pt x="0" y="3"/>
                          </a:lnTo>
                          <a:lnTo>
                            <a:pt x="1" y="2"/>
                          </a:lnTo>
                          <a:lnTo>
                            <a:pt x="5" y="4"/>
                          </a:lnTo>
                          <a:lnTo>
                            <a:pt x="5" y="9"/>
                          </a:lnTo>
                          <a:lnTo>
                            <a:pt x="3" y="10"/>
                          </a:lnTo>
                          <a:lnTo>
                            <a:pt x="3" y="10"/>
                          </a:lnTo>
                          <a:close/>
                          <a:moveTo>
                            <a:pt x="7" y="6"/>
                          </a:moveTo>
                          <a:lnTo>
                            <a:pt x="6" y="6"/>
                          </a:lnTo>
                          <a:lnTo>
                            <a:pt x="6" y="4"/>
                          </a:lnTo>
                          <a:lnTo>
                            <a:pt x="6" y="2"/>
                          </a:lnTo>
                          <a:lnTo>
                            <a:pt x="6" y="1"/>
                          </a:lnTo>
                          <a:lnTo>
                            <a:pt x="7" y="0"/>
                          </a:lnTo>
                          <a:lnTo>
                            <a:pt x="8" y="0"/>
                          </a:lnTo>
                          <a:lnTo>
                            <a:pt x="8" y="2"/>
                          </a:lnTo>
                          <a:lnTo>
                            <a:pt x="12" y="4"/>
                          </a:lnTo>
                          <a:lnTo>
                            <a:pt x="12" y="4"/>
                          </a:lnTo>
                          <a:lnTo>
                            <a:pt x="7" y="6"/>
                          </a:lnTo>
                          <a:lnTo>
                            <a:pt x="7" y="6"/>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505" name="Freeform 232">
                      <a:extLst>
                        <a:ext uri="{FF2B5EF4-FFF2-40B4-BE49-F238E27FC236}">
                          <a16:creationId xmlns:a16="http://schemas.microsoft.com/office/drawing/2014/main" id="{DEA648F1-B0C4-A64C-8105-385838E7F698}"/>
                        </a:ext>
                      </a:extLst>
                    </p:cNvPr>
                    <p:cNvSpPr>
                      <a:spLocks/>
                    </p:cNvSpPr>
                    <p:nvPr/>
                  </p:nvSpPr>
                  <p:spPr bwMode="auto">
                    <a:xfrm>
                      <a:off x="3439980" y="4144339"/>
                      <a:ext cx="86821" cy="120584"/>
                    </a:xfrm>
                    <a:custGeom>
                      <a:avLst/>
                      <a:gdLst>
                        <a:gd name="T0" fmla="*/ 2 w 54"/>
                        <a:gd name="T1" fmla="*/ 71 h 75"/>
                        <a:gd name="T2" fmla="*/ 5 w 54"/>
                        <a:gd name="T3" fmla="*/ 67 h 75"/>
                        <a:gd name="T4" fmla="*/ 8 w 54"/>
                        <a:gd name="T5" fmla="*/ 61 h 75"/>
                        <a:gd name="T6" fmla="*/ 8 w 54"/>
                        <a:gd name="T7" fmla="*/ 58 h 75"/>
                        <a:gd name="T8" fmla="*/ 8 w 54"/>
                        <a:gd name="T9" fmla="*/ 55 h 75"/>
                        <a:gd name="T10" fmla="*/ 8 w 54"/>
                        <a:gd name="T11" fmla="*/ 54 h 75"/>
                        <a:gd name="T12" fmla="*/ 8 w 54"/>
                        <a:gd name="T13" fmla="*/ 53 h 75"/>
                        <a:gd name="T14" fmla="*/ 11 w 54"/>
                        <a:gd name="T15" fmla="*/ 49 h 75"/>
                        <a:gd name="T16" fmla="*/ 12 w 54"/>
                        <a:gd name="T17" fmla="*/ 45 h 75"/>
                        <a:gd name="T18" fmla="*/ 11 w 54"/>
                        <a:gd name="T19" fmla="*/ 43 h 75"/>
                        <a:gd name="T20" fmla="*/ 8 w 54"/>
                        <a:gd name="T21" fmla="*/ 39 h 75"/>
                        <a:gd name="T22" fmla="*/ 6 w 54"/>
                        <a:gd name="T23" fmla="*/ 36 h 75"/>
                        <a:gd name="T24" fmla="*/ 5 w 54"/>
                        <a:gd name="T25" fmla="*/ 32 h 75"/>
                        <a:gd name="T26" fmla="*/ 4 w 54"/>
                        <a:gd name="T27" fmla="*/ 26 h 75"/>
                        <a:gd name="T28" fmla="*/ 5 w 54"/>
                        <a:gd name="T29" fmla="*/ 22 h 75"/>
                        <a:gd name="T30" fmla="*/ 4 w 54"/>
                        <a:gd name="T31" fmla="*/ 19 h 75"/>
                        <a:gd name="T32" fmla="*/ 5 w 54"/>
                        <a:gd name="T33" fmla="*/ 15 h 75"/>
                        <a:gd name="T34" fmla="*/ 7 w 54"/>
                        <a:gd name="T35" fmla="*/ 11 h 75"/>
                        <a:gd name="T36" fmla="*/ 12 w 54"/>
                        <a:gd name="T37" fmla="*/ 7 h 75"/>
                        <a:gd name="T38" fmla="*/ 12 w 54"/>
                        <a:gd name="T39" fmla="*/ 4 h 75"/>
                        <a:gd name="T40" fmla="*/ 16 w 54"/>
                        <a:gd name="T41" fmla="*/ 0 h 75"/>
                        <a:gd name="T42" fmla="*/ 20 w 54"/>
                        <a:gd name="T43" fmla="*/ 4 h 75"/>
                        <a:gd name="T44" fmla="*/ 26 w 54"/>
                        <a:gd name="T45" fmla="*/ 5 h 75"/>
                        <a:gd name="T46" fmla="*/ 27 w 54"/>
                        <a:gd name="T47" fmla="*/ 5 h 75"/>
                        <a:gd name="T48" fmla="*/ 31 w 54"/>
                        <a:gd name="T49" fmla="*/ 6 h 75"/>
                        <a:gd name="T50" fmla="*/ 33 w 54"/>
                        <a:gd name="T51" fmla="*/ 7 h 75"/>
                        <a:gd name="T52" fmla="*/ 38 w 54"/>
                        <a:gd name="T53" fmla="*/ 13 h 75"/>
                        <a:gd name="T54" fmla="*/ 40 w 54"/>
                        <a:gd name="T55" fmla="*/ 15 h 75"/>
                        <a:gd name="T56" fmla="*/ 41 w 54"/>
                        <a:gd name="T57" fmla="*/ 16 h 75"/>
                        <a:gd name="T58" fmla="*/ 42 w 54"/>
                        <a:gd name="T59" fmla="*/ 18 h 75"/>
                        <a:gd name="T60" fmla="*/ 44 w 54"/>
                        <a:gd name="T61" fmla="*/ 19 h 75"/>
                        <a:gd name="T62" fmla="*/ 42 w 54"/>
                        <a:gd name="T63" fmla="*/ 21 h 75"/>
                        <a:gd name="T64" fmla="*/ 45 w 54"/>
                        <a:gd name="T65" fmla="*/ 19 h 75"/>
                        <a:gd name="T66" fmla="*/ 47 w 54"/>
                        <a:gd name="T67" fmla="*/ 21 h 75"/>
                        <a:gd name="T68" fmla="*/ 49 w 54"/>
                        <a:gd name="T69" fmla="*/ 28 h 75"/>
                        <a:gd name="T70" fmla="*/ 48 w 54"/>
                        <a:gd name="T71" fmla="*/ 29 h 75"/>
                        <a:gd name="T72" fmla="*/ 49 w 54"/>
                        <a:gd name="T73" fmla="*/ 25 h 75"/>
                        <a:gd name="T74" fmla="*/ 51 w 54"/>
                        <a:gd name="T75" fmla="*/ 22 h 75"/>
                        <a:gd name="T76" fmla="*/ 53 w 54"/>
                        <a:gd name="T77" fmla="*/ 25 h 75"/>
                        <a:gd name="T78" fmla="*/ 53 w 54"/>
                        <a:gd name="T79" fmla="*/ 28 h 75"/>
                        <a:gd name="T80" fmla="*/ 54 w 54"/>
                        <a:gd name="T81" fmla="*/ 29 h 75"/>
                        <a:gd name="T82" fmla="*/ 54 w 54"/>
                        <a:gd name="T83" fmla="*/ 32 h 75"/>
                        <a:gd name="T84" fmla="*/ 52 w 54"/>
                        <a:gd name="T85" fmla="*/ 39 h 75"/>
                        <a:gd name="T86" fmla="*/ 42 w 54"/>
                        <a:gd name="T87" fmla="*/ 52 h 75"/>
                        <a:gd name="T88" fmla="*/ 38 w 54"/>
                        <a:gd name="T89" fmla="*/ 65 h 75"/>
                        <a:gd name="T90" fmla="*/ 28 w 54"/>
                        <a:gd name="T91" fmla="*/ 74 h 75"/>
                        <a:gd name="T92" fmla="*/ 20 w 54"/>
                        <a:gd name="T93" fmla="*/ 73 h 75"/>
                        <a:gd name="T94" fmla="*/ 11 w 54"/>
                        <a:gd name="T95" fmla="*/ 74 h 75"/>
                        <a:gd name="T96" fmla="*/ 4 w 54"/>
                        <a:gd name="T97" fmla="*/ 73 h 75"/>
                        <a:gd name="T98" fmla="*/ 0 w 54"/>
                        <a:gd name="T99" fmla="*/ 7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54" h="75">
                          <a:moveTo>
                            <a:pt x="0" y="71"/>
                          </a:moveTo>
                          <a:lnTo>
                            <a:pt x="1" y="71"/>
                          </a:lnTo>
                          <a:lnTo>
                            <a:pt x="2" y="71"/>
                          </a:lnTo>
                          <a:lnTo>
                            <a:pt x="2" y="68"/>
                          </a:lnTo>
                          <a:lnTo>
                            <a:pt x="4" y="68"/>
                          </a:lnTo>
                          <a:lnTo>
                            <a:pt x="5" y="67"/>
                          </a:lnTo>
                          <a:lnTo>
                            <a:pt x="6" y="65"/>
                          </a:lnTo>
                          <a:lnTo>
                            <a:pt x="8" y="61"/>
                          </a:lnTo>
                          <a:lnTo>
                            <a:pt x="8" y="61"/>
                          </a:lnTo>
                          <a:lnTo>
                            <a:pt x="8" y="60"/>
                          </a:lnTo>
                          <a:lnTo>
                            <a:pt x="8" y="60"/>
                          </a:lnTo>
                          <a:lnTo>
                            <a:pt x="8" y="58"/>
                          </a:lnTo>
                          <a:lnTo>
                            <a:pt x="8" y="58"/>
                          </a:lnTo>
                          <a:lnTo>
                            <a:pt x="8" y="56"/>
                          </a:lnTo>
                          <a:lnTo>
                            <a:pt x="8" y="55"/>
                          </a:lnTo>
                          <a:lnTo>
                            <a:pt x="8" y="55"/>
                          </a:lnTo>
                          <a:lnTo>
                            <a:pt x="8" y="55"/>
                          </a:lnTo>
                          <a:lnTo>
                            <a:pt x="8" y="54"/>
                          </a:lnTo>
                          <a:lnTo>
                            <a:pt x="8" y="55"/>
                          </a:lnTo>
                          <a:lnTo>
                            <a:pt x="8" y="54"/>
                          </a:lnTo>
                          <a:lnTo>
                            <a:pt x="8" y="53"/>
                          </a:lnTo>
                          <a:lnTo>
                            <a:pt x="9" y="52"/>
                          </a:lnTo>
                          <a:lnTo>
                            <a:pt x="11" y="51"/>
                          </a:lnTo>
                          <a:lnTo>
                            <a:pt x="11" y="49"/>
                          </a:lnTo>
                          <a:lnTo>
                            <a:pt x="12" y="47"/>
                          </a:lnTo>
                          <a:lnTo>
                            <a:pt x="12" y="46"/>
                          </a:lnTo>
                          <a:lnTo>
                            <a:pt x="12" y="45"/>
                          </a:lnTo>
                          <a:lnTo>
                            <a:pt x="12" y="45"/>
                          </a:lnTo>
                          <a:lnTo>
                            <a:pt x="12" y="43"/>
                          </a:lnTo>
                          <a:lnTo>
                            <a:pt x="11" y="43"/>
                          </a:lnTo>
                          <a:lnTo>
                            <a:pt x="11" y="41"/>
                          </a:lnTo>
                          <a:lnTo>
                            <a:pt x="8" y="40"/>
                          </a:lnTo>
                          <a:lnTo>
                            <a:pt x="8" y="39"/>
                          </a:lnTo>
                          <a:lnTo>
                            <a:pt x="7" y="38"/>
                          </a:lnTo>
                          <a:lnTo>
                            <a:pt x="6" y="36"/>
                          </a:lnTo>
                          <a:lnTo>
                            <a:pt x="6" y="36"/>
                          </a:lnTo>
                          <a:lnTo>
                            <a:pt x="6" y="33"/>
                          </a:lnTo>
                          <a:lnTo>
                            <a:pt x="5" y="33"/>
                          </a:lnTo>
                          <a:lnTo>
                            <a:pt x="5" y="32"/>
                          </a:lnTo>
                          <a:lnTo>
                            <a:pt x="5" y="31"/>
                          </a:lnTo>
                          <a:lnTo>
                            <a:pt x="5" y="28"/>
                          </a:lnTo>
                          <a:lnTo>
                            <a:pt x="4" y="26"/>
                          </a:lnTo>
                          <a:lnTo>
                            <a:pt x="5" y="25"/>
                          </a:lnTo>
                          <a:lnTo>
                            <a:pt x="5" y="22"/>
                          </a:lnTo>
                          <a:lnTo>
                            <a:pt x="5" y="22"/>
                          </a:lnTo>
                          <a:lnTo>
                            <a:pt x="4" y="21"/>
                          </a:lnTo>
                          <a:lnTo>
                            <a:pt x="4" y="21"/>
                          </a:lnTo>
                          <a:lnTo>
                            <a:pt x="4" y="19"/>
                          </a:lnTo>
                          <a:lnTo>
                            <a:pt x="4" y="18"/>
                          </a:lnTo>
                          <a:lnTo>
                            <a:pt x="5" y="16"/>
                          </a:lnTo>
                          <a:lnTo>
                            <a:pt x="5" y="15"/>
                          </a:lnTo>
                          <a:lnTo>
                            <a:pt x="6" y="13"/>
                          </a:lnTo>
                          <a:lnTo>
                            <a:pt x="6" y="13"/>
                          </a:lnTo>
                          <a:lnTo>
                            <a:pt x="7" y="11"/>
                          </a:lnTo>
                          <a:lnTo>
                            <a:pt x="9" y="11"/>
                          </a:lnTo>
                          <a:lnTo>
                            <a:pt x="9" y="8"/>
                          </a:lnTo>
                          <a:lnTo>
                            <a:pt x="12" y="7"/>
                          </a:lnTo>
                          <a:lnTo>
                            <a:pt x="12" y="7"/>
                          </a:lnTo>
                          <a:lnTo>
                            <a:pt x="13" y="5"/>
                          </a:lnTo>
                          <a:lnTo>
                            <a:pt x="12" y="4"/>
                          </a:lnTo>
                          <a:lnTo>
                            <a:pt x="13" y="1"/>
                          </a:lnTo>
                          <a:lnTo>
                            <a:pt x="15" y="0"/>
                          </a:lnTo>
                          <a:lnTo>
                            <a:pt x="16" y="0"/>
                          </a:lnTo>
                          <a:lnTo>
                            <a:pt x="16" y="1"/>
                          </a:lnTo>
                          <a:lnTo>
                            <a:pt x="18" y="1"/>
                          </a:lnTo>
                          <a:lnTo>
                            <a:pt x="20" y="4"/>
                          </a:lnTo>
                          <a:lnTo>
                            <a:pt x="22" y="4"/>
                          </a:lnTo>
                          <a:lnTo>
                            <a:pt x="24" y="5"/>
                          </a:lnTo>
                          <a:lnTo>
                            <a:pt x="26" y="5"/>
                          </a:lnTo>
                          <a:lnTo>
                            <a:pt x="26" y="5"/>
                          </a:lnTo>
                          <a:lnTo>
                            <a:pt x="27" y="6"/>
                          </a:lnTo>
                          <a:lnTo>
                            <a:pt x="27" y="5"/>
                          </a:lnTo>
                          <a:lnTo>
                            <a:pt x="27" y="5"/>
                          </a:lnTo>
                          <a:lnTo>
                            <a:pt x="29" y="6"/>
                          </a:lnTo>
                          <a:lnTo>
                            <a:pt x="31" y="6"/>
                          </a:lnTo>
                          <a:lnTo>
                            <a:pt x="31" y="6"/>
                          </a:lnTo>
                          <a:lnTo>
                            <a:pt x="32" y="6"/>
                          </a:lnTo>
                          <a:lnTo>
                            <a:pt x="33" y="7"/>
                          </a:lnTo>
                          <a:lnTo>
                            <a:pt x="35" y="11"/>
                          </a:lnTo>
                          <a:lnTo>
                            <a:pt x="36" y="12"/>
                          </a:lnTo>
                          <a:lnTo>
                            <a:pt x="38" y="13"/>
                          </a:lnTo>
                          <a:lnTo>
                            <a:pt x="39" y="14"/>
                          </a:lnTo>
                          <a:lnTo>
                            <a:pt x="39" y="15"/>
                          </a:lnTo>
                          <a:lnTo>
                            <a:pt x="40" y="15"/>
                          </a:lnTo>
                          <a:lnTo>
                            <a:pt x="41" y="15"/>
                          </a:lnTo>
                          <a:lnTo>
                            <a:pt x="41" y="15"/>
                          </a:lnTo>
                          <a:lnTo>
                            <a:pt x="41" y="16"/>
                          </a:lnTo>
                          <a:lnTo>
                            <a:pt x="41" y="18"/>
                          </a:lnTo>
                          <a:lnTo>
                            <a:pt x="41" y="18"/>
                          </a:lnTo>
                          <a:lnTo>
                            <a:pt x="42" y="18"/>
                          </a:lnTo>
                          <a:lnTo>
                            <a:pt x="42" y="16"/>
                          </a:lnTo>
                          <a:lnTo>
                            <a:pt x="44" y="18"/>
                          </a:lnTo>
                          <a:lnTo>
                            <a:pt x="44" y="19"/>
                          </a:lnTo>
                          <a:lnTo>
                            <a:pt x="44" y="20"/>
                          </a:lnTo>
                          <a:lnTo>
                            <a:pt x="42" y="21"/>
                          </a:lnTo>
                          <a:lnTo>
                            <a:pt x="42" y="21"/>
                          </a:lnTo>
                          <a:lnTo>
                            <a:pt x="42" y="21"/>
                          </a:lnTo>
                          <a:lnTo>
                            <a:pt x="44" y="20"/>
                          </a:lnTo>
                          <a:lnTo>
                            <a:pt x="45" y="19"/>
                          </a:lnTo>
                          <a:lnTo>
                            <a:pt x="45" y="19"/>
                          </a:lnTo>
                          <a:lnTo>
                            <a:pt x="46" y="20"/>
                          </a:lnTo>
                          <a:lnTo>
                            <a:pt x="47" y="21"/>
                          </a:lnTo>
                          <a:lnTo>
                            <a:pt x="48" y="22"/>
                          </a:lnTo>
                          <a:lnTo>
                            <a:pt x="48" y="25"/>
                          </a:lnTo>
                          <a:lnTo>
                            <a:pt x="49" y="28"/>
                          </a:lnTo>
                          <a:lnTo>
                            <a:pt x="49" y="28"/>
                          </a:lnTo>
                          <a:lnTo>
                            <a:pt x="48" y="29"/>
                          </a:lnTo>
                          <a:lnTo>
                            <a:pt x="48" y="29"/>
                          </a:lnTo>
                          <a:lnTo>
                            <a:pt x="49" y="29"/>
                          </a:lnTo>
                          <a:lnTo>
                            <a:pt x="49" y="28"/>
                          </a:lnTo>
                          <a:lnTo>
                            <a:pt x="49" y="25"/>
                          </a:lnTo>
                          <a:lnTo>
                            <a:pt x="51" y="22"/>
                          </a:lnTo>
                          <a:lnTo>
                            <a:pt x="51" y="22"/>
                          </a:lnTo>
                          <a:lnTo>
                            <a:pt x="51" y="22"/>
                          </a:lnTo>
                          <a:lnTo>
                            <a:pt x="52" y="25"/>
                          </a:lnTo>
                          <a:lnTo>
                            <a:pt x="52" y="25"/>
                          </a:lnTo>
                          <a:lnTo>
                            <a:pt x="53" y="25"/>
                          </a:lnTo>
                          <a:lnTo>
                            <a:pt x="53" y="27"/>
                          </a:lnTo>
                          <a:lnTo>
                            <a:pt x="53" y="27"/>
                          </a:lnTo>
                          <a:lnTo>
                            <a:pt x="53" y="28"/>
                          </a:lnTo>
                          <a:lnTo>
                            <a:pt x="53" y="28"/>
                          </a:lnTo>
                          <a:lnTo>
                            <a:pt x="54" y="28"/>
                          </a:lnTo>
                          <a:lnTo>
                            <a:pt x="54" y="29"/>
                          </a:lnTo>
                          <a:lnTo>
                            <a:pt x="54" y="29"/>
                          </a:lnTo>
                          <a:lnTo>
                            <a:pt x="54" y="31"/>
                          </a:lnTo>
                          <a:lnTo>
                            <a:pt x="54" y="32"/>
                          </a:lnTo>
                          <a:lnTo>
                            <a:pt x="54" y="35"/>
                          </a:lnTo>
                          <a:lnTo>
                            <a:pt x="54" y="36"/>
                          </a:lnTo>
                          <a:lnTo>
                            <a:pt x="52" y="39"/>
                          </a:lnTo>
                          <a:lnTo>
                            <a:pt x="49" y="42"/>
                          </a:lnTo>
                          <a:lnTo>
                            <a:pt x="48" y="45"/>
                          </a:lnTo>
                          <a:lnTo>
                            <a:pt x="42" y="52"/>
                          </a:lnTo>
                          <a:lnTo>
                            <a:pt x="41" y="55"/>
                          </a:lnTo>
                          <a:lnTo>
                            <a:pt x="41" y="59"/>
                          </a:lnTo>
                          <a:lnTo>
                            <a:pt x="38" y="65"/>
                          </a:lnTo>
                          <a:lnTo>
                            <a:pt x="35" y="69"/>
                          </a:lnTo>
                          <a:lnTo>
                            <a:pt x="32" y="74"/>
                          </a:lnTo>
                          <a:lnTo>
                            <a:pt x="28" y="74"/>
                          </a:lnTo>
                          <a:lnTo>
                            <a:pt x="25" y="74"/>
                          </a:lnTo>
                          <a:lnTo>
                            <a:pt x="24" y="71"/>
                          </a:lnTo>
                          <a:lnTo>
                            <a:pt x="20" y="73"/>
                          </a:lnTo>
                          <a:lnTo>
                            <a:pt x="16" y="71"/>
                          </a:lnTo>
                          <a:lnTo>
                            <a:pt x="13" y="72"/>
                          </a:lnTo>
                          <a:lnTo>
                            <a:pt x="11" y="74"/>
                          </a:lnTo>
                          <a:lnTo>
                            <a:pt x="8" y="75"/>
                          </a:lnTo>
                          <a:lnTo>
                            <a:pt x="7" y="74"/>
                          </a:lnTo>
                          <a:lnTo>
                            <a:pt x="4" y="73"/>
                          </a:lnTo>
                          <a:lnTo>
                            <a:pt x="2" y="71"/>
                          </a:lnTo>
                          <a:lnTo>
                            <a:pt x="0" y="71"/>
                          </a:lnTo>
                          <a:lnTo>
                            <a:pt x="0" y="71"/>
                          </a:lnTo>
                          <a:lnTo>
                            <a:pt x="0" y="71"/>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506" name="Freeform 289">
                      <a:extLst>
                        <a:ext uri="{FF2B5EF4-FFF2-40B4-BE49-F238E27FC236}">
                          <a16:creationId xmlns:a16="http://schemas.microsoft.com/office/drawing/2014/main" id="{6BEF669C-3784-CD4E-8073-BF0DB08088FB}"/>
                        </a:ext>
                      </a:extLst>
                    </p:cNvPr>
                    <p:cNvSpPr>
                      <a:spLocks/>
                    </p:cNvSpPr>
                    <p:nvPr/>
                  </p:nvSpPr>
                  <p:spPr bwMode="auto">
                    <a:xfrm>
                      <a:off x="4907890" y="2652312"/>
                      <a:ext cx="332812" cy="286186"/>
                    </a:xfrm>
                    <a:custGeom>
                      <a:avLst/>
                      <a:gdLst>
                        <a:gd name="T0" fmla="*/ 200 w 207"/>
                        <a:gd name="T1" fmla="*/ 53 h 178"/>
                        <a:gd name="T2" fmla="*/ 196 w 207"/>
                        <a:gd name="T3" fmla="*/ 40 h 178"/>
                        <a:gd name="T4" fmla="*/ 183 w 207"/>
                        <a:gd name="T5" fmla="*/ 38 h 178"/>
                        <a:gd name="T6" fmla="*/ 170 w 207"/>
                        <a:gd name="T7" fmla="*/ 32 h 178"/>
                        <a:gd name="T8" fmla="*/ 153 w 207"/>
                        <a:gd name="T9" fmla="*/ 26 h 178"/>
                        <a:gd name="T10" fmla="*/ 143 w 207"/>
                        <a:gd name="T11" fmla="*/ 20 h 178"/>
                        <a:gd name="T12" fmla="*/ 129 w 207"/>
                        <a:gd name="T13" fmla="*/ 12 h 178"/>
                        <a:gd name="T14" fmla="*/ 118 w 207"/>
                        <a:gd name="T15" fmla="*/ 4 h 178"/>
                        <a:gd name="T16" fmla="*/ 102 w 207"/>
                        <a:gd name="T17" fmla="*/ 8 h 178"/>
                        <a:gd name="T18" fmla="*/ 103 w 207"/>
                        <a:gd name="T19" fmla="*/ 19 h 178"/>
                        <a:gd name="T20" fmla="*/ 83 w 207"/>
                        <a:gd name="T21" fmla="*/ 26 h 178"/>
                        <a:gd name="T22" fmla="*/ 84 w 207"/>
                        <a:gd name="T23" fmla="*/ 33 h 178"/>
                        <a:gd name="T24" fmla="*/ 60 w 207"/>
                        <a:gd name="T25" fmla="*/ 33 h 178"/>
                        <a:gd name="T26" fmla="*/ 47 w 207"/>
                        <a:gd name="T27" fmla="*/ 33 h 178"/>
                        <a:gd name="T28" fmla="*/ 51 w 207"/>
                        <a:gd name="T29" fmla="*/ 42 h 178"/>
                        <a:gd name="T30" fmla="*/ 55 w 207"/>
                        <a:gd name="T31" fmla="*/ 51 h 178"/>
                        <a:gd name="T32" fmla="*/ 44 w 207"/>
                        <a:gd name="T33" fmla="*/ 50 h 178"/>
                        <a:gd name="T34" fmla="*/ 39 w 207"/>
                        <a:gd name="T35" fmla="*/ 50 h 178"/>
                        <a:gd name="T36" fmla="*/ 30 w 207"/>
                        <a:gd name="T37" fmla="*/ 48 h 178"/>
                        <a:gd name="T38" fmla="*/ 22 w 207"/>
                        <a:gd name="T39" fmla="*/ 46 h 178"/>
                        <a:gd name="T40" fmla="*/ 0 w 207"/>
                        <a:gd name="T41" fmla="*/ 51 h 178"/>
                        <a:gd name="T42" fmla="*/ 21 w 207"/>
                        <a:gd name="T43" fmla="*/ 67 h 178"/>
                        <a:gd name="T44" fmla="*/ 27 w 207"/>
                        <a:gd name="T45" fmla="*/ 73 h 178"/>
                        <a:gd name="T46" fmla="*/ 34 w 207"/>
                        <a:gd name="T47" fmla="*/ 71 h 178"/>
                        <a:gd name="T48" fmla="*/ 39 w 207"/>
                        <a:gd name="T49" fmla="*/ 72 h 178"/>
                        <a:gd name="T50" fmla="*/ 36 w 207"/>
                        <a:gd name="T51" fmla="*/ 77 h 178"/>
                        <a:gd name="T52" fmla="*/ 49 w 207"/>
                        <a:gd name="T53" fmla="*/ 79 h 178"/>
                        <a:gd name="T54" fmla="*/ 44 w 207"/>
                        <a:gd name="T55" fmla="*/ 82 h 178"/>
                        <a:gd name="T56" fmla="*/ 44 w 207"/>
                        <a:gd name="T57" fmla="*/ 88 h 178"/>
                        <a:gd name="T58" fmla="*/ 51 w 207"/>
                        <a:gd name="T59" fmla="*/ 94 h 178"/>
                        <a:gd name="T60" fmla="*/ 60 w 207"/>
                        <a:gd name="T61" fmla="*/ 97 h 178"/>
                        <a:gd name="T62" fmla="*/ 60 w 207"/>
                        <a:gd name="T63" fmla="*/ 101 h 178"/>
                        <a:gd name="T64" fmla="*/ 59 w 207"/>
                        <a:gd name="T65" fmla="*/ 105 h 178"/>
                        <a:gd name="T66" fmla="*/ 62 w 207"/>
                        <a:gd name="T67" fmla="*/ 112 h 178"/>
                        <a:gd name="T68" fmla="*/ 66 w 207"/>
                        <a:gd name="T69" fmla="*/ 121 h 178"/>
                        <a:gd name="T70" fmla="*/ 59 w 207"/>
                        <a:gd name="T71" fmla="*/ 121 h 178"/>
                        <a:gd name="T72" fmla="*/ 55 w 207"/>
                        <a:gd name="T73" fmla="*/ 145 h 178"/>
                        <a:gd name="T74" fmla="*/ 55 w 207"/>
                        <a:gd name="T75" fmla="*/ 160 h 178"/>
                        <a:gd name="T76" fmla="*/ 69 w 207"/>
                        <a:gd name="T77" fmla="*/ 167 h 178"/>
                        <a:gd name="T78" fmla="*/ 88 w 207"/>
                        <a:gd name="T79" fmla="*/ 168 h 178"/>
                        <a:gd name="T80" fmla="*/ 103 w 207"/>
                        <a:gd name="T81" fmla="*/ 169 h 178"/>
                        <a:gd name="T82" fmla="*/ 120 w 207"/>
                        <a:gd name="T83" fmla="*/ 177 h 178"/>
                        <a:gd name="T84" fmla="*/ 129 w 207"/>
                        <a:gd name="T85" fmla="*/ 171 h 178"/>
                        <a:gd name="T86" fmla="*/ 129 w 207"/>
                        <a:gd name="T87" fmla="*/ 158 h 178"/>
                        <a:gd name="T88" fmla="*/ 149 w 207"/>
                        <a:gd name="T89" fmla="*/ 153 h 178"/>
                        <a:gd name="T90" fmla="*/ 157 w 207"/>
                        <a:gd name="T91" fmla="*/ 155 h 178"/>
                        <a:gd name="T92" fmla="*/ 160 w 207"/>
                        <a:gd name="T93" fmla="*/ 154 h 178"/>
                        <a:gd name="T94" fmla="*/ 162 w 207"/>
                        <a:gd name="T95" fmla="*/ 154 h 178"/>
                        <a:gd name="T96" fmla="*/ 169 w 207"/>
                        <a:gd name="T97" fmla="*/ 159 h 178"/>
                        <a:gd name="T98" fmla="*/ 177 w 207"/>
                        <a:gd name="T99" fmla="*/ 160 h 178"/>
                        <a:gd name="T100" fmla="*/ 189 w 207"/>
                        <a:gd name="T101" fmla="*/ 158 h 178"/>
                        <a:gd name="T102" fmla="*/ 195 w 207"/>
                        <a:gd name="T103" fmla="*/ 149 h 178"/>
                        <a:gd name="T104" fmla="*/ 201 w 207"/>
                        <a:gd name="T105" fmla="*/ 148 h 178"/>
                        <a:gd name="T106" fmla="*/ 206 w 207"/>
                        <a:gd name="T107" fmla="*/ 140 h 178"/>
                        <a:gd name="T108" fmla="*/ 193 w 207"/>
                        <a:gd name="T109" fmla="*/ 137 h 178"/>
                        <a:gd name="T110" fmla="*/ 193 w 207"/>
                        <a:gd name="T111" fmla="*/ 126 h 178"/>
                        <a:gd name="T112" fmla="*/ 191 w 207"/>
                        <a:gd name="T113" fmla="*/ 118 h 178"/>
                        <a:gd name="T114" fmla="*/ 190 w 207"/>
                        <a:gd name="T115" fmla="*/ 102 h 178"/>
                        <a:gd name="T116" fmla="*/ 177 w 207"/>
                        <a:gd name="T117" fmla="*/ 97 h 178"/>
                        <a:gd name="T118" fmla="*/ 175 w 207"/>
                        <a:gd name="T119" fmla="*/ 94 h 178"/>
                        <a:gd name="T120" fmla="*/ 188 w 207"/>
                        <a:gd name="T121" fmla="*/ 78 h 178"/>
                        <a:gd name="T122" fmla="*/ 196 w 207"/>
                        <a:gd name="T123" fmla="*/ 74 h 1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07" h="178">
                          <a:moveTo>
                            <a:pt x="198" y="71"/>
                          </a:moveTo>
                          <a:lnTo>
                            <a:pt x="197" y="71"/>
                          </a:lnTo>
                          <a:lnTo>
                            <a:pt x="197" y="70"/>
                          </a:lnTo>
                          <a:lnTo>
                            <a:pt x="197" y="68"/>
                          </a:lnTo>
                          <a:lnTo>
                            <a:pt x="197" y="68"/>
                          </a:lnTo>
                          <a:lnTo>
                            <a:pt x="197" y="67"/>
                          </a:lnTo>
                          <a:lnTo>
                            <a:pt x="198" y="66"/>
                          </a:lnTo>
                          <a:lnTo>
                            <a:pt x="197" y="65"/>
                          </a:lnTo>
                          <a:lnTo>
                            <a:pt x="198" y="64"/>
                          </a:lnTo>
                          <a:lnTo>
                            <a:pt x="197" y="62"/>
                          </a:lnTo>
                          <a:lnTo>
                            <a:pt x="197" y="60"/>
                          </a:lnTo>
                          <a:lnTo>
                            <a:pt x="198" y="58"/>
                          </a:lnTo>
                          <a:lnTo>
                            <a:pt x="198" y="57"/>
                          </a:lnTo>
                          <a:lnTo>
                            <a:pt x="200" y="55"/>
                          </a:lnTo>
                          <a:lnTo>
                            <a:pt x="200" y="53"/>
                          </a:lnTo>
                          <a:lnTo>
                            <a:pt x="201" y="52"/>
                          </a:lnTo>
                          <a:lnTo>
                            <a:pt x="202" y="51"/>
                          </a:lnTo>
                          <a:lnTo>
                            <a:pt x="203" y="51"/>
                          </a:lnTo>
                          <a:lnTo>
                            <a:pt x="203" y="48"/>
                          </a:lnTo>
                          <a:lnTo>
                            <a:pt x="204" y="48"/>
                          </a:lnTo>
                          <a:lnTo>
                            <a:pt x="206" y="47"/>
                          </a:lnTo>
                          <a:lnTo>
                            <a:pt x="207" y="45"/>
                          </a:lnTo>
                          <a:lnTo>
                            <a:pt x="207" y="44"/>
                          </a:lnTo>
                          <a:lnTo>
                            <a:pt x="207" y="44"/>
                          </a:lnTo>
                          <a:lnTo>
                            <a:pt x="204" y="44"/>
                          </a:lnTo>
                          <a:lnTo>
                            <a:pt x="202" y="42"/>
                          </a:lnTo>
                          <a:lnTo>
                            <a:pt x="200" y="42"/>
                          </a:lnTo>
                          <a:lnTo>
                            <a:pt x="198" y="42"/>
                          </a:lnTo>
                          <a:lnTo>
                            <a:pt x="197" y="42"/>
                          </a:lnTo>
                          <a:lnTo>
                            <a:pt x="196" y="40"/>
                          </a:lnTo>
                          <a:lnTo>
                            <a:pt x="195" y="40"/>
                          </a:lnTo>
                          <a:lnTo>
                            <a:pt x="194" y="40"/>
                          </a:lnTo>
                          <a:lnTo>
                            <a:pt x="193" y="40"/>
                          </a:lnTo>
                          <a:lnTo>
                            <a:pt x="193" y="40"/>
                          </a:lnTo>
                          <a:lnTo>
                            <a:pt x="191" y="41"/>
                          </a:lnTo>
                          <a:lnTo>
                            <a:pt x="189" y="40"/>
                          </a:lnTo>
                          <a:lnTo>
                            <a:pt x="188" y="40"/>
                          </a:lnTo>
                          <a:lnTo>
                            <a:pt x="187" y="39"/>
                          </a:lnTo>
                          <a:lnTo>
                            <a:pt x="187" y="38"/>
                          </a:lnTo>
                          <a:lnTo>
                            <a:pt x="186" y="38"/>
                          </a:lnTo>
                          <a:lnTo>
                            <a:pt x="186" y="40"/>
                          </a:lnTo>
                          <a:lnTo>
                            <a:pt x="184" y="40"/>
                          </a:lnTo>
                          <a:lnTo>
                            <a:pt x="183" y="39"/>
                          </a:lnTo>
                          <a:lnTo>
                            <a:pt x="182" y="38"/>
                          </a:lnTo>
                          <a:lnTo>
                            <a:pt x="183" y="38"/>
                          </a:lnTo>
                          <a:lnTo>
                            <a:pt x="182" y="37"/>
                          </a:lnTo>
                          <a:lnTo>
                            <a:pt x="181" y="35"/>
                          </a:lnTo>
                          <a:lnTo>
                            <a:pt x="181" y="34"/>
                          </a:lnTo>
                          <a:lnTo>
                            <a:pt x="180" y="34"/>
                          </a:lnTo>
                          <a:lnTo>
                            <a:pt x="180" y="33"/>
                          </a:lnTo>
                          <a:lnTo>
                            <a:pt x="178" y="33"/>
                          </a:lnTo>
                          <a:lnTo>
                            <a:pt x="178" y="32"/>
                          </a:lnTo>
                          <a:lnTo>
                            <a:pt x="177" y="32"/>
                          </a:lnTo>
                          <a:lnTo>
                            <a:pt x="177" y="33"/>
                          </a:lnTo>
                          <a:lnTo>
                            <a:pt x="176" y="33"/>
                          </a:lnTo>
                          <a:lnTo>
                            <a:pt x="175" y="33"/>
                          </a:lnTo>
                          <a:lnTo>
                            <a:pt x="174" y="33"/>
                          </a:lnTo>
                          <a:lnTo>
                            <a:pt x="171" y="33"/>
                          </a:lnTo>
                          <a:lnTo>
                            <a:pt x="171" y="32"/>
                          </a:lnTo>
                          <a:lnTo>
                            <a:pt x="170" y="32"/>
                          </a:lnTo>
                          <a:lnTo>
                            <a:pt x="168" y="32"/>
                          </a:lnTo>
                          <a:lnTo>
                            <a:pt x="167" y="33"/>
                          </a:lnTo>
                          <a:lnTo>
                            <a:pt x="166" y="32"/>
                          </a:lnTo>
                          <a:lnTo>
                            <a:pt x="164" y="33"/>
                          </a:lnTo>
                          <a:lnTo>
                            <a:pt x="163" y="32"/>
                          </a:lnTo>
                          <a:lnTo>
                            <a:pt x="162" y="32"/>
                          </a:lnTo>
                          <a:lnTo>
                            <a:pt x="161" y="31"/>
                          </a:lnTo>
                          <a:lnTo>
                            <a:pt x="160" y="30"/>
                          </a:lnTo>
                          <a:lnTo>
                            <a:pt x="158" y="30"/>
                          </a:lnTo>
                          <a:lnTo>
                            <a:pt x="158" y="28"/>
                          </a:lnTo>
                          <a:lnTo>
                            <a:pt x="157" y="28"/>
                          </a:lnTo>
                          <a:lnTo>
                            <a:pt x="155" y="27"/>
                          </a:lnTo>
                          <a:lnTo>
                            <a:pt x="154" y="26"/>
                          </a:lnTo>
                          <a:lnTo>
                            <a:pt x="154" y="26"/>
                          </a:lnTo>
                          <a:lnTo>
                            <a:pt x="153" y="26"/>
                          </a:lnTo>
                          <a:lnTo>
                            <a:pt x="154" y="25"/>
                          </a:lnTo>
                          <a:lnTo>
                            <a:pt x="153" y="24"/>
                          </a:lnTo>
                          <a:lnTo>
                            <a:pt x="153" y="22"/>
                          </a:lnTo>
                          <a:lnTo>
                            <a:pt x="154" y="20"/>
                          </a:lnTo>
                          <a:lnTo>
                            <a:pt x="153" y="19"/>
                          </a:lnTo>
                          <a:lnTo>
                            <a:pt x="150" y="21"/>
                          </a:lnTo>
                          <a:lnTo>
                            <a:pt x="150" y="24"/>
                          </a:lnTo>
                          <a:lnTo>
                            <a:pt x="148" y="25"/>
                          </a:lnTo>
                          <a:lnTo>
                            <a:pt x="146" y="24"/>
                          </a:lnTo>
                          <a:lnTo>
                            <a:pt x="144" y="24"/>
                          </a:lnTo>
                          <a:lnTo>
                            <a:pt x="143" y="24"/>
                          </a:lnTo>
                          <a:lnTo>
                            <a:pt x="142" y="24"/>
                          </a:lnTo>
                          <a:lnTo>
                            <a:pt x="142" y="21"/>
                          </a:lnTo>
                          <a:lnTo>
                            <a:pt x="143" y="21"/>
                          </a:lnTo>
                          <a:lnTo>
                            <a:pt x="143" y="20"/>
                          </a:lnTo>
                          <a:lnTo>
                            <a:pt x="142" y="20"/>
                          </a:lnTo>
                          <a:lnTo>
                            <a:pt x="142" y="18"/>
                          </a:lnTo>
                          <a:lnTo>
                            <a:pt x="141" y="17"/>
                          </a:lnTo>
                          <a:lnTo>
                            <a:pt x="140" y="15"/>
                          </a:lnTo>
                          <a:lnTo>
                            <a:pt x="137" y="15"/>
                          </a:lnTo>
                          <a:lnTo>
                            <a:pt x="135" y="17"/>
                          </a:lnTo>
                          <a:lnTo>
                            <a:pt x="135" y="15"/>
                          </a:lnTo>
                          <a:lnTo>
                            <a:pt x="135" y="14"/>
                          </a:lnTo>
                          <a:lnTo>
                            <a:pt x="134" y="14"/>
                          </a:lnTo>
                          <a:lnTo>
                            <a:pt x="133" y="14"/>
                          </a:lnTo>
                          <a:lnTo>
                            <a:pt x="131" y="13"/>
                          </a:lnTo>
                          <a:lnTo>
                            <a:pt x="130" y="13"/>
                          </a:lnTo>
                          <a:lnTo>
                            <a:pt x="130" y="13"/>
                          </a:lnTo>
                          <a:lnTo>
                            <a:pt x="129" y="13"/>
                          </a:lnTo>
                          <a:lnTo>
                            <a:pt x="129" y="12"/>
                          </a:lnTo>
                          <a:lnTo>
                            <a:pt x="128" y="10"/>
                          </a:lnTo>
                          <a:lnTo>
                            <a:pt x="128" y="10"/>
                          </a:lnTo>
                          <a:lnTo>
                            <a:pt x="128" y="8"/>
                          </a:lnTo>
                          <a:lnTo>
                            <a:pt x="127" y="7"/>
                          </a:lnTo>
                          <a:lnTo>
                            <a:pt x="124" y="7"/>
                          </a:lnTo>
                          <a:lnTo>
                            <a:pt x="126" y="7"/>
                          </a:lnTo>
                          <a:lnTo>
                            <a:pt x="123" y="8"/>
                          </a:lnTo>
                          <a:lnTo>
                            <a:pt x="123" y="8"/>
                          </a:lnTo>
                          <a:lnTo>
                            <a:pt x="123" y="8"/>
                          </a:lnTo>
                          <a:lnTo>
                            <a:pt x="121" y="8"/>
                          </a:lnTo>
                          <a:lnTo>
                            <a:pt x="120" y="6"/>
                          </a:lnTo>
                          <a:lnTo>
                            <a:pt x="118" y="6"/>
                          </a:lnTo>
                          <a:lnTo>
                            <a:pt x="118" y="6"/>
                          </a:lnTo>
                          <a:lnTo>
                            <a:pt x="118" y="5"/>
                          </a:lnTo>
                          <a:lnTo>
                            <a:pt x="118" y="4"/>
                          </a:lnTo>
                          <a:lnTo>
                            <a:pt x="118" y="2"/>
                          </a:lnTo>
                          <a:lnTo>
                            <a:pt x="116" y="1"/>
                          </a:lnTo>
                          <a:lnTo>
                            <a:pt x="116" y="1"/>
                          </a:lnTo>
                          <a:lnTo>
                            <a:pt x="115" y="1"/>
                          </a:lnTo>
                          <a:lnTo>
                            <a:pt x="114" y="1"/>
                          </a:lnTo>
                          <a:lnTo>
                            <a:pt x="111" y="0"/>
                          </a:lnTo>
                          <a:lnTo>
                            <a:pt x="111" y="0"/>
                          </a:lnTo>
                          <a:lnTo>
                            <a:pt x="108" y="0"/>
                          </a:lnTo>
                          <a:lnTo>
                            <a:pt x="107" y="1"/>
                          </a:lnTo>
                          <a:lnTo>
                            <a:pt x="107" y="2"/>
                          </a:lnTo>
                          <a:lnTo>
                            <a:pt x="106" y="2"/>
                          </a:lnTo>
                          <a:lnTo>
                            <a:pt x="104" y="4"/>
                          </a:lnTo>
                          <a:lnTo>
                            <a:pt x="103" y="6"/>
                          </a:lnTo>
                          <a:lnTo>
                            <a:pt x="102" y="6"/>
                          </a:lnTo>
                          <a:lnTo>
                            <a:pt x="102" y="8"/>
                          </a:lnTo>
                          <a:lnTo>
                            <a:pt x="102" y="10"/>
                          </a:lnTo>
                          <a:lnTo>
                            <a:pt x="101" y="11"/>
                          </a:lnTo>
                          <a:lnTo>
                            <a:pt x="102" y="12"/>
                          </a:lnTo>
                          <a:lnTo>
                            <a:pt x="102" y="13"/>
                          </a:lnTo>
                          <a:lnTo>
                            <a:pt x="101" y="13"/>
                          </a:lnTo>
                          <a:lnTo>
                            <a:pt x="101" y="15"/>
                          </a:lnTo>
                          <a:lnTo>
                            <a:pt x="102" y="15"/>
                          </a:lnTo>
                          <a:lnTo>
                            <a:pt x="102" y="15"/>
                          </a:lnTo>
                          <a:lnTo>
                            <a:pt x="101" y="15"/>
                          </a:lnTo>
                          <a:lnTo>
                            <a:pt x="101" y="18"/>
                          </a:lnTo>
                          <a:lnTo>
                            <a:pt x="102" y="18"/>
                          </a:lnTo>
                          <a:lnTo>
                            <a:pt x="103" y="18"/>
                          </a:lnTo>
                          <a:lnTo>
                            <a:pt x="103" y="18"/>
                          </a:lnTo>
                          <a:lnTo>
                            <a:pt x="103" y="18"/>
                          </a:lnTo>
                          <a:lnTo>
                            <a:pt x="103" y="19"/>
                          </a:lnTo>
                          <a:lnTo>
                            <a:pt x="103" y="19"/>
                          </a:lnTo>
                          <a:lnTo>
                            <a:pt x="102" y="19"/>
                          </a:lnTo>
                          <a:lnTo>
                            <a:pt x="101" y="18"/>
                          </a:lnTo>
                          <a:lnTo>
                            <a:pt x="101" y="18"/>
                          </a:lnTo>
                          <a:lnTo>
                            <a:pt x="98" y="19"/>
                          </a:lnTo>
                          <a:lnTo>
                            <a:pt x="100" y="21"/>
                          </a:lnTo>
                          <a:lnTo>
                            <a:pt x="98" y="21"/>
                          </a:lnTo>
                          <a:lnTo>
                            <a:pt x="96" y="24"/>
                          </a:lnTo>
                          <a:lnTo>
                            <a:pt x="94" y="24"/>
                          </a:lnTo>
                          <a:lnTo>
                            <a:pt x="93" y="25"/>
                          </a:lnTo>
                          <a:lnTo>
                            <a:pt x="90" y="25"/>
                          </a:lnTo>
                          <a:lnTo>
                            <a:pt x="89" y="26"/>
                          </a:lnTo>
                          <a:lnTo>
                            <a:pt x="88" y="25"/>
                          </a:lnTo>
                          <a:lnTo>
                            <a:pt x="86" y="26"/>
                          </a:lnTo>
                          <a:lnTo>
                            <a:pt x="83" y="26"/>
                          </a:lnTo>
                          <a:lnTo>
                            <a:pt x="83" y="27"/>
                          </a:lnTo>
                          <a:lnTo>
                            <a:pt x="83" y="28"/>
                          </a:lnTo>
                          <a:lnTo>
                            <a:pt x="81" y="30"/>
                          </a:lnTo>
                          <a:lnTo>
                            <a:pt x="80" y="30"/>
                          </a:lnTo>
                          <a:lnTo>
                            <a:pt x="80" y="30"/>
                          </a:lnTo>
                          <a:lnTo>
                            <a:pt x="78" y="31"/>
                          </a:lnTo>
                          <a:lnTo>
                            <a:pt x="78" y="33"/>
                          </a:lnTo>
                          <a:lnTo>
                            <a:pt x="80" y="33"/>
                          </a:lnTo>
                          <a:lnTo>
                            <a:pt x="80" y="33"/>
                          </a:lnTo>
                          <a:lnTo>
                            <a:pt x="81" y="32"/>
                          </a:lnTo>
                          <a:lnTo>
                            <a:pt x="83" y="33"/>
                          </a:lnTo>
                          <a:lnTo>
                            <a:pt x="84" y="33"/>
                          </a:lnTo>
                          <a:lnTo>
                            <a:pt x="86" y="33"/>
                          </a:lnTo>
                          <a:lnTo>
                            <a:pt x="84" y="33"/>
                          </a:lnTo>
                          <a:lnTo>
                            <a:pt x="84" y="33"/>
                          </a:lnTo>
                          <a:lnTo>
                            <a:pt x="80" y="34"/>
                          </a:lnTo>
                          <a:lnTo>
                            <a:pt x="80" y="34"/>
                          </a:lnTo>
                          <a:lnTo>
                            <a:pt x="78" y="35"/>
                          </a:lnTo>
                          <a:lnTo>
                            <a:pt x="76" y="33"/>
                          </a:lnTo>
                          <a:lnTo>
                            <a:pt x="76" y="33"/>
                          </a:lnTo>
                          <a:lnTo>
                            <a:pt x="75" y="35"/>
                          </a:lnTo>
                          <a:lnTo>
                            <a:pt x="74" y="35"/>
                          </a:lnTo>
                          <a:lnTo>
                            <a:pt x="71" y="35"/>
                          </a:lnTo>
                          <a:lnTo>
                            <a:pt x="69" y="35"/>
                          </a:lnTo>
                          <a:lnTo>
                            <a:pt x="69" y="34"/>
                          </a:lnTo>
                          <a:lnTo>
                            <a:pt x="67" y="33"/>
                          </a:lnTo>
                          <a:lnTo>
                            <a:pt x="64" y="34"/>
                          </a:lnTo>
                          <a:lnTo>
                            <a:pt x="64" y="32"/>
                          </a:lnTo>
                          <a:lnTo>
                            <a:pt x="61" y="32"/>
                          </a:lnTo>
                          <a:lnTo>
                            <a:pt x="60" y="33"/>
                          </a:lnTo>
                          <a:lnTo>
                            <a:pt x="59" y="32"/>
                          </a:lnTo>
                          <a:lnTo>
                            <a:pt x="57" y="31"/>
                          </a:lnTo>
                          <a:lnTo>
                            <a:pt x="57" y="30"/>
                          </a:lnTo>
                          <a:lnTo>
                            <a:pt x="57" y="27"/>
                          </a:lnTo>
                          <a:lnTo>
                            <a:pt x="56" y="28"/>
                          </a:lnTo>
                          <a:lnTo>
                            <a:pt x="55" y="28"/>
                          </a:lnTo>
                          <a:lnTo>
                            <a:pt x="53" y="27"/>
                          </a:lnTo>
                          <a:lnTo>
                            <a:pt x="53" y="30"/>
                          </a:lnTo>
                          <a:lnTo>
                            <a:pt x="50" y="30"/>
                          </a:lnTo>
                          <a:lnTo>
                            <a:pt x="48" y="28"/>
                          </a:lnTo>
                          <a:lnTo>
                            <a:pt x="46" y="30"/>
                          </a:lnTo>
                          <a:lnTo>
                            <a:pt x="47" y="31"/>
                          </a:lnTo>
                          <a:lnTo>
                            <a:pt x="47" y="31"/>
                          </a:lnTo>
                          <a:lnTo>
                            <a:pt x="47" y="32"/>
                          </a:lnTo>
                          <a:lnTo>
                            <a:pt x="47" y="33"/>
                          </a:lnTo>
                          <a:lnTo>
                            <a:pt x="47" y="33"/>
                          </a:lnTo>
                          <a:lnTo>
                            <a:pt x="47" y="34"/>
                          </a:lnTo>
                          <a:lnTo>
                            <a:pt x="47" y="35"/>
                          </a:lnTo>
                          <a:lnTo>
                            <a:pt x="48" y="35"/>
                          </a:lnTo>
                          <a:lnTo>
                            <a:pt x="48" y="35"/>
                          </a:lnTo>
                          <a:lnTo>
                            <a:pt x="49" y="37"/>
                          </a:lnTo>
                          <a:lnTo>
                            <a:pt x="49" y="38"/>
                          </a:lnTo>
                          <a:lnTo>
                            <a:pt x="50" y="39"/>
                          </a:lnTo>
                          <a:lnTo>
                            <a:pt x="50" y="39"/>
                          </a:lnTo>
                          <a:lnTo>
                            <a:pt x="50" y="40"/>
                          </a:lnTo>
                          <a:lnTo>
                            <a:pt x="51" y="41"/>
                          </a:lnTo>
                          <a:lnTo>
                            <a:pt x="51" y="41"/>
                          </a:lnTo>
                          <a:lnTo>
                            <a:pt x="50" y="42"/>
                          </a:lnTo>
                          <a:lnTo>
                            <a:pt x="51" y="42"/>
                          </a:lnTo>
                          <a:lnTo>
                            <a:pt x="51" y="42"/>
                          </a:lnTo>
                          <a:lnTo>
                            <a:pt x="51" y="44"/>
                          </a:lnTo>
                          <a:lnTo>
                            <a:pt x="51" y="45"/>
                          </a:lnTo>
                          <a:lnTo>
                            <a:pt x="51" y="45"/>
                          </a:lnTo>
                          <a:lnTo>
                            <a:pt x="51" y="45"/>
                          </a:lnTo>
                          <a:lnTo>
                            <a:pt x="51" y="46"/>
                          </a:lnTo>
                          <a:lnTo>
                            <a:pt x="51" y="46"/>
                          </a:lnTo>
                          <a:lnTo>
                            <a:pt x="51" y="47"/>
                          </a:lnTo>
                          <a:lnTo>
                            <a:pt x="53" y="46"/>
                          </a:lnTo>
                          <a:lnTo>
                            <a:pt x="53" y="47"/>
                          </a:lnTo>
                          <a:lnTo>
                            <a:pt x="53" y="48"/>
                          </a:lnTo>
                          <a:lnTo>
                            <a:pt x="54" y="48"/>
                          </a:lnTo>
                          <a:lnTo>
                            <a:pt x="55" y="50"/>
                          </a:lnTo>
                          <a:lnTo>
                            <a:pt x="56" y="50"/>
                          </a:lnTo>
                          <a:lnTo>
                            <a:pt x="56" y="50"/>
                          </a:lnTo>
                          <a:lnTo>
                            <a:pt x="55" y="51"/>
                          </a:lnTo>
                          <a:lnTo>
                            <a:pt x="55" y="50"/>
                          </a:lnTo>
                          <a:lnTo>
                            <a:pt x="54" y="51"/>
                          </a:lnTo>
                          <a:lnTo>
                            <a:pt x="51" y="50"/>
                          </a:lnTo>
                          <a:lnTo>
                            <a:pt x="51" y="50"/>
                          </a:lnTo>
                          <a:lnTo>
                            <a:pt x="51" y="51"/>
                          </a:lnTo>
                          <a:lnTo>
                            <a:pt x="49" y="51"/>
                          </a:lnTo>
                          <a:lnTo>
                            <a:pt x="48" y="51"/>
                          </a:lnTo>
                          <a:lnTo>
                            <a:pt x="47" y="50"/>
                          </a:lnTo>
                          <a:lnTo>
                            <a:pt x="48" y="48"/>
                          </a:lnTo>
                          <a:lnTo>
                            <a:pt x="47" y="48"/>
                          </a:lnTo>
                          <a:lnTo>
                            <a:pt x="47" y="48"/>
                          </a:lnTo>
                          <a:lnTo>
                            <a:pt x="47" y="48"/>
                          </a:lnTo>
                          <a:lnTo>
                            <a:pt x="46" y="48"/>
                          </a:lnTo>
                          <a:lnTo>
                            <a:pt x="44" y="48"/>
                          </a:lnTo>
                          <a:lnTo>
                            <a:pt x="44" y="50"/>
                          </a:lnTo>
                          <a:lnTo>
                            <a:pt x="46" y="50"/>
                          </a:lnTo>
                          <a:lnTo>
                            <a:pt x="44" y="50"/>
                          </a:lnTo>
                          <a:lnTo>
                            <a:pt x="43" y="50"/>
                          </a:lnTo>
                          <a:lnTo>
                            <a:pt x="43" y="50"/>
                          </a:lnTo>
                          <a:lnTo>
                            <a:pt x="43" y="51"/>
                          </a:lnTo>
                          <a:lnTo>
                            <a:pt x="42" y="51"/>
                          </a:lnTo>
                          <a:lnTo>
                            <a:pt x="42" y="51"/>
                          </a:lnTo>
                          <a:lnTo>
                            <a:pt x="42" y="51"/>
                          </a:lnTo>
                          <a:lnTo>
                            <a:pt x="41" y="51"/>
                          </a:lnTo>
                          <a:lnTo>
                            <a:pt x="42" y="50"/>
                          </a:lnTo>
                          <a:lnTo>
                            <a:pt x="41" y="50"/>
                          </a:lnTo>
                          <a:lnTo>
                            <a:pt x="40" y="50"/>
                          </a:lnTo>
                          <a:lnTo>
                            <a:pt x="40" y="50"/>
                          </a:lnTo>
                          <a:lnTo>
                            <a:pt x="39" y="50"/>
                          </a:lnTo>
                          <a:lnTo>
                            <a:pt x="39" y="50"/>
                          </a:lnTo>
                          <a:lnTo>
                            <a:pt x="37" y="50"/>
                          </a:lnTo>
                          <a:lnTo>
                            <a:pt x="37" y="51"/>
                          </a:lnTo>
                          <a:lnTo>
                            <a:pt x="37" y="51"/>
                          </a:lnTo>
                          <a:lnTo>
                            <a:pt x="37" y="51"/>
                          </a:lnTo>
                          <a:lnTo>
                            <a:pt x="36" y="52"/>
                          </a:lnTo>
                          <a:lnTo>
                            <a:pt x="34" y="52"/>
                          </a:lnTo>
                          <a:lnTo>
                            <a:pt x="34" y="52"/>
                          </a:lnTo>
                          <a:lnTo>
                            <a:pt x="34" y="52"/>
                          </a:lnTo>
                          <a:lnTo>
                            <a:pt x="34" y="52"/>
                          </a:lnTo>
                          <a:lnTo>
                            <a:pt x="34" y="51"/>
                          </a:lnTo>
                          <a:lnTo>
                            <a:pt x="34" y="51"/>
                          </a:lnTo>
                          <a:lnTo>
                            <a:pt x="33" y="51"/>
                          </a:lnTo>
                          <a:lnTo>
                            <a:pt x="33" y="50"/>
                          </a:lnTo>
                          <a:lnTo>
                            <a:pt x="31" y="48"/>
                          </a:lnTo>
                          <a:lnTo>
                            <a:pt x="30" y="48"/>
                          </a:lnTo>
                          <a:lnTo>
                            <a:pt x="29" y="48"/>
                          </a:lnTo>
                          <a:lnTo>
                            <a:pt x="29" y="47"/>
                          </a:lnTo>
                          <a:lnTo>
                            <a:pt x="29" y="47"/>
                          </a:lnTo>
                          <a:lnTo>
                            <a:pt x="29" y="47"/>
                          </a:lnTo>
                          <a:lnTo>
                            <a:pt x="29" y="47"/>
                          </a:lnTo>
                          <a:lnTo>
                            <a:pt x="28" y="46"/>
                          </a:lnTo>
                          <a:lnTo>
                            <a:pt x="27" y="46"/>
                          </a:lnTo>
                          <a:lnTo>
                            <a:pt x="27" y="46"/>
                          </a:lnTo>
                          <a:lnTo>
                            <a:pt x="24" y="46"/>
                          </a:lnTo>
                          <a:lnTo>
                            <a:pt x="23" y="47"/>
                          </a:lnTo>
                          <a:lnTo>
                            <a:pt x="23" y="47"/>
                          </a:lnTo>
                          <a:lnTo>
                            <a:pt x="22" y="47"/>
                          </a:lnTo>
                          <a:lnTo>
                            <a:pt x="22" y="46"/>
                          </a:lnTo>
                          <a:lnTo>
                            <a:pt x="22" y="46"/>
                          </a:lnTo>
                          <a:lnTo>
                            <a:pt x="22" y="46"/>
                          </a:lnTo>
                          <a:lnTo>
                            <a:pt x="21" y="46"/>
                          </a:lnTo>
                          <a:lnTo>
                            <a:pt x="21" y="47"/>
                          </a:lnTo>
                          <a:lnTo>
                            <a:pt x="20" y="47"/>
                          </a:lnTo>
                          <a:lnTo>
                            <a:pt x="20" y="48"/>
                          </a:lnTo>
                          <a:lnTo>
                            <a:pt x="21" y="48"/>
                          </a:lnTo>
                          <a:lnTo>
                            <a:pt x="21" y="48"/>
                          </a:lnTo>
                          <a:lnTo>
                            <a:pt x="17" y="47"/>
                          </a:lnTo>
                          <a:lnTo>
                            <a:pt x="15" y="47"/>
                          </a:lnTo>
                          <a:lnTo>
                            <a:pt x="14" y="47"/>
                          </a:lnTo>
                          <a:lnTo>
                            <a:pt x="13" y="47"/>
                          </a:lnTo>
                          <a:lnTo>
                            <a:pt x="9" y="47"/>
                          </a:lnTo>
                          <a:lnTo>
                            <a:pt x="6" y="48"/>
                          </a:lnTo>
                          <a:lnTo>
                            <a:pt x="3" y="48"/>
                          </a:lnTo>
                          <a:lnTo>
                            <a:pt x="1" y="50"/>
                          </a:lnTo>
                          <a:lnTo>
                            <a:pt x="0" y="51"/>
                          </a:lnTo>
                          <a:lnTo>
                            <a:pt x="0" y="53"/>
                          </a:lnTo>
                          <a:lnTo>
                            <a:pt x="0" y="54"/>
                          </a:lnTo>
                          <a:lnTo>
                            <a:pt x="0" y="55"/>
                          </a:lnTo>
                          <a:lnTo>
                            <a:pt x="4" y="57"/>
                          </a:lnTo>
                          <a:lnTo>
                            <a:pt x="7" y="58"/>
                          </a:lnTo>
                          <a:lnTo>
                            <a:pt x="3" y="60"/>
                          </a:lnTo>
                          <a:lnTo>
                            <a:pt x="2" y="60"/>
                          </a:lnTo>
                          <a:lnTo>
                            <a:pt x="4" y="61"/>
                          </a:lnTo>
                          <a:lnTo>
                            <a:pt x="7" y="62"/>
                          </a:lnTo>
                          <a:lnTo>
                            <a:pt x="9" y="64"/>
                          </a:lnTo>
                          <a:lnTo>
                            <a:pt x="11" y="64"/>
                          </a:lnTo>
                          <a:lnTo>
                            <a:pt x="15" y="66"/>
                          </a:lnTo>
                          <a:lnTo>
                            <a:pt x="17" y="66"/>
                          </a:lnTo>
                          <a:lnTo>
                            <a:pt x="19" y="66"/>
                          </a:lnTo>
                          <a:lnTo>
                            <a:pt x="21" y="67"/>
                          </a:lnTo>
                          <a:lnTo>
                            <a:pt x="21" y="67"/>
                          </a:lnTo>
                          <a:lnTo>
                            <a:pt x="21" y="66"/>
                          </a:lnTo>
                          <a:lnTo>
                            <a:pt x="22" y="66"/>
                          </a:lnTo>
                          <a:lnTo>
                            <a:pt x="23" y="67"/>
                          </a:lnTo>
                          <a:lnTo>
                            <a:pt x="24" y="67"/>
                          </a:lnTo>
                          <a:lnTo>
                            <a:pt x="26" y="67"/>
                          </a:lnTo>
                          <a:lnTo>
                            <a:pt x="26" y="68"/>
                          </a:lnTo>
                          <a:lnTo>
                            <a:pt x="26" y="70"/>
                          </a:lnTo>
                          <a:lnTo>
                            <a:pt x="27" y="70"/>
                          </a:lnTo>
                          <a:lnTo>
                            <a:pt x="27" y="71"/>
                          </a:lnTo>
                          <a:lnTo>
                            <a:pt x="26" y="71"/>
                          </a:lnTo>
                          <a:lnTo>
                            <a:pt x="26" y="72"/>
                          </a:lnTo>
                          <a:lnTo>
                            <a:pt x="26" y="74"/>
                          </a:lnTo>
                          <a:lnTo>
                            <a:pt x="27" y="74"/>
                          </a:lnTo>
                          <a:lnTo>
                            <a:pt x="27" y="73"/>
                          </a:lnTo>
                          <a:lnTo>
                            <a:pt x="27" y="72"/>
                          </a:lnTo>
                          <a:lnTo>
                            <a:pt x="27" y="71"/>
                          </a:lnTo>
                          <a:lnTo>
                            <a:pt x="29" y="71"/>
                          </a:lnTo>
                          <a:lnTo>
                            <a:pt x="29" y="71"/>
                          </a:lnTo>
                          <a:lnTo>
                            <a:pt x="29" y="71"/>
                          </a:lnTo>
                          <a:lnTo>
                            <a:pt x="30" y="72"/>
                          </a:lnTo>
                          <a:lnTo>
                            <a:pt x="30" y="71"/>
                          </a:lnTo>
                          <a:lnTo>
                            <a:pt x="30" y="71"/>
                          </a:lnTo>
                          <a:lnTo>
                            <a:pt x="30" y="71"/>
                          </a:lnTo>
                          <a:lnTo>
                            <a:pt x="31" y="70"/>
                          </a:lnTo>
                          <a:lnTo>
                            <a:pt x="33" y="71"/>
                          </a:lnTo>
                          <a:lnTo>
                            <a:pt x="34" y="71"/>
                          </a:lnTo>
                          <a:lnTo>
                            <a:pt x="34" y="71"/>
                          </a:lnTo>
                          <a:lnTo>
                            <a:pt x="34" y="71"/>
                          </a:lnTo>
                          <a:lnTo>
                            <a:pt x="34" y="71"/>
                          </a:lnTo>
                          <a:lnTo>
                            <a:pt x="33" y="72"/>
                          </a:lnTo>
                          <a:lnTo>
                            <a:pt x="31" y="71"/>
                          </a:lnTo>
                          <a:lnTo>
                            <a:pt x="31" y="72"/>
                          </a:lnTo>
                          <a:lnTo>
                            <a:pt x="30" y="72"/>
                          </a:lnTo>
                          <a:lnTo>
                            <a:pt x="30" y="72"/>
                          </a:lnTo>
                          <a:lnTo>
                            <a:pt x="30" y="72"/>
                          </a:lnTo>
                          <a:lnTo>
                            <a:pt x="30" y="72"/>
                          </a:lnTo>
                          <a:lnTo>
                            <a:pt x="31" y="73"/>
                          </a:lnTo>
                          <a:lnTo>
                            <a:pt x="34" y="72"/>
                          </a:lnTo>
                          <a:lnTo>
                            <a:pt x="34" y="72"/>
                          </a:lnTo>
                          <a:lnTo>
                            <a:pt x="34" y="72"/>
                          </a:lnTo>
                          <a:lnTo>
                            <a:pt x="35" y="72"/>
                          </a:lnTo>
                          <a:lnTo>
                            <a:pt x="37" y="72"/>
                          </a:lnTo>
                          <a:lnTo>
                            <a:pt x="39" y="72"/>
                          </a:lnTo>
                          <a:lnTo>
                            <a:pt x="39" y="72"/>
                          </a:lnTo>
                          <a:lnTo>
                            <a:pt x="37" y="72"/>
                          </a:lnTo>
                          <a:lnTo>
                            <a:pt x="37" y="73"/>
                          </a:lnTo>
                          <a:lnTo>
                            <a:pt x="37" y="73"/>
                          </a:lnTo>
                          <a:lnTo>
                            <a:pt x="37" y="74"/>
                          </a:lnTo>
                          <a:lnTo>
                            <a:pt x="39" y="74"/>
                          </a:lnTo>
                          <a:lnTo>
                            <a:pt x="39" y="74"/>
                          </a:lnTo>
                          <a:lnTo>
                            <a:pt x="39" y="74"/>
                          </a:lnTo>
                          <a:lnTo>
                            <a:pt x="39" y="74"/>
                          </a:lnTo>
                          <a:lnTo>
                            <a:pt x="39" y="74"/>
                          </a:lnTo>
                          <a:lnTo>
                            <a:pt x="39" y="74"/>
                          </a:lnTo>
                          <a:lnTo>
                            <a:pt x="39" y="75"/>
                          </a:lnTo>
                          <a:lnTo>
                            <a:pt x="37" y="74"/>
                          </a:lnTo>
                          <a:lnTo>
                            <a:pt x="37" y="75"/>
                          </a:lnTo>
                          <a:lnTo>
                            <a:pt x="36" y="75"/>
                          </a:lnTo>
                          <a:lnTo>
                            <a:pt x="36" y="77"/>
                          </a:lnTo>
                          <a:lnTo>
                            <a:pt x="36" y="77"/>
                          </a:lnTo>
                          <a:lnTo>
                            <a:pt x="37" y="77"/>
                          </a:lnTo>
                          <a:lnTo>
                            <a:pt x="37" y="77"/>
                          </a:lnTo>
                          <a:lnTo>
                            <a:pt x="37" y="78"/>
                          </a:lnTo>
                          <a:lnTo>
                            <a:pt x="39" y="78"/>
                          </a:lnTo>
                          <a:lnTo>
                            <a:pt x="39" y="78"/>
                          </a:lnTo>
                          <a:lnTo>
                            <a:pt x="39" y="78"/>
                          </a:lnTo>
                          <a:lnTo>
                            <a:pt x="39" y="78"/>
                          </a:lnTo>
                          <a:lnTo>
                            <a:pt x="40" y="79"/>
                          </a:lnTo>
                          <a:lnTo>
                            <a:pt x="41" y="78"/>
                          </a:lnTo>
                          <a:lnTo>
                            <a:pt x="43" y="77"/>
                          </a:lnTo>
                          <a:lnTo>
                            <a:pt x="44" y="77"/>
                          </a:lnTo>
                          <a:lnTo>
                            <a:pt x="47" y="78"/>
                          </a:lnTo>
                          <a:lnTo>
                            <a:pt x="48" y="79"/>
                          </a:lnTo>
                          <a:lnTo>
                            <a:pt x="49" y="79"/>
                          </a:lnTo>
                          <a:lnTo>
                            <a:pt x="49" y="80"/>
                          </a:lnTo>
                          <a:lnTo>
                            <a:pt x="47" y="79"/>
                          </a:lnTo>
                          <a:lnTo>
                            <a:pt x="46" y="78"/>
                          </a:lnTo>
                          <a:lnTo>
                            <a:pt x="44" y="79"/>
                          </a:lnTo>
                          <a:lnTo>
                            <a:pt x="43" y="79"/>
                          </a:lnTo>
                          <a:lnTo>
                            <a:pt x="43" y="78"/>
                          </a:lnTo>
                          <a:lnTo>
                            <a:pt x="42" y="78"/>
                          </a:lnTo>
                          <a:lnTo>
                            <a:pt x="42" y="79"/>
                          </a:lnTo>
                          <a:lnTo>
                            <a:pt x="41" y="79"/>
                          </a:lnTo>
                          <a:lnTo>
                            <a:pt x="41" y="80"/>
                          </a:lnTo>
                          <a:lnTo>
                            <a:pt x="41" y="80"/>
                          </a:lnTo>
                          <a:lnTo>
                            <a:pt x="43" y="81"/>
                          </a:lnTo>
                          <a:lnTo>
                            <a:pt x="44" y="81"/>
                          </a:lnTo>
                          <a:lnTo>
                            <a:pt x="44" y="81"/>
                          </a:lnTo>
                          <a:lnTo>
                            <a:pt x="44" y="82"/>
                          </a:lnTo>
                          <a:lnTo>
                            <a:pt x="44" y="82"/>
                          </a:lnTo>
                          <a:lnTo>
                            <a:pt x="44" y="84"/>
                          </a:lnTo>
                          <a:lnTo>
                            <a:pt x="44" y="84"/>
                          </a:lnTo>
                          <a:lnTo>
                            <a:pt x="43" y="84"/>
                          </a:lnTo>
                          <a:lnTo>
                            <a:pt x="43" y="84"/>
                          </a:lnTo>
                          <a:lnTo>
                            <a:pt x="43" y="84"/>
                          </a:lnTo>
                          <a:lnTo>
                            <a:pt x="43" y="85"/>
                          </a:lnTo>
                          <a:lnTo>
                            <a:pt x="43" y="85"/>
                          </a:lnTo>
                          <a:lnTo>
                            <a:pt x="43" y="85"/>
                          </a:lnTo>
                          <a:lnTo>
                            <a:pt x="42" y="85"/>
                          </a:lnTo>
                          <a:lnTo>
                            <a:pt x="43" y="86"/>
                          </a:lnTo>
                          <a:lnTo>
                            <a:pt x="44" y="86"/>
                          </a:lnTo>
                          <a:lnTo>
                            <a:pt x="44" y="87"/>
                          </a:lnTo>
                          <a:lnTo>
                            <a:pt x="44" y="88"/>
                          </a:lnTo>
                          <a:lnTo>
                            <a:pt x="44" y="88"/>
                          </a:lnTo>
                          <a:lnTo>
                            <a:pt x="44" y="90"/>
                          </a:lnTo>
                          <a:lnTo>
                            <a:pt x="46" y="88"/>
                          </a:lnTo>
                          <a:lnTo>
                            <a:pt x="46" y="90"/>
                          </a:lnTo>
                          <a:lnTo>
                            <a:pt x="46" y="90"/>
                          </a:lnTo>
                          <a:lnTo>
                            <a:pt x="47" y="91"/>
                          </a:lnTo>
                          <a:lnTo>
                            <a:pt x="47" y="92"/>
                          </a:lnTo>
                          <a:lnTo>
                            <a:pt x="48" y="93"/>
                          </a:lnTo>
                          <a:lnTo>
                            <a:pt x="48" y="94"/>
                          </a:lnTo>
                          <a:lnTo>
                            <a:pt x="49" y="94"/>
                          </a:lnTo>
                          <a:lnTo>
                            <a:pt x="49" y="94"/>
                          </a:lnTo>
                          <a:lnTo>
                            <a:pt x="50" y="94"/>
                          </a:lnTo>
                          <a:lnTo>
                            <a:pt x="50" y="94"/>
                          </a:lnTo>
                          <a:lnTo>
                            <a:pt x="50" y="94"/>
                          </a:lnTo>
                          <a:lnTo>
                            <a:pt x="50" y="94"/>
                          </a:lnTo>
                          <a:lnTo>
                            <a:pt x="51" y="94"/>
                          </a:lnTo>
                          <a:lnTo>
                            <a:pt x="53" y="95"/>
                          </a:lnTo>
                          <a:lnTo>
                            <a:pt x="53" y="94"/>
                          </a:lnTo>
                          <a:lnTo>
                            <a:pt x="53" y="95"/>
                          </a:lnTo>
                          <a:lnTo>
                            <a:pt x="53" y="95"/>
                          </a:lnTo>
                          <a:lnTo>
                            <a:pt x="53" y="95"/>
                          </a:lnTo>
                          <a:lnTo>
                            <a:pt x="54" y="97"/>
                          </a:lnTo>
                          <a:lnTo>
                            <a:pt x="56" y="97"/>
                          </a:lnTo>
                          <a:lnTo>
                            <a:pt x="56" y="97"/>
                          </a:lnTo>
                          <a:lnTo>
                            <a:pt x="57" y="98"/>
                          </a:lnTo>
                          <a:lnTo>
                            <a:pt x="57" y="97"/>
                          </a:lnTo>
                          <a:lnTo>
                            <a:pt x="59" y="97"/>
                          </a:lnTo>
                          <a:lnTo>
                            <a:pt x="57" y="97"/>
                          </a:lnTo>
                          <a:lnTo>
                            <a:pt x="59" y="97"/>
                          </a:lnTo>
                          <a:lnTo>
                            <a:pt x="60" y="97"/>
                          </a:lnTo>
                          <a:lnTo>
                            <a:pt x="60" y="97"/>
                          </a:lnTo>
                          <a:lnTo>
                            <a:pt x="60" y="98"/>
                          </a:lnTo>
                          <a:lnTo>
                            <a:pt x="59" y="98"/>
                          </a:lnTo>
                          <a:lnTo>
                            <a:pt x="57" y="99"/>
                          </a:lnTo>
                          <a:lnTo>
                            <a:pt x="57" y="100"/>
                          </a:lnTo>
                          <a:lnTo>
                            <a:pt x="57" y="100"/>
                          </a:lnTo>
                          <a:lnTo>
                            <a:pt x="57" y="100"/>
                          </a:lnTo>
                          <a:lnTo>
                            <a:pt x="59" y="100"/>
                          </a:lnTo>
                          <a:lnTo>
                            <a:pt x="59" y="100"/>
                          </a:lnTo>
                          <a:lnTo>
                            <a:pt x="60" y="100"/>
                          </a:lnTo>
                          <a:lnTo>
                            <a:pt x="59" y="101"/>
                          </a:lnTo>
                          <a:lnTo>
                            <a:pt x="59" y="101"/>
                          </a:lnTo>
                          <a:lnTo>
                            <a:pt x="59" y="101"/>
                          </a:lnTo>
                          <a:lnTo>
                            <a:pt x="60" y="101"/>
                          </a:lnTo>
                          <a:lnTo>
                            <a:pt x="60" y="101"/>
                          </a:lnTo>
                          <a:lnTo>
                            <a:pt x="60" y="101"/>
                          </a:lnTo>
                          <a:lnTo>
                            <a:pt x="60" y="101"/>
                          </a:lnTo>
                          <a:lnTo>
                            <a:pt x="60" y="102"/>
                          </a:lnTo>
                          <a:lnTo>
                            <a:pt x="60" y="102"/>
                          </a:lnTo>
                          <a:lnTo>
                            <a:pt x="60" y="102"/>
                          </a:lnTo>
                          <a:lnTo>
                            <a:pt x="60" y="102"/>
                          </a:lnTo>
                          <a:lnTo>
                            <a:pt x="59" y="102"/>
                          </a:lnTo>
                          <a:lnTo>
                            <a:pt x="60" y="102"/>
                          </a:lnTo>
                          <a:lnTo>
                            <a:pt x="59" y="104"/>
                          </a:lnTo>
                          <a:lnTo>
                            <a:pt x="60" y="104"/>
                          </a:lnTo>
                          <a:lnTo>
                            <a:pt x="60" y="105"/>
                          </a:lnTo>
                          <a:lnTo>
                            <a:pt x="60" y="105"/>
                          </a:lnTo>
                          <a:lnTo>
                            <a:pt x="60" y="105"/>
                          </a:lnTo>
                          <a:lnTo>
                            <a:pt x="60" y="106"/>
                          </a:lnTo>
                          <a:lnTo>
                            <a:pt x="59" y="106"/>
                          </a:lnTo>
                          <a:lnTo>
                            <a:pt x="59" y="105"/>
                          </a:lnTo>
                          <a:lnTo>
                            <a:pt x="59" y="105"/>
                          </a:lnTo>
                          <a:lnTo>
                            <a:pt x="57" y="106"/>
                          </a:lnTo>
                          <a:lnTo>
                            <a:pt x="60" y="107"/>
                          </a:lnTo>
                          <a:lnTo>
                            <a:pt x="60" y="107"/>
                          </a:lnTo>
                          <a:lnTo>
                            <a:pt x="60" y="108"/>
                          </a:lnTo>
                          <a:lnTo>
                            <a:pt x="60" y="108"/>
                          </a:lnTo>
                          <a:lnTo>
                            <a:pt x="57" y="107"/>
                          </a:lnTo>
                          <a:lnTo>
                            <a:pt x="57" y="107"/>
                          </a:lnTo>
                          <a:lnTo>
                            <a:pt x="56" y="108"/>
                          </a:lnTo>
                          <a:lnTo>
                            <a:pt x="57" y="109"/>
                          </a:lnTo>
                          <a:lnTo>
                            <a:pt x="57" y="109"/>
                          </a:lnTo>
                          <a:lnTo>
                            <a:pt x="57" y="109"/>
                          </a:lnTo>
                          <a:lnTo>
                            <a:pt x="60" y="111"/>
                          </a:lnTo>
                          <a:lnTo>
                            <a:pt x="62" y="112"/>
                          </a:lnTo>
                          <a:lnTo>
                            <a:pt x="62" y="112"/>
                          </a:lnTo>
                          <a:lnTo>
                            <a:pt x="64" y="114"/>
                          </a:lnTo>
                          <a:lnTo>
                            <a:pt x="66" y="115"/>
                          </a:lnTo>
                          <a:lnTo>
                            <a:pt x="67" y="118"/>
                          </a:lnTo>
                          <a:lnTo>
                            <a:pt x="67" y="120"/>
                          </a:lnTo>
                          <a:lnTo>
                            <a:pt x="68" y="121"/>
                          </a:lnTo>
                          <a:lnTo>
                            <a:pt x="68" y="122"/>
                          </a:lnTo>
                          <a:lnTo>
                            <a:pt x="68" y="122"/>
                          </a:lnTo>
                          <a:lnTo>
                            <a:pt x="68" y="122"/>
                          </a:lnTo>
                          <a:lnTo>
                            <a:pt x="69" y="124"/>
                          </a:lnTo>
                          <a:lnTo>
                            <a:pt x="69" y="125"/>
                          </a:lnTo>
                          <a:lnTo>
                            <a:pt x="69" y="126"/>
                          </a:lnTo>
                          <a:lnTo>
                            <a:pt x="68" y="125"/>
                          </a:lnTo>
                          <a:lnTo>
                            <a:pt x="68" y="124"/>
                          </a:lnTo>
                          <a:lnTo>
                            <a:pt x="67" y="122"/>
                          </a:lnTo>
                          <a:lnTo>
                            <a:pt x="66" y="121"/>
                          </a:lnTo>
                          <a:lnTo>
                            <a:pt x="66" y="119"/>
                          </a:lnTo>
                          <a:lnTo>
                            <a:pt x="64" y="117"/>
                          </a:lnTo>
                          <a:lnTo>
                            <a:pt x="64" y="115"/>
                          </a:lnTo>
                          <a:lnTo>
                            <a:pt x="62" y="115"/>
                          </a:lnTo>
                          <a:lnTo>
                            <a:pt x="62" y="114"/>
                          </a:lnTo>
                          <a:lnTo>
                            <a:pt x="61" y="113"/>
                          </a:lnTo>
                          <a:lnTo>
                            <a:pt x="60" y="114"/>
                          </a:lnTo>
                          <a:lnTo>
                            <a:pt x="60" y="113"/>
                          </a:lnTo>
                          <a:lnTo>
                            <a:pt x="60" y="112"/>
                          </a:lnTo>
                          <a:lnTo>
                            <a:pt x="60" y="112"/>
                          </a:lnTo>
                          <a:lnTo>
                            <a:pt x="60" y="112"/>
                          </a:lnTo>
                          <a:lnTo>
                            <a:pt x="59" y="113"/>
                          </a:lnTo>
                          <a:lnTo>
                            <a:pt x="57" y="114"/>
                          </a:lnTo>
                          <a:lnTo>
                            <a:pt x="57" y="119"/>
                          </a:lnTo>
                          <a:lnTo>
                            <a:pt x="59" y="121"/>
                          </a:lnTo>
                          <a:lnTo>
                            <a:pt x="57" y="128"/>
                          </a:lnTo>
                          <a:lnTo>
                            <a:pt x="56" y="128"/>
                          </a:lnTo>
                          <a:lnTo>
                            <a:pt x="56" y="129"/>
                          </a:lnTo>
                          <a:lnTo>
                            <a:pt x="57" y="128"/>
                          </a:lnTo>
                          <a:lnTo>
                            <a:pt x="59" y="129"/>
                          </a:lnTo>
                          <a:lnTo>
                            <a:pt x="60" y="129"/>
                          </a:lnTo>
                          <a:lnTo>
                            <a:pt x="60" y="129"/>
                          </a:lnTo>
                          <a:lnTo>
                            <a:pt x="60" y="131"/>
                          </a:lnTo>
                          <a:lnTo>
                            <a:pt x="57" y="129"/>
                          </a:lnTo>
                          <a:lnTo>
                            <a:pt x="56" y="132"/>
                          </a:lnTo>
                          <a:lnTo>
                            <a:pt x="56" y="133"/>
                          </a:lnTo>
                          <a:lnTo>
                            <a:pt x="55" y="138"/>
                          </a:lnTo>
                          <a:lnTo>
                            <a:pt x="55" y="142"/>
                          </a:lnTo>
                          <a:lnTo>
                            <a:pt x="56" y="142"/>
                          </a:lnTo>
                          <a:lnTo>
                            <a:pt x="55" y="145"/>
                          </a:lnTo>
                          <a:lnTo>
                            <a:pt x="56" y="146"/>
                          </a:lnTo>
                          <a:lnTo>
                            <a:pt x="56" y="148"/>
                          </a:lnTo>
                          <a:lnTo>
                            <a:pt x="55" y="149"/>
                          </a:lnTo>
                          <a:lnTo>
                            <a:pt x="54" y="153"/>
                          </a:lnTo>
                          <a:lnTo>
                            <a:pt x="53" y="154"/>
                          </a:lnTo>
                          <a:lnTo>
                            <a:pt x="51" y="154"/>
                          </a:lnTo>
                          <a:lnTo>
                            <a:pt x="50" y="154"/>
                          </a:lnTo>
                          <a:lnTo>
                            <a:pt x="49" y="155"/>
                          </a:lnTo>
                          <a:lnTo>
                            <a:pt x="49" y="157"/>
                          </a:lnTo>
                          <a:lnTo>
                            <a:pt x="49" y="157"/>
                          </a:lnTo>
                          <a:lnTo>
                            <a:pt x="50" y="157"/>
                          </a:lnTo>
                          <a:lnTo>
                            <a:pt x="51" y="158"/>
                          </a:lnTo>
                          <a:lnTo>
                            <a:pt x="51" y="157"/>
                          </a:lnTo>
                          <a:lnTo>
                            <a:pt x="54" y="158"/>
                          </a:lnTo>
                          <a:lnTo>
                            <a:pt x="55" y="160"/>
                          </a:lnTo>
                          <a:lnTo>
                            <a:pt x="53" y="161"/>
                          </a:lnTo>
                          <a:lnTo>
                            <a:pt x="54" y="162"/>
                          </a:lnTo>
                          <a:lnTo>
                            <a:pt x="55" y="162"/>
                          </a:lnTo>
                          <a:lnTo>
                            <a:pt x="55" y="161"/>
                          </a:lnTo>
                          <a:lnTo>
                            <a:pt x="56" y="161"/>
                          </a:lnTo>
                          <a:lnTo>
                            <a:pt x="56" y="162"/>
                          </a:lnTo>
                          <a:lnTo>
                            <a:pt x="59" y="164"/>
                          </a:lnTo>
                          <a:lnTo>
                            <a:pt x="61" y="165"/>
                          </a:lnTo>
                          <a:lnTo>
                            <a:pt x="64" y="165"/>
                          </a:lnTo>
                          <a:lnTo>
                            <a:pt x="66" y="165"/>
                          </a:lnTo>
                          <a:lnTo>
                            <a:pt x="66" y="166"/>
                          </a:lnTo>
                          <a:lnTo>
                            <a:pt x="68" y="166"/>
                          </a:lnTo>
                          <a:lnTo>
                            <a:pt x="68" y="167"/>
                          </a:lnTo>
                          <a:lnTo>
                            <a:pt x="69" y="167"/>
                          </a:lnTo>
                          <a:lnTo>
                            <a:pt x="69" y="167"/>
                          </a:lnTo>
                          <a:lnTo>
                            <a:pt x="69" y="167"/>
                          </a:lnTo>
                          <a:lnTo>
                            <a:pt x="70" y="167"/>
                          </a:lnTo>
                          <a:lnTo>
                            <a:pt x="71" y="166"/>
                          </a:lnTo>
                          <a:lnTo>
                            <a:pt x="73" y="167"/>
                          </a:lnTo>
                          <a:lnTo>
                            <a:pt x="75" y="167"/>
                          </a:lnTo>
                          <a:lnTo>
                            <a:pt x="75" y="169"/>
                          </a:lnTo>
                          <a:lnTo>
                            <a:pt x="76" y="169"/>
                          </a:lnTo>
                          <a:lnTo>
                            <a:pt x="78" y="169"/>
                          </a:lnTo>
                          <a:lnTo>
                            <a:pt x="81" y="168"/>
                          </a:lnTo>
                          <a:lnTo>
                            <a:pt x="82" y="168"/>
                          </a:lnTo>
                          <a:lnTo>
                            <a:pt x="82" y="169"/>
                          </a:lnTo>
                          <a:lnTo>
                            <a:pt x="83" y="169"/>
                          </a:lnTo>
                          <a:lnTo>
                            <a:pt x="84" y="168"/>
                          </a:lnTo>
                          <a:lnTo>
                            <a:pt x="84" y="168"/>
                          </a:lnTo>
                          <a:lnTo>
                            <a:pt x="88" y="168"/>
                          </a:lnTo>
                          <a:lnTo>
                            <a:pt x="89" y="168"/>
                          </a:lnTo>
                          <a:lnTo>
                            <a:pt x="89" y="166"/>
                          </a:lnTo>
                          <a:lnTo>
                            <a:pt x="89" y="166"/>
                          </a:lnTo>
                          <a:lnTo>
                            <a:pt x="91" y="166"/>
                          </a:lnTo>
                          <a:lnTo>
                            <a:pt x="91" y="167"/>
                          </a:lnTo>
                          <a:lnTo>
                            <a:pt x="94" y="167"/>
                          </a:lnTo>
                          <a:lnTo>
                            <a:pt x="95" y="167"/>
                          </a:lnTo>
                          <a:lnTo>
                            <a:pt x="96" y="168"/>
                          </a:lnTo>
                          <a:lnTo>
                            <a:pt x="96" y="169"/>
                          </a:lnTo>
                          <a:lnTo>
                            <a:pt x="97" y="169"/>
                          </a:lnTo>
                          <a:lnTo>
                            <a:pt x="100" y="169"/>
                          </a:lnTo>
                          <a:lnTo>
                            <a:pt x="101" y="171"/>
                          </a:lnTo>
                          <a:lnTo>
                            <a:pt x="101" y="172"/>
                          </a:lnTo>
                          <a:lnTo>
                            <a:pt x="102" y="172"/>
                          </a:lnTo>
                          <a:lnTo>
                            <a:pt x="103" y="169"/>
                          </a:lnTo>
                          <a:lnTo>
                            <a:pt x="104" y="171"/>
                          </a:lnTo>
                          <a:lnTo>
                            <a:pt x="106" y="172"/>
                          </a:lnTo>
                          <a:lnTo>
                            <a:pt x="107" y="172"/>
                          </a:lnTo>
                          <a:lnTo>
                            <a:pt x="106" y="172"/>
                          </a:lnTo>
                          <a:lnTo>
                            <a:pt x="106" y="173"/>
                          </a:lnTo>
                          <a:lnTo>
                            <a:pt x="109" y="174"/>
                          </a:lnTo>
                          <a:lnTo>
                            <a:pt x="109" y="175"/>
                          </a:lnTo>
                          <a:lnTo>
                            <a:pt x="110" y="175"/>
                          </a:lnTo>
                          <a:lnTo>
                            <a:pt x="110" y="177"/>
                          </a:lnTo>
                          <a:lnTo>
                            <a:pt x="111" y="175"/>
                          </a:lnTo>
                          <a:lnTo>
                            <a:pt x="114" y="175"/>
                          </a:lnTo>
                          <a:lnTo>
                            <a:pt x="114" y="175"/>
                          </a:lnTo>
                          <a:lnTo>
                            <a:pt x="116" y="175"/>
                          </a:lnTo>
                          <a:lnTo>
                            <a:pt x="118" y="177"/>
                          </a:lnTo>
                          <a:lnTo>
                            <a:pt x="120" y="177"/>
                          </a:lnTo>
                          <a:lnTo>
                            <a:pt x="120" y="177"/>
                          </a:lnTo>
                          <a:lnTo>
                            <a:pt x="121" y="178"/>
                          </a:lnTo>
                          <a:lnTo>
                            <a:pt x="122" y="177"/>
                          </a:lnTo>
                          <a:lnTo>
                            <a:pt x="122" y="175"/>
                          </a:lnTo>
                          <a:lnTo>
                            <a:pt x="122" y="175"/>
                          </a:lnTo>
                          <a:lnTo>
                            <a:pt x="123" y="175"/>
                          </a:lnTo>
                          <a:lnTo>
                            <a:pt x="126" y="174"/>
                          </a:lnTo>
                          <a:lnTo>
                            <a:pt x="127" y="174"/>
                          </a:lnTo>
                          <a:lnTo>
                            <a:pt x="127" y="174"/>
                          </a:lnTo>
                          <a:lnTo>
                            <a:pt x="128" y="175"/>
                          </a:lnTo>
                          <a:lnTo>
                            <a:pt x="128" y="174"/>
                          </a:lnTo>
                          <a:lnTo>
                            <a:pt x="130" y="175"/>
                          </a:lnTo>
                          <a:lnTo>
                            <a:pt x="128" y="173"/>
                          </a:lnTo>
                          <a:lnTo>
                            <a:pt x="128" y="172"/>
                          </a:lnTo>
                          <a:lnTo>
                            <a:pt x="129" y="171"/>
                          </a:lnTo>
                          <a:lnTo>
                            <a:pt x="128" y="169"/>
                          </a:lnTo>
                          <a:lnTo>
                            <a:pt x="128" y="169"/>
                          </a:lnTo>
                          <a:lnTo>
                            <a:pt x="129" y="168"/>
                          </a:lnTo>
                          <a:lnTo>
                            <a:pt x="128" y="167"/>
                          </a:lnTo>
                          <a:lnTo>
                            <a:pt x="128" y="167"/>
                          </a:lnTo>
                          <a:lnTo>
                            <a:pt x="128" y="167"/>
                          </a:lnTo>
                          <a:lnTo>
                            <a:pt x="127" y="166"/>
                          </a:lnTo>
                          <a:lnTo>
                            <a:pt x="128" y="166"/>
                          </a:lnTo>
                          <a:lnTo>
                            <a:pt x="128" y="165"/>
                          </a:lnTo>
                          <a:lnTo>
                            <a:pt x="128" y="165"/>
                          </a:lnTo>
                          <a:lnTo>
                            <a:pt x="129" y="164"/>
                          </a:lnTo>
                          <a:lnTo>
                            <a:pt x="129" y="162"/>
                          </a:lnTo>
                          <a:lnTo>
                            <a:pt x="129" y="161"/>
                          </a:lnTo>
                          <a:lnTo>
                            <a:pt x="129" y="161"/>
                          </a:lnTo>
                          <a:lnTo>
                            <a:pt x="129" y="158"/>
                          </a:lnTo>
                          <a:lnTo>
                            <a:pt x="133" y="158"/>
                          </a:lnTo>
                          <a:lnTo>
                            <a:pt x="135" y="157"/>
                          </a:lnTo>
                          <a:lnTo>
                            <a:pt x="135" y="157"/>
                          </a:lnTo>
                          <a:lnTo>
                            <a:pt x="136" y="155"/>
                          </a:lnTo>
                          <a:lnTo>
                            <a:pt x="138" y="155"/>
                          </a:lnTo>
                          <a:lnTo>
                            <a:pt x="140" y="154"/>
                          </a:lnTo>
                          <a:lnTo>
                            <a:pt x="141" y="153"/>
                          </a:lnTo>
                          <a:lnTo>
                            <a:pt x="143" y="152"/>
                          </a:lnTo>
                          <a:lnTo>
                            <a:pt x="146" y="151"/>
                          </a:lnTo>
                          <a:lnTo>
                            <a:pt x="147" y="152"/>
                          </a:lnTo>
                          <a:lnTo>
                            <a:pt x="147" y="152"/>
                          </a:lnTo>
                          <a:lnTo>
                            <a:pt x="146" y="152"/>
                          </a:lnTo>
                          <a:lnTo>
                            <a:pt x="147" y="153"/>
                          </a:lnTo>
                          <a:lnTo>
                            <a:pt x="147" y="153"/>
                          </a:lnTo>
                          <a:lnTo>
                            <a:pt x="149" y="153"/>
                          </a:lnTo>
                          <a:lnTo>
                            <a:pt x="148" y="153"/>
                          </a:lnTo>
                          <a:lnTo>
                            <a:pt x="149" y="152"/>
                          </a:lnTo>
                          <a:lnTo>
                            <a:pt x="149" y="153"/>
                          </a:lnTo>
                          <a:lnTo>
                            <a:pt x="149" y="153"/>
                          </a:lnTo>
                          <a:lnTo>
                            <a:pt x="151" y="153"/>
                          </a:lnTo>
                          <a:lnTo>
                            <a:pt x="153" y="153"/>
                          </a:lnTo>
                          <a:lnTo>
                            <a:pt x="154" y="154"/>
                          </a:lnTo>
                          <a:lnTo>
                            <a:pt x="154" y="154"/>
                          </a:lnTo>
                          <a:lnTo>
                            <a:pt x="154" y="154"/>
                          </a:lnTo>
                          <a:lnTo>
                            <a:pt x="154" y="155"/>
                          </a:lnTo>
                          <a:lnTo>
                            <a:pt x="154" y="155"/>
                          </a:lnTo>
                          <a:lnTo>
                            <a:pt x="154" y="155"/>
                          </a:lnTo>
                          <a:lnTo>
                            <a:pt x="156" y="155"/>
                          </a:lnTo>
                          <a:lnTo>
                            <a:pt x="157" y="155"/>
                          </a:lnTo>
                          <a:lnTo>
                            <a:pt x="157" y="155"/>
                          </a:lnTo>
                          <a:lnTo>
                            <a:pt x="156" y="155"/>
                          </a:lnTo>
                          <a:lnTo>
                            <a:pt x="156" y="154"/>
                          </a:lnTo>
                          <a:lnTo>
                            <a:pt x="156" y="154"/>
                          </a:lnTo>
                          <a:lnTo>
                            <a:pt x="156" y="153"/>
                          </a:lnTo>
                          <a:lnTo>
                            <a:pt x="156" y="151"/>
                          </a:lnTo>
                          <a:lnTo>
                            <a:pt x="156" y="151"/>
                          </a:lnTo>
                          <a:lnTo>
                            <a:pt x="156" y="152"/>
                          </a:lnTo>
                          <a:lnTo>
                            <a:pt x="156" y="153"/>
                          </a:lnTo>
                          <a:lnTo>
                            <a:pt x="156" y="154"/>
                          </a:lnTo>
                          <a:lnTo>
                            <a:pt x="156" y="154"/>
                          </a:lnTo>
                          <a:lnTo>
                            <a:pt x="157" y="154"/>
                          </a:lnTo>
                          <a:lnTo>
                            <a:pt x="158" y="155"/>
                          </a:lnTo>
                          <a:lnTo>
                            <a:pt x="158" y="154"/>
                          </a:lnTo>
                          <a:lnTo>
                            <a:pt x="157" y="154"/>
                          </a:lnTo>
                          <a:lnTo>
                            <a:pt x="160" y="154"/>
                          </a:lnTo>
                          <a:lnTo>
                            <a:pt x="160" y="154"/>
                          </a:lnTo>
                          <a:lnTo>
                            <a:pt x="161" y="154"/>
                          </a:lnTo>
                          <a:lnTo>
                            <a:pt x="161" y="154"/>
                          </a:lnTo>
                          <a:lnTo>
                            <a:pt x="161" y="154"/>
                          </a:lnTo>
                          <a:lnTo>
                            <a:pt x="161" y="153"/>
                          </a:lnTo>
                          <a:lnTo>
                            <a:pt x="162" y="153"/>
                          </a:lnTo>
                          <a:lnTo>
                            <a:pt x="161" y="153"/>
                          </a:lnTo>
                          <a:lnTo>
                            <a:pt x="161" y="153"/>
                          </a:lnTo>
                          <a:lnTo>
                            <a:pt x="161" y="152"/>
                          </a:lnTo>
                          <a:lnTo>
                            <a:pt x="161" y="152"/>
                          </a:lnTo>
                          <a:lnTo>
                            <a:pt x="163" y="152"/>
                          </a:lnTo>
                          <a:lnTo>
                            <a:pt x="164" y="153"/>
                          </a:lnTo>
                          <a:lnTo>
                            <a:pt x="164" y="153"/>
                          </a:lnTo>
                          <a:lnTo>
                            <a:pt x="163" y="154"/>
                          </a:lnTo>
                          <a:lnTo>
                            <a:pt x="162" y="154"/>
                          </a:lnTo>
                          <a:lnTo>
                            <a:pt x="162" y="154"/>
                          </a:lnTo>
                          <a:lnTo>
                            <a:pt x="161" y="154"/>
                          </a:lnTo>
                          <a:lnTo>
                            <a:pt x="161" y="155"/>
                          </a:lnTo>
                          <a:lnTo>
                            <a:pt x="161" y="155"/>
                          </a:lnTo>
                          <a:lnTo>
                            <a:pt x="161" y="155"/>
                          </a:lnTo>
                          <a:lnTo>
                            <a:pt x="162" y="155"/>
                          </a:lnTo>
                          <a:lnTo>
                            <a:pt x="164" y="157"/>
                          </a:lnTo>
                          <a:lnTo>
                            <a:pt x="166" y="155"/>
                          </a:lnTo>
                          <a:lnTo>
                            <a:pt x="166" y="155"/>
                          </a:lnTo>
                          <a:lnTo>
                            <a:pt x="167" y="157"/>
                          </a:lnTo>
                          <a:lnTo>
                            <a:pt x="167" y="158"/>
                          </a:lnTo>
                          <a:lnTo>
                            <a:pt x="167" y="158"/>
                          </a:lnTo>
                          <a:lnTo>
                            <a:pt x="167" y="158"/>
                          </a:lnTo>
                          <a:lnTo>
                            <a:pt x="168" y="159"/>
                          </a:lnTo>
                          <a:lnTo>
                            <a:pt x="169" y="159"/>
                          </a:lnTo>
                          <a:lnTo>
                            <a:pt x="169" y="158"/>
                          </a:lnTo>
                          <a:lnTo>
                            <a:pt x="170" y="159"/>
                          </a:lnTo>
                          <a:lnTo>
                            <a:pt x="171" y="159"/>
                          </a:lnTo>
                          <a:lnTo>
                            <a:pt x="174" y="160"/>
                          </a:lnTo>
                          <a:lnTo>
                            <a:pt x="174" y="160"/>
                          </a:lnTo>
                          <a:lnTo>
                            <a:pt x="174" y="160"/>
                          </a:lnTo>
                          <a:lnTo>
                            <a:pt x="174" y="160"/>
                          </a:lnTo>
                          <a:lnTo>
                            <a:pt x="174" y="160"/>
                          </a:lnTo>
                          <a:lnTo>
                            <a:pt x="174" y="161"/>
                          </a:lnTo>
                          <a:lnTo>
                            <a:pt x="174" y="161"/>
                          </a:lnTo>
                          <a:lnTo>
                            <a:pt x="175" y="161"/>
                          </a:lnTo>
                          <a:lnTo>
                            <a:pt x="175" y="161"/>
                          </a:lnTo>
                          <a:lnTo>
                            <a:pt x="176" y="161"/>
                          </a:lnTo>
                          <a:lnTo>
                            <a:pt x="176" y="160"/>
                          </a:lnTo>
                          <a:lnTo>
                            <a:pt x="177" y="160"/>
                          </a:lnTo>
                          <a:lnTo>
                            <a:pt x="178" y="160"/>
                          </a:lnTo>
                          <a:lnTo>
                            <a:pt x="178" y="160"/>
                          </a:lnTo>
                          <a:lnTo>
                            <a:pt x="180" y="161"/>
                          </a:lnTo>
                          <a:lnTo>
                            <a:pt x="180" y="161"/>
                          </a:lnTo>
                          <a:lnTo>
                            <a:pt x="180" y="161"/>
                          </a:lnTo>
                          <a:lnTo>
                            <a:pt x="180" y="161"/>
                          </a:lnTo>
                          <a:lnTo>
                            <a:pt x="180" y="160"/>
                          </a:lnTo>
                          <a:lnTo>
                            <a:pt x="180" y="160"/>
                          </a:lnTo>
                          <a:lnTo>
                            <a:pt x="184" y="159"/>
                          </a:lnTo>
                          <a:lnTo>
                            <a:pt x="186" y="159"/>
                          </a:lnTo>
                          <a:lnTo>
                            <a:pt x="187" y="159"/>
                          </a:lnTo>
                          <a:lnTo>
                            <a:pt x="187" y="159"/>
                          </a:lnTo>
                          <a:lnTo>
                            <a:pt x="187" y="159"/>
                          </a:lnTo>
                          <a:lnTo>
                            <a:pt x="188" y="159"/>
                          </a:lnTo>
                          <a:lnTo>
                            <a:pt x="189" y="158"/>
                          </a:lnTo>
                          <a:lnTo>
                            <a:pt x="188" y="157"/>
                          </a:lnTo>
                          <a:lnTo>
                            <a:pt x="186" y="158"/>
                          </a:lnTo>
                          <a:lnTo>
                            <a:pt x="187" y="157"/>
                          </a:lnTo>
                          <a:lnTo>
                            <a:pt x="187" y="157"/>
                          </a:lnTo>
                          <a:lnTo>
                            <a:pt x="188" y="157"/>
                          </a:lnTo>
                          <a:lnTo>
                            <a:pt x="188" y="155"/>
                          </a:lnTo>
                          <a:lnTo>
                            <a:pt x="189" y="155"/>
                          </a:lnTo>
                          <a:lnTo>
                            <a:pt x="189" y="154"/>
                          </a:lnTo>
                          <a:lnTo>
                            <a:pt x="190" y="154"/>
                          </a:lnTo>
                          <a:lnTo>
                            <a:pt x="190" y="154"/>
                          </a:lnTo>
                          <a:lnTo>
                            <a:pt x="191" y="154"/>
                          </a:lnTo>
                          <a:lnTo>
                            <a:pt x="193" y="152"/>
                          </a:lnTo>
                          <a:lnTo>
                            <a:pt x="193" y="151"/>
                          </a:lnTo>
                          <a:lnTo>
                            <a:pt x="194" y="151"/>
                          </a:lnTo>
                          <a:lnTo>
                            <a:pt x="195" y="149"/>
                          </a:lnTo>
                          <a:lnTo>
                            <a:pt x="195" y="149"/>
                          </a:lnTo>
                          <a:lnTo>
                            <a:pt x="196" y="149"/>
                          </a:lnTo>
                          <a:lnTo>
                            <a:pt x="197" y="148"/>
                          </a:lnTo>
                          <a:lnTo>
                            <a:pt x="197" y="149"/>
                          </a:lnTo>
                          <a:lnTo>
                            <a:pt x="198" y="149"/>
                          </a:lnTo>
                          <a:lnTo>
                            <a:pt x="200" y="148"/>
                          </a:lnTo>
                          <a:lnTo>
                            <a:pt x="200" y="149"/>
                          </a:lnTo>
                          <a:lnTo>
                            <a:pt x="200" y="149"/>
                          </a:lnTo>
                          <a:lnTo>
                            <a:pt x="200" y="148"/>
                          </a:lnTo>
                          <a:lnTo>
                            <a:pt x="200" y="148"/>
                          </a:lnTo>
                          <a:lnTo>
                            <a:pt x="201" y="148"/>
                          </a:lnTo>
                          <a:lnTo>
                            <a:pt x="201" y="148"/>
                          </a:lnTo>
                          <a:lnTo>
                            <a:pt x="201" y="148"/>
                          </a:lnTo>
                          <a:lnTo>
                            <a:pt x="201" y="148"/>
                          </a:lnTo>
                          <a:lnTo>
                            <a:pt x="201" y="148"/>
                          </a:lnTo>
                          <a:lnTo>
                            <a:pt x="201" y="148"/>
                          </a:lnTo>
                          <a:lnTo>
                            <a:pt x="201" y="148"/>
                          </a:lnTo>
                          <a:lnTo>
                            <a:pt x="201" y="148"/>
                          </a:lnTo>
                          <a:lnTo>
                            <a:pt x="201" y="148"/>
                          </a:lnTo>
                          <a:lnTo>
                            <a:pt x="202" y="148"/>
                          </a:lnTo>
                          <a:lnTo>
                            <a:pt x="202" y="148"/>
                          </a:lnTo>
                          <a:lnTo>
                            <a:pt x="202" y="148"/>
                          </a:lnTo>
                          <a:lnTo>
                            <a:pt x="202" y="148"/>
                          </a:lnTo>
                          <a:lnTo>
                            <a:pt x="202" y="148"/>
                          </a:lnTo>
                          <a:lnTo>
                            <a:pt x="203" y="147"/>
                          </a:lnTo>
                          <a:lnTo>
                            <a:pt x="203" y="146"/>
                          </a:lnTo>
                          <a:lnTo>
                            <a:pt x="203" y="145"/>
                          </a:lnTo>
                          <a:lnTo>
                            <a:pt x="206" y="142"/>
                          </a:lnTo>
                          <a:lnTo>
                            <a:pt x="206" y="141"/>
                          </a:lnTo>
                          <a:lnTo>
                            <a:pt x="206" y="140"/>
                          </a:lnTo>
                          <a:lnTo>
                            <a:pt x="206" y="140"/>
                          </a:lnTo>
                          <a:lnTo>
                            <a:pt x="204" y="140"/>
                          </a:lnTo>
                          <a:lnTo>
                            <a:pt x="203" y="140"/>
                          </a:lnTo>
                          <a:lnTo>
                            <a:pt x="203" y="141"/>
                          </a:lnTo>
                          <a:lnTo>
                            <a:pt x="201" y="140"/>
                          </a:lnTo>
                          <a:lnTo>
                            <a:pt x="200" y="140"/>
                          </a:lnTo>
                          <a:lnTo>
                            <a:pt x="198" y="139"/>
                          </a:lnTo>
                          <a:lnTo>
                            <a:pt x="197" y="139"/>
                          </a:lnTo>
                          <a:lnTo>
                            <a:pt x="196" y="139"/>
                          </a:lnTo>
                          <a:lnTo>
                            <a:pt x="196" y="139"/>
                          </a:lnTo>
                          <a:lnTo>
                            <a:pt x="196" y="138"/>
                          </a:lnTo>
                          <a:lnTo>
                            <a:pt x="194" y="138"/>
                          </a:lnTo>
                          <a:lnTo>
                            <a:pt x="194" y="137"/>
                          </a:lnTo>
                          <a:lnTo>
                            <a:pt x="194" y="137"/>
                          </a:lnTo>
                          <a:lnTo>
                            <a:pt x="193" y="137"/>
                          </a:lnTo>
                          <a:lnTo>
                            <a:pt x="191" y="137"/>
                          </a:lnTo>
                          <a:lnTo>
                            <a:pt x="191" y="135"/>
                          </a:lnTo>
                          <a:lnTo>
                            <a:pt x="193" y="135"/>
                          </a:lnTo>
                          <a:lnTo>
                            <a:pt x="193" y="134"/>
                          </a:lnTo>
                          <a:lnTo>
                            <a:pt x="193" y="134"/>
                          </a:lnTo>
                          <a:lnTo>
                            <a:pt x="191" y="133"/>
                          </a:lnTo>
                          <a:lnTo>
                            <a:pt x="191" y="132"/>
                          </a:lnTo>
                          <a:lnTo>
                            <a:pt x="193" y="131"/>
                          </a:lnTo>
                          <a:lnTo>
                            <a:pt x="193" y="131"/>
                          </a:lnTo>
                          <a:lnTo>
                            <a:pt x="193" y="129"/>
                          </a:lnTo>
                          <a:lnTo>
                            <a:pt x="194" y="129"/>
                          </a:lnTo>
                          <a:lnTo>
                            <a:pt x="194" y="128"/>
                          </a:lnTo>
                          <a:lnTo>
                            <a:pt x="194" y="127"/>
                          </a:lnTo>
                          <a:lnTo>
                            <a:pt x="193" y="127"/>
                          </a:lnTo>
                          <a:lnTo>
                            <a:pt x="193" y="126"/>
                          </a:lnTo>
                          <a:lnTo>
                            <a:pt x="191" y="125"/>
                          </a:lnTo>
                          <a:lnTo>
                            <a:pt x="189" y="125"/>
                          </a:lnTo>
                          <a:lnTo>
                            <a:pt x="187" y="125"/>
                          </a:lnTo>
                          <a:lnTo>
                            <a:pt x="186" y="122"/>
                          </a:lnTo>
                          <a:lnTo>
                            <a:pt x="186" y="122"/>
                          </a:lnTo>
                          <a:lnTo>
                            <a:pt x="186" y="121"/>
                          </a:lnTo>
                          <a:lnTo>
                            <a:pt x="184" y="120"/>
                          </a:lnTo>
                          <a:lnTo>
                            <a:pt x="187" y="120"/>
                          </a:lnTo>
                          <a:lnTo>
                            <a:pt x="188" y="120"/>
                          </a:lnTo>
                          <a:lnTo>
                            <a:pt x="189" y="120"/>
                          </a:lnTo>
                          <a:lnTo>
                            <a:pt x="189" y="120"/>
                          </a:lnTo>
                          <a:lnTo>
                            <a:pt x="189" y="120"/>
                          </a:lnTo>
                          <a:lnTo>
                            <a:pt x="190" y="119"/>
                          </a:lnTo>
                          <a:lnTo>
                            <a:pt x="193" y="119"/>
                          </a:lnTo>
                          <a:lnTo>
                            <a:pt x="191" y="118"/>
                          </a:lnTo>
                          <a:lnTo>
                            <a:pt x="193" y="117"/>
                          </a:lnTo>
                          <a:lnTo>
                            <a:pt x="193" y="115"/>
                          </a:lnTo>
                          <a:lnTo>
                            <a:pt x="191" y="114"/>
                          </a:lnTo>
                          <a:lnTo>
                            <a:pt x="191" y="114"/>
                          </a:lnTo>
                          <a:lnTo>
                            <a:pt x="190" y="113"/>
                          </a:lnTo>
                          <a:lnTo>
                            <a:pt x="190" y="112"/>
                          </a:lnTo>
                          <a:lnTo>
                            <a:pt x="190" y="111"/>
                          </a:lnTo>
                          <a:lnTo>
                            <a:pt x="189" y="111"/>
                          </a:lnTo>
                          <a:lnTo>
                            <a:pt x="189" y="109"/>
                          </a:lnTo>
                          <a:lnTo>
                            <a:pt x="188" y="108"/>
                          </a:lnTo>
                          <a:lnTo>
                            <a:pt x="187" y="107"/>
                          </a:lnTo>
                          <a:lnTo>
                            <a:pt x="188" y="106"/>
                          </a:lnTo>
                          <a:lnTo>
                            <a:pt x="190" y="106"/>
                          </a:lnTo>
                          <a:lnTo>
                            <a:pt x="191" y="104"/>
                          </a:lnTo>
                          <a:lnTo>
                            <a:pt x="190" y="102"/>
                          </a:lnTo>
                          <a:lnTo>
                            <a:pt x="188" y="101"/>
                          </a:lnTo>
                          <a:lnTo>
                            <a:pt x="188" y="101"/>
                          </a:lnTo>
                          <a:lnTo>
                            <a:pt x="188" y="100"/>
                          </a:lnTo>
                          <a:lnTo>
                            <a:pt x="187" y="100"/>
                          </a:lnTo>
                          <a:lnTo>
                            <a:pt x="187" y="99"/>
                          </a:lnTo>
                          <a:lnTo>
                            <a:pt x="187" y="98"/>
                          </a:lnTo>
                          <a:lnTo>
                            <a:pt x="187" y="97"/>
                          </a:lnTo>
                          <a:lnTo>
                            <a:pt x="187" y="95"/>
                          </a:lnTo>
                          <a:lnTo>
                            <a:pt x="187" y="94"/>
                          </a:lnTo>
                          <a:lnTo>
                            <a:pt x="184" y="94"/>
                          </a:lnTo>
                          <a:lnTo>
                            <a:pt x="182" y="94"/>
                          </a:lnTo>
                          <a:lnTo>
                            <a:pt x="180" y="94"/>
                          </a:lnTo>
                          <a:lnTo>
                            <a:pt x="178" y="95"/>
                          </a:lnTo>
                          <a:lnTo>
                            <a:pt x="177" y="97"/>
                          </a:lnTo>
                          <a:lnTo>
                            <a:pt x="177" y="97"/>
                          </a:lnTo>
                          <a:lnTo>
                            <a:pt x="177" y="98"/>
                          </a:lnTo>
                          <a:lnTo>
                            <a:pt x="178" y="98"/>
                          </a:lnTo>
                          <a:lnTo>
                            <a:pt x="177" y="99"/>
                          </a:lnTo>
                          <a:lnTo>
                            <a:pt x="177" y="100"/>
                          </a:lnTo>
                          <a:lnTo>
                            <a:pt x="176" y="100"/>
                          </a:lnTo>
                          <a:lnTo>
                            <a:pt x="174" y="100"/>
                          </a:lnTo>
                          <a:lnTo>
                            <a:pt x="174" y="99"/>
                          </a:lnTo>
                          <a:lnTo>
                            <a:pt x="174" y="99"/>
                          </a:lnTo>
                          <a:lnTo>
                            <a:pt x="175" y="98"/>
                          </a:lnTo>
                          <a:lnTo>
                            <a:pt x="176" y="98"/>
                          </a:lnTo>
                          <a:lnTo>
                            <a:pt x="176" y="98"/>
                          </a:lnTo>
                          <a:lnTo>
                            <a:pt x="176" y="97"/>
                          </a:lnTo>
                          <a:lnTo>
                            <a:pt x="176" y="95"/>
                          </a:lnTo>
                          <a:lnTo>
                            <a:pt x="175" y="94"/>
                          </a:lnTo>
                          <a:lnTo>
                            <a:pt x="175" y="94"/>
                          </a:lnTo>
                          <a:lnTo>
                            <a:pt x="175" y="94"/>
                          </a:lnTo>
                          <a:lnTo>
                            <a:pt x="176" y="92"/>
                          </a:lnTo>
                          <a:lnTo>
                            <a:pt x="176" y="91"/>
                          </a:lnTo>
                          <a:lnTo>
                            <a:pt x="176" y="91"/>
                          </a:lnTo>
                          <a:lnTo>
                            <a:pt x="178" y="90"/>
                          </a:lnTo>
                          <a:lnTo>
                            <a:pt x="181" y="88"/>
                          </a:lnTo>
                          <a:lnTo>
                            <a:pt x="181" y="86"/>
                          </a:lnTo>
                          <a:lnTo>
                            <a:pt x="181" y="86"/>
                          </a:lnTo>
                          <a:lnTo>
                            <a:pt x="181" y="85"/>
                          </a:lnTo>
                          <a:lnTo>
                            <a:pt x="182" y="84"/>
                          </a:lnTo>
                          <a:lnTo>
                            <a:pt x="184" y="82"/>
                          </a:lnTo>
                          <a:lnTo>
                            <a:pt x="184" y="81"/>
                          </a:lnTo>
                          <a:lnTo>
                            <a:pt x="187" y="80"/>
                          </a:lnTo>
                          <a:lnTo>
                            <a:pt x="188" y="79"/>
                          </a:lnTo>
                          <a:lnTo>
                            <a:pt x="188" y="78"/>
                          </a:lnTo>
                          <a:lnTo>
                            <a:pt x="188" y="78"/>
                          </a:lnTo>
                          <a:lnTo>
                            <a:pt x="189" y="77"/>
                          </a:lnTo>
                          <a:lnTo>
                            <a:pt x="189" y="77"/>
                          </a:lnTo>
                          <a:lnTo>
                            <a:pt x="189" y="75"/>
                          </a:lnTo>
                          <a:lnTo>
                            <a:pt x="188" y="75"/>
                          </a:lnTo>
                          <a:lnTo>
                            <a:pt x="188" y="75"/>
                          </a:lnTo>
                          <a:lnTo>
                            <a:pt x="188" y="74"/>
                          </a:lnTo>
                          <a:lnTo>
                            <a:pt x="189" y="73"/>
                          </a:lnTo>
                          <a:lnTo>
                            <a:pt x="189" y="73"/>
                          </a:lnTo>
                          <a:lnTo>
                            <a:pt x="190" y="73"/>
                          </a:lnTo>
                          <a:lnTo>
                            <a:pt x="191" y="73"/>
                          </a:lnTo>
                          <a:lnTo>
                            <a:pt x="193" y="74"/>
                          </a:lnTo>
                          <a:lnTo>
                            <a:pt x="194" y="74"/>
                          </a:lnTo>
                          <a:lnTo>
                            <a:pt x="195" y="74"/>
                          </a:lnTo>
                          <a:lnTo>
                            <a:pt x="196" y="74"/>
                          </a:lnTo>
                          <a:lnTo>
                            <a:pt x="197" y="73"/>
                          </a:lnTo>
                          <a:lnTo>
                            <a:pt x="197" y="73"/>
                          </a:lnTo>
                          <a:lnTo>
                            <a:pt x="197" y="72"/>
                          </a:lnTo>
                          <a:lnTo>
                            <a:pt x="197" y="72"/>
                          </a:lnTo>
                          <a:lnTo>
                            <a:pt x="198" y="71"/>
                          </a:lnTo>
                          <a:lnTo>
                            <a:pt x="198" y="71"/>
                          </a:lnTo>
                          <a:lnTo>
                            <a:pt x="198" y="71"/>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grpSp>
            </p:grpSp>
            <p:sp>
              <p:nvSpPr>
                <p:cNvPr id="404" name="Ethiopia">
                  <a:extLst>
                    <a:ext uri="{FF2B5EF4-FFF2-40B4-BE49-F238E27FC236}">
                      <a16:creationId xmlns:a16="http://schemas.microsoft.com/office/drawing/2014/main" id="{5262E9F4-DB27-8F48-9D39-4B19B80BA642}"/>
                    </a:ext>
                  </a:extLst>
                </p:cNvPr>
                <p:cNvSpPr>
                  <a:spLocks/>
                </p:cNvSpPr>
                <p:nvPr>
                  <p:custDataLst>
                    <p:tags r:id="rId10"/>
                  </p:custDataLst>
                </p:nvPr>
              </p:nvSpPr>
              <p:spPr bwMode="auto">
                <a:xfrm>
                  <a:off x="7234183" y="3541857"/>
                  <a:ext cx="368862" cy="341161"/>
                </a:xfrm>
                <a:custGeom>
                  <a:avLst/>
                  <a:gdLst>
                    <a:gd name="T0" fmla="*/ 63 w 253"/>
                    <a:gd name="T1" fmla="*/ 12 h 234"/>
                    <a:gd name="T2" fmla="*/ 68 w 253"/>
                    <a:gd name="T3" fmla="*/ 13 h 234"/>
                    <a:gd name="T4" fmla="*/ 72 w 253"/>
                    <a:gd name="T5" fmla="*/ 9 h 234"/>
                    <a:gd name="T6" fmla="*/ 76 w 253"/>
                    <a:gd name="T7" fmla="*/ 13 h 234"/>
                    <a:gd name="T8" fmla="*/ 77 w 253"/>
                    <a:gd name="T9" fmla="*/ 16 h 234"/>
                    <a:gd name="T10" fmla="*/ 82 w 253"/>
                    <a:gd name="T11" fmla="*/ 9 h 234"/>
                    <a:gd name="T12" fmla="*/ 86 w 253"/>
                    <a:gd name="T13" fmla="*/ 2 h 234"/>
                    <a:gd name="T14" fmla="*/ 90 w 253"/>
                    <a:gd name="T15" fmla="*/ 6 h 234"/>
                    <a:gd name="T16" fmla="*/ 95 w 253"/>
                    <a:gd name="T17" fmla="*/ 9 h 234"/>
                    <a:gd name="T18" fmla="*/ 100 w 253"/>
                    <a:gd name="T19" fmla="*/ 8 h 234"/>
                    <a:gd name="T20" fmla="*/ 103 w 253"/>
                    <a:gd name="T21" fmla="*/ 7 h 234"/>
                    <a:gd name="T22" fmla="*/ 107 w 253"/>
                    <a:gd name="T23" fmla="*/ 8 h 234"/>
                    <a:gd name="T24" fmla="*/ 110 w 253"/>
                    <a:gd name="T25" fmla="*/ 8 h 234"/>
                    <a:gd name="T26" fmla="*/ 114 w 253"/>
                    <a:gd name="T27" fmla="*/ 7 h 234"/>
                    <a:gd name="T28" fmla="*/ 117 w 253"/>
                    <a:gd name="T29" fmla="*/ 8 h 234"/>
                    <a:gd name="T30" fmla="*/ 122 w 253"/>
                    <a:gd name="T31" fmla="*/ 8 h 234"/>
                    <a:gd name="T32" fmla="*/ 129 w 253"/>
                    <a:gd name="T33" fmla="*/ 13 h 234"/>
                    <a:gd name="T34" fmla="*/ 139 w 253"/>
                    <a:gd name="T35" fmla="*/ 18 h 234"/>
                    <a:gd name="T36" fmla="*/ 154 w 253"/>
                    <a:gd name="T37" fmla="*/ 34 h 234"/>
                    <a:gd name="T38" fmla="*/ 162 w 253"/>
                    <a:gd name="T39" fmla="*/ 44 h 234"/>
                    <a:gd name="T40" fmla="*/ 159 w 253"/>
                    <a:gd name="T41" fmla="*/ 62 h 234"/>
                    <a:gd name="T42" fmla="*/ 160 w 253"/>
                    <a:gd name="T43" fmla="*/ 81 h 234"/>
                    <a:gd name="T44" fmla="*/ 167 w 253"/>
                    <a:gd name="T45" fmla="*/ 79 h 234"/>
                    <a:gd name="T46" fmla="*/ 174 w 253"/>
                    <a:gd name="T47" fmla="*/ 78 h 234"/>
                    <a:gd name="T48" fmla="*/ 179 w 253"/>
                    <a:gd name="T49" fmla="*/ 79 h 234"/>
                    <a:gd name="T50" fmla="*/ 177 w 253"/>
                    <a:gd name="T51" fmla="*/ 96 h 234"/>
                    <a:gd name="T52" fmla="*/ 188 w 253"/>
                    <a:gd name="T53" fmla="*/ 112 h 234"/>
                    <a:gd name="T54" fmla="*/ 189 w 253"/>
                    <a:gd name="T55" fmla="*/ 208 h 234"/>
                    <a:gd name="T56" fmla="*/ 164 w 253"/>
                    <a:gd name="T57" fmla="*/ 220 h 234"/>
                    <a:gd name="T58" fmla="*/ 155 w 253"/>
                    <a:gd name="T59" fmla="*/ 223 h 234"/>
                    <a:gd name="T60" fmla="*/ 144 w 253"/>
                    <a:gd name="T61" fmla="*/ 219 h 234"/>
                    <a:gd name="T62" fmla="*/ 121 w 253"/>
                    <a:gd name="T63" fmla="*/ 233 h 234"/>
                    <a:gd name="T64" fmla="*/ 116 w 253"/>
                    <a:gd name="T65" fmla="*/ 233 h 234"/>
                    <a:gd name="T66" fmla="*/ 103 w 253"/>
                    <a:gd name="T67" fmla="*/ 229 h 234"/>
                    <a:gd name="T68" fmla="*/ 94 w 253"/>
                    <a:gd name="T69" fmla="*/ 229 h 234"/>
                    <a:gd name="T70" fmla="*/ 56 w 253"/>
                    <a:gd name="T71" fmla="*/ 214 h 234"/>
                    <a:gd name="T72" fmla="*/ 52 w 253"/>
                    <a:gd name="T73" fmla="*/ 198 h 234"/>
                    <a:gd name="T74" fmla="*/ 47 w 253"/>
                    <a:gd name="T75" fmla="*/ 193 h 234"/>
                    <a:gd name="T76" fmla="*/ 42 w 253"/>
                    <a:gd name="T77" fmla="*/ 193 h 234"/>
                    <a:gd name="T78" fmla="*/ 36 w 253"/>
                    <a:gd name="T79" fmla="*/ 182 h 234"/>
                    <a:gd name="T80" fmla="*/ 34 w 253"/>
                    <a:gd name="T81" fmla="*/ 174 h 234"/>
                    <a:gd name="T82" fmla="*/ 30 w 253"/>
                    <a:gd name="T83" fmla="*/ 167 h 234"/>
                    <a:gd name="T84" fmla="*/ 22 w 253"/>
                    <a:gd name="T85" fmla="*/ 160 h 234"/>
                    <a:gd name="T86" fmla="*/ 19 w 253"/>
                    <a:gd name="T87" fmla="*/ 156 h 234"/>
                    <a:gd name="T88" fmla="*/ 12 w 253"/>
                    <a:gd name="T89" fmla="*/ 147 h 234"/>
                    <a:gd name="T90" fmla="*/ 5 w 253"/>
                    <a:gd name="T91" fmla="*/ 146 h 234"/>
                    <a:gd name="T92" fmla="*/ 0 w 253"/>
                    <a:gd name="T93" fmla="*/ 142 h 234"/>
                    <a:gd name="T94" fmla="*/ 3 w 253"/>
                    <a:gd name="T95" fmla="*/ 139 h 234"/>
                    <a:gd name="T96" fmla="*/ 2 w 253"/>
                    <a:gd name="T97" fmla="*/ 133 h 234"/>
                    <a:gd name="T98" fmla="*/ 7 w 253"/>
                    <a:gd name="T99" fmla="*/ 132 h 234"/>
                    <a:gd name="T100" fmla="*/ 13 w 253"/>
                    <a:gd name="T101" fmla="*/ 133 h 234"/>
                    <a:gd name="T102" fmla="*/ 20 w 253"/>
                    <a:gd name="T103" fmla="*/ 121 h 234"/>
                    <a:gd name="T104" fmla="*/ 22 w 253"/>
                    <a:gd name="T105" fmla="*/ 96 h 234"/>
                    <a:gd name="T106" fmla="*/ 30 w 253"/>
                    <a:gd name="T107" fmla="*/ 85 h 234"/>
                    <a:gd name="T108" fmla="*/ 34 w 253"/>
                    <a:gd name="T109" fmla="*/ 81 h 234"/>
                    <a:gd name="T110" fmla="*/ 36 w 253"/>
                    <a:gd name="T111" fmla="*/ 68 h 234"/>
                    <a:gd name="T112" fmla="*/ 39 w 253"/>
                    <a:gd name="T113" fmla="*/ 61 h 234"/>
                    <a:gd name="T114" fmla="*/ 41 w 253"/>
                    <a:gd name="T115" fmla="*/ 54 h 234"/>
                    <a:gd name="T116" fmla="*/ 52 w 253"/>
                    <a:gd name="T117" fmla="*/ 44 h 234"/>
                    <a:gd name="T118" fmla="*/ 54 w 253"/>
                    <a:gd name="T119" fmla="*/ 40 h 234"/>
                    <a:gd name="T120" fmla="*/ 59 w 253"/>
                    <a:gd name="T121" fmla="*/ 26 h 2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3" h="234">
                      <a:moveTo>
                        <a:pt x="61" y="14"/>
                      </a:moveTo>
                      <a:lnTo>
                        <a:pt x="61" y="12"/>
                      </a:lnTo>
                      <a:lnTo>
                        <a:pt x="61" y="13"/>
                      </a:lnTo>
                      <a:lnTo>
                        <a:pt x="62" y="12"/>
                      </a:lnTo>
                      <a:lnTo>
                        <a:pt x="63" y="13"/>
                      </a:lnTo>
                      <a:lnTo>
                        <a:pt x="63" y="12"/>
                      </a:lnTo>
                      <a:lnTo>
                        <a:pt x="64" y="12"/>
                      </a:lnTo>
                      <a:lnTo>
                        <a:pt x="66" y="12"/>
                      </a:lnTo>
                      <a:lnTo>
                        <a:pt x="67" y="12"/>
                      </a:lnTo>
                      <a:lnTo>
                        <a:pt x="68" y="13"/>
                      </a:lnTo>
                      <a:lnTo>
                        <a:pt x="68" y="13"/>
                      </a:lnTo>
                      <a:lnTo>
                        <a:pt x="68" y="13"/>
                      </a:lnTo>
                      <a:lnTo>
                        <a:pt x="69" y="13"/>
                      </a:lnTo>
                      <a:lnTo>
                        <a:pt x="70" y="13"/>
                      </a:lnTo>
                      <a:lnTo>
                        <a:pt x="70" y="11"/>
                      </a:lnTo>
                      <a:lnTo>
                        <a:pt x="70" y="9"/>
                      </a:lnTo>
                      <a:lnTo>
                        <a:pt x="72" y="9"/>
                      </a:lnTo>
                      <a:lnTo>
                        <a:pt x="72" y="9"/>
                      </a:lnTo>
                      <a:lnTo>
                        <a:pt x="74" y="9"/>
                      </a:lnTo>
                      <a:lnTo>
                        <a:pt x="74" y="9"/>
                      </a:lnTo>
                      <a:lnTo>
                        <a:pt x="75" y="11"/>
                      </a:lnTo>
                      <a:lnTo>
                        <a:pt x="75" y="12"/>
                      </a:lnTo>
                      <a:lnTo>
                        <a:pt x="75" y="13"/>
                      </a:lnTo>
                      <a:lnTo>
                        <a:pt x="76" y="13"/>
                      </a:lnTo>
                      <a:lnTo>
                        <a:pt x="76" y="13"/>
                      </a:lnTo>
                      <a:lnTo>
                        <a:pt x="77" y="14"/>
                      </a:lnTo>
                      <a:lnTo>
                        <a:pt x="77" y="15"/>
                      </a:lnTo>
                      <a:lnTo>
                        <a:pt x="77" y="15"/>
                      </a:lnTo>
                      <a:lnTo>
                        <a:pt x="77" y="16"/>
                      </a:lnTo>
                      <a:lnTo>
                        <a:pt x="77" y="16"/>
                      </a:lnTo>
                      <a:lnTo>
                        <a:pt x="79" y="16"/>
                      </a:lnTo>
                      <a:lnTo>
                        <a:pt x="80" y="15"/>
                      </a:lnTo>
                      <a:lnTo>
                        <a:pt x="81" y="14"/>
                      </a:lnTo>
                      <a:lnTo>
                        <a:pt x="80" y="13"/>
                      </a:lnTo>
                      <a:lnTo>
                        <a:pt x="82" y="12"/>
                      </a:lnTo>
                      <a:lnTo>
                        <a:pt x="82" y="9"/>
                      </a:lnTo>
                      <a:lnTo>
                        <a:pt x="84" y="8"/>
                      </a:lnTo>
                      <a:lnTo>
                        <a:pt x="83" y="5"/>
                      </a:lnTo>
                      <a:lnTo>
                        <a:pt x="84" y="0"/>
                      </a:lnTo>
                      <a:lnTo>
                        <a:pt x="86" y="2"/>
                      </a:lnTo>
                      <a:lnTo>
                        <a:pt x="86" y="2"/>
                      </a:lnTo>
                      <a:lnTo>
                        <a:pt x="86" y="2"/>
                      </a:lnTo>
                      <a:lnTo>
                        <a:pt x="87" y="4"/>
                      </a:lnTo>
                      <a:lnTo>
                        <a:pt x="88" y="5"/>
                      </a:lnTo>
                      <a:lnTo>
                        <a:pt x="89" y="5"/>
                      </a:lnTo>
                      <a:lnTo>
                        <a:pt x="89" y="5"/>
                      </a:lnTo>
                      <a:lnTo>
                        <a:pt x="90" y="5"/>
                      </a:lnTo>
                      <a:lnTo>
                        <a:pt x="90" y="6"/>
                      </a:lnTo>
                      <a:lnTo>
                        <a:pt x="92" y="6"/>
                      </a:lnTo>
                      <a:lnTo>
                        <a:pt x="92" y="8"/>
                      </a:lnTo>
                      <a:lnTo>
                        <a:pt x="93" y="8"/>
                      </a:lnTo>
                      <a:lnTo>
                        <a:pt x="94" y="9"/>
                      </a:lnTo>
                      <a:lnTo>
                        <a:pt x="94" y="9"/>
                      </a:lnTo>
                      <a:lnTo>
                        <a:pt x="95" y="9"/>
                      </a:lnTo>
                      <a:lnTo>
                        <a:pt x="96" y="9"/>
                      </a:lnTo>
                      <a:lnTo>
                        <a:pt x="97" y="9"/>
                      </a:lnTo>
                      <a:lnTo>
                        <a:pt x="99" y="8"/>
                      </a:lnTo>
                      <a:lnTo>
                        <a:pt x="99" y="8"/>
                      </a:lnTo>
                      <a:lnTo>
                        <a:pt x="100" y="8"/>
                      </a:lnTo>
                      <a:lnTo>
                        <a:pt x="100" y="8"/>
                      </a:lnTo>
                      <a:lnTo>
                        <a:pt x="100" y="8"/>
                      </a:lnTo>
                      <a:lnTo>
                        <a:pt x="101" y="8"/>
                      </a:lnTo>
                      <a:lnTo>
                        <a:pt x="102" y="8"/>
                      </a:lnTo>
                      <a:lnTo>
                        <a:pt x="102" y="7"/>
                      </a:lnTo>
                      <a:lnTo>
                        <a:pt x="103" y="7"/>
                      </a:lnTo>
                      <a:lnTo>
                        <a:pt x="103" y="7"/>
                      </a:lnTo>
                      <a:lnTo>
                        <a:pt x="103" y="6"/>
                      </a:lnTo>
                      <a:lnTo>
                        <a:pt x="104" y="5"/>
                      </a:lnTo>
                      <a:lnTo>
                        <a:pt x="106" y="5"/>
                      </a:lnTo>
                      <a:lnTo>
                        <a:pt x="106" y="6"/>
                      </a:lnTo>
                      <a:lnTo>
                        <a:pt x="107" y="7"/>
                      </a:lnTo>
                      <a:lnTo>
                        <a:pt x="107" y="8"/>
                      </a:lnTo>
                      <a:lnTo>
                        <a:pt x="108" y="9"/>
                      </a:lnTo>
                      <a:lnTo>
                        <a:pt x="108" y="9"/>
                      </a:lnTo>
                      <a:lnTo>
                        <a:pt x="108" y="8"/>
                      </a:lnTo>
                      <a:lnTo>
                        <a:pt x="109" y="8"/>
                      </a:lnTo>
                      <a:lnTo>
                        <a:pt x="109" y="8"/>
                      </a:lnTo>
                      <a:lnTo>
                        <a:pt x="110" y="8"/>
                      </a:lnTo>
                      <a:lnTo>
                        <a:pt x="112" y="8"/>
                      </a:lnTo>
                      <a:lnTo>
                        <a:pt x="113" y="8"/>
                      </a:lnTo>
                      <a:lnTo>
                        <a:pt x="113" y="7"/>
                      </a:lnTo>
                      <a:lnTo>
                        <a:pt x="113" y="7"/>
                      </a:lnTo>
                      <a:lnTo>
                        <a:pt x="114" y="7"/>
                      </a:lnTo>
                      <a:lnTo>
                        <a:pt x="114" y="7"/>
                      </a:lnTo>
                      <a:lnTo>
                        <a:pt x="114" y="7"/>
                      </a:lnTo>
                      <a:lnTo>
                        <a:pt x="115" y="8"/>
                      </a:lnTo>
                      <a:lnTo>
                        <a:pt x="115" y="8"/>
                      </a:lnTo>
                      <a:lnTo>
                        <a:pt x="116" y="8"/>
                      </a:lnTo>
                      <a:lnTo>
                        <a:pt x="116" y="8"/>
                      </a:lnTo>
                      <a:lnTo>
                        <a:pt x="117" y="8"/>
                      </a:lnTo>
                      <a:lnTo>
                        <a:pt x="117" y="8"/>
                      </a:lnTo>
                      <a:lnTo>
                        <a:pt x="117" y="8"/>
                      </a:lnTo>
                      <a:lnTo>
                        <a:pt x="119" y="8"/>
                      </a:lnTo>
                      <a:lnTo>
                        <a:pt x="120" y="9"/>
                      </a:lnTo>
                      <a:lnTo>
                        <a:pt x="121" y="9"/>
                      </a:lnTo>
                      <a:lnTo>
                        <a:pt x="122" y="8"/>
                      </a:lnTo>
                      <a:lnTo>
                        <a:pt x="122" y="9"/>
                      </a:lnTo>
                      <a:lnTo>
                        <a:pt x="123" y="8"/>
                      </a:lnTo>
                      <a:lnTo>
                        <a:pt x="124" y="8"/>
                      </a:lnTo>
                      <a:lnTo>
                        <a:pt x="126" y="9"/>
                      </a:lnTo>
                      <a:lnTo>
                        <a:pt x="127" y="11"/>
                      </a:lnTo>
                      <a:lnTo>
                        <a:pt x="129" y="13"/>
                      </a:lnTo>
                      <a:lnTo>
                        <a:pt x="132" y="13"/>
                      </a:lnTo>
                      <a:lnTo>
                        <a:pt x="133" y="14"/>
                      </a:lnTo>
                      <a:lnTo>
                        <a:pt x="135" y="14"/>
                      </a:lnTo>
                      <a:lnTo>
                        <a:pt x="136" y="15"/>
                      </a:lnTo>
                      <a:lnTo>
                        <a:pt x="137" y="16"/>
                      </a:lnTo>
                      <a:lnTo>
                        <a:pt x="139" y="18"/>
                      </a:lnTo>
                      <a:lnTo>
                        <a:pt x="141" y="21"/>
                      </a:lnTo>
                      <a:lnTo>
                        <a:pt x="144" y="26"/>
                      </a:lnTo>
                      <a:lnTo>
                        <a:pt x="147" y="28"/>
                      </a:lnTo>
                      <a:lnTo>
                        <a:pt x="149" y="29"/>
                      </a:lnTo>
                      <a:lnTo>
                        <a:pt x="152" y="32"/>
                      </a:lnTo>
                      <a:lnTo>
                        <a:pt x="154" y="34"/>
                      </a:lnTo>
                      <a:lnTo>
                        <a:pt x="156" y="36"/>
                      </a:lnTo>
                      <a:lnTo>
                        <a:pt x="157" y="40"/>
                      </a:lnTo>
                      <a:lnTo>
                        <a:pt x="159" y="41"/>
                      </a:lnTo>
                      <a:lnTo>
                        <a:pt x="160" y="42"/>
                      </a:lnTo>
                      <a:lnTo>
                        <a:pt x="161" y="44"/>
                      </a:lnTo>
                      <a:lnTo>
                        <a:pt x="162" y="44"/>
                      </a:lnTo>
                      <a:lnTo>
                        <a:pt x="166" y="48"/>
                      </a:lnTo>
                      <a:lnTo>
                        <a:pt x="166" y="51"/>
                      </a:lnTo>
                      <a:lnTo>
                        <a:pt x="166" y="53"/>
                      </a:lnTo>
                      <a:lnTo>
                        <a:pt x="162" y="56"/>
                      </a:lnTo>
                      <a:lnTo>
                        <a:pt x="161" y="60"/>
                      </a:lnTo>
                      <a:lnTo>
                        <a:pt x="159" y="62"/>
                      </a:lnTo>
                      <a:lnTo>
                        <a:pt x="157" y="64"/>
                      </a:lnTo>
                      <a:lnTo>
                        <a:pt x="156" y="68"/>
                      </a:lnTo>
                      <a:lnTo>
                        <a:pt x="156" y="74"/>
                      </a:lnTo>
                      <a:lnTo>
                        <a:pt x="157" y="80"/>
                      </a:lnTo>
                      <a:lnTo>
                        <a:pt x="160" y="80"/>
                      </a:lnTo>
                      <a:lnTo>
                        <a:pt x="160" y="81"/>
                      </a:lnTo>
                      <a:lnTo>
                        <a:pt x="160" y="80"/>
                      </a:lnTo>
                      <a:lnTo>
                        <a:pt x="162" y="80"/>
                      </a:lnTo>
                      <a:lnTo>
                        <a:pt x="162" y="80"/>
                      </a:lnTo>
                      <a:lnTo>
                        <a:pt x="163" y="79"/>
                      </a:lnTo>
                      <a:lnTo>
                        <a:pt x="166" y="80"/>
                      </a:lnTo>
                      <a:lnTo>
                        <a:pt x="167" y="79"/>
                      </a:lnTo>
                      <a:lnTo>
                        <a:pt x="168" y="79"/>
                      </a:lnTo>
                      <a:lnTo>
                        <a:pt x="168" y="79"/>
                      </a:lnTo>
                      <a:lnTo>
                        <a:pt x="169" y="78"/>
                      </a:lnTo>
                      <a:lnTo>
                        <a:pt x="172" y="78"/>
                      </a:lnTo>
                      <a:lnTo>
                        <a:pt x="173" y="78"/>
                      </a:lnTo>
                      <a:lnTo>
                        <a:pt x="174" y="78"/>
                      </a:lnTo>
                      <a:lnTo>
                        <a:pt x="175" y="79"/>
                      </a:lnTo>
                      <a:lnTo>
                        <a:pt x="175" y="80"/>
                      </a:lnTo>
                      <a:lnTo>
                        <a:pt x="176" y="79"/>
                      </a:lnTo>
                      <a:lnTo>
                        <a:pt x="177" y="80"/>
                      </a:lnTo>
                      <a:lnTo>
                        <a:pt x="177" y="79"/>
                      </a:lnTo>
                      <a:lnTo>
                        <a:pt x="179" y="79"/>
                      </a:lnTo>
                      <a:lnTo>
                        <a:pt x="177" y="81"/>
                      </a:lnTo>
                      <a:lnTo>
                        <a:pt x="176" y="81"/>
                      </a:lnTo>
                      <a:lnTo>
                        <a:pt x="175" y="83"/>
                      </a:lnTo>
                      <a:lnTo>
                        <a:pt x="174" y="87"/>
                      </a:lnTo>
                      <a:lnTo>
                        <a:pt x="175" y="91"/>
                      </a:lnTo>
                      <a:lnTo>
                        <a:pt x="177" y="96"/>
                      </a:lnTo>
                      <a:lnTo>
                        <a:pt x="180" y="98"/>
                      </a:lnTo>
                      <a:lnTo>
                        <a:pt x="180" y="102"/>
                      </a:lnTo>
                      <a:lnTo>
                        <a:pt x="183" y="102"/>
                      </a:lnTo>
                      <a:lnTo>
                        <a:pt x="186" y="107"/>
                      </a:lnTo>
                      <a:lnTo>
                        <a:pt x="187" y="111"/>
                      </a:lnTo>
                      <a:lnTo>
                        <a:pt x="188" y="112"/>
                      </a:lnTo>
                      <a:lnTo>
                        <a:pt x="193" y="114"/>
                      </a:lnTo>
                      <a:lnTo>
                        <a:pt x="253" y="141"/>
                      </a:lnTo>
                      <a:lnTo>
                        <a:pt x="253" y="160"/>
                      </a:lnTo>
                      <a:lnTo>
                        <a:pt x="217" y="205"/>
                      </a:lnTo>
                      <a:lnTo>
                        <a:pt x="197" y="205"/>
                      </a:lnTo>
                      <a:lnTo>
                        <a:pt x="189" y="208"/>
                      </a:lnTo>
                      <a:lnTo>
                        <a:pt x="182" y="212"/>
                      </a:lnTo>
                      <a:lnTo>
                        <a:pt x="181" y="215"/>
                      </a:lnTo>
                      <a:lnTo>
                        <a:pt x="179" y="218"/>
                      </a:lnTo>
                      <a:lnTo>
                        <a:pt x="172" y="219"/>
                      </a:lnTo>
                      <a:lnTo>
                        <a:pt x="167" y="219"/>
                      </a:lnTo>
                      <a:lnTo>
                        <a:pt x="164" y="220"/>
                      </a:lnTo>
                      <a:lnTo>
                        <a:pt x="162" y="225"/>
                      </a:lnTo>
                      <a:lnTo>
                        <a:pt x="159" y="222"/>
                      </a:lnTo>
                      <a:lnTo>
                        <a:pt x="157" y="223"/>
                      </a:lnTo>
                      <a:lnTo>
                        <a:pt x="157" y="223"/>
                      </a:lnTo>
                      <a:lnTo>
                        <a:pt x="156" y="223"/>
                      </a:lnTo>
                      <a:lnTo>
                        <a:pt x="155" y="223"/>
                      </a:lnTo>
                      <a:lnTo>
                        <a:pt x="154" y="223"/>
                      </a:lnTo>
                      <a:lnTo>
                        <a:pt x="149" y="223"/>
                      </a:lnTo>
                      <a:lnTo>
                        <a:pt x="148" y="222"/>
                      </a:lnTo>
                      <a:lnTo>
                        <a:pt x="146" y="220"/>
                      </a:lnTo>
                      <a:lnTo>
                        <a:pt x="144" y="220"/>
                      </a:lnTo>
                      <a:lnTo>
                        <a:pt x="144" y="219"/>
                      </a:lnTo>
                      <a:lnTo>
                        <a:pt x="142" y="218"/>
                      </a:lnTo>
                      <a:lnTo>
                        <a:pt x="142" y="216"/>
                      </a:lnTo>
                      <a:lnTo>
                        <a:pt x="132" y="222"/>
                      </a:lnTo>
                      <a:lnTo>
                        <a:pt x="126" y="226"/>
                      </a:lnTo>
                      <a:lnTo>
                        <a:pt x="123" y="229"/>
                      </a:lnTo>
                      <a:lnTo>
                        <a:pt x="121" y="233"/>
                      </a:lnTo>
                      <a:lnTo>
                        <a:pt x="120" y="234"/>
                      </a:lnTo>
                      <a:lnTo>
                        <a:pt x="120" y="234"/>
                      </a:lnTo>
                      <a:lnTo>
                        <a:pt x="119" y="233"/>
                      </a:lnTo>
                      <a:lnTo>
                        <a:pt x="117" y="234"/>
                      </a:lnTo>
                      <a:lnTo>
                        <a:pt x="116" y="233"/>
                      </a:lnTo>
                      <a:lnTo>
                        <a:pt x="116" y="233"/>
                      </a:lnTo>
                      <a:lnTo>
                        <a:pt x="113" y="233"/>
                      </a:lnTo>
                      <a:lnTo>
                        <a:pt x="112" y="232"/>
                      </a:lnTo>
                      <a:lnTo>
                        <a:pt x="112" y="232"/>
                      </a:lnTo>
                      <a:lnTo>
                        <a:pt x="108" y="233"/>
                      </a:lnTo>
                      <a:lnTo>
                        <a:pt x="104" y="230"/>
                      </a:lnTo>
                      <a:lnTo>
                        <a:pt x="103" y="229"/>
                      </a:lnTo>
                      <a:lnTo>
                        <a:pt x="103" y="230"/>
                      </a:lnTo>
                      <a:lnTo>
                        <a:pt x="102" y="230"/>
                      </a:lnTo>
                      <a:lnTo>
                        <a:pt x="101" y="229"/>
                      </a:lnTo>
                      <a:lnTo>
                        <a:pt x="101" y="229"/>
                      </a:lnTo>
                      <a:lnTo>
                        <a:pt x="100" y="230"/>
                      </a:lnTo>
                      <a:lnTo>
                        <a:pt x="94" y="229"/>
                      </a:lnTo>
                      <a:lnTo>
                        <a:pt x="93" y="230"/>
                      </a:lnTo>
                      <a:lnTo>
                        <a:pt x="92" y="228"/>
                      </a:lnTo>
                      <a:lnTo>
                        <a:pt x="74" y="215"/>
                      </a:lnTo>
                      <a:lnTo>
                        <a:pt x="73" y="214"/>
                      </a:lnTo>
                      <a:lnTo>
                        <a:pt x="70" y="213"/>
                      </a:lnTo>
                      <a:lnTo>
                        <a:pt x="56" y="214"/>
                      </a:lnTo>
                      <a:lnTo>
                        <a:pt x="55" y="213"/>
                      </a:lnTo>
                      <a:lnTo>
                        <a:pt x="55" y="211"/>
                      </a:lnTo>
                      <a:lnTo>
                        <a:pt x="50" y="207"/>
                      </a:lnTo>
                      <a:lnTo>
                        <a:pt x="50" y="201"/>
                      </a:lnTo>
                      <a:lnTo>
                        <a:pt x="52" y="199"/>
                      </a:lnTo>
                      <a:lnTo>
                        <a:pt x="52" y="198"/>
                      </a:lnTo>
                      <a:lnTo>
                        <a:pt x="52" y="196"/>
                      </a:lnTo>
                      <a:lnTo>
                        <a:pt x="52" y="196"/>
                      </a:lnTo>
                      <a:lnTo>
                        <a:pt x="50" y="195"/>
                      </a:lnTo>
                      <a:lnTo>
                        <a:pt x="49" y="194"/>
                      </a:lnTo>
                      <a:lnTo>
                        <a:pt x="48" y="195"/>
                      </a:lnTo>
                      <a:lnTo>
                        <a:pt x="47" y="193"/>
                      </a:lnTo>
                      <a:lnTo>
                        <a:pt x="46" y="193"/>
                      </a:lnTo>
                      <a:lnTo>
                        <a:pt x="46" y="193"/>
                      </a:lnTo>
                      <a:lnTo>
                        <a:pt x="43" y="195"/>
                      </a:lnTo>
                      <a:lnTo>
                        <a:pt x="42" y="195"/>
                      </a:lnTo>
                      <a:lnTo>
                        <a:pt x="42" y="193"/>
                      </a:lnTo>
                      <a:lnTo>
                        <a:pt x="42" y="193"/>
                      </a:lnTo>
                      <a:lnTo>
                        <a:pt x="42" y="192"/>
                      </a:lnTo>
                      <a:lnTo>
                        <a:pt x="39" y="189"/>
                      </a:lnTo>
                      <a:lnTo>
                        <a:pt x="39" y="188"/>
                      </a:lnTo>
                      <a:lnTo>
                        <a:pt x="37" y="185"/>
                      </a:lnTo>
                      <a:lnTo>
                        <a:pt x="37" y="183"/>
                      </a:lnTo>
                      <a:lnTo>
                        <a:pt x="36" y="182"/>
                      </a:lnTo>
                      <a:lnTo>
                        <a:pt x="36" y="181"/>
                      </a:lnTo>
                      <a:lnTo>
                        <a:pt x="36" y="181"/>
                      </a:lnTo>
                      <a:lnTo>
                        <a:pt x="35" y="180"/>
                      </a:lnTo>
                      <a:lnTo>
                        <a:pt x="35" y="178"/>
                      </a:lnTo>
                      <a:lnTo>
                        <a:pt x="34" y="178"/>
                      </a:lnTo>
                      <a:lnTo>
                        <a:pt x="34" y="174"/>
                      </a:lnTo>
                      <a:lnTo>
                        <a:pt x="33" y="173"/>
                      </a:lnTo>
                      <a:lnTo>
                        <a:pt x="33" y="172"/>
                      </a:lnTo>
                      <a:lnTo>
                        <a:pt x="33" y="169"/>
                      </a:lnTo>
                      <a:lnTo>
                        <a:pt x="32" y="169"/>
                      </a:lnTo>
                      <a:lnTo>
                        <a:pt x="32" y="168"/>
                      </a:lnTo>
                      <a:lnTo>
                        <a:pt x="30" y="167"/>
                      </a:lnTo>
                      <a:lnTo>
                        <a:pt x="28" y="167"/>
                      </a:lnTo>
                      <a:lnTo>
                        <a:pt x="27" y="163"/>
                      </a:lnTo>
                      <a:lnTo>
                        <a:pt x="25" y="162"/>
                      </a:lnTo>
                      <a:lnTo>
                        <a:pt x="23" y="162"/>
                      </a:lnTo>
                      <a:lnTo>
                        <a:pt x="23" y="161"/>
                      </a:lnTo>
                      <a:lnTo>
                        <a:pt x="22" y="160"/>
                      </a:lnTo>
                      <a:lnTo>
                        <a:pt x="25" y="160"/>
                      </a:lnTo>
                      <a:lnTo>
                        <a:pt x="22" y="159"/>
                      </a:lnTo>
                      <a:lnTo>
                        <a:pt x="21" y="158"/>
                      </a:lnTo>
                      <a:lnTo>
                        <a:pt x="20" y="158"/>
                      </a:lnTo>
                      <a:lnTo>
                        <a:pt x="20" y="156"/>
                      </a:lnTo>
                      <a:lnTo>
                        <a:pt x="19" y="156"/>
                      </a:lnTo>
                      <a:lnTo>
                        <a:pt x="19" y="154"/>
                      </a:lnTo>
                      <a:lnTo>
                        <a:pt x="16" y="151"/>
                      </a:lnTo>
                      <a:lnTo>
                        <a:pt x="14" y="149"/>
                      </a:lnTo>
                      <a:lnTo>
                        <a:pt x="13" y="148"/>
                      </a:lnTo>
                      <a:lnTo>
                        <a:pt x="13" y="148"/>
                      </a:lnTo>
                      <a:lnTo>
                        <a:pt x="12" y="147"/>
                      </a:lnTo>
                      <a:lnTo>
                        <a:pt x="9" y="147"/>
                      </a:lnTo>
                      <a:lnTo>
                        <a:pt x="9" y="147"/>
                      </a:lnTo>
                      <a:lnTo>
                        <a:pt x="8" y="146"/>
                      </a:lnTo>
                      <a:lnTo>
                        <a:pt x="7" y="146"/>
                      </a:lnTo>
                      <a:lnTo>
                        <a:pt x="6" y="147"/>
                      </a:lnTo>
                      <a:lnTo>
                        <a:pt x="5" y="146"/>
                      </a:lnTo>
                      <a:lnTo>
                        <a:pt x="5" y="146"/>
                      </a:lnTo>
                      <a:lnTo>
                        <a:pt x="2" y="145"/>
                      </a:lnTo>
                      <a:lnTo>
                        <a:pt x="2" y="146"/>
                      </a:lnTo>
                      <a:lnTo>
                        <a:pt x="1" y="146"/>
                      </a:lnTo>
                      <a:lnTo>
                        <a:pt x="0" y="143"/>
                      </a:lnTo>
                      <a:lnTo>
                        <a:pt x="0" y="142"/>
                      </a:lnTo>
                      <a:lnTo>
                        <a:pt x="0" y="141"/>
                      </a:lnTo>
                      <a:lnTo>
                        <a:pt x="0" y="141"/>
                      </a:lnTo>
                      <a:lnTo>
                        <a:pt x="1" y="140"/>
                      </a:lnTo>
                      <a:lnTo>
                        <a:pt x="2" y="139"/>
                      </a:lnTo>
                      <a:lnTo>
                        <a:pt x="2" y="139"/>
                      </a:lnTo>
                      <a:lnTo>
                        <a:pt x="3" y="139"/>
                      </a:lnTo>
                      <a:lnTo>
                        <a:pt x="2" y="136"/>
                      </a:lnTo>
                      <a:lnTo>
                        <a:pt x="3" y="135"/>
                      </a:lnTo>
                      <a:lnTo>
                        <a:pt x="2" y="135"/>
                      </a:lnTo>
                      <a:lnTo>
                        <a:pt x="2" y="134"/>
                      </a:lnTo>
                      <a:lnTo>
                        <a:pt x="2" y="133"/>
                      </a:lnTo>
                      <a:lnTo>
                        <a:pt x="2" y="133"/>
                      </a:lnTo>
                      <a:lnTo>
                        <a:pt x="3" y="132"/>
                      </a:lnTo>
                      <a:lnTo>
                        <a:pt x="3" y="132"/>
                      </a:lnTo>
                      <a:lnTo>
                        <a:pt x="5" y="131"/>
                      </a:lnTo>
                      <a:lnTo>
                        <a:pt x="5" y="132"/>
                      </a:lnTo>
                      <a:lnTo>
                        <a:pt x="7" y="132"/>
                      </a:lnTo>
                      <a:lnTo>
                        <a:pt x="7" y="132"/>
                      </a:lnTo>
                      <a:lnTo>
                        <a:pt x="8" y="132"/>
                      </a:lnTo>
                      <a:lnTo>
                        <a:pt x="8" y="131"/>
                      </a:lnTo>
                      <a:lnTo>
                        <a:pt x="10" y="132"/>
                      </a:lnTo>
                      <a:lnTo>
                        <a:pt x="12" y="132"/>
                      </a:lnTo>
                      <a:lnTo>
                        <a:pt x="12" y="132"/>
                      </a:lnTo>
                      <a:lnTo>
                        <a:pt x="13" y="133"/>
                      </a:lnTo>
                      <a:lnTo>
                        <a:pt x="14" y="133"/>
                      </a:lnTo>
                      <a:lnTo>
                        <a:pt x="14" y="132"/>
                      </a:lnTo>
                      <a:lnTo>
                        <a:pt x="15" y="132"/>
                      </a:lnTo>
                      <a:lnTo>
                        <a:pt x="17" y="132"/>
                      </a:lnTo>
                      <a:lnTo>
                        <a:pt x="20" y="129"/>
                      </a:lnTo>
                      <a:lnTo>
                        <a:pt x="20" y="121"/>
                      </a:lnTo>
                      <a:lnTo>
                        <a:pt x="19" y="109"/>
                      </a:lnTo>
                      <a:lnTo>
                        <a:pt x="20" y="105"/>
                      </a:lnTo>
                      <a:lnTo>
                        <a:pt x="20" y="102"/>
                      </a:lnTo>
                      <a:lnTo>
                        <a:pt x="21" y="99"/>
                      </a:lnTo>
                      <a:lnTo>
                        <a:pt x="22" y="98"/>
                      </a:lnTo>
                      <a:lnTo>
                        <a:pt x="22" y="96"/>
                      </a:lnTo>
                      <a:lnTo>
                        <a:pt x="23" y="95"/>
                      </a:lnTo>
                      <a:lnTo>
                        <a:pt x="22" y="88"/>
                      </a:lnTo>
                      <a:lnTo>
                        <a:pt x="23" y="87"/>
                      </a:lnTo>
                      <a:lnTo>
                        <a:pt x="25" y="83"/>
                      </a:lnTo>
                      <a:lnTo>
                        <a:pt x="27" y="81"/>
                      </a:lnTo>
                      <a:lnTo>
                        <a:pt x="30" y="85"/>
                      </a:lnTo>
                      <a:lnTo>
                        <a:pt x="30" y="86"/>
                      </a:lnTo>
                      <a:lnTo>
                        <a:pt x="30" y="86"/>
                      </a:lnTo>
                      <a:lnTo>
                        <a:pt x="32" y="85"/>
                      </a:lnTo>
                      <a:lnTo>
                        <a:pt x="33" y="85"/>
                      </a:lnTo>
                      <a:lnTo>
                        <a:pt x="33" y="83"/>
                      </a:lnTo>
                      <a:lnTo>
                        <a:pt x="34" y="81"/>
                      </a:lnTo>
                      <a:lnTo>
                        <a:pt x="34" y="80"/>
                      </a:lnTo>
                      <a:lnTo>
                        <a:pt x="34" y="80"/>
                      </a:lnTo>
                      <a:lnTo>
                        <a:pt x="35" y="75"/>
                      </a:lnTo>
                      <a:lnTo>
                        <a:pt x="34" y="74"/>
                      </a:lnTo>
                      <a:lnTo>
                        <a:pt x="34" y="74"/>
                      </a:lnTo>
                      <a:lnTo>
                        <a:pt x="36" y="68"/>
                      </a:lnTo>
                      <a:lnTo>
                        <a:pt x="36" y="67"/>
                      </a:lnTo>
                      <a:lnTo>
                        <a:pt x="36" y="66"/>
                      </a:lnTo>
                      <a:lnTo>
                        <a:pt x="35" y="64"/>
                      </a:lnTo>
                      <a:lnTo>
                        <a:pt x="36" y="62"/>
                      </a:lnTo>
                      <a:lnTo>
                        <a:pt x="36" y="61"/>
                      </a:lnTo>
                      <a:lnTo>
                        <a:pt x="39" y="61"/>
                      </a:lnTo>
                      <a:lnTo>
                        <a:pt x="39" y="60"/>
                      </a:lnTo>
                      <a:lnTo>
                        <a:pt x="39" y="59"/>
                      </a:lnTo>
                      <a:lnTo>
                        <a:pt x="40" y="59"/>
                      </a:lnTo>
                      <a:lnTo>
                        <a:pt x="40" y="56"/>
                      </a:lnTo>
                      <a:lnTo>
                        <a:pt x="41" y="55"/>
                      </a:lnTo>
                      <a:lnTo>
                        <a:pt x="41" y="54"/>
                      </a:lnTo>
                      <a:lnTo>
                        <a:pt x="42" y="52"/>
                      </a:lnTo>
                      <a:lnTo>
                        <a:pt x="45" y="46"/>
                      </a:lnTo>
                      <a:lnTo>
                        <a:pt x="46" y="46"/>
                      </a:lnTo>
                      <a:lnTo>
                        <a:pt x="46" y="46"/>
                      </a:lnTo>
                      <a:lnTo>
                        <a:pt x="46" y="45"/>
                      </a:lnTo>
                      <a:lnTo>
                        <a:pt x="52" y="44"/>
                      </a:lnTo>
                      <a:lnTo>
                        <a:pt x="52" y="44"/>
                      </a:lnTo>
                      <a:lnTo>
                        <a:pt x="53" y="44"/>
                      </a:lnTo>
                      <a:lnTo>
                        <a:pt x="54" y="45"/>
                      </a:lnTo>
                      <a:lnTo>
                        <a:pt x="54" y="45"/>
                      </a:lnTo>
                      <a:lnTo>
                        <a:pt x="55" y="41"/>
                      </a:lnTo>
                      <a:lnTo>
                        <a:pt x="54" y="40"/>
                      </a:lnTo>
                      <a:lnTo>
                        <a:pt x="54" y="39"/>
                      </a:lnTo>
                      <a:lnTo>
                        <a:pt x="54" y="38"/>
                      </a:lnTo>
                      <a:lnTo>
                        <a:pt x="54" y="38"/>
                      </a:lnTo>
                      <a:lnTo>
                        <a:pt x="55" y="31"/>
                      </a:lnTo>
                      <a:lnTo>
                        <a:pt x="57" y="27"/>
                      </a:lnTo>
                      <a:lnTo>
                        <a:pt x="59" y="26"/>
                      </a:lnTo>
                      <a:lnTo>
                        <a:pt x="59" y="25"/>
                      </a:lnTo>
                      <a:lnTo>
                        <a:pt x="57" y="20"/>
                      </a:lnTo>
                      <a:lnTo>
                        <a:pt x="60" y="13"/>
                      </a:lnTo>
                      <a:lnTo>
                        <a:pt x="61" y="14"/>
                      </a:lnTo>
                      <a:lnTo>
                        <a:pt x="61" y="14"/>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grpSp>
              <p:nvGrpSpPr>
                <p:cNvPr id="405" name="Estonia">
                  <a:extLst>
                    <a:ext uri="{FF2B5EF4-FFF2-40B4-BE49-F238E27FC236}">
                      <a16:creationId xmlns:a16="http://schemas.microsoft.com/office/drawing/2014/main" id="{0BDBA9D9-F11E-3341-9398-9086E0300429}"/>
                    </a:ext>
                  </a:extLst>
                </p:cNvPr>
                <p:cNvGrpSpPr/>
                <p:nvPr/>
              </p:nvGrpSpPr>
              <p:grpSpPr>
                <a:xfrm>
                  <a:off x="6828874" y="2216582"/>
                  <a:ext cx="126841" cy="59776"/>
                  <a:chOff x="5546181" y="2382204"/>
                  <a:chExt cx="139877" cy="65919"/>
                </a:xfrm>
                <a:grpFill/>
              </p:grpSpPr>
              <p:sp>
                <p:nvSpPr>
                  <p:cNvPr id="493" name="Freeform 160">
                    <a:extLst>
                      <a:ext uri="{FF2B5EF4-FFF2-40B4-BE49-F238E27FC236}">
                        <a16:creationId xmlns:a16="http://schemas.microsoft.com/office/drawing/2014/main" id="{AF3198C5-32AF-B344-89DB-E11C7706780C}"/>
                      </a:ext>
                    </a:extLst>
                  </p:cNvPr>
                  <p:cNvSpPr>
                    <a:spLocks/>
                  </p:cNvSpPr>
                  <p:nvPr/>
                </p:nvSpPr>
                <p:spPr bwMode="auto">
                  <a:xfrm>
                    <a:off x="5584768" y="2382204"/>
                    <a:ext cx="101290" cy="65919"/>
                  </a:xfrm>
                  <a:custGeom>
                    <a:avLst/>
                    <a:gdLst>
                      <a:gd name="T0" fmla="*/ 63 w 63"/>
                      <a:gd name="T1" fmla="*/ 1 h 41"/>
                      <a:gd name="T2" fmla="*/ 61 w 63"/>
                      <a:gd name="T3" fmla="*/ 1 h 41"/>
                      <a:gd name="T4" fmla="*/ 59 w 63"/>
                      <a:gd name="T5" fmla="*/ 2 h 41"/>
                      <a:gd name="T6" fmla="*/ 56 w 63"/>
                      <a:gd name="T7" fmla="*/ 5 h 41"/>
                      <a:gd name="T8" fmla="*/ 55 w 63"/>
                      <a:gd name="T9" fmla="*/ 6 h 41"/>
                      <a:gd name="T10" fmla="*/ 52 w 63"/>
                      <a:gd name="T11" fmla="*/ 7 h 41"/>
                      <a:gd name="T12" fmla="*/ 49 w 63"/>
                      <a:gd name="T13" fmla="*/ 7 h 41"/>
                      <a:gd name="T14" fmla="*/ 46 w 63"/>
                      <a:gd name="T15" fmla="*/ 8 h 41"/>
                      <a:gd name="T16" fmla="*/ 41 w 63"/>
                      <a:gd name="T17" fmla="*/ 6 h 41"/>
                      <a:gd name="T18" fmla="*/ 40 w 63"/>
                      <a:gd name="T19" fmla="*/ 6 h 41"/>
                      <a:gd name="T20" fmla="*/ 35 w 63"/>
                      <a:gd name="T21" fmla="*/ 5 h 41"/>
                      <a:gd name="T22" fmla="*/ 30 w 63"/>
                      <a:gd name="T23" fmla="*/ 3 h 41"/>
                      <a:gd name="T24" fmla="*/ 28 w 63"/>
                      <a:gd name="T25" fmla="*/ 5 h 41"/>
                      <a:gd name="T26" fmla="*/ 26 w 63"/>
                      <a:gd name="T27" fmla="*/ 3 h 41"/>
                      <a:gd name="T28" fmla="*/ 26 w 63"/>
                      <a:gd name="T29" fmla="*/ 3 h 41"/>
                      <a:gd name="T30" fmla="*/ 24 w 63"/>
                      <a:gd name="T31" fmla="*/ 5 h 41"/>
                      <a:gd name="T32" fmla="*/ 22 w 63"/>
                      <a:gd name="T33" fmla="*/ 6 h 41"/>
                      <a:gd name="T34" fmla="*/ 21 w 63"/>
                      <a:gd name="T35" fmla="*/ 5 h 41"/>
                      <a:gd name="T36" fmla="*/ 20 w 63"/>
                      <a:gd name="T37" fmla="*/ 7 h 41"/>
                      <a:gd name="T38" fmla="*/ 17 w 63"/>
                      <a:gd name="T39" fmla="*/ 6 h 41"/>
                      <a:gd name="T40" fmla="*/ 15 w 63"/>
                      <a:gd name="T41" fmla="*/ 6 h 41"/>
                      <a:gd name="T42" fmla="*/ 14 w 63"/>
                      <a:gd name="T43" fmla="*/ 6 h 41"/>
                      <a:gd name="T44" fmla="*/ 10 w 63"/>
                      <a:gd name="T45" fmla="*/ 8 h 41"/>
                      <a:gd name="T46" fmla="*/ 10 w 63"/>
                      <a:gd name="T47" fmla="*/ 8 h 41"/>
                      <a:gd name="T48" fmla="*/ 7 w 63"/>
                      <a:gd name="T49" fmla="*/ 7 h 41"/>
                      <a:gd name="T50" fmla="*/ 2 w 63"/>
                      <a:gd name="T51" fmla="*/ 8 h 41"/>
                      <a:gd name="T52" fmla="*/ 3 w 63"/>
                      <a:gd name="T53" fmla="*/ 7 h 41"/>
                      <a:gd name="T54" fmla="*/ 1 w 63"/>
                      <a:gd name="T55" fmla="*/ 11 h 41"/>
                      <a:gd name="T56" fmla="*/ 2 w 63"/>
                      <a:gd name="T57" fmla="*/ 14 h 41"/>
                      <a:gd name="T58" fmla="*/ 1 w 63"/>
                      <a:gd name="T59" fmla="*/ 16 h 41"/>
                      <a:gd name="T60" fmla="*/ 0 w 63"/>
                      <a:gd name="T61" fmla="*/ 19 h 41"/>
                      <a:gd name="T62" fmla="*/ 3 w 63"/>
                      <a:gd name="T63" fmla="*/ 20 h 41"/>
                      <a:gd name="T64" fmla="*/ 4 w 63"/>
                      <a:gd name="T65" fmla="*/ 21 h 41"/>
                      <a:gd name="T66" fmla="*/ 2 w 63"/>
                      <a:gd name="T67" fmla="*/ 25 h 41"/>
                      <a:gd name="T68" fmla="*/ 6 w 63"/>
                      <a:gd name="T69" fmla="*/ 26 h 41"/>
                      <a:gd name="T70" fmla="*/ 6 w 63"/>
                      <a:gd name="T71" fmla="*/ 28 h 41"/>
                      <a:gd name="T72" fmla="*/ 10 w 63"/>
                      <a:gd name="T73" fmla="*/ 29 h 41"/>
                      <a:gd name="T74" fmla="*/ 12 w 63"/>
                      <a:gd name="T75" fmla="*/ 29 h 41"/>
                      <a:gd name="T76" fmla="*/ 16 w 63"/>
                      <a:gd name="T77" fmla="*/ 28 h 41"/>
                      <a:gd name="T78" fmla="*/ 16 w 63"/>
                      <a:gd name="T79" fmla="*/ 31 h 41"/>
                      <a:gd name="T80" fmla="*/ 15 w 63"/>
                      <a:gd name="T81" fmla="*/ 32 h 41"/>
                      <a:gd name="T82" fmla="*/ 14 w 63"/>
                      <a:gd name="T83" fmla="*/ 33 h 41"/>
                      <a:gd name="T84" fmla="*/ 27 w 63"/>
                      <a:gd name="T85" fmla="*/ 33 h 41"/>
                      <a:gd name="T86" fmla="*/ 61 w 63"/>
                      <a:gd name="T87" fmla="*/ 38 h 41"/>
                      <a:gd name="T88" fmla="*/ 63 w 63"/>
                      <a:gd name="T89" fmla="*/ 2 h 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63" h="41">
                        <a:moveTo>
                          <a:pt x="63" y="2"/>
                        </a:moveTo>
                        <a:lnTo>
                          <a:pt x="63" y="3"/>
                        </a:lnTo>
                        <a:lnTo>
                          <a:pt x="63" y="1"/>
                        </a:lnTo>
                        <a:lnTo>
                          <a:pt x="62" y="0"/>
                        </a:lnTo>
                        <a:lnTo>
                          <a:pt x="62" y="1"/>
                        </a:lnTo>
                        <a:lnTo>
                          <a:pt x="61" y="1"/>
                        </a:lnTo>
                        <a:lnTo>
                          <a:pt x="61" y="2"/>
                        </a:lnTo>
                        <a:lnTo>
                          <a:pt x="59" y="2"/>
                        </a:lnTo>
                        <a:lnTo>
                          <a:pt x="59" y="2"/>
                        </a:lnTo>
                        <a:lnTo>
                          <a:pt x="57" y="5"/>
                        </a:lnTo>
                        <a:lnTo>
                          <a:pt x="56" y="5"/>
                        </a:lnTo>
                        <a:lnTo>
                          <a:pt x="56" y="5"/>
                        </a:lnTo>
                        <a:lnTo>
                          <a:pt x="56" y="6"/>
                        </a:lnTo>
                        <a:lnTo>
                          <a:pt x="55" y="6"/>
                        </a:lnTo>
                        <a:lnTo>
                          <a:pt x="55" y="6"/>
                        </a:lnTo>
                        <a:lnTo>
                          <a:pt x="54" y="7"/>
                        </a:lnTo>
                        <a:lnTo>
                          <a:pt x="53" y="6"/>
                        </a:lnTo>
                        <a:lnTo>
                          <a:pt x="52" y="7"/>
                        </a:lnTo>
                        <a:lnTo>
                          <a:pt x="52" y="7"/>
                        </a:lnTo>
                        <a:lnTo>
                          <a:pt x="49" y="6"/>
                        </a:lnTo>
                        <a:lnTo>
                          <a:pt x="49" y="7"/>
                        </a:lnTo>
                        <a:lnTo>
                          <a:pt x="48" y="6"/>
                        </a:lnTo>
                        <a:lnTo>
                          <a:pt x="47" y="7"/>
                        </a:lnTo>
                        <a:lnTo>
                          <a:pt x="46" y="8"/>
                        </a:lnTo>
                        <a:lnTo>
                          <a:pt x="43" y="7"/>
                        </a:lnTo>
                        <a:lnTo>
                          <a:pt x="42" y="7"/>
                        </a:lnTo>
                        <a:lnTo>
                          <a:pt x="41" y="6"/>
                        </a:lnTo>
                        <a:lnTo>
                          <a:pt x="42" y="5"/>
                        </a:lnTo>
                        <a:lnTo>
                          <a:pt x="41" y="6"/>
                        </a:lnTo>
                        <a:lnTo>
                          <a:pt x="40" y="6"/>
                        </a:lnTo>
                        <a:lnTo>
                          <a:pt x="37" y="5"/>
                        </a:lnTo>
                        <a:lnTo>
                          <a:pt x="36" y="3"/>
                        </a:lnTo>
                        <a:lnTo>
                          <a:pt x="35" y="5"/>
                        </a:lnTo>
                        <a:lnTo>
                          <a:pt x="34" y="3"/>
                        </a:lnTo>
                        <a:lnTo>
                          <a:pt x="33" y="3"/>
                        </a:lnTo>
                        <a:lnTo>
                          <a:pt x="30" y="3"/>
                        </a:lnTo>
                        <a:lnTo>
                          <a:pt x="30" y="3"/>
                        </a:lnTo>
                        <a:lnTo>
                          <a:pt x="29" y="3"/>
                        </a:lnTo>
                        <a:lnTo>
                          <a:pt x="28" y="5"/>
                        </a:lnTo>
                        <a:lnTo>
                          <a:pt x="27" y="2"/>
                        </a:lnTo>
                        <a:lnTo>
                          <a:pt x="27" y="2"/>
                        </a:lnTo>
                        <a:lnTo>
                          <a:pt x="26" y="3"/>
                        </a:lnTo>
                        <a:lnTo>
                          <a:pt x="26" y="5"/>
                        </a:lnTo>
                        <a:lnTo>
                          <a:pt x="24" y="5"/>
                        </a:lnTo>
                        <a:lnTo>
                          <a:pt x="26" y="3"/>
                        </a:lnTo>
                        <a:lnTo>
                          <a:pt x="23" y="2"/>
                        </a:lnTo>
                        <a:lnTo>
                          <a:pt x="23" y="3"/>
                        </a:lnTo>
                        <a:lnTo>
                          <a:pt x="24" y="5"/>
                        </a:lnTo>
                        <a:lnTo>
                          <a:pt x="24" y="7"/>
                        </a:lnTo>
                        <a:lnTo>
                          <a:pt x="23" y="6"/>
                        </a:lnTo>
                        <a:lnTo>
                          <a:pt x="22" y="6"/>
                        </a:lnTo>
                        <a:lnTo>
                          <a:pt x="23" y="5"/>
                        </a:lnTo>
                        <a:lnTo>
                          <a:pt x="22" y="5"/>
                        </a:lnTo>
                        <a:lnTo>
                          <a:pt x="21" y="5"/>
                        </a:lnTo>
                        <a:lnTo>
                          <a:pt x="21" y="3"/>
                        </a:lnTo>
                        <a:lnTo>
                          <a:pt x="20" y="3"/>
                        </a:lnTo>
                        <a:lnTo>
                          <a:pt x="20" y="7"/>
                        </a:lnTo>
                        <a:lnTo>
                          <a:pt x="20" y="7"/>
                        </a:lnTo>
                        <a:lnTo>
                          <a:pt x="19" y="7"/>
                        </a:lnTo>
                        <a:lnTo>
                          <a:pt x="17" y="6"/>
                        </a:lnTo>
                        <a:lnTo>
                          <a:pt x="17" y="7"/>
                        </a:lnTo>
                        <a:lnTo>
                          <a:pt x="16" y="6"/>
                        </a:lnTo>
                        <a:lnTo>
                          <a:pt x="15" y="6"/>
                        </a:lnTo>
                        <a:lnTo>
                          <a:pt x="16" y="7"/>
                        </a:lnTo>
                        <a:lnTo>
                          <a:pt x="14" y="7"/>
                        </a:lnTo>
                        <a:lnTo>
                          <a:pt x="14" y="6"/>
                        </a:lnTo>
                        <a:lnTo>
                          <a:pt x="12" y="6"/>
                        </a:lnTo>
                        <a:lnTo>
                          <a:pt x="12" y="8"/>
                        </a:lnTo>
                        <a:lnTo>
                          <a:pt x="10" y="8"/>
                        </a:lnTo>
                        <a:lnTo>
                          <a:pt x="12" y="9"/>
                        </a:lnTo>
                        <a:lnTo>
                          <a:pt x="10" y="9"/>
                        </a:lnTo>
                        <a:lnTo>
                          <a:pt x="10" y="8"/>
                        </a:lnTo>
                        <a:lnTo>
                          <a:pt x="9" y="9"/>
                        </a:lnTo>
                        <a:lnTo>
                          <a:pt x="8" y="8"/>
                        </a:lnTo>
                        <a:lnTo>
                          <a:pt x="7" y="7"/>
                        </a:lnTo>
                        <a:lnTo>
                          <a:pt x="6" y="7"/>
                        </a:lnTo>
                        <a:lnTo>
                          <a:pt x="6" y="8"/>
                        </a:lnTo>
                        <a:lnTo>
                          <a:pt x="2" y="8"/>
                        </a:lnTo>
                        <a:lnTo>
                          <a:pt x="3" y="8"/>
                        </a:lnTo>
                        <a:lnTo>
                          <a:pt x="3" y="7"/>
                        </a:lnTo>
                        <a:lnTo>
                          <a:pt x="3" y="7"/>
                        </a:lnTo>
                        <a:lnTo>
                          <a:pt x="1" y="8"/>
                        </a:lnTo>
                        <a:lnTo>
                          <a:pt x="1" y="9"/>
                        </a:lnTo>
                        <a:lnTo>
                          <a:pt x="1" y="11"/>
                        </a:lnTo>
                        <a:lnTo>
                          <a:pt x="1" y="12"/>
                        </a:lnTo>
                        <a:lnTo>
                          <a:pt x="1" y="13"/>
                        </a:lnTo>
                        <a:lnTo>
                          <a:pt x="2" y="14"/>
                        </a:lnTo>
                        <a:lnTo>
                          <a:pt x="1" y="14"/>
                        </a:lnTo>
                        <a:lnTo>
                          <a:pt x="0" y="15"/>
                        </a:lnTo>
                        <a:lnTo>
                          <a:pt x="1" y="16"/>
                        </a:lnTo>
                        <a:lnTo>
                          <a:pt x="0" y="16"/>
                        </a:lnTo>
                        <a:lnTo>
                          <a:pt x="0" y="18"/>
                        </a:lnTo>
                        <a:lnTo>
                          <a:pt x="0" y="19"/>
                        </a:lnTo>
                        <a:lnTo>
                          <a:pt x="0" y="19"/>
                        </a:lnTo>
                        <a:lnTo>
                          <a:pt x="1" y="20"/>
                        </a:lnTo>
                        <a:lnTo>
                          <a:pt x="3" y="20"/>
                        </a:lnTo>
                        <a:lnTo>
                          <a:pt x="3" y="21"/>
                        </a:lnTo>
                        <a:lnTo>
                          <a:pt x="4" y="20"/>
                        </a:lnTo>
                        <a:lnTo>
                          <a:pt x="4" y="21"/>
                        </a:lnTo>
                        <a:lnTo>
                          <a:pt x="4" y="22"/>
                        </a:lnTo>
                        <a:lnTo>
                          <a:pt x="2" y="23"/>
                        </a:lnTo>
                        <a:lnTo>
                          <a:pt x="2" y="25"/>
                        </a:lnTo>
                        <a:lnTo>
                          <a:pt x="2" y="25"/>
                        </a:lnTo>
                        <a:lnTo>
                          <a:pt x="4" y="25"/>
                        </a:lnTo>
                        <a:lnTo>
                          <a:pt x="6" y="26"/>
                        </a:lnTo>
                        <a:lnTo>
                          <a:pt x="4" y="27"/>
                        </a:lnTo>
                        <a:lnTo>
                          <a:pt x="4" y="28"/>
                        </a:lnTo>
                        <a:lnTo>
                          <a:pt x="6" y="28"/>
                        </a:lnTo>
                        <a:lnTo>
                          <a:pt x="7" y="28"/>
                        </a:lnTo>
                        <a:lnTo>
                          <a:pt x="8" y="29"/>
                        </a:lnTo>
                        <a:lnTo>
                          <a:pt x="10" y="29"/>
                        </a:lnTo>
                        <a:lnTo>
                          <a:pt x="12" y="31"/>
                        </a:lnTo>
                        <a:lnTo>
                          <a:pt x="13" y="29"/>
                        </a:lnTo>
                        <a:lnTo>
                          <a:pt x="12" y="29"/>
                        </a:lnTo>
                        <a:lnTo>
                          <a:pt x="13" y="28"/>
                        </a:lnTo>
                        <a:lnTo>
                          <a:pt x="15" y="28"/>
                        </a:lnTo>
                        <a:lnTo>
                          <a:pt x="16" y="28"/>
                        </a:lnTo>
                        <a:lnTo>
                          <a:pt x="16" y="29"/>
                        </a:lnTo>
                        <a:lnTo>
                          <a:pt x="17" y="31"/>
                        </a:lnTo>
                        <a:lnTo>
                          <a:pt x="16" y="31"/>
                        </a:lnTo>
                        <a:lnTo>
                          <a:pt x="15" y="31"/>
                        </a:lnTo>
                        <a:lnTo>
                          <a:pt x="14" y="31"/>
                        </a:lnTo>
                        <a:lnTo>
                          <a:pt x="15" y="32"/>
                        </a:lnTo>
                        <a:lnTo>
                          <a:pt x="16" y="33"/>
                        </a:lnTo>
                        <a:lnTo>
                          <a:pt x="15" y="33"/>
                        </a:lnTo>
                        <a:lnTo>
                          <a:pt x="14" y="33"/>
                        </a:lnTo>
                        <a:lnTo>
                          <a:pt x="15" y="33"/>
                        </a:lnTo>
                        <a:lnTo>
                          <a:pt x="16" y="35"/>
                        </a:lnTo>
                        <a:lnTo>
                          <a:pt x="27" y="33"/>
                        </a:lnTo>
                        <a:lnTo>
                          <a:pt x="46" y="41"/>
                        </a:lnTo>
                        <a:lnTo>
                          <a:pt x="57" y="40"/>
                        </a:lnTo>
                        <a:lnTo>
                          <a:pt x="61" y="38"/>
                        </a:lnTo>
                        <a:lnTo>
                          <a:pt x="60" y="28"/>
                        </a:lnTo>
                        <a:lnTo>
                          <a:pt x="57" y="21"/>
                        </a:lnTo>
                        <a:lnTo>
                          <a:pt x="63" y="2"/>
                        </a:lnTo>
                        <a:lnTo>
                          <a:pt x="63" y="2"/>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94" name="Freeform 293">
                    <a:extLst>
                      <a:ext uri="{FF2B5EF4-FFF2-40B4-BE49-F238E27FC236}">
                        <a16:creationId xmlns:a16="http://schemas.microsoft.com/office/drawing/2014/main" id="{3C7D93BC-F655-1445-875E-C782D2ED2990}"/>
                      </a:ext>
                    </a:extLst>
                  </p:cNvPr>
                  <p:cNvSpPr>
                    <a:spLocks/>
                  </p:cNvSpPr>
                  <p:nvPr/>
                </p:nvSpPr>
                <p:spPr bwMode="auto">
                  <a:xfrm>
                    <a:off x="5546181" y="2415969"/>
                    <a:ext cx="30548" cy="22509"/>
                  </a:xfrm>
                  <a:custGeom>
                    <a:avLst/>
                    <a:gdLst>
                      <a:gd name="T0" fmla="*/ 7 w 19"/>
                      <a:gd name="T1" fmla="*/ 1 h 14"/>
                      <a:gd name="T2" fmla="*/ 6 w 19"/>
                      <a:gd name="T3" fmla="*/ 2 h 14"/>
                      <a:gd name="T4" fmla="*/ 5 w 19"/>
                      <a:gd name="T5" fmla="*/ 2 h 14"/>
                      <a:gd name="T6" fmla="*/ 3 w 19"/>
                      <a:gd name="T7" fmla="*/ 2 h 14"/>
                      <a:gd name="T8" fmla="*/ 3 w 19"/>
                      <a:gd name="T9" fmla="*/ 2 h 14"/>
                      <a:gd name="T10" fmla="*/ 1 w 19"/>
                      <a:gd name="T11" fmla="*/ 2 h 14"/>
                      <a:gd name="T12" fmla="*/ 0 w 19"/>
                      <a:gd name="T13" fmla="*/ 2 h 14"/>
                      <a:gd name="T14" fmla="*/ 1 w 19"/>
                      <a:gd name="T15" fmla="*/ 5 h 14"/>
                      <a:gd name="T16" fmla="*/ 1 w 19"/>
                      <a:gd name="T17" fmla="*/ 8 h 14"/>
                      <a:gd name="T18" fmla="*/ 3 w 19"/>
                      <a:gd name="T19" fmla="*/ 8 h 14"/>
                      <a:gd name="T20" fmla="*/ 4 w 19"/>
                      <a:gd name="T21" fmla="*/ 8 h 14"/>
                      <a:gd name="T22" fmla="*/ 5 w 19"/>
                      <a:gd name="T23" fmla="*/ 10 h 14"/>
                      <a:gd name="T24" fmla="*/ 4 w 19"/>
                      <a:gd name="T25" fmla="*/ 12 h 14"/>
                      <a:gd name="T26" fmla="*/ 4 w 19"/>
                      <a:gd name="T27" fmla="*/ 13 h 14"/>
                      <a:gd name="T28" fmla="*/ 5 w 19"/>
                      <a:gd name="T29" fmla="*/ 14 h 14"/>
                      <a:gd name="T30" fmla="*/ 6 w 19"/>
                      <a:gd name="T31" fmla="*/ 13 h 14"/>
                      <a:gd name="T32" fmla="*/ 6 w 19"/>
                      <a:gd name="T33" fmla="*/ 12 h 14"/>
                      <a:gd name="T34" fmla="*/ 6 w 19"/>
                      <a:gd name="T35" fmla="*/ 11 h 14"/>
                      <a:gd name="T36" fmla="*/ 7 w 19"/>
                      <a:gd name="T37" fmla="*/ 10 h 14"/>
                      <a:gd name="T38" fmla="*/ 8 w 19"/>
                      <a:gd name="T39" fmla="*/ 10 h 14"/>
                      <a:gd name="T40" fmla="*/ 8 w 19"/>
                      <a:gd name="T41" fmla="*/ 8 h 14"/>
                      <a:gd name="T42" fmla="*/ 11 w 19"/>
                      <a:gd name="T43" fmla="*/ 8 h 14"/>
                      <a:gd name="T44" fmla="*/ 13 w 19"/>
                      <a:gd name="T45" fmla="*/ 8 h 14"/>
                      <a:gd name="T46" fmla="*/ 13 w 19"/>
                      <a:gd name="T47" fmla="*/ 7 h 14"/>
                      <a:gd name="T48" fmla="*/ 16 w 19"/>
                      <a:gd name="T49" fmla="*/ 7 h 14"/>
                      <a:gd name="T50" fmla="*/ 17 w 19"/>
                      <a:gd name="T51" fmla="*/ 5 h 14"/>
                      <a:gd name="T52" fmla="*/ 18 w 19"/>
                      <a:gd name="T53" fmla="*/ 6 h 14"/>
                      <a:gd name="T54" fmla="*/ 19 w 19"/>
                      <a:gd name="T55" fmla="*/ 5 h 14"/>
                      <a:gd name="T56" fmla="*/ 19 w 19"/>
                      <a:gd name="T57" fmla="*/ 4 h 14"/>
                      <a:gd name="T58" fmla="*/ 18 w 19"/>
                      <a:gd name="T59" fmla="*/ 2 h 14"/>
                      <a:gd name="T60" fmla="*/ 16 w 19"/>
                      <a:gd name="T61" fmla="*/ 1 h 14"/>
                      <a:gd name="T62" fmla="*/ 13 w 19"/>
                      <a:gd name="T63" fmla="*/ 0 h 14"/>
                      <a:gd name="T64" fmla="*/ 11 w 19"/>
                      <a:gd name="T65" fmla="*/ 1 h 14"/>
                      <a:gd name="T66" fmla="*/ 8 w 19"/>
                      <a:gd name="T67" fmla="*/ 2 h 14"/>
                      <a:gd name="T68" fmla="*/ 7 w 19"/>
                      <a:gd name="T69" fmla="*/ 1 h 14"/>
                      <a:gd name="T70" fmla="*/ 7 w 19"/>
                      <a:gd name="T71"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9" h="14">
                        <a:moveTo>
                          <a:pt x="7" y="1"/>
                        </a:moveTo>
                        <a:lnTo>
                          <a:pt x="6" y="2"/>
                        </a:lnTo>
                        <a:lnTo>
                          <a:pt x="5" y="2"/>
                        </a:lnTo>
                        <a:lnTo>
                          <a:pt x="3" y="2"/>
                        </a:lnTo>
                        <a:lnTo>
                          <a:pt x="3" y="2"/>
                        </a:lnTo>
                        <a:lnTo>
                          <a:pt x="1" y="2"/>
                        </a:lnTo>
                        <a:lnTo>
                          <a:pt x="0" y="2"/>
                        </a:lnTo>
                        <a:lnTo>
                          <a:pt x="1" y="5"/>
                        </a:lnTo>
                        <a:lnTo>
                          <a:pt x="1" y="8"/>
                        </a:lnTo>
                        <a:lnTo>
                          <a:pt x="3" y="8"/>
                        </a:lnTo>
                        <a:lnTo>
                          <a:pt x="4" y="8"/>
                        </a:lnTo>
                        <a:lnTo>
                          <a:pt x="5" y="10"/>
                        </a:lnTo>
                        <a:lnTo>
                          <a:pt x="4" y="12"/>
                        </a:lnTo>
                        <a:lnTo>
                          <a:pt x="4" y="13"/>
                        </a:lnTo>
                        <a:lnTo>
                          <a:pt x="5" y="14"/>
                        </a:lnTo>
                        <a:lnTo>
                          <a:pt x="6" y="13"/>
                        </a:lnTo>
                        <a:lnTo>
                          <a:pt x="6" y="12"/>
                        </a:lnTo>
                        <a:lnTo>
                          <a:pt x="6" y="11"/>
                        </a:lnTo>
                        <a:lnTo>
                          <a:pt x="7" y="10"/>
                        </a:lnTo>
                        <a:lnTo>
                          <a:pt x="8" y="10"/>
                        </a:lnTo>
                        <a:lnTo>
                          <a:pt x="8" y="8"/>
                        </a:lnTo>
                        <a:lnTo>
                          <a:pt x="11" y="8"/>
                        </a:lnTo>
                        <a:lnTo>
                          <a:pt x="13" y="8"/>
                        </a:lnTo>
                        <a:lnTo>
                          <a:pt x="13" y="7"/>
                        </a:lnTo>
                        <a:lnTo>
                          <a:pt x="16" y="7"/>
                        </a:lnTo>
                        <a:lnTo>
                          <a:pt x="17" y="5"/>
                        </a:lnTo>
                        <a:lnTo>
                          <a:pt x="18" y="6"/>
                        </a:lnTo>
                        <a:lnTo>
                          <a:pt x="19" y="5"/>
                        </a:lnTo>
                        <a:lnTo>
                          <a:pt x="19" y="4"/>
                        </a:lnTo>
                        <a:lnTo>
                          <a:pt x="18" y="2"/>
                        </a:lnTo>
                        <a:lnTo>
                          <a:pt x="16" y="1"/>
                        </a:lnTo>
                        <a:lnTo>
                          <a:pt x="13" y="0"/>
                        </a:lnTo>
                        <a:lnTo>
                          <a:pt x="11" y="1"/>
                        </a:lnTo>
                        <a:lnTo>
                          <a:pt x="8" y="2"/>
                        </a:lnTo>
                        <a:lnTo>
                          <a:pt x="7" y="1"/>
                        </a:lnTo>
                        <a:lnTo>
                          <a:pt x="7" y="1"/>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95" name="Freeform 294">
                    <a:extLst>
                      <a:ext uri="{FF2B5EF4-FFF2-40B4-BE49-F238E27FC236}">
                        <a16:creationId xmlns:a16="http://schemas.microsoft.com/office/drawing/2014/main" id="{EFE4DFE4-AD90-2E4F-97B4-B33904569DDC}"/>
                      </a:ext>
                    </a:extLst>
                  </p:cNvPr>
                  <p:cNvSpPr>
                    <a:spLocks/>
                  </p:cNvSpPr>
                  <p:nvPr/>
                </p:nvSpPr>
                <p:spPr bwMode="auto">
                  <a:xfrm>
                    <a:off x="5547789" y="2403106"/>
                    <a:ext cx="20901" cy="12862"/>
                  </a:xfrm>
                  <a:custGeom>
                    <a:avLst/>
                    <a:gdLst>
                      <a:gd name="T0" fmla="*/ 7 w 13"/>
                      <a:gd name="T1" fmla="*/ 8 h 8"/>
                      <a:gd name="T2" fmla="*/ 9 w 13"/>
                      <a:gd name="T3" fmla="*/ 7 h 8"/>
                      <a:gd name="T4" fmla="*/ 11 w 13"/>
                      <a:gd name="T5" fmla="*/ 6 h 8"/>
                      <a:gd name="T6" fmla="*/ 13 w 13"/>
                      <a:gd name="T7" fmla="*/ 5 h 8"/>
                      <a:gd name="T8" fmla="*/ 12 w 13"/>
                      <a:gd name="T9" fmla="*/ 5 h 8"/>
                      <a:gd name="T10" fmla="*/ 12 w 13"/>
                      <a:gd name="T11" fmla="*/ 1 h 8"/>
                      <a:gd name="T12" fmla="*/ 7 w 13"/>
                      <a:gd name="T13" fmla="*/ 1 h 8"/>
                      <a:gd name="T14" fmla="*/ 7 w 13"/>
                      <a:gd name="T15" fmla="*/ 0 h 8"/>
                      <a:gd name="T16" fmla="*/ 5 w 13"/>
                      <a:gd name="T17" fmla="*/ 0 h 8"/>
                      <a:gd name="T18" fmla="*/ 5 w 13"/>
                      <a:gd name="T19" fmla="*/ 1 h 8"/>
                      <a:gd name="T20" fmla="*/ 5 w 13"/>
                      <a:gd name="T21" fmla="*/ 2 h 8"/>
                      <a:gd name="T22" fmla="*/ 5 w 13"/>
                      <a:gd name="T23" fmla="*/ 2 h 8"/>
                      <a:gd name="T24" fmla="*/ 3 w 13"/>
                      <a:gd name="T25" fmla="*/ 2 h 8"/>
                      <a:gd name="T26" fmla="*/ 0 w 13"/>
                      <a:gd name="T27" fmla="*/ 3 h 8"/>
                      <a:gd name="T28" fmla="*/ 0 w 13"/>
                      <a:gd name="T29" fmla="*/ 3 h 8"/>
                      <a:gd name="T30" fmla="*/ 2 w 13"/>
                      <a:gd name="T31" fmla="*/ 3 h 8"/>
                      <a:gd name="T32" fmla="*/ 5 w 13"/>
                      <a:gd name="T33" fmla="*/ 5 h 8"/>
                      <a:gd name="T34" fmla="*/ 6 w 13"/>
                      <a:gd name="T35" fmla="*/ 7 h 8"/>
                      <a:gd name="T36" fmla="*/ 6 w 13"/>
                      <a:gd name="T37" fmla="*/ 8 h 8"/>
                      <a:gd name="T38" fmla="*/ 7 w 13"/>
                      <a:gd name="T39" fmla="*/ 8 h 8"/>
                      <a:gd name="T40" fmla="*/ 7 w 13"/>
                      <a:gd name="T41" fmla="*/ 8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3" h="8">
                        <a:moveTo>
                          <a:pt x="7" y="8"/>
                        </a:moveTo>
                        <a:lnTo>
                          <a:pt x="9" y="7"/>
                        </a:lnTo>
                        <a:lnTo>
                          <a:pt x="11" y="6"/>
                        </a:lnTo>
                        <a:lnTo>
                          <a:pt x="13" y="5"/>
                        </a:lnTo>
                        <a:lnTo>
                          <a:pt x="12" y="5"/>
                        </a:lnTo>
                        <a:lnTo>
                          <a:pt x="12" y="1"/>
                        </a:lnTo>
                        <a:lnTo>
                          <a:pt x="7" y="1"/>
                        </a:lnTo>
                        <a:lnTo>
                          <a:pt x="7" y="0"/>
                        </a:lnTo>
                        <a:lnTo>
                          <a:pt x="5" y="0"/>
                        </a:lnTo>
                        <a:lnTo>
                          <a:pt x="5" y="1"/>
                        </a:lnTo>
                        <a:lnTo>
                          <a:pt x="5" y="2"/>
                        </a:lnTo>
                        <a:lnTo>
                          <a:pt x="5" y="2"/>
                        </a:lnTo>
                        <a:lnTo>
                          <a:pt x="3" y="2"/>
                        </a:lnTo>
                        <a:lnTo>
                          <a:pt x="0" y="3"/>
                        </a:lnTo>
                        <a:lnTo>
                          <a:pt x="0" y="3"/>
                        </a:lnTo>
                        <a:lnTo>
                          <a:pt x="2" y="3"/>
                        </a:lnTo>
                        <a:lnTo>
                          <a:pt x="5" y="5"/>
                        </a:lnTo>
                        <a:lnTo>
                          <a:pt x="6" y="7"/>
                        </a:lnTo>
                        <a:lnTo>
                          <a:pt x="6" y="8"/>
                        </a:lnTo>
                        <a:lnTo>
                          <a:pt x="7" y="8"/>
                        </a:lnTo>
                        <a:lnTo>
                          <a:pt x="7" y="8"/>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grpSp>
            <p:grpSp>
              <p:nvGrpSpPr>
                <p:cNvPr id="406" name="Denmark">
                  <a:extLst>
                    <a:ext uri="{FF2B5EF4-FFF2-40B4-BE49-F238E27FC236}">
                      <a16:creationId xmlns:a16="http://schemas.microsoft.com/office/drawing/2014/main" id="{A38A973D-AEE4-6549-8143-025C28F07D1D}"/>
                    </a:ext>
                  </a:extLst>
                </p:cNvPr>
                <p:cNvGrpSpPr/>
                <p:nvPr/>
              </p:nvGrpSpPr>
              <p:grpSpPr>
                <a:xfrm>
                  <a:off x="5130364" y="1642150"/>
                  <a:ext cx="1567295" cy="720227"/>
                  <a:chOff x="3673109" y="1748736"/>
                  <a:chExt cx="1728371" cy="794247"/>
                </a:xfrm>
                <a:grpFill/>
              </p:grpSpPr>
              <p:sp>
                <p:nvSpPr>
                  <p:cNvPr id="490" name="Freeform 229">
                    <a:extLst>
                      <a:ext uri="{FF2B5EF4-FFF2-40B4-BE49-F238E27FC236}">
                        <a16:creationId xmlns:a16="http://schemas.microsoft.com/office/drawing/2014/main" id="{ADD242BC-F49B-C94E-AE9A-115BACE7C6E4}"/>
                      </a:ext>
                    </a:extLst>
                  </p:cNvPr>
                  <p:cNvSpPr>
                    <a:spLocks noEditPoints="1"/>
                  </p:cNvSpPr>
                  <p:nvPr/>
                </p:nvSpPr>
                <p:spPr bwMode="auto">
                  <a:xfrm>
                    <a:off x="3673109" y="1748736"/>
                    <a:ext cx="1188156" cy="635077"/>
                  </a:xfrm>
                  <a:custGeom>
                    <a:avLst/>
                    <a:gdLst>
                      <a:gd name="T0" fmla="*/ 390 w 739"/>
                      <a:gd name="T1" fmla="*/ 265 h 395"/>
                      <a:gd name="T2" fmla="*/ 428 w 739"/>
                      <a:gd name="T3" fmla="*/ 240 h 395"/>
                      <a:gd name="T4" fmla="*/ 482 w 739"/>
                      <a:gd name="T5" fmla="*/ 233 h 395"/>
                      <a:gd name="T6" fmla="*/ 534 w 739"/>
                      <a:gd name="T7" fmla="*/ 223 h 395"/>
                      <a:gd name="T8" fmla="*/ 501 w 739"/>
                      <a:gd name="T9" fmla="*/ 206 h 395"/>
                      <a:gd name="T10" fmla="*/ 515 w 739"/>
                      <a:gd name="T11" fmla="*/ 180 h 395"/>
                      <a:gd name="T12" fmla="*/ 576 w 739"/>
                      <a:gd name="T13" fmla="*/ 188 h 395"/>
                      <a:gd name="T14" fmla="*/ 541 w 739"/>
                      <a:gd name="T15" fmla="*/ 159 h 395"/>
                      <a:gd name="T16" fmla="*/ 540 w 739"/>
                      <a:gd name="T17" fmla="*/ 149 h 395"/>
                      <a:gd name="T18" fmla="*/ 597 w 739"/>
                      <a:gd name="T19" fmla="*/ 153 h 395"/>
                      <a:gd name="T20" fmla="*/ 608 w 739"/>
                      <a:gd name="T21" fmla="*/ 133 h 395"/>
                      <a:gd name="T22" fmla="*/ 614 w 739"/>
                      <a:gd name="T23" fmla="*/ 122 h 395"/>
                      <a:gd name="T24" fmla="*/ 619 w 739"/>
                      <a:gd name="T25" fmla="*/ 95 h 395"/>
                      <a:gd name="T26" fmla="*/ 625 w 739"/>
                      <a:gd name="T27" fmla="*/ 78 h 395"/>
                      <a:gd name="T28" fmla="*/ 619 w 739"/>
                      <a:gd name="T29" fmla="*/ 69 h 395"/>
                      <a:gd name="T30" fmla="*/ 667 w 739"/>
                      <a:gd name="T31" fmla="*/ 49 h 395"/>
                      <a:gd name="T32" fmla="*/ 724 w 739"/>
                      <a:gd name="T33" fmla="*/ 33 h 395"/>
                      <a:gd name="T34" fmla="*/ 676 w 739"/>
                      <a:gd name="T35" fmla="*/ 27 h 395"/>
                      <a:gd name="T36" fmla="*/ 649 w 739"/>
                      <a:gd name="T37" fmla="*/ 21 h 395"/>
                      <a:gd name="T38" fmla="*/ 621 w 739"/>
                      <a:gd name="T39" fmla="*/ 13 h 395"/>
                      <a:gd name="T40" fmla="*/ 574 w 739"/>
                      <a:gd name="T41" fmla="*/ 4 h 395"/>
                      <a:gd name="T42" fmla="*/ 469 w 739"/>
                      <a:gd name="T43" fmla="*/ 4 h 395"/>
                      <a:gd name="T44" fmla="*/ 382 w 739"/>
                      <a:gd name="T45" fmla="*/ 4 h 395"/>
                      <a:gd name="T46" fmla="*/ 369 w 739"/>
                      <a:gd name="T47" fmla="*/ 18 h 395"/>
                      <a:gd name="T48" fmla="*/ 310 w 739"/>
                      <a:gd name="T49" fmla="*/ 21 h 395"/>
                      <a:gd name="T50" fmla="*/ 248 w 739"/>
                      <a:gd name="T51" fmla="*/ 16 h 395"/>
                      <a:gd name="T52" fmla="*/ 207 w 739"/>
                      <a:gd name="T53" fmla="*/ 19 h 395"/>
                      <a:gd name="T54" fmla="*/ 158 w 739"/>
                      <a:gd name="T55" fmla="*/ 31 h 395"/>
                      <a:gd name="T56" fmla="*/ 126 w 739"/>
                      <a:gd name="T57" fmla="*/ 46 h 395"/>
                      <a:gd name="T58" fmla="*/ 63 w 739"/>
                      <a:gd name="T59" fmla="*/ 60 h 395"/>
                      <a:gd name="T60" fmla="*/ 31 w 739"/>
                      <a:gd name="T61" fmla="*/ 82 h 395"/>
                      <a:gd name="T62" fmla="*/ 23 w 739"/>
                      <a:gd name="T63" fmla="*/ 83 h 395"/>
                      <a:gd name="T64" fmla="*/ 14 w 739"/>
                      <a:gd name="T65" fmla="*/ 94 h 395"/>
                      <a:gd name="T66" fmla="*/ 61 w 739"/>
                      <a:gd name="T67" fmla="*/ 103 h 395"/>
                      <a:gd name="T68" fmla="*/ 100 w 739"/>
                      <a:gd name="T69" fmla="*/ 101 h 395"/>
                      <a:gd name="T70" fmla="*/ 147 w 739"/>
                      <a:gd name="T71" fmla="*/ 127 h 395"/>
                      <a:gd name="T72" fmla="*/ 154 w 739"/>
                      <a:gd name="T73" fmla="*/ 158 h 395"/>
                      <a:gd name="T74" fmla="*/ 160 w 739"/>
                      <a:gd name="T75" fmla="*/ 182 h 395"/>
                      <a:gd name="T76" fmla="*/ 182 w 739"/>
                      <a:gd name="T77" fmla="*/ 196 h 395"/>
                      <a:gd name="T78" fmla="*/ 182 w 739"/>
                      <a:gd name="T79" fmla="*/ 209 h 395"/>
                      <a:gd name="T80" fmla="*/ 148 w 739"/>
                      <a:gd name="T81" fmla="*/ 239 h 395"/>
                      <a:gd name="T82" fmla="*/ 164 w 739"/>
                      <a:gd name="T83" fmla="*/ 248 h 395"/>
                      <a:gd name="T84" fmla="*/ 129 w 739"/>
                      <a:gd name="T85" fmla="*/ 261 h 395"/>
                      <a:gd name="T86" fmla="*/ 165 w 739"/>
                      <a:gd name="T87" fmla="*/ 265 h 395"/>
                      <a:gd name="T88" fmla="*/ 127 w 739"/>
                      <a:gd name="T89" fmla="*/ 292 h 395"/>
                      <a:gd name="T90" fmla="*/ 140 w 739"/>
                      <a:gd name="T91" fmla="*/ 307 h 395"/>
                      <a:gd name="T92" fmla="*/ 135 w 739"/>
                      <a:gd name="T93" fmla="*/ 330 h 395"/>
                      <a:gd name="T94" fmla="*/ 137 w 739"/>
                      <a:gd name="T95" fmla="*/ 347 h 395"/>
                      <a:gd name="T96" fmla="*/ 163 w 739"/>
                      <a:gd name="T97" fmla="*/ 377 h 395"/>
                      <a:gd name="T98" fmla="*/ 201 w 739"/>
                      <a:gd name="T99" fmla="*/ 390 h 395"/>
                      <a:gd name="T100" fmla="*/ 235 w 739"/>
                      <a:gd name="T101" fmla="*/ 372 h 395"/>
                      <a:gd name="T102" fmla="*/ 258 w 739"/>
                      <a:gd name="T103" fmla="*/ 339 h 395"/>
                      <a:gd name="T104" fmla="*/ 289 w 739"/>
                      <a:gd name="T105" fmla="*/ 302 h 395"/>
                      <a:gd name="T106" fmla="*/ 322 w 739"/>
                      <a:gd name="T107" fmla="*/ 287 h 395"/>
                      <a:gd name="T108" fmla="*/ 361 w 739"/>
                      <a:gd name="T109" fmla="*/ 278 h 395"/>
                      <a:gd name="T110" fmla="*/ 153 w 739"/>
                      <a:gd name="T111" fmla="*/ 205 h 395"/>
                      <a:gd name="T112" fmla="*/ 143 w 739"/>
                      <a:gd name="T113" fmla="*/ 203 h 395"/>
                      <a:gd name="T114" fmla="*/ 656 w 739"/>
                      <a:gd name="T115" fmla="*/ 66 h 395"/>
                      <a:gd name="T116" fmla="*/ 632 w 739"/>
                      <a:gd name="T117" fmla="*/ 100 h 395"/>
                      <a:gd name="T118" fmla="*/ 622 w 739"/>
                      <a:gd name="T119" fmla="*/ 135 h 395"/>
                      <a:gd name="T120" fmla="*/ 527 w 739"/>
                      <a:gd name="T121" fmla="*/ 192 h 395"/>
                      <a:gd name="T122" fmla="*/ 508 w 739"/>
                      <a:gd name="T123" fmla="*/ 183 h 395"/>
                      <a:gd name="T124" fmla="*/ 562 w 739"/>
                      <a:gd name="T125" fmla="*/ 158 h 3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739" h="395">
                        <a:moveTo>
                          <a:pt x="271" y="18"/>
                        </a:moveTo>
                        <a:lnTo>
                          <a:pt x="271" y="19"/>
                        </a:lnTo>
                        <a:lnTo>
                          <a:pt x="275" y="18"/>
                        </a:lnTo>
                        <a:lnTo>
                          <a:pt x="271" y="18"/>
                        </a:lnTo>
                        <a:lnTo>
                          <a:pt x="271" y="18"/>
                        </a:lnTo>
                        <a:close/>
                        <a:moveTo>
                          <a:pt x="365" y="279"/>
                        </a:moveTo>
                        <a:lnTo>
                          <a:pt x="368" y="275"/>
                        </a:lnTo>
                        <a:lnTo>
                          <a:pt x="373" y="275"/>
                        </a:lnTo>
                        <a:lnTo>
                          <a:pt x="377" y="272"/>
                        </a:lnTo>
                        <a:lnTo>
                          <a:pt x="382" y="272"/>
                        </a:lnTo>
                        <a:lnTo>
                          <a:pt x="388" y="268"/>
                        </a:lnTo>
                        <a:lnTo>
                          <a:pt x="387" y="267"/>
                        </a:lnTo>
                        <a:lnTo>
                          <a:pt x="389" y="268"/>
                        </a:lnTo>
                        <a:lnTo>
                          <a:pt x="389" y="262"/>
                        </a:lnTo>
                        <a:lnTo>
                          <a:pt x="390" y="265"/>
                        </a:lnTo>
                        <a:lnTo>
                          <a:pt x="392" y="266"/>
                        </a:lnTo>
                        <a:lnTo>
                          <a:pt x="394" y="267"/>
                        </a:lnTo>
                        <a:lnTo>
                          <a:pt x="396" y="259"/>
                        </a:lnTo>
                        <a:lnTo>
                          <a:pt x="402" y="263"/>
                        </a:lnTo>
                        <a:lnTo>
                          <a:pt x="402" y="259"/>
                        </a:lnTo>
                        <a:lnTo>
                          <a:pt x="404" y="253"/>
                        </a:lnTo>
                        <a:lnTo>
                          <a:pt x="404" y="250"/>
                        </a:lnTo>
                        <a:lnTo>
                          <a:pt x="407" y="252"/>
                        </a:lnTo>
                        <a:lnTo>
                          <a:pt x="412" y="252"/>
                        </a:lnTo>
                        <a:lnTo>
                          <a:pt x="417" y="247"/>
                        </a:lnTo>
                        <a:lnTo>
                          <a:pt x="421" y="245"/>
                        </a:lnTo>
                        <a:lnTo>
                          <a:pt x="424" y="248"/>
                        </a:lnTo>
                        <a:lnTo>
                          <a:pt x="424" y="242"/>
                        </a:lnTo>
                        <a:lnTo>
                          <a:pt x="424" y="239"/>
                        </a:lnTo>
                        <a:lnTo>
                          <a:pt x="428" y="240"/>
                        </a:lnTo>
                        <a:lnTo>
                          <a:pt x="436" y="241"/>
                        </a:lnTo>
                        <a:lnTo>
                          <a:pt x="440" y="240"/>
                        </a:lnTo>
                        <a:lnTo>
                          <a:pt x="440" y="242"/>
                        </a:lnTo>
                        <a:lnTo>
                          <a:pt x="444" y="243"/>
                        </a:lnTo>
                        <a:lnTo>
                          <a:pt x="448" y="241"/>
                        </a:lnTo>
                        <a:lnTo>
                          <a:pt x="448" y="243"/>
                        </a:lnTo>
                        <a:lnTo>
                          <a:pt x="454" y="242"/>
                        </a:lnTo>
                        <a:lnTo>
                          <a:pt x="461" y="240"/>
                        </a:lnTo>
                        <a:lnTo>
                          <a:pt x="464" y="238"/>
                        </a:lnTo>
                        <a:lnTo>
                          <a:pt x="470" y="239"/>
                        </a:lnTo>
                        <a:lnTo>
                          <a:pt x="471" y="241"/>
                        </a:lnTo>
                        <a:lnTo>
                          <a:pt x="472" y="239"/>
                        </a:lnTo>
                        <a:lnTo>
                          <a:pt x="475" y="238"/>
                        </a:lnTo>
                        <a:lnTo>
                          <a:pt x="480" y="240"/>
                        </a:lnTo>
                        <a:lnTo>
                          <a:pt x="482" y="233"/>
                        </a:lnTo>
                        <a:lnTo>
                          <a:pt x="491" y="234"/>
                        </a:lnTo>
                        <a:lnTo>
                          <a:pt x="498" y="233"/>
                        </a:lnTo>
                        <a:lnTo>
                          <a:pt x="500" y="229"/>
                        </a:lnTo>
                        <a:lnTo>
                          <a:pt x="502" y="232"/>
                        </a:lnTo>
                        <a:lnTo>
                          <a:pt x="507" y="230"/>
                        </a:lnTo>
                        <a:lnTo>
                          <a:pt x="515" y="229"/>
                        </a:lnTo>
                        <a:lnTo>
                          <a:pt x="520" y="226"/>
                        </a:lnTo>
                        <a:lnTo>
                          <a:pt x="524" y="223"/>
                        </a:lnTo>
                        <a:lnTo>
                          <a:pt x="525" y="222"/>
                        </a:lnTo>
                        <a:lnTo>
                          <a:pt x="528" y="222"/>
                        </a:lnTo>
                        <a:lnTo>
                          <a:pt x="530" y="226"/>
                        </a:lnTo>
                        <a:lnTo>
                          <a:pt x="530" y="221"/>
                        </a:lnTo>
                        <a:lnTo>
                          <a:pt x="530" y="220"/>
                        </a:lnTo>
                        <a:lnTo>
                          <a:pt x="531" y="221"/>
                        </a:lnTo>
                        <a:lnTo>
                          <a:pt x="534" y="223"/>
                        </a:lnTo>
                        <a:lnTo>
                          <a:pt x="536" y="221"/>
                        </a:lnTo>
                        <a:lnTo>
                          <a:pt x="538" y="221"/>
                        </a:lnTo>
                        <a:lnTo>
                          <a:pt x="540" y="221"/>
                        </a:lnTo>
                        <a:lnTo>
                          <a:pt x="540" y="218"/>
                        </a:lnTo>
                        <a:lnTo>
                          <a:pt x="543" y="218"/>
                        </a:lnTo>
                        <a:lnTo>
                          <a:pt x="545" y="219"/>
                        </a:lnTo>
                        <a:lnTo>
                          <a:pt x="544" y="213"/>
                        </a:lnTo>
                        <a:lnTo>
                          <a:pt x="549" y="214"/>
                        </a:lnTo>
                        <a:lnTo>
                          <a:pt x="556" y="211"/>
                        </a:lnTo>
                        <a:lnTo>
                          <a:pt x="557" y="211"/>
                        </a:lnTo>
                        <a:lnTo>
                          <a:pt x="554" y="207"/>
                        </a:lnTo>
                        <a:lnTo>
                          <a:pt x="537" y="205"/>
                        </a:lnTo>
                        <a:lnTo>
                          <a:pt x="529" y="208"/>
                        </a:lnTo>
                        <a:lnTo>
                          <a:pt x="517" y="208"/>
                        </a:lnTo>
                        <a:lnTo>
                          <a:pt x="501" y="206"/>
                        </a:lnTo>
                        <a:lnTo>
                          <a:pt x="491" y="208"/>
                        </a:lnTo>
                        <a:lnTo>
                          <a:pt x="482" y="207"/>
                        </a:lnTo>
                        <a:lnTo>
                          <a:pt x="483" y="202"/>
                        </a:lnTo>
                        <a:lnTo>
                          <a:pt x="488" y="198"/>
                        </a:lnTo>
                        <a:lnTo>
                          <a:pt x="491" y="193"/>
                        </a:lnTo>
                        <a:lnTo>
                          <a:pt x="496" y="189"/>
                        </a:lnTo>
                        <a:lnTo>
                          <a:pt x="496" y="186"/>
                        </a:lnTo>
                        <a:lnTo>
                          <a:pt x="498" y="185"/>
                        </a:lnTo>
                        <a:lnTo>
                          <a:pt x="501" y="183"/>
                        </a:lnTo>
                        <a:lnTo>
                          <a:pt x="502" y="180"/>
                        </a:lnTo>
                        <a:lnTo>
                          <a:pt x="498" y="178"/>
                        </a:lnTo>
                        <a:lnTo>
                          <a:pt x="502" y="176"/>
                        </a:lnTo>
                        <a:lnTo>
                          <a:pt x="507" y="178"/>
                        </a:lnTo>
                        <a:lnTo>
                          <a:pt x="512" y="180"/>
                        </a:lnTo>
                        <a:lnTo>
                          <a:pt x="515" y="180"/>
                        </a:lnTo>
                        <a:lnTo>
                          <a:pt x="524" y="186"/>
                        </a:lnTo>
                        <a:lnTo>
                          <a:pt x="534" y="187"/>
                        </a:lnTo>
                        <a:lnTo>
                          <a:pt x="541" y="189"/>
                        </a:lnTo>
                        <a:lnTo>
                          <a:pt x="540" y="193"/>
                        </a:lnTo>
                        <a:lnTo>
                          <a:pt x="544" y="198"/>
                        </a:lnTo>
                        <a:lnTo>
                          <a:pt x="550" y="202"/>
                        </a:lnTo>
                        <a:lnTo>
                          <a:pt x="561" y="201"/>
                        </a:lnTo>
                        <a:lnTo>
                          <a:pt x="569" y="201"/>
                        </a:lnTo>
                        <a:lnTo>
                          <a:pt x="574" y="202"/>
                        </a:lnTo>
                        <a:lnTo>
                          <a:pt x="571" y="199"/>
                        </a:lnTo>
                        <a:lnTo>
                          <a:pt x="574" y="199"/>
                        </a:lnTo>
                        <a:lnTo>
                          <a:pt x="572" y="198"/>
                        </a:lnTo>
                        <a:lnTo>
                          <a:pt x="572" y="196"/>
                        </a:lnTo>
                        <a:lnTo>
                          <a:pt x="576" y="193"/>
                        </a:lnTo>
                        <a:lnTo>
                          <a:pt x="576" y="188"/>
                        </a:lnTo>
                        <a:lnTo>
                          <a:pt x="575" y="185"/>
                        </a:lnTo>
                        <a:lnTo>
                          <a:pt x="571" y="181"/>
                        </a:lnTo>
                        <a:lnTo>
                          <a:pt x="568" y="179"/>
                        </a:lnTo>
                        <a:lnTo>
                          <a:pt x="565" y="176"/>
                        </a:lnTo>
                        <a:lnTo>
                          <a:pt x="562" y="176"/>
                        </a:lnTo>
                        <a:lnTo>
                          <a:pt x="561" y="174"/>
                        </a:lnTo>
                        <a:lnTo>
                          <a:pt x="555" y="173"/>
                        </a:lnTo>
                        <a:lnTo>
                          <a:pt x="550" y="171"/>
                        </a:lnTo>
                        <a:lnTo>
                          <a:pt x="545" y="167"/>
                        </a:lnTo>
                        <a:lnTo>
                          <a:pt x="545" y="168"/>
                        </a:lnTo>
                        <a:lnTo>
                          <a:pt x="542" y="168"/>
                        </a:lnTo>
                        <a:lnTo>
                          <a:pt x="540" y="169"/>
                        </a:lnTo>
                        <a:lnTo>
                          <a:pt x="540" y="168"/>
                        </a:lnTo>
                        <a:lnTo>
                          <a:pt x="543" y="161"/>
                        </a:lnTo>
                        <a:lnTo>
                          <a:pt x="541" y="159"/>
                        </a:lnTo>
                        <a:lnTo>
                          <a:pt x="530" y="161"/>
                        </a:lnTo>
                        <a:lnTo>
                          <a:pt x="528" y="161"/>
                        </a:lnTo>
                        <a:lnTo>
                          <a:pt x="524" y="162"/>
                        </a:lnTo>
                        <a:lnTo>
                          <a:pt x="523" y="161"/>
                        </a:lnTo>
                        <a:lnTo>
                          <a:pt x="525" y="160"/>
                        </a:lnTo>
                        <a:lnTo>
                          <a:pt x="525" y="159"/>
                        </a:lnTo>
                        <a:lnTo>
                          <a:pt x="528" y="156"/>
                        </a:lnTo>
                        <a:lnTo>
                          <a:pt x="522" y="155"/>
                        </a:lnTo>
                        <a:lnTo>
                          <a:pt x="521" y="153"/>
                        </a:lnTo>
                        <a:lnTo>
                          <a:pt x="518" y="154"/>
                        </a:lnTo>
                        <a:lnTo>
                          <a:pt x="516" y="154"/>
                        </a:lnTo>
                        <a:lnTo>
                          <a:pt x="518" y="153"/>
                        </a:lnTo>
                        <a:lnTo>
                          <a:pt x="522" y="152"/>
                        </a:lnTo>
                        <a:lnTo>
                          <a:pt x="534" y="153"/>
                        </a:lnTo>
                        <a:lnTo>
                          <a:pt x="540" y="149"/>
                        </a:lnTo>
                        <a:lnTo>
                          <a:pt x="545" y="151"/>
                        </a:lnTo>
                        <a:lnTo>
                          <a:pt x="549" y="148"/>
                        </a:lnTo>
                        <a:lnTo>
                          <a:pt x="555" y="145"/>
                        </a:lnTo>
                        <a:lnTo>
                          <a:pt x="564" y="148"/>
                        </a:lnTo>
                        <a:lnTo>
                          <a:pt x="565" y="146"/>
                        </a:lnTo>
                        <a:lnTo>
                          <a:pt x="568" y="148"/>
                        </a:lnTo>
                        <a:lnTo>
                          <a:pt x="570" y="147"/>
                        </a:lnTo>
                        <a:lnTo>
                          <a:pt x="571" y="152"/>
                        </a:lnTo>
                        <a:lnTo>
                          <a:pt x="578" y="153"/>
                        </a:lnTo>
                        <a:lnTo>
                          <a:pt x="584" y="152"/>
                        </a:lnTo>
                        <a:lnTo>
                          <a:pt x="583" y="149"/>
                        </a:lnTo>
                        <a:lnTo>
                          <a:pt x="585" y="148"/>
                        </a:lnTo>
                        <a:lnTo>
                          <a:pt x="589" y="149"/>
                        </a:lnTo>
                        <a:lnTo>
                          <a:pt x="591" y="149"/>
                        </a:lnTo>
                        <a:lnTo>
                          <a:pt x="597" y="153"/>
                        </a:lnTo>
                        <a:lnTo>
                          <a:pt x="601" y="151"/>
                        </a:lnTo>
                        <a:lnTo>
                          <a:pt x="601" y="145"/>
                        </a:lnTo>
                        <a:lnTo>
                          <a:pt x="597" y="145"/>
                        </a:lnTo>
                        <a:lnTo>
                          <a:pt x="595" y="143"/>
                        </a:lnTo>
                        <a:lnTo>
                          <a:pt x="594" y="142"/>
                        </a:lnTo>
                        <a:lnTo>
                          <a:pt x="590" y="142"/>
                        </a:lnTo>
                        <a:lnTo>
                          <a:pt x="589" y="140"/>
                        </a:lnTo>
                        <a:lnTo>
                          <a:pt x="588" y="138"/>
                        </a:lnTo>
                        <a:lnTo>
                          <a:pt x="585" y="136"/>
                        </a:lnTo>
                        <a:lnTo>
                          <a:pt x="602" y="139"/>
                        </a:lnTo>
                        <a:lnTo>
                          <a:pt x="592" y="136"/>
                        </a:lnTo>
                        <a:lnTo>
                          <a:pt x="607" y="138"/>
                        </a:lnTo>
                        <a:lnTo>
                          <a:pt x="611" y="135"/>
                        </a:lnTo>
                        <a:lnTo>
                          <a:pt x="605" y="133"/>
                        </a:lnTo>
                        <a:lnTo>
                          <a:pt x="608" y="133"/>
                        </a:lnTo>
                        <a:lnTo>
                          <a:pt x="609" y="131"/>
                        </a:lnTo>
                        <a:lnTo>
                          <a:pt x="611" y="131"/>
                        </a:lnTo>
                        <a:lnTo>
                          <a:pt x="610" y="128"/>
                        </a:lnTo>
                        <a:lnTo>
                          <a:pt x="604" y="127"/>
                        </a:lnTo>
                        <a:lnTo>
                          <a:pt x="602" y="123"/>
                        </a:lnTo>
                        <a:lnTo>
                          <a:pt x="600" y="122"/>
                        </a:lnTo>
                        <a:lnTo>
                          <a:pt x="597" y="123"/>
                        </a:lnTo>
                        <a:lnTo>
                          <a:pt x="595" y="120"/>
                        </a:lnTo>
                        <a:lnTo>
                          <a:pt x="595" y="119"/>
                        </a:lnTo>
                        <a:lnTo>
                          <a:pt x="598" y="119"/>
                        </a:lnTo>
                        <a:lnTo>
                          <a:pt x="600" y="118"/>
                        </a:lnTo>
                        <a:lnTo>
                          <a:pt x="602" y="119"/>
                        </a:lnTo>
                        <a:lnTo>
                          <a:pt x="596" y="119"/>
                        </a:lnTo>
                        <a:lnTo>
                          <a:pt x="603" y="119"/>
                        </a:lnTo>
                        <a:lnTo>
                          <a:pt x="614" y="122"/>
                        </a:lnTo>
                        <a:lnTo>
                          <a:pt x="616" y="119"/>
                        </a:lnTo>
                        <a:lnTo>
                          <a:pt x="621" y="120"/>
                        </a:lnTo>
                        <a:lnTo>
                          <a:pt x="622" y="116"/>
                        </a:lnTo>
                        <a:lnTo>
                          <a:pt x="616" y="113"/>
                        </a:lnTo>
                        <a:lnTo>
                          <a:pt x="621" y="107"/>
                        </a:lnTo>
                        <a:lnTo>
                          <a:pt x="614" y="105"/>
                        </a:lnTo>
                        <a:lnTo>
                          <a:pt x="610" y="108"/>
                        </a:lnTo>
                        <a:lnTo>
                          <a:pt x="609" y="106"/>
                        </a:lnTo>
                        <a:lnTo>
                          <a:pt x="611" y="102"/>
                        </a:lnTo>
                        <a:lnTo>
                          <a:pt x="602" y="100"/>
                        </a:lnTo>
                        <a:lnTo>
                          <a:pt x="594" y="99"/>
                        </a:lnTo>
                        <a:lnTo>
                          <a:pt x="595" y="96"/>
                        </a:lnTo>
                        <a:lnTo>
                          <a:pt x="600" y="94"/>
                        </a:lnTo>
                        <a:lnTo>
                          <a:pt x="607" y="93"/>
                        </a:lnTo>
                        <a:lnTo>
                          <a:pt x="619" y="95"/>
                        </a:lnTo>
                        <a:lnTo>
                          <a:pt x="627" y="96"/>
                        </a:lnTo>
                        <a:lnTo>
                          <a:pt x="636" y="94"/>
                        </a:lnTo>
                        <a:lnTo>
                          <a:pt x="641" y="96"/>
                        </a:lnTo>
                        <a:lnTo>
                          <a:pt x="643" y="94"/>
                        </a:lnTo>
                        <a:lnTo>
                          <a:pt x="647" y="94"/>
                        </a:lnTo>
                        <a:lnTo>
                          <a:pt x="641" y="89"/>
                        </a:lnTo>
                        <a:lnTo>
                          <a:pt x="638" y="88"/>
                        </a:lnTo>
                        <a:lnTo>
                          <a:pt x="637" y="85"/>
                        </a:lnTo>
                        <a:lnTo>
                          <a:pt x="636" y="82"/>
                        </a:lnTo>
                        <a:lnTo>
                          <a:pt x="634" y="81"/>
                        </a:lnTo>
                        <a:lnTo>
                          <a:pt x="630" y="81"/>
                        </a:lnTo>
                        <a:lnTo>
                          <a:pt x="629" y="80"/>
                        </a:lnTo>
                        <a:lnTo>
                          <a:pt x="625" y="80"/>
                        </a:lnTo>
                        <a:lnTo>
                          <a:pt x="624" y="80"/>
                        </a:lnTo>
                        <a:lnTo>
                          <a:pt x="625" y="78"/>
                        </a:lnTo>
                        <a:lnTo>
                          <a:pt x="623" y="78"/>
                        </a:lnTo>
                        <a:lnTo>
                          <a:pt x="624" y="76"/>
                        </a:lnTo>
                        <a:lnTo>
                          <a:pt x="621" y="78"/>
                        </a:lnTo>
                        <a:lnTo>
                          <a:pt x="618" y="78"/>
                        </a:lnTo>
                        <a:lnTo>
                          <a:pt x="615" y="79"/>
                        </a:lnTo>
                        <a:lnTo>
                          <a:pt x="612" y="82"/>
                        </a:lnTo>
                        <a:lnTo>
                          <a:pt x="609" y="85"/>
                        </a:lnTo>
                        <a:lnTo>
                          <a:pt x="607" y="81"/>
                        </a:lnTo>
                        <a:lnTo>
                          <a:pt x="607" y="78"/>
                        </a:lnTo>
                        <a:lnTo>
                          <a:pt x="607" y="76"/>
                        </a:lnTo>
                        <a:lnTo>
                          <a:pt x="608" y="74"/>
                        </a:lnTo>
                        <a:lnTo>
                          <a:pt x="608" y="75"/>
                        </a:lnTo>
                        <a:lnTo>
                          <a:pt x="611" y="75"/>
                        </a:lnTo>
                        <a:lnTo>
                          <a:pt x="615" y="73"/>
                        </a:lnTo>
                        <a:lnTo>
                          <a:pt x="619" y="69"/>
                        </a:lnTo>
                        <a:lnTo>
                          <a:pt x="628" y="66"/>
                        </a:lnTo>
                        <a:lnTo>
                          <a:pt x="634" y="65"/>
                        </a:lnTo>
                        <a:lnTo>
                          <a:pt x="639" y="62"/>
                        </a:lnTo>
                        <a:lnTo>
                          <a:pt x="643" y="59"/>
                        </a:lnTo>
                        <a:lnTo>
                          <a:pt x="647" y="55"/>
                        </a:lnTo>
                        <a:lnTo>
                          <a:pt x="649" y="52"/>
                        </a:lnTo>
                        <a:lnTo>
                          <a:pt x="643" y="53"/>
                        </a:lnTo>
                        <a:lnTo>
                          <a:pt x="635" y="53"/>
                        </a:lnTo>
                        <a:lnTo>
                          <a:pt x="641" y="49"/>
                        </a:lnTo>
                        <a:lnTo>
                          <a:pt x="645" y="49"/>
                        </a:lnTo>
                        <a:lnTo>
                          <a:pt x="652" y="51"/>
                        </a:lnTo>
                        <a:lnTo>
                          <a:pt x="657" y="54"/>
                        </a:lnTo>
                        <a:lnTo>
                          <a:pt x="665" y="54"/>
                        </a:lnTo>
                        <a:lnTo>
                          <a:pt x="668" y="53"/>
                        </a:lnTo>
                        <a:lnTo>
                          <a:pt x="667" y="49"/>
                        </a:lnTo>
                        <a:lnTo>
                          <a:pt x="671" y="47"/>
                        </a:lnTo>
                        <a:lnTo>
                          <a:pt x="674" y="47"/>
                        </a:lnTo>
                        <a:lnTo>
                          <a:pt x="679" y="46"/>
                        </a:lnTo>
                        <a:lnTo>
                          <a:pt x="685" y="45"/>
                        </a:lnTo>
                        <a:lnTo>
                          <a:pt x="689" y="42"/>
                        </a:lnTo>
                        <a:lnTo>
                          <a:pt x="692" y="40"/>
                        </a:lnTo>
                        <a:lnTo>
                          <a:pt x="697" y="36"/>
                        </a:lnTo>
                        <a:lnTo>
                          <a:pt x="698" y="31"/>
                        </a:lnTo>
                        <a:lnTo>
                          <a:pt x="701" y="39"/>
                        </a:lnTo>
                        <a:lnTo>
                          <a:pt x="704" y="36"/>
                        </a:lnTo>
                        <a:lnTo>
                          <a:pt x="708" y="34"/>
                        </a:lnTo>
                        <a:lnTo>
                          <a:pt x="712" y="34"/>
                        </a:lnTo>
                        <a:lnTo>
                          <a:pt x="717" y="36"/>
                        </a:lnTo>
                        <a:lnTo>
                          <a:pt x="718" y="34"/>
                        </a:lnTo>
                        <a:lnTo>
                          <a:pt x="724" y="33"/>
                        </a:lnTo>
                        <a:lnTo>
                          <a:pt x="729" y="33"/>
                        </a:lnTo>
                        <a:lnTo>
                          <a:pt x="735" y="34"/>
                        </a:lnTo>
                        <a:lnTo>
                          <a:pt x="735" y="32"/>
                        </a:lnTo>
                        <a:lnTo>
                          <a:pt x="739" y="31"/>
                        </a:lnTo>
                        <a:lnTo>
                          <a:pt x="736" y="28"/>
                        </a:lnTo>
                        <a:lnTo>
                          <a:pt x="732" y="26"/>
                        </a:lnTo>
                        <a:lnTo>
                          <a:pt x="725" y="27"/>
                        </a:lnTo>
                        <a:lnTo>
                          <a:pt x="719" y="26"/>
                        </a:lnTo>
                        <a:lnTo>
                          <a:pt x="712" y="25"/>
                        </a:lnTo>
                        <a:lnTo>
                          <a:pt x="709" y="27"/>
                        </a:lnTo>
                        <a:lnTo>
                          <a:pt x="692" y="25"/>
                        </a:lnTo>
                        <a:lnTo>
                          <a:pt x="685" y="27"/>
                        </a:lnTo>
                        <a:lnTo>
                          <a:pt x="683" y="25"/>
                        </a:lnTo>
                        <a:lnTo>
                          <a:pt x="681" y="26"/>
                        </a:lnTo>
                        <a:lnTo>
                          <a:pt x="676" y="27"/>
                        </a:lnTo>
                        <a:lnTo>
                          <a:pt x="674" y="28"/>
                        </a:lnTo>
                        <a:lnTo>
                          <a:pt x="670" y="29"/>
                        </a:lnTo>
                        <a:lnTo>
                          <a:pt x="668" y="27"/>
                        </a:lnTo>
                        <a:lnTo>
                          <a:pt x="667" y="26"/>
                        </a:lnTo>
                        <a:lnTo>
                          <a:pt x="664" y="22"/>
                        </a:lnTo>
                        <a:lnTo>
                          <a:pt x="662" y="25"/>
                        </a:lnTo>
                        <a:lnTo>
                          <a:pt x="663" y="26"/>
                        </a:lnTo>
                        <a:lnTo>
                          <a:pt x="661" y="27"/>
                        </a:lnTo>
                        <a:lnTo>
                          <a:pt x="657" y="29"/>
                        </a:lnTo>
                        <a:lnTo>
                          <a:pt x="654" y="29"/>
                        </a:lnTo>
                        <a:lnTo>
                          <a:pt x="645" y="31"/>
                        </a:lnTo>
                        <a:lnTo>
                          <a:pt x="650" y="27"/>
                        </a:lnTo>
                        <a:lnTo>
                          <a:pt x="655" y="26"/>
                        </a:lnTo>
                        <a:lnTo>
                          <a:pt x="654" y="22"/>
                        </a:lnTo>
                        <a:lnTo>
                          <a:pt x="649" y="21"/>
                        </a:lnTo>
                        <a:lnTo>
                          <a:pt x="647" y="20"/>
                        </a:lnTo>
                        <a:lnTo>
                          <a:pt x="644" y="24"/>
                        </a:lnTo>
                        <a:lnTo>
                          <a:pt x="641" y="27"/>
                        </a:lnTo>
                        <a:lnTo>
                          <a:pt x="634" y="31"/>
                        </a:lnTo>
                        <a:lnTo>
                          <a:pt x="629" y="31"/>
                        </a:lnTo>
                        <a:lnTo>
                          <a:pt x="629" y="27"/>
                        </a:lnTo>
                        <a:lnTo>
                          <a:pt x="629" y="25"/>
                        </a:lnTo>
                        <a:lnTo>
                          <a:pt x="630" y="22"/>
                        </a:lnTo>
                        <a:lnTo>
                          <a:pt x="629" y="21"/>
                        </a:lnTo>
                        <a:lnTo>
                          <a:pt x="628" y="19"/>
                        </a:lnTo>
                        <a:lnTo>
                          <a:pt x="627" y="18"/>
                        </a:lnTo>
                        <a:lnTo>
                          <a:pt x="630" y="12"/>
                        </a:lnTo>
                        <a:lnTo>
                          <a:pt x="627" y="12"/>
                        </a:lnTo>
                        <a:lnTo>
                          <a:pt x="623" y="13"/>
                        </a:lnTo>
                        <a:lnTo>
                          <a:pt x="621" y="13"/>
                        </a:lnTo>
                        <a:lnTo>
                          <a:pt x="617" y="12"/>
                        </a:lnTo>
                        <a:lnTo>
                          <a:pt x="615" y="12"/>
                        </a:lnTo>
                        <a:lnTo>
                          <a:pt x="607" y="12"/>
                        </a:lnTo>
                        <a:lnTo>
                          <a:pt x="608" y="12"/>
                        </a:lnTo>
                        <a:lnTo>
                          <a:pt x="608" y="8"/>
                        </a:lnTo>
                        <a:lnTo>
                          <a:pt x="603" y="8"/>
                        </a:lnTo>
                        <a:lnTo>
                          <a:pt x="603" y="6"/>
                        </a:lnTo>
                        <a:lnTo>
                          <a:pt x="597" y="7"/>
                        </a:lnTo>
                        <a:lnTo>
                          <a:pt x="596" y="7"/>
                        </a:lnTo>
                        <a:lnTo>
                          <a:pt x="590" y="7"/>
                        </a:lnTo>
                        <a:lnTo>
                          <a:pt x="588" y="5"/>
                        </a:lnTo>
                        <a:lnTo>
                          <a:pt x="583" y="5"/>
                        </a:lnTo>
                        <a:lnTo>
                          <a:pt x="581" y="6"/>
                        </a:lnTo>
                        <a:lnTo>
                          <a:pt x="577" y="4"/>
                        </a:lnTo>
                        <a:lnTo>
                          <a:pt x="574" y="4"/>
                        </a:lnTo>
                        <a:lnTo>
                          <a:pt x="560" y="2"/>
                        </a:lnTo>
                        <a:lnTo>
                          <a:pt x="568" y="1"/>
                        </a:lnTo>
                        <a:lnTo>
                          <a:pt x="555" y="1"/>
                        </a:lnTo>
                        <a:lnTo>
                          <a:pt x="544" y="4"/>
                        </a:lnTo>
                        <a:lnTo>
                          <a:pt x="535" y="2"/>
                        </a:lnTo>
                        <a:lnTo>
                          <a:pt x="524" y="2"/>
                        </a:lnTo>
                        <a:lnTo>
                          <a:pt x="512" y="1"/>
                        </a:lnTo>
                        <a:lnTo>
                          <a:pt x="496" y="2"/>
                        </a:lnTo>
                        <a:lnTo>
                          <a:pt x="492" y="4"/>
                        </a:lnTo>
                        <a:lnTo>
                          <a:pt x="489" y="2"/>
                        </a:lnTo>
                        <a:lnTo>
                          <a:pt x="478" y="0"/>
                        </a:lnTo>
                        <a:lnTo>
                          <a:pt x="480" y="2"/>
                        </a:lnTo>
                        <a:lnTo>
                          <a:pt x="476" y="6"/>
                        </a:lnTo>
                        <a:lnTo>
                          <a:pt x="474" y="2"/>
                        </a:lnTo>
                        <a:lnTo>
                          <a:pt x="469" y="4"/>
                        </a:lnTo>
                        <a:lnTo>
                          <a:pt x="463" y="5"/>
                        </a:lnTo>
                        <a:lnTo>
                          <a:pt x="457" y="4"/>
                        </a:lnTo>
                        <a:lnTo>
                          <a:pt x="456" y="5"/>
                        </a:lnTo>
                        <a:lnTo>
                          <a:pt x="452" y="5"/>
                        </a:lnTo>
                        <a:lnTo>
                          <a:pt x="448" y="2"/>
                        </a:lnTo>
                        <a:lnTo>
                          <a:pt x="449" y="4"/>
                        </a:lnTo>
                        <a:lnTo>
                          <a:pt x="442" y="5"/>
                        </a:lnTo>
                        <a:lnTo>
                          <a:pt x="434" y="4"/>
                        </a:lnTo>
                        <a:lnTo>
                          <a:pt x="423" y="7"/>
                        </a:lnTo>
                        <a:lnTo>
                          <a:pt x="421" y="5"/>
                        </a:lnTo>
                        <a:lnTo>
                          <a:pt x="418" y="5"/>
                        </a:lnTo>
                        <a:lnTo>
                          <a:pt x="402" y="5"/>
                        </a:lnTo>
                        <a:lnTo>
                          <a:pt x="395" y="2"/>
                        </a:lnTo>
                        <a:lnTo>
                          <a:pt x="391" y="5"/>
                        </a:lnTo>
                        <a:lnTo>
                          <a:pt x="382" y="4"/>
                        </a:lnTo>
                        <a:lnTo>
                          <a:pt x="377" y="5"/>
                        </a:lnTo>
                        <a:lnTo>
                          <a:pt x="373" y="5"/>
                        </a:lnTo>
                        <a:lnTo>
                          <a:pt x="363" y="6"/>
                        </a:lnTo>
                        <a:lnTo>
                          <a:pt x="364" y="8"/>
                        </a:lnTo>
                        <a:lnTo>
                          <a:pt x="380" y="7"/>
                        </a:lnTo>
                        <a:lnTo>
                          <a:pt x="383" y="8"/>
                        </a:lnTo>
                        <a:lnTo>
                          <a:pt x="380" y="8"/>
                        </a:lnTo>
                        <a:lnTo>
                          <a:pt x="376" y="12"/>
                        </a:lnTo>
                        <a:lnTo>
                          <a:pt x="369" y="13"/>
                        </a:lnTo>
                        <a:lnTo>
                          <a:pt x="367" y="11"/>
                        </a:lnTo>
                        <a:lnTo>
                          <a:pt x="363" y="12"/>
                        </a:lnTo>
                        <a:lnTo>
                          <a:pt x="360" y="12"/>
                        </a:lnTo>
                        <a:lnTo>
                          <a:pt x="354" y="12"/>
                        </a:lnTo>
                        <a:lnTo>
                          <a:pt x="356" y="14"/>
                        </a:lnTo>
                        <a:lnTo>
                          <a:pt x="369" y="18"/>
                        </a:lnTo>
                        <a:lnTo>
                          <a:pt x="360" y="18"/>
                        </a:lnTo>
                        <a:lnTo>
                          <a:pt x="356" y="16"/>
                        </a:lnTo>
                        <a:lnTo>
                          <a:pt x="354" y="16"/>
                        </a:lnTo>
                        <a:lnTo>
                          <a:pt x="349" y="18"/>
                        </a:lnTo>
                        <a:lnTo>
                          <a:pt x="347" y="15"/>
                        </a:lnTo>
                        <a:lnTo>
                          <a:pt x="341" y="14"/>
                        </a:lnTo>
                        <a:lnTo>
                          <a:pt x="335" y="13"/>
                        </a:lnTo>
                        <a:lnTo>
                          <a:pt x="330" y="14"/>
                        </a:lnTo>
                        <a:lnTo>
                          <a:pt x="328" y="12"/>
                        </a:lnTo>
                        <a:lnTo>
                          <a:pt x="324" y="11"/>
                        </a:lnTo>
                        <a:lnTo>
                          <a:pt x="321" y="12"/>
                        </a:lnTo>
                        <a:lnTo>
                          <a:pt x="314" y="12"/>
                        </a:lnTo>
                        <a:lnTo>
                          <a:pt x="314" y="14"/>
                        </a:lnTo>
                        <a:lnTo>
                          <a:pt x="314" y="16"/>
                        </a:lnTo>
                        <a:lnTo>
                          <a:pt x="310" y="21"/>
                        </a:lnTo>
                        <a:lnTo>
                          <a:pt x="304" y="16"/>
                        </a:lnTo>
                        <a:lnTo>
                          <a:pt x="298" y="14"/>
                        </a:lnTo>
                        <a:lnTo>
                          <a:pt x="287" y="14"/>
                        </a:lnTo>
                        <a:lnTo>
                          <a:pt x="285" y="18"/>
                        </a:lnTo>
                        <a:lnTo>
                          <a:pt x="290" y="20"/>
                        </a:lnTo>
                        <a:lnTo>
                          <a:pt x="289" y="24"/>
                        </a:lnTo>
                        <a:lnTo>
                          <a:pt x="282" y="20"/>
                        </a:lnTo>
                        <a:lnTo>
                          <a:pt x="283" y="15"/>
                        </a:lnTo>
                        <a:lnTo>
                          <a:pt x="282" y="13"/>
                        </a:lnTo>
                        <a:lnTo>
                          <a:pt x="277" y="15"/>
                        </a:lnTo>
                        <a:lnTo>
                          <a:pt x="264" y="14"/>
                        </a:lnTo>
                        <a:lnTo>
                          <a:pt x="257" y="12"/>
                        </a:lnTo>
                        <a:lnTo>
                          <a:pt x="251" y="15"/>
                        </a:lnTo>
                        <a:lnTo>
                          <a:pt x="247" y="13"/>
                        </a:lnTo>
                        <a:lnTo>
                          <a:pt x="248" y="16"/>
                        </a:lnTo>
                        <a:lnTo>
                          <a:pt x="241" y="15"/>
                        </a:lnTo>
                        <a:lnTo>
                          <a:pt x="238" y="16"/>
                        </a:lnTo>
                        <a:lnTo>
                          <a:pt x="238" y="14"/>
                        </a:lnTo>
                        <a:lnTo>
                          <a:pt x="240" y="12"/>
                        </a:lnTo>
                        <a:lnTo>
                          <a:pt x="236" y="15"/>
                        </a:lnTo>
                        <a:lnTo>
                          <a:pt x="233" y="16"/>
                        </a:lnTo>
                        <a:lnTo>
                          <a:pt x="234" y="15"/>
                        </a:lnTo>
                        <a:lnTo>
                          <a:pt x="233" y="14"/>
                        </a:lnTo>
                        <a:lnTo>
                          <a:pt x="224" y="18"/>
                        </a:lnTo>
                        <a:lnTo>
                          <a:pt x="218" y="18"/>
                        </a:lnTo>
                        <a:lnTo>
                          <a:pt x="215" y="18"/>
                        </a:lnTo>
                        <a:lnTo>
                          <a:pt x="215" y="20"/>
                        </a:lnTo>
                        <a:lnTo>
                          <a:pt x="214" y="21"/>
                        </a:lnTo>
                        <a:lnTo>
                          <a:pt x="210" y="18"/>
                        </a:lnTo>
                        <a:lnTo>
                          <a:pt x="207" y="19"/>
                        </a:lnTo>
                        <a:lnTo>
                          <a:pt x="198" y="19"/>
                        </a:lnTo>
                        <a:lnTo>
                          <a:pt x="193" y="22"/>
                        </a:lnTo>
                        <a:lnTo>
                          <a:pt x="191" y="25"/>
                        </a:lnTo>
                        <a:lnTo>
                          <a:pt x="195" y="28"/>
                        </a:lnTo>
                        <a:lnTo>
                          <a:pt x="217" y="29"/>
                        </a:lnTo>
                        <a:lnTo>
                          <a:pt x="224" y="33"/>
                        </a:lnTo>
                        <a:lnTo>
                          <a:pt x="213" y="33"/>
                        </a:lnTo>
                        <a:lnTo>
                          <a:pt x="208" y="32"/>
                        </a:lnTo>
                        <a:lnTo>
                          <a:pt x="196" y="31"/>
                        </a:lnTo>
                        <a:lnTo>
                          <a:pt x="188" y="31"/>
                        </a:lnTo>
                        <a:lnTo>
                          <a:pt x="187" y="28"/>
                        </a:lnTo>
                        <a:lnTo>
                          <a:pt x="177" y="28"/>
                        </a:lnTo>
                        <a:lnTo>
                          <a:pt x="176" y="27"/>
                        </a:lnTo>
                        <a:lnTo>
                          <a:pt x="164" y="27"/>
                        </a:lnTo>
                        <a:lnTo>
                          <a:pt x="158" y="31"/>
                        </a:lnTo>
                        <a:lnTo>
                          <a:pt x="150" y="31"/>
                        </a:lnTo>
                        <a:lnTo>
                          <a:pt x="144" y="31"/>
                        </a:lnTo>
                        <a:lnTo>
                          <a:pt x="138" y="35"/>
                        </a:lnTo>
                        <a:lnTo>
                          <a:pt x="135" y="35"/>
                        </a:lnTo>
                        <a:lnTo>
                          <a:pt x="121" y="36"/>
                        </a:lnTo>
                        <a:lnTo>
                          <a:pt x="109" y="39"/>
                        </a:lnTo>
                        <a:lnTo>
                          <a:pt x="102" y="40"/>
                        </a:lnTo>
                        <a:lnTo>
                          <a:pt x="102" y="42"/>
                        </a:lnTo>
                        <a:lnTo>
                          <a:pt x="104" y="44"/>
                        </a:lnTo>
                        <a:lnTo>
                          <a:pt x="106" y="45"/>
                        </a:lnTo>
                        <a:lnTo>
                          <a:pt x="108" y="42"/>
                        </a:lnTo>
                        <a:lnTo>
                          <a:pt x="113" y="42"/>
                        </a:lnTo>
                        <a:lnTo>
                          <a:pt x="117" y="44"/>
                        </a:lnTo>
                        <a:lnTo>
                          <a:pt x="118" y="46"/>
                        </a:lnTo>
                        <a:lnTo>
                          <a:pt x="126" y="46"/>
                        </a:lnTo>
                        <a:lnTo>
                          <a:pt x="114" y="48"/>
                        </a:lnTo>
                        <a:lnTo>
                          <a:pt x="110" y="48"/>
                        </a:lnTo>
                        <a:lnTo>
                          <a:pt x="102" y="49"/>
                        </a:lnTo>
                        <a:lnTo>
                          <a:pt x="110" y="52"/>
                        </a:lnTo>
                        <a:lnTo>
                          <a:pt x="110" y="54"/>
                        </a:lnTo>
                        <a:lnTo>
                          <a:pt x="108" y="56"/>
                        </a:lnTo>
                        <a:lnTo>
                          <a:pt x="104" y="59"/>
                        </a:lnTo>
                        <a:lnTo>
                          <a:pt x="101" y="58"/>
                        </a:lnTo>
                        <a:lnTo>
                          <a:pt x="94" y="56"/>
                        </a:lnTo>
                        <a:lnTo>
                          <a:pt x="83" y="56"/>
                        </a:lnTo>
                        <a:lnTo>
                          <a:pt x="78" y="59"/>
                        </a:lnTo>
                        <a:lnTo>
                          <a:pt x="74" y="60"/>
                        </a:lnTo>
                        <a:lnTo>
                          <a:pt x="71" y="59"/>
                        </a:lnTo>
                        <a:lnTo>
                          <a:pt x="68" y="62"/>
                        </a:lnTo>
                        <a:lnTo>
                          <a:pt x="63" y="60"/>
                        </a:lnTo>
                        <a:lnTo>
                          <a:pt x="62" y="61"/>
                        </a:lnTo>
                        <a:lnTo>
                          <a:pt x="57" y="61"/>
                        </a:lnTo>
                        <a:lnTo>
                          <a:pt x="51" y="65"/>
                        </a:lnTo>
                        <a:lnTo>
                          <a:pt x="37" y="64"/>
                        </a:lnTo>
                        <a:lnTo>
                          <a:pt x="27" y="64"/>
                        </a:lnTo>
                        <a:lnTo>
                          <a:pt x="20" y="65"/>
                        </a:lnTo>
                        <a:lnTo>
                          <a:pt x="17" y="67"/>
                        </a:lnTo>
                        <a:lnTo>
                          <a:pt x="10" y="69"/>
                        </a:lnTo>
                        <a:lnTo>
                          <a:pt x="7" y="72"/>
                        </a:lnTo>
                        <a:lnTo>
                          <a:pt x="10" y="74"/>
                        </a:lnTo>
                        <a:lnTo>
                          <a:pt x="10" y="76"/>
                        </a:lnTo>
                        <a:lnTo>
                          <a:pt x="16" y="78"/>
                        </a:lnTo>
                        <a:lnTo>
                          <a:pt x="22" y="78"/>
                        </a:lnTo>
                        <a:lnTo>
                          <a:pt x="26" y="80"/>
                        </a:lnTo>
                        <a:lnTo>
                          <a:pt x="31" y="82"/>
                        </a:lnTo>
                        <a:lnTo>
                          <a:pt x="34" y="82"/>
                        </a:lnTo>
                        <a:lnTo>
                          <a:pt x="41" y="83"/>
                        </a:lnTo>
                        <a:lnTo>
                          <a:pt x="48" y="82"/>
                        </a:lnTo>
                        <a:lnTo>
                          <a:pt x="53" y="81"/>
                        </a:lnTo>
                        <a:lnTo>
                          <a:pt x="58" y="83"/>
                        </a:lnTo>
                        <a:lnTo>
                          <a:pt x="57" y="85"/>
                        </a:lnTo>
                        <a:lnTo>
                          <a:pt x="54" y="85"/>
                        </a:lnTo>
                        <a:lnTo>
                          <a:pt x="50" y="83"/>
                        </a:lnTo>
                        <a:lnTo>
                          <a:pt x="47" y="85"/>
                        </a:lnTo>
                        <a:lnTo>
                          <a:pt x="46" y="87"/>
                        </a:lnTo>
                        <a:lnTo>
                          <a:pt x="49" y="88"/>
                        </a:lnTo>
                        <a:lnTo>
                          <a:pt x="48" y="88"/>
                        </a:lnTo>
                        <a:lnTo>
                          <a:pt x="38" y="86"/>
                        </a:lnTo>
                        <a:lnTo>
                          <a:pt x="31" y="86"/>
                        </a:lnTo>
                        <a:lnTo>
                          <a:pt x="23" y="83"/>
                        </a:lnTo>
                        <a:lnTo>
                          <a:pt x="20" y="86"/>
                        </a:lnTo>
                        <a:lnTo>
                          <a:pt x="14" y="86"/>
                        </a:lnTo>
                        <a:lnTo>
                          <a:pt x="18" y="81"/>
                        </a:lnTo>
                        <a:lnTo>
                          <a:pt x="18" y="80"/>
                        </a:lnTo>
                        <a:lnTo>
                          <a:pt x="15" y="81"/>
                        </a:lnTo>
                        <a:lnTo>
                          <a:pt x="8" y="81"/>
                        </a:lnTo>
                        <a:lnTo>
                          <a:pt x="1" y="83"/>
                        </a:lnTo>
                        <a:lnTo>
                          <a:pt x="0" y="86"/>
                        </a:lnTo>
                        <a:lnTo>
                          <a:pt x="0" y="94"/>
                        </a:lnTo>
                        <a:lnTo>
                          <a:pt x="6" y="93"/>
                        </a:lnTo>
                        <a:lnTo>
                          <a:pt x="4" y="89"/>
                        </a:lnTo>
                        <a:lnTo>
                          <a:pt x="7" y="87"/>
                        </a:lnTo>
                        <a:lnTo>
                          <a:pt x="10" y="87"/>
                        </a:lnTo>
                        <a:lnTo>
                          <a:pt x="13" y="92"/>
                        </a:lnTo>
                        <a:lnTo>
                          <a:pt x="14" y="94"/>
                        </a:lnTo>
                        <a:lnTo>
                          <a:pt x="18" y="96"/>
                        </a:lnTo>
                        <a:lnTo>
                          <a:pt x="22" y="94"/>
                        </a:lnTo>
                        <a:lnTo>
                          <a:pt x="23" y="99"/>
                        </a:lnTo>
                        <a:lnTo>
                          <a:pt x="24" y="102"/>
                        </a:lnTo>
                        <a:lnTo>
                          <a:pt x="31" y="107"/>
                        </a:lnTo>
                        <a:lnTo>
                          <a:pt x="38" y="108"/>
                        </a:lnTo>
                        <a:lnTo>
                          <a:pt x="46" y="108"/>
                        </a:lnTo>
                        <a:lnTo>
                          <a:pt x="46" y="106"/>
                        </a:lnTo>
                        <a:lnTo>
                          <a:pt x="49" y="108"/>
                        </a:lnTo>
                        <a:lnTo>
                          <a:pt x="55" y="107"/>
                        </a:lnTo>
                        <a:lnTo>
                          <a:pt x="56" y="105"/>
                        </a:lnTo>
                        <a:lnTo>
                          <a:pt x="60" y="101"/>
                        </a:lnTo>
                        <a:lnTo>
                          <a:pt x="60" y="106"/>
                        </a:lnTo>
                        <a:lnTo>
                          <a:pt x="62" y="107"/>
                        </a:lnTo>
                        <a:lnTo>
                          <a:pt x="61" y="103"/>
                        </a:lnTo>
                        <a:lnTo>
                          <a:pt x="68" y="107"/>
                        </a:lnTo>
                        <a:lnTo>
                          <a:pt x="70" y="103"/>
                        </a:lnTo>
                        <a:lnTo>
                          <a:pt x="71" y="106"/>
                        </a:lnTo>
                        <a:lnTo>
                          <a:pt x="76" y="105"/>
                        </a:lnTo>
                        <a:lnTo>
                          <a:pt x="82" y="101"/>
                        </a:lnTo>
                        <a:lnTo>
                          <a:pt x="86" y="106"/>
                        </a:lnTo>
                        <a:lnTo>
                          <a:pt x="87" y="103"/>
                        </a:lnTo>
                        <a:lnTo>
                          <a:pt x="94" y="107"/>
                        </a:lnTo>
                        <a:lnTo>
                          <a:pt x="94" y="109"/>
                        </a:lnTo>
                        <a:lnTo>
                          <a:pt x="93" y="113"/>
                        </a:lnTo>
                        <a:lnTo>
                          <a:pt x="93" y="119"/>
                        </a:lnTo>
                        <a:lnTo>
                          <a:pt x="97" y="113"/>
                        </a:lnTo>
                        <a:lnTo>
                          <a:pt x="96" y="106"/>
                        </a:lnTo>
                        <a:lnTo>
                          <a:pt x="98" y="101"/>
                        </a:lnTo>
                        <a:lnTo>
                          <a:pt x="100" y="101"/>
                        </a:lnTo>
                        <a:lnTo>
                          <a:pt x="100" y="105"/>
                        </a:lnTo>
                        <a:lnTo>
                          <a:pt x="101" y="102"/>
                        </a:lnTo>
                        <a:lnTo>
                          <a:pt x="106" y="105"/>
                        </a:lnTo>
                        <a:lnTo>
                          <a:pt x="115" y="103"/>
                        </a:lnTo>
                        <a:lnTo>
                          <a:pt x="115" y="106"/>
                        </a:lnTo>
                        <a:lnTo>
                          <a:pt x="122" y="107"/>
                        </a:lnTo>
                        <a:lnTo>
                          <a:pt x="130" y="107"/>
                        </a:lnTo>
                        <a:lnTo>
                          <a:pt x="135" y="112"/>
                        </a:lnTo>
                        <a:lnTo>
                          <a:pt x="141" y="111"/>
                        </a:lnTo>
                        <a:lnTo>
                          <a:pt x="146" y="113"/>
                        </a:lnTo>
                        <a:lnTo>
                          <a:pt x="147" y="116"/>
                        </a:lnTo>
                        <a:lnTo>
                          <a:pt x="143" y="118"/>
                        </a:lnTo>
                        <a:lnTo>
                          <a:pt x="143" y="120"/>
                        </a:lnTo>
                        <a:lnTo>
                          <a:pt x="144" y="123"/>
                        </a:lnTo>
                        <a:lnTo>
                          <a:pt x="147" y="127"/>
                        </a:lnTo>
                        <a:lnTo>
                          <a:pt x="153" y="125"/>
                        </a:lnTo>
                        <a:lnTo>
                          <a:pt x="151" y="129"/>
                        </a:lnTo>
                        <a:lnTo>
                          <a:pt x="151" y="132"/>
                        </a:lnTo>
                        <a:lnTo>
                          <a:pt x="150" y="135"/>
                        </a:lnTo>
                        <a:lnTo>
                          <a:pt x="150" y="138"/>
                        </a:lnTo>
                        <a:lnTo>
                          <a:pt x="160" y="141"/>
                        </a:lnTo>
                        <a:lnTo>
                          <a:pt x="150" y="141"/>
                        </a:lnTo>
                        <a:lnTo>
                          <a:pt x="147" y="148"/>
                        </a:lnTo>
                        <a:lnTo>
                          <a:pt x="149" y="149"/>
                        </a:lnTo>
                        <a:lnTo>
                          <a:pt x="154" y="149"/>
                        </a:lnTo>
                        <a:lnTo>
                          <a:pt x="151" y="153"/>
                        </a:lnTo>
                        <a:lnTo>
                          <a:pt x="148" y="154"/>
                        </a:lnTo>
                        <a:lnTo>
                          <a:pt x="154" y="154"/>
                        </a:lnTo>
                        <a:lnTo>
                          <a:pt x="156" y="156"/>
                        </a:lnTo>
                        <a:lnTo>
                          <a:pt x="154" y="158"/>
                        </a:lnTo>
                        <a:lnTo>
                          <a:pt x="149" y="160"/>
                        </a:lnTo>
                        <a:lnTo>
                          <a:pt x="146" y="160"/>
                        </a:lnTo>
                        <a:lnTo>
                          <a:pt x="146" y="165"/>
                        </a:lnTo>
                        <a:lnTo>
                          <a:pt x="148" y="168"/>
                        </a:lnTo>
                        <a:lnTo>
                          <a:pt x="146" y="169"/>
                        </a:lnTo>
                        <a:lnTo>
                          <a:pt x="143" y="173"/>
                        </a:lnTo>
                        <a:lnTo>
                          <a:pt x="138" y="175"/>
                        </a:lnTo>
                        <a:lnTo>
                          <a:pt x="138" y="180"/>
                        </a:lnTo>
                        <a:lnTo>
                          <a:pt x="136" y="183"/>
                        </a:lnTo>
                        <a:lnTo>
                          <a:pt x="130" y="186"/>
                        </a:lnTo>
                        <a:lnTo>
                          <a:pt x="137" y="186"/>
                        </a:lnTo>
                        <a:lnTo>
                          <a:pt x="138" y="188"/>
                        </a:lnTo>
                        <a:lnTo>
                          <a:pt x="146" y="187"/>
                        </a:lnTo>
                        <a:lnTo>
                          <a:pt x="153" y="185"/>
                        </a:lnTo>
                        <a:lnTo>
                          <a:pt x="160" y="182"/>
                        </a:lnTo>
                        <a:lnTo>
                          <a:pt x="167" y="180"/>
                        </a:lnTo>
                        <a:lnTo>
                          <a:pt x="171" y="180"/>
                        </a:lnTo>
                        <a:lnTo>
                          <a:pt x="176" y="180"/>
                        </a:lnTo>
                        <a:lnTo>
                          <a:pt x="176" y="181"/>
                        </a:lnTo>
                        <a:lnTo>
                          <a:pt x="171" y="183"/>
                        </a:lnTo>
                        <a:lnTo>
                          <a:pt x="171" y="186"/>
                        </a:lnTo>
                        <a:lnTo>
                          <a:pt x="162" y="183"/>
                        </a:lnTo>
                        <a:lnTo>
                          <a:pt x="189" y="189"/>
                        </a:lnTo>
                        <a:lnTo>
                          <a:pt x="162" y="186"/>
                        </a:lnTo>
                        <a:lnTo>
                          <a:pt x="154" y="189"/>
                        </a:lnTo>
                        <a:lnTo>
                          <a:pt x="164" y="189"/>
                        </a:lnTo>
                        <a:lnTo>
                          <a:pt x="173" y="188"/>
                        </a:lnTo>
                        <a:lnTo>
                          <a:pt x="181" y="189"/>
                        </a:lnTo>
                        <a:lnTo>
                          <a:pt x="182" y="193"/>
                        </a:lnTo>
                        <a:lnTo>
                          <a:pt x="182" y="196"/>
                        </a:lnTo>
                        <a:lnTo>
                          <a:pt x="177" y="198"/>
                        </a:lnTo>
                        <a:lnTo>
                          <a:pt x="175" y="195"/>
                        </a:lnTo>
                        <a:lnTo>
                          <a:pt x="168" y="194"/>
                        </a:lnTo>
                        <a:lnTo>
                          <a:pt x="169" y="194"/>
                        </a:lnTo>
                        <a:lnTo>
                          <a:pt x="163" y="195"/>
                        </a:lnTo>
                        <a:lnTo>
                          <a:pt x="157" y="194"/>
                        </a:lnTo>
                        <a:lnTo>
                          <a:pt x="148" y="195"/>
                        </a:lnTo>
                        <a:lnTo>
                          <a:pt x="146" y="198"/>
                        </a:lnTo>
                        <a:lnTo>
                          <a:pt x="150" y="200"/>
                        </a:lnTo>
                        <a:lnTo>
                          <a:pt x="156" y="201"/>
                        </a:lnTo>
                        <a:lnTo>
                          <a:pt x="162" y="201"/>
                        </a:lnTo>
                        <a:lnTo>
                          <a:pt x="165" y="203"/>
                        </a:lnTo>
                        <a:lnTo>
                          <a:pt x="169" y="207"/>
                        </a:lnTo>
                        <a:lnTo>
                          <a:pt x="176" y="208"/>
                        </a:lnTo>
                        <a:lnTo>
                          <a:pt x="182" y="209"/>
                        </a:lnTo>
                        <a:lnTo>
                          <a:pt x="188" y="214"/>
                        </a:lnTo>
                        <a:lnTo>
                          <a:pt x="185" y="219"/>
                        </a:lnTo>
                        <a:lnTo>
                          <a:pt x="181" y="221"/>
                        </a:lnTo>
                        <a:lnTo>
                          <a:pt x="180" y="223"/>
                        </a:lnTo>
                        <a:lnTo>
                          <a:pt x="176" y="228"/>
                        </a:lnTo>
                        <a:lnTo>
                          <a:pt x="174" y="230"/>
                        </a:lnTo>
                        <a:lnTo>
                          <a:pt x="173" y="234"/>
                        </a:lnTo>
                        <a:lnTo>
                          <a:pt x="163" y="234"/>
                        </a:lnTo>
                        <a:lnTo>
                          <a:pt x="158" y="230"/>
                        </a:lnTo>
                        <a:lnTo>
                          <a:pt x="153" y="230"/>
                        </a:lnTo>
                        <a:lnTo>
                          <a:pt x="148" y="230"/>
                        </a:lnTo>
                        <a:lnTo>
                          <a:pt x="147" y="233"/>
                        </a:lnTo>
                        <a:lnTo>
                          <a:pt x="141" y="239"/>
                        </a:lnTo>
                        <a:lnTo>
                          <a:pt x="143" y="236"/>
                        </a:lnTo>
                        <a:lnTo>
                          <a:pt x="148" y="239"/>
                        </a:lnTo>
                        <a:lnTo>
                          <a:pt x="155" y="240"/>
                        </a:lnTo>
                        <a:lnTo>
                          <a:pt x="164" y="239"/>
                        </a:lnTo>
                        <a:lnTo>
                          <a:pt x="170" y="241"/>
                        </a:lnTo>
                        <a:lnTo>
                          <a:pt x="169" y="243"/>
                        </a:lnTo>
                        <a:lnTo>
                          <a:pt x="161" y="243"/>
                        </a:lnTo>
                        <a:lnTo>
                          <a:pt x="149" y="243"/>
                        </a:lnTo>
                        <a:lnTo>
                          <a:pt x="144" y="243"/>
                        </a:lnTo>
                        <a:lnTo>
                          <a:pt x="137" y="242"/>
                        </a:lnTo>
                        <a:lnTo>
                          <a:pt x="136" y="245"/>
                        </a:lnTo>
                        <a:lnTo>
                          <a:pt x="131" y="248"/>
                        </a:lnTo>
                        <a:lnTo>
                          <a:pt x="140" y="248"/>
                        </a:lnTo>
                        <a:lnTo>
                          <a:pt x="146" y="247"/>
                        </a:lnTo>
                        <a:lnTo>
                          <a:pt x="148" y="248"/>
                        </a:lnTo>
                        <a:lnTo>
                          <a:pt x="157" y="247"/>
                        </a:lnTo>
                        <a:lnTo>
                          <a:pt x="164" y="248"/>
                        </a:lnTo>
                        <a:lnTo>
                          <a:pt x="168" y="248"/>
                        </a:lnTo>
                        <a:lnTo>
                          <a:pt x="171" y="249"/>
                        </a:lnTo>
                        <a:lnTo>
                          <a:pt x="171" y="252"/>
                        </a:lnTo>
                        <a:lnTo>
                          <a:pt x="165" y="252"/>
                        </a:lnTo>
                        <a:lnTo>
                          <a:pt x="153" y="252"/>
                        </a:lnTo>
                        <a:lnTo>
                          <a:pt x="126" y="252"/>
                        </a:lnTo>
                        <a:lnTo>
                          <a:pt x="124" y="254"/>
                        </a:lnTo>
                        <a:lnTo>
                          <a:pt x="147" y="254"/>
                        </a:lnTo>
                        <a:lnTo>
                          <a:pt x="153" y="255"/>
                        </a:lnTo>
                        <a:lnTo>
                          <a:pt x="138" y="256"/>
                        </a:lnTo>
                        <a:lnTo>
                          <a:pt x="136" y="256"/>
                        </a:lnTo>
                        <a:lnTo>
                          <a:pt x="123" y="255"/>
                        </a:lnTo>
                        <a:lnTo>
                          <a:pt x="123" y="259"/>
                        </a:lnTo>
                        <a:lnTo>
                          <a:pt x="123" y="260"/>
                        </a:lnTo>
                        <a:lnTo>
                          <a:pt x="129" y="261"/>
                        </a:lnTo>
                        <a:lnTo>
                          <a:pt x="123" y="263"/>
                        </a:lnTo>
                        <a:lnTo>
                          <a:pt x="134" y="263"/>
                        </a:lnTo>
                        <a:lnTo>
                          <a:pt x="135" y="266"/>
                        </a:lnTo>
                        <a:lnTo>
                          <a:pt x="134" y="268"/>
                        </a:lnTo>
                        <a:lnTo>
                          <a:pt x="128" y="268"/>
                        </a:lnTo>
                        <a:lnTo>
                          <a:pt x="122" y="268"/>
                        </a:lnTo>
                        <a:lnTo>
                          <a:pt x="122" y="270"/>
                        </a:lnTo>
                        <a:lnTo>
                          <a:pt x="116" y="274"/>
                        </a:lnTo>
                        <a:lnTo>
                          <a:pt x="123" y="274"/>
                        </a:lnTo>
                        <a:lnTo>
                          <a:pt x="126" y="272"/>
                        </a:lnTo>
                        <a:lnTo>
                          <a:pt x="136" y="270"/>
                        </a:lnTo>
                        <a:lnTo>
                          <a:pt x="140" y="270"/>
                        </a:lnTo>
                        <a:lnTo>
                          <a:pt x="146" y="269"/>
                        </a:lnTo>
                        <a:lnTo>
                          <a:pt x="158" y="266"/>
                        </a:lnTo>
                        <a:lnTo>
                          <a:pt x="165" y="265"/>
                        </a:lnTo>
                        <a:lnTo>
                          <a:pt x="165" y="265"/>
                        </a:lnTo>
                        <a:lnTo>
                          <a:pt x="158" y="267"/>
                        </a:lnTo>
                        <a:lnTo>
                          <a:pt x="144" y="272"/>
                        </a:lnTo>
                        <a:lnTo>
                          <a:pt x="140" y="274"/>
                        </a:lnTo>
                        <a:lnTo>
                          <a:pt x="137" y="275"/>
                        </a:lnTo>
                        <a:lnTo>
                          <a:pt x="131" y="275"/>
                        </a:lnTo>
                        <a:lnTo>
                          <a:pt x="128" y="275"/>
                        </a:lnTo>
                        <a:lnTo>
                          <a:pt x="118" y="278"/>
                        </a:lnTo>
                        <a:lnTo>
                          <a:pt x="123" y="280"/>
                        </a:lnTo>
                        <a:lnTo>
                          <a:pt x="124" y="282"/>
                        </a:lnTo>
                        <a:lnTo>
                          <a:pt x="121" y="285"/>
                        </a:lnTo>
                        <a:lnTo>
                          <a:pt x="118" y="289"/>
                        </a:lnTo>
                        <a:lnTo>
                          <a:pt x="122" y="288"/>
                        </a:lnTo>
                        <a:lnTo>
                          <a:pt x="127" y="293"/>
                        </a:lnTo>
                        <a:lnTo>
                          <a:pt x="127" y="292"/>
                        </a:lnTo>
                        <a:lnTo>
                          <a:pt x="127" y="288"/>
                        </a:lnTo>
                        <a:lnTo>
                          <a:pt x="136" y="288"/>
                        </a:lnTo>
                        <a:lnTo>
                          <a:pt x="141" y="286"/>
                        </a:lnTo>
                        <a:lnTo>
                          <a:pt x="143" y="287"/>
                        </a:lnTo>
                        <a:lnTo>
                          <a:pt x="142" y="289"/>
                        </a:lnTo>
                        <a:lnTo>
                          <a:pt x="130" y="293"/>
                        </a:lnTo>
                        <a:lnTo>
                          <a:pt x="128" y="299"/>
                        </a:lnTo>
                        <a:lnTo>
                          <a:pt x="127" y="303"/>
                        </a:lnTo>
                        <a:lnTo>
                          <a:pt x="126" y="308"/>
                        </a:lnTo>
                        <a:lnTo>
                          <a:pt x="123" y="310"/>
                        </a:lnTo>
                        <a:lnTo>
                          <a:pt x="130" y="308"/>
                        </a:lnTo>
                        <a:lnTo>
                          <a:pt x="137" y="305"/>
                        </a:lnTo>
                        <a:lnTo>
                          <a:pt x="149" y="303"/>
                        </a:lnTo>
                        <a:lnTo>
                          <a:pt x="146" y="306"/>
                        </a:lnTo>
                        <a:lnTo>
                          <a:pt x="140" y="307"/>
                        </a:lnTo>
                        <a:lnTo>
                          <a:pt x="130" y="310"/>
                        </a:lnTo>
                        <a:lnTo>
                          <a:pt x="130" y="313"/>
                        </a:lnTo>
                        <a:lnTo>
                          <a:pt x="131" y="315"/>
                        </a:lnTo>
                        <a:lnTo>
                          <a:pt x="140" y="314"/>
                        </a:lnTo>
                        <a:lnTo>
                          <a:pt x="142" y="316"/>
                        </a:lnTo>
                        <a:lnTo>
                          <a:pt x="137" y="319"/>
                        </a:lnTo>
                        <a:lnTo>
                          <a:pt x="136" y="319"/>
                        </a:lnTo>
                        <a:lnTo>
                          <a:pt x="131" y="319"/>
                        </a:lnTo>
                        <a:lnTo>
                          <a:pt x="127" y="322"/>
                        </a:lnTo>
                        <a:lnTo>
                          <a:pt x="131" y="322"/>
                        </a:lnTo>
                        <a:lnTo>
                          <a:pt x="134" y="320"/>
                        </a:lnTo>
                        <a:lnTo>
                          <a:pt x="136" y="322"/>
                        </a:lnTo>
                        <a:lnTo>
                          <a:pt x="134" y="325"/>
                        </a:lnTo>
                        <a:lnTo>
                          <a:pt x="133" y="328"/>
                        </a:lnTo>
                        <a:lnTo>
                          <a:pt x="135" y="330"/>
                        </a:lnTo>
                        <a:lnTo>
                          <a:pt x="136" y="330"/>
                        </a:lnTo>
                        <a:lnTo>
                          <a:pt x="138" y="335"/>
                        </a:lnTo>
                        <a:lnTo>
                          <a:pt x="142" y="338"/>
                        </a:lnTo>
                        <a:lnTo>
                          <a:pt x="146" y="338"/>
                        </a:lnTo>
                        <a:lnTo>
                          <a:pt x="143" y="339"/>
                        </a:lnTo>
                        <a:lnTo>
                          <a:pt x="144" y="341"/>
                        </a:lnTo>
                        <a:lnTo>
                          <a:pt x="148" y="340"/>
                        </a:lnTo>
                        <a:lnTo>
                          <a:pt x="153" y="339"/>
                        </a:lnTo>
                        <a:lnTo>
                          <a:pt x="161" y="339"/>
                        </a:lnTo>
                        <a:lnTo>
                          <a:pt x="155" y="340"/>
                        </a:lnTo>
                        <a:lnTo>
                          <a:pt x="149" y="341"/>
                        </a:lnTo>
                        <a:lnTo>
                          <a:pt x="147" y="341"/>
                        </a:lnTo>
                        <a:lnTo>
                          <a:pt x="143" y="342"/>
                        </a:lnTo>
                        <a:lnTo>
                          <a:pt x="135" y="343"/>
                        </a:lnTo>
                        <a:lnTo>
                          <a:pt x="137" y="347"/>
                        </a:lnTo>
                        <a:lnTo>
                          <a:pt x="142" y="347"/>
                        </a:lnTo>
                        <a:lnTo>
                          <a:pt x="143" y="352"/>
                        </a:lnTo>
                        <a:lnTo>
                          <a:pt x="144" y="354"/>
                        </a:lnTo>
                        <a:lnTo>
                          <a:pt x="146" y="356"/>
                        </a:lnTo>
                        <a:lnTo>
                          <a:pt x="148" y="359"/>
                        </a:lnTo>
                        <a:lnTo>
                          <a:pt x="148" y="362"/>
                        </a:lnTo>
                        <a:lnTo>
                          <a:pt x="148" y="365"/>
                        </a:lnTo>
                        <a:lnTo>
                          <a:pt x="151" y="368"/>
                        </a:lnTo>
                        <a:lnTo>
                          <a:pt x="154" y="370"/>
                        </a:lnTo>
                        <a:lnTo>
                          <a:pt x="155" y="373"/>
                        </a:lnTo>
                        <a:lnTo>
                          <a:pt x="156" y="380"/>
                        </a:lnTo>
                        <a:lnTo>
                          <a:pt x="157" y="380"/>
                        </a:lnTo>
                        <a:lnTo>
                          <a:pt x="158" y="374"/>
                        </a:lnTo>
                        <a:lnTo>
                          <a:pt x="161" y="376"/>
                        </a:lnTo>
                        <a:lnTo>
                          <a:pt x="163" y="377"/>
                        </a:lnTo>
                        <a:lnTo>
                          <a:pt x="170" y="379"/>
                        </a:lnTo>
                        <a:lnTo>
                          <a:pt x="178" y="376"/>
                        </a:lnTo>
                        <a:lnTo>
                          <a:pt x="182" y="374"/>
                        </a:lnTo>
                        <a:lnTo>
                          <a:pt x="183" y="376"/>
                        </a:lnTo>
                        <a:lnTo>
                          <a:pt x="187" y="376"/>
                        </a:lnTo>
                        <a:lnTo>
                          <a:pt x="189" y="377"/>
                        </a:lnTo>
                        <a:lnTo>
                          <a:pt x="189" y="380"/>
                        </a:lnTo>
                        <a:lnTo>
                          <a:pt x="193" y="375"/>
                        </a:lnTo>
                        <a:lnTo>
                          <a:pt x="193" y="377"/>
                        </a:lnTo>
                        <a:lnTo>
                          <a:pt x="191" y="380"/>
                        </a:lnTo>
                        <a:lnTo>
                          <a:pt x="191" y="382"/>
                        </a:lnTo>
                        <a:lnTo>
                          <a:pt x="194" y="385"/>
                        </a:lnTo>
                        <a:lnTo>
                          <a:pt x="193" y="387"/>
                        </a:lnTo>
                        <a:lnTo>
                          <a:pt x="195" y="390"/>
                        </a:lnTo>
                        <a:lnTo>
                          <a:pt x="201" y="390"/>
                        </a:lnTo>
                        <a:lnTo>
                          <a:pt x="203" y="393"/>
                        </a:lnTo>
                        <a:lnTo>
                          <a:pt x="208" y="395"/>
                        </a:lnTo>
                        <a:lnTo>
                          <a:pt x="210" y="392"/>
                        </a:lnTo>
                        <a:lnTo>
                          <a:pt x="213" y="388"/>
                        </a:lnTo>
                        <a:lnTo>
                          <a:pt x="211" y="392"/>
                        </a:lnTo>
                        <a:lnTo>
                          <a:pt x="215" y="394"/>
                        </a:lnTo>
                        <a:lnTo>
                          <a:pt x="217" y="392"/>
                        </a:lnTo>
                        <a:lnTo>
                          <a:pt x="222" y="389"/>
                        </a:lnTo>
                        <a:lnTo>
                          <a:pt x="222" y="386"/>
                        </a:lnTo>
                        <a:lnTo>
                          <a:pt x="224" y="385"/>
                        </a:lnTo>
                        <a:lnTo>
                          <a:pt x="229" y="382"/>
                        </a:lnTo>
                        <a:lnTo>
                          <a:pt x="230" y="380"/>
                        </a:lnTo>
                        <a:lnTo>
                          <a:pt x="231" y="377"/>
                        </a:lnTo>
                        <a:lnTo>
                          <a:pt x="233" y="375"/>
                        </a:lnTo>
                        <a:lnTo>
                          <a:pt x="235" y="372"/>
                        </a:lnTo>
                        <a:lnTo>
                          <a:pt x="238" y="369"/>
                        </a:lnTo>
                        <a:lnTo>
                          <a:pt x="242" y="365"/>
                        </a:lnTo>
                        <a:lnTo>
                          <a:pt x="245" y="361"/>
                        </a:lnTo>
                        <a:lnTo>
                          <a:pt x="247" y="359"/>
                        </a:lnTo>
                        <a:lnTo>
                          <a:pt x="248" y="355"/>
                        </a:lnTo>
                        <a:lnTo>
                          <a:pt x="247" y="355"/>
                        </a:lnTo>
                        <a:lnTo>
                          <a:pt x="242" y="353"/>
                        </a:lnTo>
                        <a:lnTo>
                          <a:pt x="244" y="353"/>
                        </a:lnTo>
                        <a:lnTo>
                          <a:pt x="247" y="353"/>
                        </a:lnTo>
                        <a:lnTo>
                          <a:pt x="249" y="350"/>
                        </a:lnTo>
                        <a:lnTo>
                          <a:pt x="250" y="347"/>
                        </a:lnTo>
                        <a:lnTo>
                          <a:pt x="249" y="346"/>
                        </a:lnTo>
                        <a:lnTo>
                          <a:pt x="251" y="343"/>
                        </a:lnTo>
                        <a:lnTo>
                          <a:pt x="253" y="342"/>
                        </a:lnTo>
                        <a:lnTo>
                          <a:pt x="258" y="339"/>
                        </a:lnTo>
                        <a:lnTo>
                          <a:pt x="262" y="339"/>
                        </a:lnTo>
                        <a:lnTo>
                          <a:pt x="263" y="335"/>
                        </a:lnTo>
                        <a:lnTo>
                          <a:pt x="264" y="334"/>
                        </a:lnTo>
                        <a:lnTo>
                          <a:pt x="268" y="332"/>
                        </a:lnTo>
                        <a:lnTo>
                          <a:pt x="269" y="332"/>
                        </a:lnTo>
                        <a:lnTo>
                          <a:pt x="275" y="332"/>
                        </a:lnTo>
                        <a:lnTo>
                          <a:pt x="273" y="329"/>
                        </a:lnTo>
                        <a:lnTo>
                          <a:pt x="275" y="327"/>
                        </a:lnTo>
                        <a:lnTo>
                          <a:pt x="284" y="323"/>
                        </a:lnTo>
                        <a:lnTo>
                          <a:pt x="278" y="323"/>
                        </a:lnTo>
                        <a:lnTo>
                          <a:pt x="278" y="321"/>
                        </a:lnTo>
                        <a:lnTo>
                          <a:pt x="281" y="319"/>
                        </a:lnTo>
                        <a:lnTo>
                          <a:pt x="284" y="312"/>
                        </a:lnTo>
                        <a:lnTo>
                          <a:pt x="289" y="305"/>
                        </a:lnTo>
                        <a:lnTo>
                          <a:pt x="289" y="302"/>
                        </a:lnTo>
                        <a:lnTo>
                          <a:pt x="290" y="302"/>
                        </a:lnTo>
                        <a:lnTo>
                          <a:pt x="291" y="301"/>
                        </a:lnTo>
                        <a:lnTo>
                          <a:pt x="293" y="303"/>
                        </a:lnTo>
                        <a:lnTo>
                          <a:pt x="295" y="303"/>
                        </a:lnTo>
                        <a:lnTo>
                          <a:pt x="294" y="302"/>
                        </a:lnTo>
                        <a:lnTo>
                          <a:pt x="283" y="296"/>
                        </a:lnTo>
                        <a:lnTo>
                          <a:pt x="294" y="299"/>
                        </a:lnTo>
                        <a:lnTo>
                          <a:pt x="296" y="298"/>
                        </a:lnTo>
                        <a:lnTo>
                          <a:pt x="297" y="295"/>
                        </a:lnTo>
                        <a:lnTo>
                          <a:pt x="301" y="295"/>
                        </a:lnTo>
                        <a:lnTo>
                          <a:pt x="304" y="293"/>
                        </a:lnTo>
                        <a:lnTo>
                          <a:pt x="304" y="287"/>
                        </a:lnTo>
                        <a:lnTo>
                          <a:pt x="315" y="289"/>
                        </a:lnTo>
                        <a:lnTo>
                          <a:pt x="316" y="286"/>
                        </a:lnTo>
                        <a:lnTo>
                          <a:pt x="322" y="287"/>
                        </a:lnTo>
                        <a:lnTo>
                          <a:pt x="328" y="281"/>
                        </a:lnTo>
                        <a:lnTo>
                          <a:pt x="335" y="275"/>
                        </a:lnTo>
                        <a:lnTo>
                          <a:pt x="340" y="275"/>
                        </a:lnTo>
                        <a:lnTo>
                          <a:pt x="336" y="280"/>
                        </a:lnTo>
                        <a:lnTo>
                          <a:pt x="336" y="283"/>
                        </a:lnTo>
                        <a:lnTo>
                          <a:pt x="331" y="286"/>
                        </a:lnTo>
                        <a:lnTo>
                          <a:pt x="328" y="288"/>
                        </a:lnTo>
                        <a:lnTo>
                          <a:pt x="336" y="287"/>
                        </a:lnTo>
                        <a:lnTo>
                          <a:pt x="341" y="287"/>
                        </a:lnTo>
                        <a:lnTo>
                          <a:pt x="344" y="283"/>
                        </a:lnTo>
                        <a:lnTo>
                          <a:pt x="349" y="282"/>
                        </a:lnTo>
                        <a:lnTo>
                          <a:pt x="354" y="281"/>
                        </a:lnTo>
                        <a:lnTo>
                          <a:pt x="358" y="280"/>
                        </a:lnTo>
                        <a:lnTo>
                          <a:pt x="360" y="274"/>
                        </a:lnTo>
                        <a:lnTo>
                          <a:pt x="361" y="278"/>
                        </a:lnTo>
                        <a:lnTo>
                          <a:pt x="365" y="279"/>
                        </a:lnTo>
                        <a:lnTo>
                          <a:pt x="365" y="279"/>
                        </a:lnTo>
                        <a:close/>
                        <a:moveTo>
                          <a:pt x="348" y="9"/>
                        </a:moveTo>
                        <a:lnTo>
                          <a:pt x="350" y="7"/>
                        </a:lnTo>
                        <a:lnTo>
                          <a:pt x="351" y="8"/>
                        </a:lnTo>
                        <a:lnTo>
                          <a:pt x="355" y="11"/>
                        </a:lnTo>
                        <a:lnTo>
                          <a:pt x="349" y="13"/>
                        </a:lnTo>
                        <a:lnTo>
                          <a:pt x="348" y="12"/>
                        </a:lnTo>
                        <a:lnTo>
                          <a:pt x="343" y="12"/>
                        </a:lnTo>
                        <a:lnTo>
                          <a:pt x="347" y="11"/>
                        </a:lnTo>
                        <a:lnTo>
                          <a:pt x="348" y="9"/>
                        </a:lnTo>
                        <a:lnTo>
                          <a:pt x="348" y="9"/>
                        </a:lnTo>
                        <a:close/>
                        <a:moveTo>
                          <a:pt x="143" y="203"/>
                        </a:moveTo>
                        <a:lnTo>
                          <a:pt x="146" y="203"/>
                        </a:lnTo>
                        <a:lnTo>
                          <a:pt x="153" y="205"/>
                        </a:lnTo>
                        <a:lnTo>
                          <a:pt x="160" y="207"/>
                        </a:lnTo>
                        <a:lnTo>
                          <a:pt x="164" y="211"/>
                        </a:lnTo>
                        <a:lnTo>
                          <a:pt x="171" y="212"/>
                        </a:lnTo>
                        <a:lnTo>
                          <a:pt x="168" y="215"/>
                        </a:lnTo>
                        <a:lnTo>
                          <a:pt x="163" y="218"/>
                        </a:lnTo>
                        <a:lnTo>
                          <a:pt x="154" y="219"/>
                        </a:lnTo>
                        <a:lnTo>
                          <a:pt x="149" y="220"/>
                        </a:lnTo>
                        <a:lnTo>
                          <a:pt x="141" y="221"/>
                        </a:lnTo>
                        <a:lnTo>
                          <a:pt x="138" y="216"/>
                        </a:lnTo>
                        <a:lnTo>
                          <a:pt x="131" y="215"/>
                        </a:lnTo>
                        <a:lnTo>
                          <a:pt x="133" y="212"/>
                        </a:lnTo>
                        <a:lnTo>
                          <a:pt x="136" y="211"/>
                        </a:lnTo>
                        <a:lnTo>
                          <a:pt x="144" y="205"/>
                        </a:lnTo>
                        <a:lnTo>
                          <a:pt x="143" y="203"/>
                        </a:lnTo>
                        <a:lnTo>
                          <a:pt x="143" y="203"/>
                        </a:lnTo>
                        <a:close/>
                        <a:moveTo>
                          <a:pt x="649" y="81"/>
                        </a:moveTo>
                        <a:lnTo>
                          <a:pt x="655" y="79"/>
                        </a:lnTo>
                        <a:lnTo>
                          <a:pt x="655" y="81"/>
                        </a:lnTo>
                        <a:lnTo>
                          <a:pt x="654" y="82"/>
                        </a:lnTo>
                        <a:lnTo>
                          <a:pt x="655" y="85"/>
                        </a:lnTo>
                        <a:lnTo>
                          <a:pt x="651" y="85"/>
                        </a:lnTo>
                        <a:lnTo>
                          <a:pt x="650" y="85"/>
                        </a:lnTo>
                        <a:lnTo>
                          <a:pt x="651" y="82"/>
                        </a:lnTo>
                        <a:lnTo>
                          <a:pt x="649" y="81"/>
                        </a:lnTo>
                        <a:lnTo>
                          <a:pt x="649" y="81"/>
                        </a:lnTo>
                        <a:close/>
                        <a:moveTo>
                          <a:pt x="662" y="64"/>
                        </a:moveTo>
                        <a:lnTo>
                          <a:pt x="661" y="65"/>
                        </a:lnTo>
                        <a:lnTo>
                          <a:pt x="657" y="66"/>
                        </a:lnTo>
                        <a:lnTo>
                          <a:pt x="656" y="66"/>
                        </a:lnTo>
                        <a:lnTo>
                          <a:pt x="656" y="66"/>
                        </a:lnTo>
                        <a:lnTo>
                          <a:pt x="656" y="64"/>
                        </a:lnTo>
                        <a:lnTo>
                          <a:pt x="657" y="62"/>
                        </a:lnTo>
                        <a:lnTo>
                          <a:pt x="659" y="62"/>
                        </a:lnTo>
                        <a:lnTo>
                          <a:pt x="662" y="64"/>
                        </a:lnTo>
                        <a:lnTo>
                          <a:pt x="662" y="64"/>
                        </a:lnTo>
                        <a:close/>
                        <a:moveTo>
                          <a:pt x="631" y="19"/>
                        </a:moveTo>
                        <a:lnTo>
                          <a:pt x="630" y="18"/>
                        </a:lnTo>
                        <a:lnTo>
                          <a:pt x="631" y="18"/>
                        </a:lnTo>
                        <a:lnTo>
                          <a:pt x="632" y="19"/>
                        </a:lnTo>
                        <a:lnTo>
                          <a:pt x="631" y="19"/>
                        </a:lnTo>
                        <a:lnTo>
                          <a:pt x="631" y="19"/>
                        </a:lnTo>
                        <a:close/>
                        <a:moveTo>
                          <a:pt x="635" y="101"/>
                        </a:moveTo>
                        <a:lnTo>
                          <a:pt x="635" y="106"/>
                        </a:lnTo>
                        <a:lnTo>
                          <a:pt x="632" y="103"/>
                        </a:lnTo>
                        <a:lnTo>
                          <a:pt x="632" y="100"/>
                        </a:lnTo>
                        <a:lnTo>
                          <a:pt x="635" y="101"/>
                        </a:lnTo>
                        <a:lnTo>
                          <a:pt x="635" y="101"/>
                        </a:lnTo>
                        <a:close/>
                        <a:moveTo>
                          <a:pt x="644" y="126"/>
                        </a:moveTo>
                        <a:lnTo>
                          <a:pt x="636" y="126"/>
                        </a:lnTo>
                        <a:lnTo>
                          <a:pt x="629" y="126"/>
                        </a:lnTo>
                        <a:lnTo>
                          <a:pt x="630" y="121"/>
                        </a:lnTo>
                        <a:lnTo>
                          <a:pt x="637" y="120"/>
                        </a:lnTo>
                        <a:lnTo>
                          <a:pt x="644" y="126"/>
                        </a:lnTo>
                        <a:lnTo>
                          <a:pt x="644" y="126"/>
                        </a:lnTo>
                        <a:close/>
                        <a:moveTo>
                          <a:pt x="622" y="135"/>
                        </a:moveTo>
                        <a:lnTo>
                          <a:pt x="618" y="138"/>
                        </a:lnTo>
                        <a:lnTo>
                          <a:pt x="612" y="136"/>
                        </a:lnTo>
                        <a:lnTo>
                          <a:pt x="616" y="133"/>
                        </a:lnTo>
                        <a:lnTo>
                          <a:pt x="618" y="135"/>
                        </a:lnTo>
                        <a:lnTo>
                          <a:pt x="622" y="135"/>
                        </a:lnTo>
                        <a:lnTo>
                          <a:pt x="622" y="135"/>
                        </a:lnTo>
                        <a:close/>
                        <a:moveTo>
                          <a:pt x="575" y="171"/>
                        </a:moveTo>
                        <a:lnTo>
                          <a:pt x="572" y="171"/>
                        </a:lnTo>
                        <a:lnTo>
                          <a:pt x="570" y="171"/>
                        </a:lnTo>
                        <a:lnTo>
                          <a:pt x="572" y="168"/>
                        </a:lnTo>
                        <a:lnTo>
                          <a:pt x="575" y="167"/>
                        </a:lnTo>
                        <a:lnTo>
                          <a:pt x="576" y="167"/>
                        </a:lnTo>
                        <a:lnTo>
                          <a:pt x="575" y="171"/>
                        </a:lnTo>
                        <a:lnTo>
                          <a:pt x="575" y="171"/>
                        </a:lnTo>
                        <a:close/>
                        <a:moveTo>
                          <a:pt x="554" y="153"/>
                        </a:moveTo>
                        <a:lnTo>
                          <a:pt x="557" y="154"/>
                        </a:lnTo>
                        <a:lnTo>
                          <a:pt x="556" y="152"/>
                        </a:lnTo>
                        <a:lnTo>
                          <a:pt x="554" y="153"/>
                        </a:lnTo>
                        <a:lnTo>
                          <a:pt x="554" y="153"/>
                        </a:lnTo>
                        <a:close/>
                        <a:moveTo>
                          <a:pt x="527" y="192"/>
                        </a:moveTo>
                        <a:lnTo>
                          <a:pt x="525" y="196"/>
                        </a:lnTo>
                        <a:lnTo>
                          <a:pt x="520" y="196"/>
                        </a:lnTo>
                        <a:lnTo>
                          <a:pt x="518" y="199"/>
                        </a:lnTo>
                        <a:lnTo>
                          <a:pt x="516" y="199"/>
                        </a:lnTo>
                        <a:lnTo>
                          <a:pt x="510" y="199"/>
                        </a:lnTo>
                        <a:lnTo>
                          <a:pt x="510" y="203"/>
                        </a:lnTo>
                        <a:lnTo>
                          <a:pt x="504" y="203"/>
                        </a:lnTo>
                        <a:lnTo>
                          <a:pt x="496" y="205"/>
                        </a:lnTo>
                        <a:lnTo>
                          <a:pt x="491" y="203"/>
                        </a:lnTo>
                        <a:lnTo>
                          <a:pt x="489" y="201"/>
                        </a:lnTo>
                        <a:lnTo>
                          <a:pt x="494" y="198"/>
                        </a:lnTo>
                        <a:lnTo>
                          <a:pt x="496" y="194"/>
                        </a:lnTo>
                        <a:lnTo>
                          <a:pt x="501" y="191"/>
                        </a:lnTo>
                        <a:lnTo>
                          <a:pt x="502" y="188"/>
                        </a:lnTo>
                        <a:lnTo>
                          <a:pt x="508" y="183"/>
                        </a:lnTo>
                        <a:lnTo>
                          <a:pt x="512" y="183"/>
                        </a:lnTo>
                        <a:lnTo>
                          <a:pt x="518" y="186"/>
                        </a:lnTo>
                        <a:lnTo>
                          <a:pt x="523" y="189"/>
                        </a:lnTo>
                        <a:lnTo>
                          <a:pt x="522" y="192"/>
                        </a:lnTo>
                        <a:lnTo>
                          <a:pt x="527" y="192"/>
                        </a:lnTo>
                        <a:lnTo>
                          <a:pt x="527" y="192"/>
                        </a:lnTo>
                        <a:close/>
                        <a:moveTo>
                          <a:pt x="569" y="158"/>
                        </a:moveTo>
                        <a:lnTo>
                          <a:pt x="571" y="167"/>
                        </a:lnTo>
                        <a:lnTo>
                          <a:pt x="565" y="167"/>
                        </a:lnTo>
                        <a:lnTo>
                          <a:pt x="560" y="169"/>
                        </a:lnTo>
                        <a:lnTo>
                          <a:pt x="557" y="169"/>
                        </a:lnTo>
                        <a:lnTo>
                          <a:pt x="555" y="166"/>
                        </a:lnTo>
                        <a:lnTo>
                          <a:pt x="549" y="162"/>
                        </a:lnTo>
                        <a:lnTo>
                          <a:pt x="552" y="159"/>
                        </a:lnTo>
                        <a:lnTo>
                          <a:pt x="562" y="158"/>
                        </a:lnTo>
                        <a:lnTo>
                          <a:pt x="569" y="158"/>
                        </a:lnTo>
                        <a:lnTo>
                          <a:pt x="569" y="158"/>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91" name="Freeform 246">
                    <a:extLst>
                      <a:ext uri="{FF2B5EF4-FFF2-40B4-BE49-F238E27FC236}">
                        <a16:creationId xmlns:a16="http://schemas.microsoft.com/office/drawing/2014/main" id="{508286B5-6D67-0340-ADED-83218F0FF604}"/>
                      </a:ext>
                    </a:extLst>
                  </p:cNvPr>
                  <p:cNvSpPr>
                    <a:spLocks noEditPoints="1"/>
                  </p:cNvSpPr>
                  <p:nvPr/>
                </p:nvSpPr>
                <p:spPr bwMode="auto">
                  <a:xfrm>
                    <a:off x="4869302" y="2311462"/>
                    <a:ext cx="532178" cy="231521"/>
                  </a:xfrm>
                  <a:custGeom>
                    <a:avLst/>
                    <a:gdLst>
                      <a:gd name="T0" fmla="*/ 238 w 331"/>
                      <a:gd name="T1" fmla="*/ 139 h 144"/>
                      <a:gd name="T2" fmla="*/ 247 w 331"/>
                      <a:gd name="T3" fmla="*/ 139 h 144"/>
                      <a:gd name="T4" fmla="*/ 244 w 331"/>
                      <a:gd name="T5" fmla="*/ 135 h 144"/>
                      <a:gd name="T6" fmla="*/ 246 w 331"/>
                      <a:gd name="T7" fmla="*/ 129 h 144"/>
                      <a:gd name="T8" fmla="*/ 247 w 331"/>
                      <a:gd name="T9" fmla="*/ 126 h 144"/>
                      <a:gd name="T10" fmla="*/ 247 w 331"/>
                      <a:gd name="T11" fmla="*/ 123 h 144"/>
                      <a:gd name="T12" fmla="*/ 252 w 331"/>
                      <a:gd name="T13" fmla="*/ 119 h 144"/>
                      <a:gd name="T14" fmla="*/ 255 w 331"/>
                      <a:gd name="T15" fmla="*/ 115 h 144"/>
                      <a:gd name="T16" fmla="*/ 257 w 331"/>
                      <a:gd name="T17" fmla="*/ 113 h 144"/>
                      <a:gd name="T18" fmla="*/ 260 w 331"/>
                      <a:gd name="T19" fmla="*/ 115 h 144"/>
                      <a:gd name="T20" fmla="*/ 259 w 331"/>
                      <a:gd name="T21" fmla="*/ 106 h 144"/>
                      <a:gd name="T22" fmla="*/ 255 w 331"/>
                      <a:gd name="T23" fmla="*/ 105 h 144"/>
                      <a:gd name="T24" fmla="*/ 251 w 331"/>
                      <a:gd name="T25" fmla="*/ 98 h 144"/>
                      <a:gd name="T26" fmla="*/ 257 w 331"/>
                      <a:gd name="T27" fmla="*/ 90 h 144"/>
                      <a:gd name="T28" fmla="*/ 251 w 331"/>
                      <a:gd name="T29" fmla="*/ 86 h 144"/>
                      <a:gd name="T30" fmla="*/ 238 w 331"/>
                      <a:gd name="T31" fmla="*/ 96 h 144"/>
                      <a:gd name="T32" fmla="*/ 224 w 331"/>
                      <a:gd name="T33" fmla="*/ 103 h 144"/>
                      <a:gd name="T34" fmla="*/ 228 w 331"/>
                      <a:gd name="T35" fmla="*/ 104 h 144"/>
                      <a:gd name="T36" fmla="*/ 231 w 331"/>
                      <a:gd name="T37" fmla="*/ 99 h 144"/>
                      <a:gd name="T38" fmla="*/ 237 w 331"/>
                      <a:gd name="T39" fmla="*/ 97 h 144"/>
                      <a:gd name="T40" fmla="*/ 246 w 331"/>
                      <a:gd name="T41" fmla="*/ 98 h 144"/>
                      <a:gd name="T42" fmla="*/ 237 w 331"/>
                      <a:gd name="T43" fmla="*/ 100 h 144"/>
                      <a:gd name="T44" fmla="*/ 240 w 331"/>
                      <a:gd name="T45" fmla="*/ 106 h 144"/>
                      <a:gd name="T46" fmla="*/ 237 w 331"/>
                      <a:gd name="T47" fmla="*/ 105 h 144"/>
                      <a:gd name="T48" fmla="*/ 232 w 331"/>
                      <a:gd name="T49" fmla="*/ 105 h 144"/>
                      <a:gd name="T50" fmla="*/ 227 w 331"/>
                      <a:gd name="T51" fmla="*/ 106 h 144"/>
                      <a:gd name="T52" fmla="*/ 222 w 331"/>
                      <a:gd name="T53" fmla="*/ 109 h 144"/>
                      <a:gd name="T54" fmla="*/ 224 w 331"/>
                      <a:gd name="T55" fmla="*/ 111 h 144"/>
                      <a:gd name="T56" fmla="*/ 226 w 331"/>
                      <a:gd name="T57" fmla="*/ 119 h 144"/>
                      <a:gd name="T58" fmla="*/ 225 w 331"/>
                      <a:gd name="T59" fmla="*/ 125 h 144"/>
                      <a:gd name="T60" fmla="*/ 232 w 331"/>
                      <a:gd name="T61" fmla="*/ 132 h 144"/>
                      <a:gd name="T62" fmla="*/ 230 w 331"/>
                      <a:gd name="T63" fmla="*/ 135 h 144"/>
                      <a:gd name="T64" fmla="*/ 325 w 331"/>
                      <a:gd name="T65" fmla="*/ 130 h 144"/>
                      <a:gd name="T66" fmla="*/ 324 w 331"/>
                      <a:gd name="T67" fmla="*/ 133 h 144"/>
                      <a:gd name="T68" fmla="*/ 277 w 331"/>
                      <a:gd name="T69" fmla="*/ 139 h 144"/>
                      <a:gd name="T70" fmla="*/ 280 w 331"/>
                      <a:gd name="T71" fmla="*/ 143 h 144"/>
                      <a:gd name="T72" fmla="*/ 268 w 331"/>
                      <a:gd name="T73" fmla="*/ 139 h 144"/>
                      <a:gd name="T74" fmla="*/ 284 w 331"/>
                      <a:gd name="T75" fmla="*/ 139 h 144"/>
                      <a:gd name="T76" fmla="*/ 280 w 331"/>
                      <a:gd name="T77" fmla="*/ 138 h 144"/>
                      <a:gd name="T78" fmla="*/ 288 w 331"/>
                      <a:gd name="T79" fmla="*/ 138 h 144"/>
                      <a:gd name="T80" fmla="*/ 287 w 331"/>
                      <a:gd name="T81" fmla="*/ 135 h 144"/>
                      <a:gd name="T82" fmla="*/ 287 w 331"/>
                      <a:gd name="T83" fmla="*/ 124 h 144"/>
                      <a:gd name="T84" fmla="*/ 287 w 331"/>
                      <a:gd name="T85" fmla="*/ 131 h 144"/>
                      <a:gd name="T86" fmla="*/ 281 w 331"/>
                      <a:gd name="T87" fmla="*/ 137 h 144"/>
                      <a:gd name="T88" fmla="*/ 272 w 331"/>
                      <a:gd name="T89" fmla="*/ 132 h 144"/>
                      <a:gd name="T90" fmla="*/ 268 w 331"/>
                      <a:gd name="T91" fmla="*/ 127 h 144"/>
                      <a:gd name="T92" fmla="*/ 266 w 331"/>
                      <a:gd name="T93" fmla="*/ 122 h 144"/>
                      <a:gd name="T94" fmla="*/ 273 w 331"/>
                      <a:gd name="T95" fmla="*/ 119 h 144"/>
                      <a:gd name="T96" fmla="*/ 278 w 331"/>
                      <a:gd name="T97" fmla="*/ 119 h 144"/>
                      <a:gd name="T98" fmla="*/ 280 w 331"/>
                      <a:gd name="T99" fmla="*/ 119 h 144"/>
                      <a:gd name="T100" fmla="*/ 282 w 331"/>
                      <a:gd name="T101" fmla="*/ 123 h 144"/>
                      <a:gd name="T102" fmla="*/ 288 w 331"/>
                      <a:gd name="T103" fmla="*/ 116 h 144"/>
                      <a:gd name="T104" fmla="*/ 261 w 331"/>
                      <a:gd name="T105" fmla="*/ 138 h 144"/>
                      <a:gd name="T106" fmla="*/ 262 w 331"/>
                      <a:gd name="T107" fmla="*/ 127 h 144"/>
                      <a:gd name="T108" fmla="*/ 255 w 331"/>
                      <a:gd name="T109" fmla="*/ 135 h 144"/>
                      <a:gd name="T110" fmla="*/ 252 w 331"/>
                      <a:gd name="T111" fmla="*/ 132 h 144"/>
                      <a:gd name="T112" fmla="*/ 247 w 331"/>
                      <a:gd name="T113" fmla="*/ 127 h 144"/>
                      <a:gd name="T114" fmla="*/ 259 w 331"/>
                      <a:gd name="T115" fmla="*/ 126 h 144"/>
                      <a:gd name="T116" fmla="*/ 261 w 331"/>
                      <a:gd name="T117" fmla="*/ 125 h 1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31" h="144">
                        <a:moveTo>
                          <a:pt x="1" y="2"/>
                        </a:moveTo>
                        <a:lnTo>
                          <a:pt x="0" y="3"/>
                        </a:lnTo>
                        <a:lnTo>
                          <a:pt x="0" y="0"/>
                        </a:lnTo>
                        <a:lnTo>
                          <a:pt x="1" y="2"/>
                        </a:lnTo>
                        <a:lnTo>
                          <a:pt x="1" y="2"/>
                        </a:lnTo>
                        <a:close/>
                        <a:moveTo>
                          <a:pt x="232" y="138"/>
                        </a:moveTo>
                        <a:lnTo>
                          <a:pt x="233" y="139"/>
                        </a:lnTo>
                        <a:lnTo>
                          <a:pt x="233" y="139"/>
                        </a:lnTo>
                        <a:lnTo>
                          <a:pt x="235" y="138"/>
                        </a:lnTo>
                        <a:lnTo>
                          <a:pt x="238" y="139"/>
                        </a:lnTo>
                        <a:lnTo>
                          <a:pt x="239" y="139"/>
                        </a:lnTo>
                        <a:lnTo>
                          <a:pt x="241" y="139"/>
                        </a:lnTo>
                        <a:lnTo>
                          <a:pt x="241" y="140"/>
                        </a:lnTo>
                        <a:lnTo>
                          <a:pt x="244" y="140"/>
                        </a:lnTo>
                        <a:lnTo>
                          <a:pt x="244" y="139"/>
                        </a:lnTo>
                        <a:lnTo>
                          <a:pt x="245" y="140"/>
                        </a:lnTo>
                        <a:lnTo>
                          <a:pt x="245" y="140"/>
                        </a:lnTo>
                        <a:lnTo>
                          <a:pt x="246" y="140"/>
                        </a:lnTo>
                        <a:lnTo>
                          <a:pt x="246" y="140"/>
                        </a:lnTo>
                        <a:lnTo>
                          <a:pt x="247" y="139"/>
                        </a:lnTo>
                        <a:lnTo>
                          <a:pt x="248" y="139"/>
                        </a:lnTo>
                        <a:lnTo>
                          <a:pt x="248" y="138"/>
                        </a:lnTo>
                        <a:lnTo>
                          <a:pt x="248" y="137"/>
                        </a:lnTo>
                        <a:lnTo>
                          <a:pt x="247" y="136"/>
                        </a:lnTo>
                        <a:lnTo>
                          <a:pt x="246" y="136"/>
                        </a:lnTo>
                        <a:lnTo>
                          <a:pt x="246" y="136"/>
                        </a:lnTo>
                        <a:lnTo>
                          <a:pt x="245" y="136"/>
                        </a:lnTo>
                        <a:lnTo>
                          <a:pt x="245" y="135"/>
                        </a:lnTo>
                        <a:lnTo>
                          <a:pt x="244" y="135"/>
                        </a:lnTo>
                        <a:lnTo>
                          <a:pt x="244" y="135"/>
                        </a:lnTo>
                        <a:lnTo>
                          <a:pt x="244" y="133"/>
                        </a:lnTo>
                        <a:lnTo>
                          <a:pt x="244" y="133"/>
                        </a:lnTo>
                        <a:lnTo>
                          <a:pt x="245" y="133"/>
                        </a:lnTo>
                        <a:lnTo>
                          <a:pt x="246" y="132"/>
                        </a:lnTo>
                        <a:lnTo>
                          <a:pt x="247" y="132"/>
                        </a:lnTo>
                        <a:lnTo>
                          <a:pt x="247" y="131"/>
                        </a:lnTo>
                        <a:lnTo>
                          <a:pt x="247" y="131"/>
                        </a:lnTo>
                        <a:lnTo>
                          <a:pt x="246" y="130"/>
                        </a:lnTo>
                        <a:lnTo>
                          <a:pt x="246" y="130"/>
                        </a:lnTo>
                        <a:lnTo>
                          <a:pt x="246" y="129"/>
                        </a:lnTo>
                        <a:lnTo>
                          <a:pt x="246" y="129"/>
                        </a:lnTo>
                        <a:lnTo>
                          <a:pt x="246" y="127"/>
                        </a:lnTo>
                        <a:lnTo>
                          <a:pt x="246" y="127"/>
                        </a:lnTo>
                        <a:lnTo>
                          <a:pt x="246" y="127"/>
                        </a:lnTo>
                        <a:lnTo>
                          <a:pt x="245" y="127"/>
                        </a:lnTo>
                        <a:lnTo>
                          <a:pt x="244" y="127"/>
                        </a:lnTo>
                        <a:lnTo>
                          <a:pt x="245" y="126"/>
                        </a:lnTo>
                        <a:lnTo>
                          <a:pt x="246" y="126"/>
                        </a:lnTo>
                        <a:lnTo>
                          <a:pt x="246" y="126"/>
                        </a:lnTo>
                        <a:lnTo>
                          <a:pt x="247" y="126"/>
                        </a:lnTo>
                        <a:lnTo>
                          <a:pt x="248" y="125"/>
                        </a:lnTo>
                        <a:lnTo>
                          <a:pt x="248" y="125"/>
                        </a:lnTo>
                        <a:lnTo>
                          <a:pt x="248" y="124"/>
                        </a:lnTo>
                        <a:lnTo>
                          <a:pt x="248" y="124"/>
                        </a:lnTo>
                        <a:lnTo>
                          <a:pt x="247" y="124"/>
                        </a:lnTo>
                        <a:lnTo>
                          <a:pt x="246" y="123"/>
                        </a:lnTo>
                        <a:lnTo>
                          <a:pt x="245" y="123"/>
                        </a:lnTo>
                        <a:lnTo>
                          <a:pt x="246" y="123"/>
                        </a:lnTo>
                        <a:lnTo>
                          <a:pt x="246" y="123"/>
                        </a:lnTo>
                        <a:lnTo>
                          <a:pt x="247" y="123"/>
                        </a:lnTo>
                        <a:lnTo>
                          <a:pt x="250" y="123"/>
                        </a:lnTo>
                        <a:lnTo>
                          <a:pt x="251" y="123"/>
                        </a:lnTo>
                        <a:lnTo>
                          <a:pt x="252" y="122"/>
                        </a:lnTo>
                        <a:lnTo>
                          <a:pt x="252" y="122"/>
                        </a:lnTo>
                        <a:lnTo>
                          <a:pt x="252" y="120"/>
                        </a:lnTo>
                        <a:lnTo>
                          <a:pt x="252" y="120"/>
                        </a:lnTo>
                        <a:lnTo>
                          <a:pt x="252" y="120"/>
                        </a:lnTo>
                        <a:lnTo>
                          <a:pt x="251" y="119"/>
                        </a:lnTo>
                        <a:lnTo>
                          <a:pt x="252" y="119"/>
                        </a:lnTo>
                        <a:lnTo>
                          <a:pt x="252" y="119"/>
                        </a:lnTo>
                        <a:lnTo>
                          <a:pt x="253" y="119"/>
                        </a:lnTo>
                        <a:lnTo>
                          <a:pt x="253" y="119"/>
                        </a:lnTo>
                        <a:lnTo>
                          <a:pt x="253" y="119"/>
                        </a:lnTo>
                        <a:lnTo>
                          <a:pt x="254" y="119"/>
                        </a:lnTo>
                        <a:lnTo>
                          <a:pt x="254" y="118"/>
                        </a:lnTo>
                        <a:lnTo>
                          <a:pt x="255" y="117"/>
                        </a:lnTo>
                        <a:lnTo>
                          <a:pt x="255" y="117"/>
                        </a:lnTo>
                        <a:lnTo>
                          <a:pt x="255" y="116"/>
                        </a:lnTo>
                        <a:lnTo>
                          <a:pt x="255" y="116"/>
                        </a:lnTo>
                        <a:lnTo>
                          <a:pt x="255" y="115"/>
                        </a:lnTo>
                        <a:lnTo>
                          <a:pt x="255" y="113"/>
                        </a:lnTo>
                        <a:lnTo>
                          <a:pt x="255" y="112"/>
                        </a:lnTo>
                        <a:lnTo>
                          <a:pt x="257" y="112"/>
                        </a:lnTo>
                        <a:lnTo>
                          <a:pt x="257" y="112"/>
                        </a:lnTo>
                        <a:lnTo>
                          <a:pt x="258" y="112"/>
                        </a:lnTo>
                        <a:lnTo>
                          <a:pt x="258" y="112"/>
                        </a:lnTo>
                        <a:lnTo>
                          <a:pt x="258" y="113"/>
                        </a:lnTo>
                        <a:lnTo>
                          <a:pt x="257" y="113"/>
                        </a:lnTo>
                        <a:lnTo>
                          <a:pt x="257" y="113"/>
                        </a:lnTo>
                        <a:lnTo>
                          <a:pt x="257" y="113"/>
                        </a:lnTo>
                        <a:lnTo>
                          <a:pt x="258" y="115"/>
                        </a:lnTo>
                        <a:lnTo>
                          <a:pt x="258" y="115"/>
                        </a:lnTo>
                        <a:lnTo>
                          <a:pt x="258" y="115"/>
                        </a:lnTo>
                        <a:lnTo>
                          <a:pt x="258" y="115"/>
                        </a:lnTo>
                        <a:lnTo>
                          <a:pt x="259" y="116"/>
                        </a:lnTo>
                        <a:lnTo>
                          <a:pt x="259" y="115"/>
                        </a:lnTo>
                        <a:lnTo>
                          <a:pt x="259" y="115"/>
                        </a:lnTo>
                        <a:lnTo>
                          <a:pt x="260" y="115"/>
                        </a:lnTo>
                        <a:lnTo>
                          <a:pt x="260" y="113"/>
                        </a:lnTo>
                        <a:lnTo>
                          <a:pt x="260" y="115"/>
                        </a:lnTo>
                        <a:lnTo>
                          <a:pt x="261" y="115"/>
                        </a:lnTo>
                        <a:lnTo>
                          <a:pt x="262" y="112"/>
                        </a:lnTo>
                        <a:lnTo>
                          <a:pt x="264" y="111"/>
                        </a:lnTo>
                        <a:lnTo>
                          <a:pt x="265" y="110"/>
                        </a:lnTo>
                        <a:lnTo>
                          <a:pt x="265" y="109"/>
                        </a:lnTo>
                        <a:lnTo>
                          <a:pt x="264" y="107"/>
                        </a:lnTo>
                        <a:lnTo>
                          <a:pt x="262" y="106"/>
                        </a:lnTo>
                        <a:lnTo>
                          <a:pt x="261" y="106"/>
                        </a:lnTo>
                        <a:lnTo>
                          <a:pt x="261" y="107"/>
                        </a:lnTo>
                        <a:lnTo>
                          <a:pt x="259" y="106"/>
                        </a:lnTo>
                        <a:lnTo>
                          <a:pt x="259" y="106"/>
                        </a:lnTo>
                        <a:lnTo>
                          <a:pt x="257" y="106"/>
                        </a:lnTo>
                        <a:lnTo>
                          <a:pt x="255" y="106"/>
                        </a:lnTo>
                        <a:lnTo>
                          <a:pt x="254" y="106"/>
                        </a:lnTo>
                        <a:lnTo>
                          <a:pt x="254" y="107"/>
                        </a:lnTo>
                        <a:lnTo>
                          <a:pt x="254" y="107"/>
                        </a:lnTo>
                        <a:lnTo>
                          <a:pt x="254" y="107"/>
                        </a:lnTo>
                        <a:lnTo>
                          <a:pt x="254" y="106"/>
                        </a:lnTo>
                        <a:lnTo>
                          <a:pt x="255" y="105"/>
                        </a:lnTo>
                        <a:lnTo>
                          <a:pt x="255" y="105"/>
                        </a:lnTo>
                        <a:lnTo>
                          <a:pt x="254" y="104"/>
                        </a:lnTo>
                        <a:lnTo>
                          <a:pt x="253" y="104"/>
                        </a:lnTo>
                        <a:lnTo>
                          <a:pt x="253" y="104"/>
                        </a:lnTo>
                        <a:lnTo>
                          <a:pt x="253" y="104"/>
                        </a:lnTo>
                        <a:lnTo>
                          <a:pt x="254" y="104"/>
                        </a:lnTo>
                        <a:lnTo>
                          <a:pt x="254" y="103"/>
                        </a:lnTo>
                        <a:lnTo>
                          <a:pt x="254" y="100"/>
                        </a:lnTo>
                        <a:lnTo>
                          <a:pt x="253" y="99"/>
                        </a:lnTo>
                        <a:lnTo>
                          <a:pt x="252" y="98"/>
                        </a:lnTo>
                        <a:lnTo>
                          <a:pt x="251" y="98"/>
                        </a:lnTo>
                        <a:lnTo>
                          <a:pt x="250" y="97"/>
                        </a:lnTo>
                        <a:lnTo>
                          <a:pt x="250" y="97"/>
                        </a:lnTo>
                        <a:lnTo>
                          <a:pt x="251" y="97"/>
                        </a:lnTo>
                        <a:lnTo>
                          <a:pt x="252" y="97"/>
                        </a:lnTo>
                        <a:lnTo>
                          <a:pt x="253" y="98"/>
                        </a:lnTo>
                        <a:lnTo>
                          <a:pt x="254" y="97"/>
                        </a:lnTo>
                        <a:lnTo>
                          <a:pt x="257" y="96"/>
                        </a:lnTo>
                        <a:lnTo>
                          <a:pt x="257" y="93"/>
                        </a:lnTo>
                        <a:lnTo>
                          <a:pt x="257" y="91"/>
                        </a:lnTo>
                        <a:lnTo>
                          <a:pt x="257" y="90"/>
                        </a:lnTo>
                        <a:lnTo>
                          <a:pt x="257" y="89"/>
                        </a:lnTo>
                        <a:lnTo>
                          <a:pt x="255" y="87"/>
                        </a:lnTo>
                        <a:lnTo>
                          <a:pt x="255" y="86"/>
                        </a:lnTo>
                        <a:lnTo>
                          <a:pt x="257" y="85"/>
                        </a:lnTo>
                        <a:lnTo>
                          <a:pt x="257" y="84"/>
                        </a:lnTo>
                        <a:lnTo>
                          <a:pt x="257" y="84"/>
                        </a:lnTo>
                        <a:lnTo>
                          <a:pt x="255" y="85"/>
                        </a:lnTo>
                        <a:lnTo>
                          <a:pt x="253" y="85"/>
                        </a:lnTo>
                        <a:lnTo>
                          <a:pt x="252" y="86"/>
                        </a:lnTo>
                        <a:lnTo>
                          <a:pt x="251" y="86"/>
                        </a:lnTo>
                        <a:lnTo>
                          <a:pt x="248" y="86"/>
                        </a:lnTo>
                        <a:lnTo>
                          <a:pt x="248" y="87"/>
                        </a:lnTo>
                        <a:lnTo>
                          <a:pt x="246" y="86"/>
                        </a:lnTo>
                        <a:lnTo>
                          <a:pt x="246" y="90"/>
                        </a:lnTo>
                        <a:lnTo>
                          <a:pt x="245" y="90"/>
                        </a:lnTo>
                        <a:lnTo>
                          <a:pt x="244" y="92"/>
                        </a:lnTo>
                        <a:lnTo>
                          <a:pt x="241" y="92"/>
                        </a:lnTo>
                        <a:lnTo>
                          <a:pt x="240" y="95"/>
                        </a:lnTo>
                        <a:lnTo>
                          <a:pt x="239" y="95"/>
                        </a:lnTo>
                        <a:lnTo>
                          <a:pt x="238" y="96"/>
                        </a:lnTo>
                        <a:lnTo>
                          <a:pt x="234" y="96"/>
                        </a:lnTo>
                        <a:lnTo>
                          <a:pt x="233" y="96"/>
                        </a:lnTo>
                        <a:lnTo>
                          <a:pt x="231" y="96"/>
                        </a:lnTo>
                        <a:lnTo>
                          <a:pt x="228" y="97"/>
                        </a:lnTo>
                        <a:lnTo>
                          <a:pt x="228" y="97"/>
                        </a:lnTo>
                        <a:lnTo>
                          <a:pt x="227" y="97"/>
                        </a:lnTo>
                        <a:lnTo>
                          <a:pt x="226" y="98"/>
                        </a:lnTo>
                        <a:lnTo>
                          <a:pt x="225" y="100"/>
                        </a:lnTo>
                        <a:lnTo>
                          <a:pt x="224" y="103"/>
                        </a:lnTo>
                        <a:lnTo>
                          <a:pt x="224" y="103"/>
                        </a:lnTo>
                        <a:lnTo>
                          <a:pt x="224" y="103"/>
                        </a:lnTo>
                        <a:lnTo>
                          <a:pt x="224" y="103"/>
                        </a:lnTo>
                        <a:lnTo>
                          <a:pt x="225" y="103"/>
                        </a:lnTo>
                        <a:lnTo>
                          <a:pt x="225" y="104"/>
                        </a:lnTo>
                        <a:lnTo>
                          <a:pt x="227" y="105"/>
                        </a:lnTo>
                        <a:lnTo>
                          <a:pt x="228" y="105"/>
                        </a:lnTo>
                        <a:lnTo>
                          <a:pt x="228" y="106"/>
                        </a:lnTo>
                        <a:lnTo>
                          <a:pt x="230" y="105"/>
                        </a:lnTo>
                        <a:lnTo>
                          <a:pt x="230" y="105"/>
                        </a:lnTo>
                        <a:lnTo>
                          <a:pt x="228" y="104"/>
                        </a:lnTo>
                        <a:lnTo>
                          <a:pt x="228" y="104"/>
                        </a:lnTo>
                        <a:lnTo>
                          <a:pt x="228" y="104"/>
                        </a:lnTo>
                        <a:lnTo>
                          <a:pt x="228" y="104"/>
                        </a:lnTo>
                        <a:lnTo>
                          <a:pt x="227" y="103"/>
                        </a:lnTo>
                        <a:lnTo>
                          <a:pt x="227" y="103"/>
                        </a:lnTo>
                        <a:lnTo>
                          <a:pt x="228" y="102"/>
                        </a:lnTo>
                        <a:lnTo>
                          <a:pt x="228" y="100"/>
                        </a:lnTo>
                        <a:lnTo>
                          <a:pt x="230" y="99"/>
                        </a:lnTo>
                        <a:lnTo>
                          <a:pt x="231" y="99"/>
                        </a:lnTo>
                        <a:lnTo>
                          <a:pt x="231" y="99"/>
                        </a:lnTo>
                        <a:lnTo>
                          <a:pt x="232" y="98"/>
                        </a:lnTo>
                        <a:lnTo>
                          <a:pt x="232" y="98"/>
                        </a:lnTo>
                        <a:lnTo>
                          <a:pt x="233" y="98"/>
                        </a:lnTo>
                        <a:lnTo>
                          <a:pt x="234" y="98"/>
                        </a:lnTo>
                        <a:lnTo>
                          <a:pt x="235" y="98"/>
                        </a:lnTo>
                        <a:lnTo>
                          <a:pt x="235" y="98"/>
                        </a:lnTo>
                        <a:lnTo>
                          <a:pt x="235" y="97"/>
                        </a:lnTo>
                        <a:lnTo>
                          <a:pt x="235" y="97"/>
                        </a:lnTo>
                        <a:lnTo>
                          <a:pt x="235" y="97"/>
                        </a:lnTo>
                        <a:lnTo>
                          <a:pt x="237" y="97"/>
                        </a:lnTo>
                        <a:lnTo>
                          <a:pt x="239" y="98"/>
                        </a:lnTo>
                        <a:lnTo>
                          <a:pt x="241" y="98"/>
                        </a:lnTo>
                        <a:lnTo>
                          <a:pt x="244" y="97"/>
                        </a:lnTo>
                        <a:lnTo>
                          <a:pt x="245" y="97"/>
                        </a:lnTo>
                        <a:lnTo>
                          <a:pt x="246" y="97"/>
                        </a:lnTo>
                        <a:lnTo>
                          <a:pt x="247" y="97"/>
                        </a:lnTo>
                        <a:lnTo>
                          <a:pt x="248" y="97"/>
                        </a:lnTo>
                        <a:lnTo>
                          <a:pt x="248" y="97"/>
                        </a:lnTo>
                        <a:lnTo>
                          <a:pt x="248" y="97"/>
                        </a:lnTo>
                        <a:lnTo>
                          <a:pt x="246" y="98"/>
                        </a:lnTo>
                        <a:lnTo>
                          <a:pt x="245" y="98"/>
                        </a:lnTo>
                        <a:lnTo>
                          <a:pt x="244" y="99"/>
                        </a:lnTo>
                        <a:lnTo>
                          <a:pt x="244" y="99"/>
                        </a:lnTo>
                        <a:lnTo>
                          <a:pt x="244" y="99"/>
                        </a:lnTo>
                        <a:lnTo>
                          <a:pt x="242" y="98"/>
                        </a:lnTo>
                        <a:lnTo>
                          <a:pt x="241" y="98"/>
                        </a:lnTo>
                        <a:lnTo>
                          <a:pt x="239" y="98"/>
                        </a:lnTo>
                        <a:lnTo>
                          <a:pt x="238" y="99"/>
                        </a:lnTo>
                        <a:lnTo>
                          <a:pt x="237" y="99"/>
                        </a:lnTo>
                        <a:lnTo>
                          <a:pt x="237" y="100"/>
                        </a:lnTo>
                        <a:lnTo>
                          <a:pt x="237" y="102"/>
                        </a:lnTo>
                        <a:lnTo>
                          <a:pt x="238" y="103"/>
                        </a:lnTo>
                        <a:lnTo>
                          <a:pt x="238" y="103"/>
                        </a:lnTo>
                        <a:lnTo>
                          <a:pt x="238" y="104"/>
                        </a:lnTo>
                        <a:lnTo>
                          <a:pt x="238" y="104"/>
                        </a:lnTo>
                        <a:lnTo>
                          <a:pt x="239" y="104"/>
                        </a:lnTo>
                        <a:lnTo>
                          <a:pt x="239" y="105"/>
                        </a:lnTo>
                        <a:lnTo>
                          <a:pt x="240" y="105"/>
                        </a:lnTo>
                        <a:lnTo>
                          <a:pt x="240" y="106"/>
                        </a:lnTo>
                        <a:lnTo>
                          <a:pt x="240" y="106"/>
                        </a:lnTo>
                        <a:lnTo>
                          <a:pt x="240" y="106"/>
                        </a:lnTo>
                        <a:lnTo>
                          <a:pt x="240" y="106"/>
                        </a:lnTo>
                        <a:lnTo>
                          <a:pt x="239" y="106"/>
                        </a:lnTo>
                        <a:lnTo>
                          <a:pt x="239" y="105"/>
                        </a:lnTo>
                        <a:lnTo>
                          <a:pt x="238" y="105"/>
                        </a:lnTo>
                        <a:lnTo>
                          <a:pt x="238" y="105"/>
                        </a:lnTo>
                        <a:lnTo>
                          <a:pt x="237" y="105"/>
                        </a:lnTo>
                        <a:lnTo>
                          <a:pt x="237" y="106"/>
                        </a:lnTo>
                        <a:lnTo>
                          <a:pt x="237" y="106"/>
                        </a:lnTo>
                        <a:lnTo>
                          <a:pt x="237" y="105"/>
                        </a:lnTo>
                        <a:lnTo>
                          <a:pt x="237" y="104"/>
                        </a:lnTo>
                        <a:lnTo>
                          <a:pt x="237" y="103"/>
                        </a:lnTo>
                        <a:lnTo>
                          <a:pt x="237" y="102"/>
                        </a:lnTo>
                        <a:lnTo>
                          <a:pt x="235" y="102"/>
                        </a:lnTo>
                        <a:lnTo>
                          <a:pt x="235" y="102"/>
                        </a:lnTo>
                        <a:lnTo>
                          <a:pt x="234" y="103"/>
                        </a:lnTo>
                        <a:lnTo>
                          <a:pt x="234" y="104"/>
                        </a:lnTo>
                        <a:lnTo>
                          <a:pt x="234" y="104"/>
                        </a:lnTo>
                        <a:lnTo>
                          <a:pt x="233" y="104"/>
                        </a:lnTo>
                        <a:lnTo>
                          <a:pt x="232" y="105"/>
                        </a:lnTo>
                        <a:lnTo>
                          <a:pt x="232" y="105"/>
                        </a:lnTo>
                        <a:lnTo>
                          <a:pt x="232" y="106"/>
                        </a:lnTo>
                        <a:lnTo>
                          <a:pt x="232" y="106"/>
                        </a:lnTo>
                        <a:lnTo>
                          <a:pt x="232" y="107"/>
                        </a:lnTo>
                        <a:lnTo>
                          <a:pt x="231" y="107"/>
                        </a:lnTo>
                        <a:lnTo>
                          <a:pt x="231" y="107"/>
                        </a:lnTo>
                        <a:lnTo>
                          <a:pt x="230" y="106"/>
                        </a:lnTo>
                        <a:lnTo>
                          <a:pt x="230" y="106"/>
                        </a:lnTo>
                        <a:lnTo>
                          <a:pt x="228" y="106"/>
                        </a:lnTo>
                        <a:lnTo>
                          <a:pt x="227" y="106"/>
                        </a:lnTo>
                        <a:lnTo>
                          <a:pt x="226" y="106"/>
                        </a:lnTo>
                        <a:lnTo>
                          <a:pt x="225" y="106"/>
                        </a:lnTo>
                        <a:lnTo>
                          <a:pt x="224" y="106"/>
                        </a:lnTo>
                        <a:lnTo>
                          <a:pt x="224" y="105"/>
                        </a:lnTo>
                        <a:lnTo>
                          <a:pt x="224" y="104"/>
                        </a:lnTo>
                        <a:lnTo>
                          <a:pt x="224" y="104"/>
                        </a:lnTo>
                        <a:lnTo>
                          <a:pt x="222" y="106"/>
                        </a:lnTo>
                        <a:lnTo>
                          <a:pt x="221" y="107"/>
                        </a:lnTo>
                        <a:lnTo>
                          <a:pt x="222" y="109"/>
                        </a:lnTo>
                        <a:lnTo>
                          <a:pt x="222" y="109"/>
                        </a:lnTo>
                        <a:lnTo>
                          <a:pt x="224" y="109"/>
                        </a:lnTo>
                        <a:lnTo>
                          <a:pt x="225" y="109"/>
                        </a:lnTo>
                        <a:lnTo>
                          <a:pt x="225" y="109"/>
                        </a:lnTo>
                        <a:lnTo>
                          <a:pt x="224" y="110"/>
                        </a:lnTo>
                        <a:lnTo>
                          <a:pt x="224" y="110"/>
                        </a:lnTo>
                        <a:lnTo>
                          <a:pt x="225" y="111"/>
                        </a:lnTo>
                        <a:lnTo>
                          <a:pt x="225" y="111"/>
                        </a:lnTo>
                        <a:lnTo>
                          <a:pt x="225" y="111"/>
                        </a:lnTo>
                        <a:lnTo>
                          <a:pt x="224" y="111"/>
                        </a:lnTo>
                        <a:lnTo>
                          <a:pt x="224" y="111"/>
                        </a:lnTo>
                        <a:lnTo>
                          <a:pt x="222" y="111"/>
                        </a:lnTo>
                        <a:lnTo>
                          <a:pt x="222" y="113"/>
                        </a:lnTo>
                        <a:lnTo>
                          <a:pt x="225" y="113"/>
                        </a:lnTo>
                        <a:lnTo>
                          <a:pt x="225" y="115"/>
                        </a:lnTo>
                        <a:lnTo>
                          <a:pt x="222" y="116"/>
                        </a:lnTo>
                        <a:lnTo>
                          <a:pt x="224" y="116"/>
                        </a:lnTo>
                        <a:lnTo>
                          <a:pt x="224" y="116"/>
                        </a:lnTo>
                        <a:lnTo>
                          <a:pt x="226" y="117"/>
                        </a:lnTo>
                        <a:lnTo>
                          <a:pt x="226" y="118"/>
                        </a:lnTo>
                        <a:lnTo>
                          <a:pt x="226" y="119"/>
                        </a:lnTo>
                        <a:lnTo>
                          <a:pt x="225" y="119"/>
                        </a:lnTo>
                        <a:lnTo>
                          <a:pt x="224" y="119"/>
                        </a:lnTo>
                        <a:lnTo>
                          <a:pt x="224" y="119"/>
                        </a:lnTo>
                        <a:lnTo>
                          <a:pt x="224" y="122"/>
                        </a:lnTo>
                        <a:lnTo>
                          <a:pt x="225" y="125"/>
                        </a:lnTo>
                        <a:lnTo>
                          <a:pt x="225" y="126"/>
                        </a:lnTo>
                        <a:lnTo>
                          <a:pt x="226" y="127"/>
                        </a:lnTo>
                        <a:lnTo>
                          <a:pt x="226" y="126"/>
                        </a:lnTo>
                        <a:lnTo>
                          <a:pt x="226" y="126"/>
                        </a:lnTo>
                        <a:lnTo>
                          <a:pt x="225" y="125"/>
                        </a:lnTo>
                        <a:lnTo>
                          <a:pt x="226" y="125"/>
                        </a:lnTo>
                        <a:lnTo>
                          <a:pt x="226" y="125"/>
                        </a:lnTo>
                        <a:lnTo>
                          <a:pt x="226" y="126"/>
                        </a:lnTo>
                        <a:lnTo>
                          <a:pt x="228" y="127"/>
                        </a:lnTo>
                        <a:lnTo>
                          <a:pt x="230" y="127"/>
                        </a:lnTo>
                        <a:lnTo>
                          <a:pt x="231" y="129"/>
                        </a:lnTo>
                        <a:lnTo>
                          <a:pt x="231" y="130"/>
                        </a:lnTo>
                        <a:lnTo>
                          <a:pt x="231" y="130"/>
                        </a:lnTo>
                        <a:lnTo>
                          <a:pt x="232" y="131"/>
                        </a:lnTo>
                        <a:lnTo>
                          <a:pt x="232" y="132"/>
                        </a:lnTo>
                        <a:lnTo>
                          <a:pt x="232" y="133"/>
                        </a:lnTo>
                        <a:lnTo>
                          <a:pt x="231" y="133"/>
                        </a:lnTo>
                        <a:lnTo>
                          <a:pt x="230" y="132"/>
                        </a:lnTo>
                        <a:lnTo>
                          <a:pt x="230" y="132"/>
                        </a:lnTo>
                        <a:lnTo>
                          <a:pt x="230" y="132"/>
                        </a:lnTo>
                        <a:lnTo>
                          <a:pt x="228" y="132"/>
                        </a:lnTo>
                        <a:lnTo>
                          <a:pt x="228" y="133"/>
                        </a:lnTo>
                        <a:lnTo>
                          <a:pt x="228" y="135"/>
                        </a:lnTo>
                        <a:lnTo>
                          <a:pt x="230" y="135"/>
                        </a:lnTo>
                        <a:lnTo>
                          <a:pt x="230" y="135"/>
                        </a:lnTo>
                        <a:lnTo>
                          <a:pt x="231" y="133"/>
                        </a:lnTo>
                        <a:lnTo>
                          <a:pt x="231" y="133"/>
                        </a:lnTo>
                        <a:lnTo>
                          <a:pt x="232" y="135"/>
                        </a:lnTo>
                        <a:lnTo>
                          <a:pt x="232" y="135"/>
                        </a:lnTo>
                        <a:lnTo>
                          <a:pt x="232" y="136"/>
                        </a:lnTo>
                        <a:lnTo>
                          <a:pt x="232" y="137"/>
                        </a:lnTo>
                        <a:lnTo>
                          <a:pt x="232" y="138"/>
                        </a:lnTo>
                        <a:lnTo>
                          <a:pt x="232" y="138"/>
                        </a:lnTo>
                        <a:lnTo>
                          <a:pt x="232" y="138"/>
                        </a:lnTo>
                        <a:close/>
                        <a:moveTo>
                          <a:pt x="325" y="130"/>
                        </a:moveTo>
                        <a:lnTo>
                          <a:pt x="327" y="131"/>
                        </a:lnTo>
                        <a:lnTo>
                          <a:pt x="327" y="132"/>
                        </a:lnTo>
                        <a:lnTo>
                          <a:pt x="328" y="132"/>
                        </a:lnTo>
                        <a:lnTo>
                          <a:pt x="329" y="133"/>
                        </a:lnTo>
                        <a:lnTo>
                          <a:pt x="331" y="135"/>
                        </a:lnTo>
                        <a:lnTo>
                          <a:pt x="329" y="136"/>
                        </a:lnTo>
                        <a:lnTo>
                          <a:pt x="328" y="135"/>
                        </a:lnTo>
                        <a:lnTo>
                          <a:pt x="327" y="135"/>
                        </a:lnTo>
                        <a:lnTo>
                          <a:pt x="326" y="133"/>
                        </a:lnTo>
                        <a:lnTo>
                          <a:pt x="324" y="133"/>
                        </a:lnTo>
                        <a:lnTo>
                          <a:pt x="324" y="132"/>
                        </a:lnTo>
                        <a:lnTo>
                          <a:pt x="325" y="131"/>
                        </a:lnTo>
                        <a:lnTo>
                          <a:pt x="325" y="130"/>
                        </a:lnTo>
                        <a:lnTo>
                          <a:pt x="325" y="130"/>
                        </a:lnTo>
                        <a:close/>
                        <a:moveTo>
                          <a:pt x="272" y="136"/>
                        </a:moveTo>
                        <a:lnTo>
                          <a:pt x="273" y="138"/>
                        </a:lnTo>
                        <a:lnTo>
                          <a:pt x="274" y="138"/>
                        </a:lnTo>
                        <a:lnTo>
                          <a:pt x="274" y="138"/>
                        </a:lnTo>
                        <a:lnTo>
                          <a:pt x="277" y="139"/>
                        </a:lnTo>
                        <a:lnTo>
                          <a:pt x="277" y="139"/>
                        </a:lnTo>
                        <a:lnTo>
                          <a:pt x="277" y="139"/>
                        </a:lnTo>
                        <a:lnTo>
                          <a:pt x="278" y="139"/>
                        </a:lnTo>
                        <a:lnTo>
                          <a:pt x="278" y="138"/>
                        </a:lnTo>
                        <a:lnTo>
                          <a:pt x="279" y="138"/>
                        </a:lnTo>
                        <a:lnTo>
                          <a:pt x="280" y="139"/>
                        </a:lnTo>
                        <a:lnTo>
                          <a:pt x="280" y="140"/>
                        </a:lnTo>
                        <a:lnTo>
                          <a:pt x="280" y="140"/>
                        </a:lnTo>
                        <a:lnTo>
                          <a:pt x="280" y="142"/>
                        </a:lnTo>
                        <a:lnTo>
                          <a:pt x="280" y="143"/>
                        </a:lnTo>
                        <a:lnTo>
                          <a:pt x="280" y="143"/>
                        </a:lnTo>
                        <a:lnTo>
                          <a:pt x="280" y="143"/>
                        </a:lnTo>
                        <a:lnTo>
                          <a:pt x="278" y="142"/>
                        </a:lnTo>
                        <a:lnTo>
                          <a:pt x="277" y="142"/>
                        </a:lnTo>
                        <a:lnTo>
                          <a:pt x="274" y="142"/>
                        </a:lnTo>
                        <a:lnTo>
                          <a:pt x="271" y="143"/>
                        </a:lnTo>
                        <a:lnTo>
                          <a:pt x="268" y="140"/>
                        </a:lnTo>
                        <a:lnTo>
                          <a:pt x="267" y="140"/>
                        </a:lnTo>
                        <a:lnTo>
                          <a:pt x="268" y="140"/>
                        </a:lnTo>
                        <a:lnTo>
                          <a:pt x="268" y="139"/>
                        </a:lnTo>
                        <a:lnTo>
                          <a:pt x="268" y="139"/>
                        </a:lnTo>
                        <a:lnTo>
                          <a:pt x="268" y="138"/>
                        </a:lnTo>
                        <a:lnTo>
                          <a:pt x="268" y="138"/>
                        </a:lnTo>
                        <a:lnTo>
                          <a:pt x="270" y="137"/>
                        </a:lnTo>
                        <a:lnTo>
                          <a:pt x="272" y="136"/>
                        </a:lnTo>
                        <a:lnTo>
                          <a:pt x="272" y="136"/>
                        </a:lnTo>
                        <a:close/>
                        <a:moveTo>
                          <a:pt x="280" y="138"/>
                        </a:moveTo>
                        <a:lnTo>
                          <a:pt x="281" y="138"/>
                        </a:lnTo>
                        <a:lnTo>
                          <a:pt x="282" y="138"/>
                        </a:lnTo>
                        <a:lnTo>
                          <a:pt x="282" y="138"/>
                        </a:lnTo>
                        <a:lnTo>
                          <a:pt x="284" y="139"/>
                        </a:lnTo>
                        <a:lnTo>
                          <a:pt x="284" y="139"/>
                        </a:lnTo>
                        <a:lnTo>
                          <a:pt x="284" y="140"/>
                        </a:lnTo>
                        <a:lnTo>
                          <a:pt x="282" y="142"/>
                        </a:lnTo>
                        <a:lnTo>
                          <a:pt x="282" y="143"/>
                        </a:lnTo>
                        <a:lnTo>
                          <a:pt x="282" y="144"/>
                        </a:lnTo>
                        <a:lnTo>
                          <a:pt x="282" y="144"/>
                        </a:lnTo>
                        <a:lnTo>
                          <a:pt x="281" y="143"/>
                        </a:lnTo>
                        <a:lnTo>
                          <a:pt x="280" y="140"/>
                        </a:lnTo>
                        <a:lnTo>
                          <a:pt x="280" y="139"/>
                        </a:lnTo>
                        <a:lnTo>
                          <a:pt x="280" y="138"/>
                        </a:lnTo>
                        <a:lnTo>
                          <a:pt x="280" y="138"/>
                        </a:lnTo>
                        <a:lnTo>
                          <a:pt x="280" y="138"/>
                        </a:lnTo>
                        <a:lnTo>
                          <a:pt x="280" y="138"/>
                        </a:lnTo>
                        <a:close/>
                        <a:moveTo>
                          <a:pt x="287" y="135"/>
                        </a:moveTo>
                        <a:lnTo>
                          <a:pt x="288" y="136"/>
                        </a:lnTo>
                        <a:lnTo>
                          <a:pt x="288" y="136"/>
                        </a:lnTo>
                        <a:lnTo>
                          <a:pt x="290" y="137"/>
                        </a:lnTo>
                        <a:lnTo>
                          <a:pt x="290" y="137"/>
                        </a:lnTo>
                        <a:lnTo>
                          <a:pt x="290" y="137"/>
                        </a:lnTo>
                        <a:lnTo>
                          <a:pt x="288" y="138"/>
                        </a:lnTo>
                        <a:lnTo>
                          <a:pt x="286" y="138"/>
                        </a:lnTo>
                        <a:lnTo>
                          <a:pt x="285" y="138"/>
                        </a:lnTo>
                        <a:lnTo>
                          <a:pt x="285" y="138"/>
                        </a:lnTo>
                        <a:lnTo>
                          <a:pt x="284" y="138"/>
                        </a:lnTo>
                        <a:lnTo>
                          <a:pt x="285" y="137"/>
                        </a:lnTo>
                        <a:lnTo>
                          <a:pt x="285" y="137"/>
                        </a:lnTo>
                        <a:lnTo>
                          <a:pt x="286" y="137"/>
                        </a:lnTo>
                        <a:lnTo>
                          <a:pt x="286" y="136"/>
                        </a:lnTo>
                        <a:lnTo>
                          <a:pt x="287" y="136"/>
                        </a:lnTo>
                        <a:lnTo>
                          <a:pt x="287" y="135"/>
                        </a:lnTo>
                        <a:lnTo>
                          <a:pt x="287" y="135"/>
                        </a:lnTo>
                        <a:close/>
                        <a:moveTo>
                          <a:pt x="288" y="116"/>
                        </a:moveTo>
                        <a:lnTo>
                          <a:pt x="290" y="116"/>
                        </a:lnTo>
                        <a:lnTo>
                          <a:pt x="290" y="117"/>
                        </a:lnTo>
                        <a:lnTo>
                          <a:pt x="290" y="118"/>
                        </a:lnTo>
                        <a:lnTo>
                          <a:pt x="291" y="122"/>
                        </a:lnTo>
                        <a:lnTo>
                          <a:pt x="292" y="123"/>
                        </a:lnTo>
                        <a:lnTo>
                          <a:pt x="291" y="125"/>
                        </a:lnTo>
                        <a:lnTo>
                          <a:pt x="290" y="125"/>
                        </a:lnTo>
                        <a:lnTo>
                          <a:pt x="287" y="124"/>
                        </a:lnTo>
                        <a:lnTo>
                          <a:pt x="286" y="124"/>
                        </a:lnTo>
                        <a:lnTo>
                          <a:pt x="285" y="125"/>
                        </a:lnTo>
                        <a:lnTo>
                          <a:pt x="285" y="126"/>
                        </a:lnTo>
                        <a:lnTo>
                          <a:pt x="284" y="127"/>
                        </a:lnTo>
                        <a:lnTo>
                          <a:pt x="286" y="129"/>
                        </a:lnTo>
                        <a:lnTo>
                          <a:pt x="287" y="129"/>
                        </a:lnTo>
                        <a:lnTo>
                          <a:pt x="287" y="130"/>
                        </a:lnTo>
                        <a:lnTo>
                          <a:pt x="290" y="131"/>
                        </a:lnTo>
                        <a:lnTo>
                          <a:pt x="288" y="131"/>
                        </a:lnTo>
                        <a:lnTo>
                          <a:pt x="287" y="131"/>
                        </a:lnTo>
                        <a:lnTo>
                          <a:pt x="286" y="132"/>
                        </a:lnTo>
                        <a:lnTo>
                          <a:pt x="285" y="132"/>
                        </a:lnTo>
                        <a:lnTo>
                          <a:pt x="284" y="132"/>
                        </a:lnTo>
                        <a:lnTo>
                          <a:pt x="284" y="132"/>
                        </a:lnTo>
                        <a:lnTo>
                          <a:pt x="284" y="133"/>
                        </a:lnTo>
                        <a:lnTo>
                          <a:pt x="284" y="135"/>
                        </a:lnTo>
                        <a:lnTo>
                          <a:pt x="284" y="135"/>
                        </a:lnTo>
                        <a:lnTo>
                          <a:pt x="284" y="136"/>
                        </a:lnTo>
                        <a:lnTo>
                          <a:pt x="282" y="137"/>
                        </a:lnTo>
                        <a:lnTo>
                          <a:pt x="281" y="137"/>
                        </a:lnTo>
                        <a:lnTo>
                          <a:pt x="281" y="136"/>
                        </a:lnTo>
                        <a:lnTo>
                          <a:pt x="280" y="136"/>
                        </a:lnTo>
                        <a:lnTo>
                          <a:pt x="280" y="135"/>
                        </a:lnTo>
                        <a:lnTo>
                          <a:pt x="280" y="135"/>
                        </a:lnTo>
                        <a:lnTo>
                          <a:pt x="279" y="133"/>
                        </a:lnTo>
                        <a:lnTo>
                          <a:pt x="279" y="133"/>
                        </a:lnTo>
                        <a:lnTo>
                          <a:pt x="278" y="132"/>
                        </a:lnTo>
                        <a:lnTo>
                          <a:pt x="277" y="132"/>
                        </a:lnTo>
                        <a:lnTo>
                          <a:pt x="274" y="132"/>
                        </a:lnTo>
                        <a:lnTo>
                          <a:pt x="272" y="132"/>
                        </a:lnTo>
                        <a:lnTo>
                          <a:pt x="272" y="132"/>
                        </a:lnTo>
                        <a:lnTo>
                          <a:pt x="271" y="132"/>
                        </a:lnTo>
                        <a:lnTo>
                          <a:pt x="271" y="131"/>
                        </a:lnTo>
                        <a:lnTo>
                          <a:pt x="271" y="131"/>
                        </a:lnTo>
                        <a:lnTo>
                          <a:pt x="270" y="130"/>
                        </a:lnTo>
                        <a:lnTo>
                          <a:pt x="270" y="130"/>
                        </a:lnTo>
                        <a:lnTo>
                          <a:pt x="268" y="130"/>
                        </a:lnTo>
                        <a:lnTo>
                          <a:pt x="268" y="130"/>
                        </a:lnTo>
                        <a:lnTo>
                          <a:pt x="268" y="129"/>
                        </a:lnTo>
                        <a:lnTo>
                          <a:pt x="268" y="127"/>
                        </a:lnTo>
                        <a:lnTo>
                          <a:pt x="268" y="126"/>
                        </a:lnTo>
                        <a:lnTo>
                          <a:pt x="268" y="126"/>
                        </a:lnTo>
                        <a:lnTo>
                          <a:pt x="268" y="125"/>
                        </a:lnTo>
                        <a:lnTo>
                          <a:pt x="268" y="124"/>
                        </a:lnTo>
                        <a:lnTo>
                          <a:pt x="267" y="124"/>
                        </a:lnTo>
                        <a:lnTo>
                          <a:pt x="267" y="123"/>
                        </a:lnTo>
                        <a:lnTo>
                          <a:pt x="267" y="123"/>
                        </a:lnTo>
                        <a:lnTo>
                          <a:pt x="267" y="123"/>
                        </a:lnTo>
                        <a:lnTo>
                          <a:pt x="266" y="123"/>
                        </a:lnTo>
                        <a:lnTo>
                          <a:pt x="266" y="122"/>
                        </a:lnTo>
                        <a:lnTo>
                          <a:pt x="267" y="122"/>
                        </a:lnTo>
                        <a:lnTo>
                          <a:pt x="268" y="122"/>
                        </a:lnTo>
                        <a:lnTo>
                          <a:pt x="270" y="122"/>
                        </a:lnTo>
                        <a:lnTo>
                          <a:pt x="271" y="122"/>
                        </a:lnTo>
                        <a:lnTo>
                          <a:pt x="271" y="122"/>
                        </a:lnTo>
                        <a:lnTo>
                          <a:pt x="271" y="120"/>
                        </a:lnTo>
                        <a:lnTo>
                          <a:pt x="272" y="120"/>
                        </a:lnTo>
                        <a:lnTo>
                          <a:pt x="272" y="120"/>
                        </a:lnTo>
                        <a:lnTo>
                          <a:pt x="273" y="120"/>
                        </a:lnTo>
                        <a:lnTo>
                          <a:pt x="273" y="119"/>
                        </a:lnTo>
                        <a:lnTo>
                          <a:pt x="273" y="119"/>
                        </a:lnTo>
                        <a:lnTo>
                          <a:pt x="272" y="118"/>
                        </a:lnTo>
                        <a:lnTo>
                          <a:pt x="272" y="118"/>
                        </a:lnTo>
                        <a:lnTo>
                          <a:pt x="273" y="117"/>
                        </a:lnTo>
                        <a:lnTo>
                          <a:pt x="274" y="118"/>
                        </a:lnTo>
                        <a:lnTo>
                          <a:pt x="277" y="118"/>
                        </a:lnTo>
                        <a:lnTo>
                          <a:pt x="278" y="118"/>
                        </a:lnTo>
                        <a:lnTo>
                          <a:pt x="279" y="118"/>
                        </a:lnTo>
                        <a:lnTo>
                          <a:pt x="278" y="118"/>
                        </a:lnTo>
                        <a:lnTo>
                          <a:pt x="278" y="119"/>
                        </a:lnTo>
                        <a:lnTo>
                          <a:pt x="277" y="119"/>
                        </a:lnTo>
                        <a:lnTo>
                          <a:pt x="277" y="120"/>
                        </a:lnTo>
                        <a:lnTo>
                          <a:pt x="277" y="120"/>
                        </a:lnTo>
                        <a:lnTo>
                          <a:pt x="278" y="122"/>
                        </a:lnTo>
                        <a:lnTo>
                          <a:pt x="279" y="122"/>
                        </a:lnTo>
                        <a:lnTo>
                          <a:pt x="279" y="122"/>
                        </a:lnTo>
                        <a:lnTo>
                          <a:pt x="279" y="122"/>
                        </a:lnTo>
                        <a:lnTo>
                          <a:pt x="279" y="122"/>
                        </a:lnTo>
                        <a:lnTo>
                          <a:pt x="280" y="120"/>
                        </a:lnTo>
                        <a:lnTo>
                          <a:pt x="280" y="119"/>
                        </a:lnTo>
                        <a:lnTo>
                          <a:pt x="280" y="119"/>
                        </a:lnTo>
                        <a:lnTo>
                          <a:pt x="280" y="118"/>
                        </a:lnTo>
                        <a:lnTo>
                          <a:pt x="281" y="119"/>
                        </a:lnTo>
                        <a:lnTo>
                          <a:pt x="281" y="119"/>
                        </a:lnTo>
                        <a:lnTo>
                          <a:pt x="281" y="120"/>
                        </a:lnTo>
                        <a:lnTo>
                          <a:pt x="281" y="122"/>
                        </a:lnTo>
                        <a:lnTo>
                          <a:pt x="281" y="123"/>
                        </a:lnTo>
                        <a:lnTo>
                          <a:pt x="281" y="123"/>
                        </a:lnTo>
                        <a:lnTo>
                          <a:pt x="281" y="123"/>
                        </a:lnTo>
                        <a:lnTo>
                          <a:pt x="282" y="123"/>
                        </a:lnTo>
                        <a:lnTo>
                          <a:pt x="282" y="122"/>
                        </a:lnTo>
                        <a:lnTo>
                          <a:pt x="282" y="119"/>
                        </a:lnTo>
                        <a:lnTo>
                          <a:pt x="281" y="118"/>
                        </a:lnTo>
                        <a:lnTo>
                          <a:pt x="279" y="118"/>
                        </a:lnTo>
                        <a:lnTo>
                          <a:pt x="280" y="117"/>
                        </a:lnTo>
                        <a:lnTo>
                          <a:pt x="282" y="116"/>
                        </a:lnTo>
                        <a:lnTo>
                          <a:pt x="284" y="116"/>
                        </a:lnTo>
                        <a:lnTo>
                          <a:pt x="286" y="116"/>
                        </a:lnTo>
                        <a:lnTo>
                          <a:pt x="288" y="116"/>
                        </a:lnTo>
                        <a:lnTo>
                          <a:pt x="288" y="116"/>
                        </a:lnTo>
                        <a:close/>
                        <a:moveTo>
                          <a:pt x="267" y="133"/>
                        </a:moveTo>
                        <a:lnTo>
                          <a:pt x="266" y="136"/>
                        </a:lnTo>
                        <a:lnTo>
                          <a:pt x="265" y="138"/>
                        </a:lnTo>
                        <a:lnTo>
                          <a:pt x="264" y="139"/>
                        </a:lnTo>
                        <a:lnTo>
                          <a:pt x="262" y="140"/>
                        </a:lnTo>
                        <a:lnTo>
                          <a:pt x="262" y="142"/>
                        </a:lnTo>
                        <a:lnTo>
                          <a:pt x="261" y="140"/>
                        </a:lnTo>
                        <a:lnTo>
                          <a:pt x="261" y="139"/>
                        </a:lnTo>
                        <a:lnTo>
                          <a:pt x="261" y="139"/>
                        </a:lnTo>
                        <a:lnTo>
                          <a:pt x="261" y="138"/>
                        </a:lnTo>
                        <a:lnTo>
                          <a:pt x="262" y="137"/>
                        </a:lnTo>
                        <a:lnTo>
                          <a:pt x="265" y="137"/>
                        </a:lnTo>
                        <a:lnTo>
                          <a:pt x="265" y="136"/>
                        </a:lnTo>
                        <a:lnTo>
                          <a:pt x="266" y="133"/>
                        </a:lnTo>
                        <a:lnTo>
                          <a:pt x="267" y="133"/>
                        </a:lnTo>
                        <a:lnTo>
                          <a:pt x="267" y="133"/>
                        </a:lnTo>
                        <a:lnTo>
                          <a:pt x="267" y="133"/>
                        </a:lnTo>
                        <a:close/>
                        <a:moveTo>
                          <a:pt x="261" y="125"/>
                        </a:moveTo>
                        <a:lnTo>
                          <a:pt x="261" y="126"/>
                        </a:lnTo>
                        <a:lnTo>
                          <a:pt x="262" y="127"/>
                        </a:lnTo>
                        <a:lnTo>
                          <a:pt x="262" y="129"/>
                        </a:lnTo>
                        <a:lnTo>
                          <a:pt x="264" y="130"/>
                        </a:lnTo>
                        <a:lnTo>
                          <a:pt x="265" y="131"/>
                        </a:lnTo>
                        <a:lnTo>
                          <a:pt x="265" y="132"/>
                        </a:lnTo>
                        <a:lnTo>
                          <a:pt x="264" y="133"/>
                        </a:lnTo>
                        <a:lnTo>
                          <a:pt x="261" y="135"/>
                        </a:lnTo>
                        <a:lnTo>
                          <a:pt x="259" y="135"/>
                        </a:lnTo>
                        <a:lnTo>
                          <a:pt x="258" y="135"/>
                        </a:lnTo>
                        <a:lnTo>
                          <a:pt x="255" y="135"/>
                        </a:lnTo>
                        <a:lnTo>
                          <a:pt x="255" y="135"/>
                        </a:lnTo>
                        <a:lnTo>
                          <a:pt x="254" y="135"/>
                        </a:lnTo>
                        <a:lnTo>
                          <a:pt x="254" y="135"/>
                        </a:lnTo>
                        <a:lnTo>
                          <a:pt x="254" y="133"/>
                        </a:lnTo>
                        <a:lnTo>
                          <a:pt x="254" y="132"/>
                        </a:lnTo>
                        <a:lnTo>
                          <a:pt x="254" y="132"/>
                        </a:lnTo>
                        <a:lnTo>
                          <a:pt x="253" y="132"/>
                        </a:lnTo>
                        <a:lnTo>
                          <a:pt x="253" y="133"/>
                        </a:lnTo>
                        <a:lnTo>
                          <a:pt x="252" y="133"/>
                        </a:lnTo>
                        <a:lnTo>
                          <a:pt x="252" y="133"/>
                        </a:lnTo>
                        <a:lnTo>
                          <a:pt x="252" y="132"/>
                        </a:lnTo>
                        <a:lnTo>
                          <a:pt x="251" y="131"/>
                        </a:lnTo>
                        <a:lnTo>
                          <a:pt x="251" y="130"/>
                        </a:lnTo>
                        <a:lnTo>
                          <a:pt x="250" y="130"/>
                        </a:lnTo>
                        <a:lnTo>
                          <a:pt x="248" y="130"/>
                        </a:lnTo>
                        <a:lnTo>
                          <a:pt x="248" y="129"/>
                        </a:lnTo>
                        <a:lnTo>
                          <a:pt x="248" y="129"/>
                        </a:lnTo>
                        <a:lnTo>
                          <a:pt x="248" y="129"/>
                        </a:lnTo>
                        <a:lnTo>
                          <a:pt x="248" y="127"/>
                        </a:lnTo>
                        <a:lnTo>
                          <a:pt x="247" y="127"/>
                        </a:lnTo>
                        <a:lnTo>
                          <a:pt x="247" y="127"/>
                        </a:lnTo>
                        <a:lnTo>
                          <a:pt x="247" y="126"/>
                        </a:lnTo>
                        <a:lnTo>
                          <a:pt x="248" y="126"/>
                        </a:lnTo>
                        <a:lnTo>
                          <a:pt x="248" y="126"/>
                        </a:lnTo>
                        <a:lnTo>
                          <a:pt x="250" y="126"/>
                        </a:lnTo>
                        <a:lnTo>
                          <a:pt x="252" y="126"/>
                        </a:lnTo>
                        <a:lnTo>
                          <a:pt x="254" y="125"/>
                        </a:lnTo>
                        <a:lnTo>
                          <a:pt x="255" y="124"/>
                        </a:lnTo>
                        <a:lnTo>
                          <a:pt x="257" y="124"/>
                        </a:lnTo>
                        <a:lnTo>
                          <a:pt x="259" y="125"/>
                        </a:lnTo>
                        <a:lnTo>
                          <a:pt x="259" y="126"/>
                        </a:lnTo>
                        <a:lnTo>
                          <a:pt x="259" y="127"/>
                        </a:lnTo>
                        <a:lnTo>
                          <a:pt x="259" y="127"/>
                        </a:lnTo>
                        <a:lnTo>
                          <a:pt x="259" y="127"/>
                        </a:lnTo>
                        <a:lnTo>
                          <a:pt x="259" y="127"/>
                        </a:lnTo>
                        <a:lnTo>
                          <a:pt x="260" y="127"/>
                        </a:lnTo>
                        <a:lnTo>
                          <a:pt x="260" y="127"/>
                        </a:lnTo>
                        <a:lnTo>
                          <a:pt x="261" y="127"/>
                        </a:lnTo>
                        <a:lnTo>
                          <a:pt x="261" y="126"/>
                        </a:lnTo>
                        <a:lnTo>
                          <a:pt x="261" y="125"/>
                        </a:lnTo>
                        <a:lnTo>
                          <a:pt x="261" y="125"/>
                        </a:lnTo>
                        <a:lnTo>
                          <a:pt x="261" y="125"/>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92" name="Freeform 292">
                    <a:extLst>
                      <a:ext uri="{FF2B5EF4-FFF2-40B4-BE49-F238E27FC236}">
                        <a16:creationId xmlns:a16="http://schemas.microsoft.com/office/drawing/2014/main" id="{B5E1F92C-E642-6643-99FB-1C1EC70F5C4F}"/>
                      </a:ext>
                    </a:extLst>
                  </p:cNvPr>
                  <p:cNvSpPr>
                    <a:spLocks/>
                  </p:cNvSpPr>
                  <p:nvPr/>
                </p:nvSpPr>
                <p:spPr bwMode="auto">
                  <a:xfrm>
                    <a:off x="4870910" y="2305030"/>
                    <a:ext cx="11254" cy="32156"/>
                  </a:xfrm>
                  <a:custGeom>
                    <a:avLst/>
                    <a:gdLst>
                      <a:gd name="T0" fmla="*/ 3 w 7"/>
                      <a:gd name="T1" fmla="*/ 0 h 20"/>
                      <a:gd name="T2" fmla="*/ 4 w 7"/>
                      <a:gd name="T3" fmla="*/ 1 h 20"/>
                      <a:gd name="T4" fmla="*/ 4 w 7"/>
                      <a:gd name="T5" fmla="*/ 1 h 20"/>
                      <a:gd name="T6" fmla="*/ 5 w 7"/>
                      <a:gd name="T7" fmla="*/ 4 h 20"/>
                      <a:gd name="T8" fmla="*/ 5 w 7"/>
                      <a:gd name="T9" fmla="*/ 7 h 20"/>
                      <a:gd name="T10" fmla="*/ 6 w 7"/>
                      <a:gd name="T11" fmla="*/ 8 h 20"/>
                      <a:gd name="T12" fmla="*/ 6 w 7"/>
                      <a:gd name="T13" fmla="*/ 6 h 20"/>
                      <a:gd name="T14" fmla="*/ 6 w 7"/>
                      <a:gd name="T15" fmla="*/ 4 h 20"/>
                      <a:gd name="T16" fmla="*/ 6 w 7"/>
                      <a:gd name="T17" fmla="*/ 3 h 20"/>
                      <a:gd name="T18" fmla="*/ 7 w 7"/>
                      <a:gd name="T19" fmla="*/ 4 h 20"/>
                      <a:gd name="T20" fmla="*/ 7 w 7"/>
                      <a:gd name="T21" fmla="*/ 6 h 20"/>
                      <a:gd name="T22" fmla="*/ 7 w 7"/>
                      <a:gd name="T23" fmla="*/ 9 h 20"/>
                      <a:gd name="T24" fmla="*/ 7 w 7"/>
                      <a:gd name="T25" fmla="*/ 12 h 20"/>
                      <a:gd name="T26" fmla="*/ 7 w 7"/>
                      <a:gd name="T27" fmla="*/ 14 h 20"/>
                      <a:gd name="T28" fmla="*/ 7 w 7"/>
                      <a:gd name="T29" fmla="*/ 17 h 20"/>
                      <a:gd name="T30" fmla="*/ 7 w 7"/>
                      <a:gd name="T31" fmla="*/ 20 h 20"/>
                      <a:gd name="T32" fmla="*/ 7 w 7"/>
                      <a:gd name="T33" fmla="*/ 20 h 20"/>
                      <a:gd name="T34" fmla="*/ 6 w 7"/>
                      <a:gd name="T35" fmla="*/ 15 h 20"/>
                      <a:gd name="T36" fmla="*/ 5 w 7"/>
                      <a:gd name="T37" fmla="*/ 16 h 20"/>
                      <a:gd name="T38" fmla="*/ 4 w 7"/>
                      <a:gd name="T39" fmla="*/ 16 h 20"/>
                      <a:gd name="T40" fmla="*/ 3 w 7"/>
                      <a:gd name="T41" fmla="*/ 17 h 20"/>
                      <a:gd name="T42" fmla="*/ 0 w 7"/>
                      <a:gd name="T43" fmla="*/ 13 h 20"/>
                      <a:gd name="T44" fmla="*/ 0 w 7"/>
                      <a:gd name="T45" fmla="*/ 10 h 20"/>
                      <a:gd name="T46" fmla="*/ 0 w 7"/>
                      <a:gd name="T47" fmla="*/ 9 h 20"/>
                      <a:gd name="T48" fmla="*/ 0 w 7"/>
                      <a:gd name="T49" fmla="*/ 7 h 20"/>
                      <a:gd name="T50" fmla="*/ 0 w 7"/>
                      <a:gd name="T51" fmla="*/ 6 h 20"/>
                      <a:gd name="T52" fmla="*/ 0 w 7"/>
                      <a:gd name="T53" fmla="*/ 4 h 20"/>
                      <a:gd name="T54" fmla="*/ 0 w 7"/>
                      <a:gd name="T55" fmla="*/ 1 h 20"/>
                      <a:gd name="T56" fmla="*/ 2 w 7"/>
                      <a:gd name="T57" fmla="*/ 0 h 20"/>
                      <a:gd name="T58" fmla="*/ 3 w 7"/>
                      <a:gd name="T59" fmla="*/ 0 h 20"/>
                      <a:gd name="T60" fmla="*/ 3 w 7"/>
                      <a:gd name="T61"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 h="20">
                        <a:moveTo>
                          <a:pt x="3" y="0"/>
                        </a:moveTo>
                        <a:lnTo>
                          <a:pt x="4" y="1"/>
                        </a:lnTo>
                        <a:lnTo>
                          <a:pt x="4" y="1"/>
                        </a:lnTo>
                        <a:lnTo>
                          <a:pt x="5" y="4"/>
                        </a:lnTo>
                        <a:lnTo>
                          <a:pt x="5" y="7"/>
                        </a:lnTo>
                        <a:lnTo>
                          <a:pt x="6" y="8"/>
                        </a:lnTo>
                        <a:lnTo>
                          <a:pt x="6" y="6"/>
                        </a:lnTo>
                        <a:lnTo>
                          <a:pt x="6" y="4"/>
                        </a:lnTo>
                        <a:lnTo>
                          <a:pt x="6" y="3"/>
                        </a:lnTo>
                        <a:lnTo>
                          <a:pt x="7" y="4"/>
                        </a:lnTo>
                        <a:lnTo>
                          <a:pt x="7" y="6"/>
                        </a:lnTo>
                        <a:lnTo>
                          <a:pt x="7" y="9"/>
                        </a:lnTo>
                        <a:lnTo>
                          <a:pt x="7" y="12"/>
                        </a:lnTo>
                        <a:lnTo>
                          <a:pt x="7" y="14"/>
                        </a:lnTo>
                        <a:lnTo>
                          <a:pt x="7" y="17"/>
                        </a:lnTo>
                        <a:lnTo>
                          <a:pt x="7" y="20"/>
                        </a:lnTo>
                        <a:lnTo>
                          <a:pt x="7" y="20"/>
                        </a:lnTo>
                        <a:lnTo>
                          <a:pt x="6" y="15"/>
                        </a:lnTo>
                        <a:lnTo>
                          <a:pt x="5" y="16"/>
                        </a:lnTo>
                        <a:lnTo>
                          <a:pt x="4" y="16"/>
                        </a:lnTo>
                        <a:lnTo>
                          <a:pt x="3" y="17"/>
                        </a:lnTo>
                        <a:lnTo>
                          <a:pt x="0" y="13"/>
                        </a:lnTo>
                        <a:lnTo>
                          <a:pt x="0" y="10"/>
                        </a:lnTo>
                        <a:lnTo>
                          <a:pt x="0" y="9"/>
                        </a:lnTo>
                        <a:lnTo>
                          <a:pt x="0" y="7"/>
                        </a:lnTo>
                        <a:lnTo>
                          <a:pt x="0" y="6"/>
                        </a:lnTo>
                        <a:lnTo>
                          <a:pt x="0" y="4"/>
                        </a:lnTo>
                        <a:lnTo>
                          <a:pt x="0" y="1"/>
                        </a:lnTo>
                        <a:lnTo>
                          <a:pt x="2" y="0"/>
                        </a:lnTo>
                        <a:lnTo>
                          <a:pt x="3" y="0"/>
                        </a:lnTo>
                        <a:lnTo>
                          <a:pt x="3" y="0"/>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grpSp>
            <p:sp>
              <p:nvSpPr>
                <p:cNvPr id="407" name="Czech Republic">
                  <a:extLst>
                    <a:ext uri="{FF2B5EF4-FFF2-40B4-BE49-F238E27FC236}">
                      <a16:creationId xmlns:a16="http://schemas.microsoft.com/office/drawing/2014/main" id="{1D589683-53D6-CF48-B965-5B2895391D60}"/>
                    </a:ext>
                  </a:extLst>
                </p:cNvPr>
                <p:cNvSpPr>
                  <a:spLocks/>
                </p:cNvSpPr>
                <p:nvPr/>
              </p:nvSpPr>
              <p:spPr bwMode="auto">
                <a:xfrm>
                  <a:off x="6639340" y="2462975"/>
                  <a:ext cx="156000" cy="72897"/>
                </a:xfrm>
                <a:custGeom>
                  <a:avLst/>
                  <a:gdLst>
                    <a:gd name="T0" fmla="*/ 83 w 107"/>
                    <a:gd name="T1" fmla="*/ 45 h 50"/>
                    <a:gd name="T2" fmla="*/ 98 w 107"/>
                    <a:gd name="T3" fmla="*/ 37 h 50"/>
                    <a:gd name="T4" fmla="*/ 103 w 107"/>
                    <a:gd name="T5" fmla="*/ 26 h 50"/>
                    <a:gd name="T6" fmla="*/ 101 w 107"/>
                    <a:gd name="T7" fmla="*/ 24 h 50"/>
                    <a:gd name="T8" fmla="*/ 95 w 107"/>
                    <a:gd name="T9" fmla="*/ 21 h 50"/>
                    <a:gd name="T10" fmla="*/ 93 w 107"/>
                    <a:gd name="T11" fmla="*/ 23 h 50"/>
                    <a:gd name="T12" fmla="*/ 88 w 107"/>
                    <a:gd name="T13" fmla="*/ 20 h 50"/>
                    <a:gd name="T14" fmla="*/ 89 w 107"/>
                    <a:gd name="T15" fmla="*/ 17 h 50"/>
                    <a:gd name="T16" fmla="*/ 87 w 107"/>
                    <a:gd name="T17" fmla="*/ 17 h 50"/>
                    <a:gd name="T18" fmla="*/ 82 w 107"/>
                    <a:gd name="T19" fmla="*/ 16 h 50"/>
                    <a:gd name="T20" fmla="*/ 75 w 107"/>
                    <a:gd name="T21" fmla="*/ 14 h 50"/>
                    <a:gd name="T22" fmla="*/ 76 w 107"/>
                    <a:gd name="T23" fmla="*/ 17 h 50"/>
                    <a:gd name="T24" fmla="*/ 74 w 107"/>
                    <a:gd name="T25" fmla="*/ 20 h 50"/>
                    <a:gd name="T26" fmla="*/ 68 w 107"/>
                    <a:gd name="T27" fmla="*/ 16 h 50"/>
                    <a:gd name="T28" fmla="*/ 64 w 107"/>
                    <a:gd name="T29" fmla="*/ 13 h 50"/>
                    <a:gd name="T30" fmla="*/ 67 w 107"/>
                    <a:gd name="T31" fmla="*/ 11 h 50"/>
                    <a:gd name="T32" fmla="*/ 64 w 107"/>
                    <a:gd name="T33" fmla="*/ 9 h 50"/>
                    <a:gd name="T34" fmla="*/ 61 w 107"/>
                    <a:gd name="T35" fmla="*/ 10 h 50"/>
                    <a:gd name="T36" fmla="*/ 56 w 107"/>
                    <a:gd name="T37" fmla="*/ 7 h 50"/>
                    <a:gd name="T38" fmla="*/ 50 w 107"/>
                    <a:gd name="T39" fmla="*/ 6 h 50"/>
                    <a:gd name="T40" fmla="*/ 49 w 107"/>
                    <a:gd name="T41" fmla="*/ 3 h 50"/>
                    <a:gd name="T42" fmla="*/ 44 w 107"/>
                    <a:gd name="T43" fmla="*/ 1 h 50"/>
                    <a:gd name="T44" fmla="*/ 42 w 107"/>
                    <a:gd name="T45" fmla="*/ 5 h 50"/>
                    <a:gd name="T46" fmla="*/ 38 w 107"/>
                    <a:gd name="T47" fmla="*/ 3 h 50"/>
                    <a:gd name="T48" fmla="*/ 36 w 107"/>
                    <a:gd name="T49" fmla="*/ 1 h 50"/>
                    <a:gd name="T50" fmla="*/ 34 w 107"/>
                    <a:gd name="T51" fmla="*/ 3 h 50"/>
                    <a:gd name="T52" fmla="*/ 30 w 107"/>
                    <a:gd name="T53" fmla="*/ 5 h 50"/>
                    <a:gd name="T54" fmla="*/ 28 w 107"/>
                    <a:gd name="T55" fmla="*/ 7 h 50"/>
                    <a:gd name="T56" fmla="*/ 22 w 107"/>
                    <a:gd name="T57" fmla="*/ 9 h 50"/>
                    <a:gd name="T58" fmla="*/ 20 w 107"/>
                    <a:gd name="T59" fmla="*/ 10 h 50"/>
                    <a:gd name="T60" fmla="*/ 16 w 107"/>
                    <a:gd name="T61" fmla="*/ 12 h 50"/>
                    <a:gd name="T62" fmla="*/ 11 w 107"/>
                    <a:gd name="T63" fmla="*/ 13 h 50"/>
                    <a:gd name="T64" fmla="*/ 6 w 107"/>
                    <a:gd name="T65" fmla="*/ 14 h 50"/>
                    <a:gd name="T66" fmla="*/ 3 w 107"/>
                    <a:gd name="T67" fmla="*/ 17 h 50"/>
                    <a:gd name="T68" fmla="*/ 1 w 107"/>
                    <a:gd name="T69" fmla="*/ 16 h 50"/>
                    <a:gd name="T70" fmla="*/ 1 w 107"/>
                    <a:gd name="T71" fmla="*/ 17 h 50"/>
                    <a:gd name="T72" fmla="*/ 3 w 107"/>
                    <a:gd name="T73" fmla="*/ 20 h 50"/>
                    <a:gd name="T74" fmla="*/ 7 w 107"/>
                    <a:gd name="T75" fmla="*/ 23 h 50"/>
                    <a:gd name="T76" fmla="*/ 6 w 107"/>
                    <a:gd name="T77" fmla="*/ 26 h 50"/>
                    <a:gd name="T78" fmla="*/ 9 w 107"/>
                    <a:gd name="T79" fmla="*/ 30 h 50"/>
                    <a:gd name="T80" fmla="*/ 13 w 107"/>
                    <a:gd name="T81" fmla="*/ 33 h 50"/>
                    <a:gd name="T82" fmla="*/ 16 w 107"/>
                    <a:gd name="T83" fmla="*/ 36 h 50"/>
                    <a:gd name="T84" fmla="*/ 21 w 107"/>
                    <a:gd name="T85" fmla="*/ 40 h 50"/>
                    <a:gd name="T86" fmla="*/ 27 w 107"/>
                    <a:gd name="T87" fmla="*/ 44 h 50"/>
                    <a:gd name="T88" fmla="*/ 29 w 107"/>
                    <a:gd name="T89" fmla="*/ 47 h 50"/>
                    <a:gd name="T90" fmla="*/ 35 w 107"/>
                    <a:gd name="T91" fmla="*/ 50 h 50"/>
                    <a:gd name="T92" fmla="*/ 42 w 107"/>
                    <a:gd name="T93" fmla="*/ 50 h 50"/>
                    <a:gd name="T94" fmla="*/ 46 w 107"/>
                    <a:gd name="T95" fmla="*/ 47 h 50"/>
                    <a:gd name="T96" fmla="*/ 47 w 107"/>
                    <a:gd name="T97" fmla="*/ 43 h 50"/>
                    <a:gd name="T98" fmla="*/ 53 w 107"/>
                    <a:gd name="T99" fmla="*/ 43 h 50"/>
                    <a:gd name="T100" fmla="*/ 57 w 107"/>
                    <a:gd name="T101" fmla="*/ 44 h 50"/>
                    <a:gd name="T102" fmla="*/ 62 w 107"/>
                    <a:gd name="T103" fmla="*/ 45 h 50"/>
                    <a:gd name="T104" fmla="*/ 70 w 107"/>
                    <a:gd name="T105" fmla="*/ 47 h 50"/>
                    <a:gd name="T106" fmla="*/ 75 w 107"/>
                    <a:gd name="T107" fmla="*/ 47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07" h="50">
                      <a:moveTo>
                        <a:pt x="77" y="46"/>
                      </a:moveTo>
                      <a:lnTo>
                        <a:pt x="78" y="44"/>
                      </a:lnTo>
                      <a:lnTo>
                        <a:pt x="82" y="45"/>
                      </a:lnTo>
                      <a:lnTo>
                        <a:pt x="82" y="45"/>
                      </a:lnTo>
                      <a:lnTo>
                        <a:pt x="83" y="45"/>
                      </a:lnTo>
                      <a:lnTo>
                        <a:pt x="89" y="46"/>
                      </a:lnTo>
                      <a:lnTo>
                        <a:pt x="93" y="44"/>
                      </a:lnTo>
                      <a:lnTo>
                        <a:pt x="93" y="39"/>
                      </a:lnTo>
                      <a:lnTo>
                        <a:pt x="96" y="38"/>
                      </a:lnTo>
                      <a:lnTo>
                        <a:pt x="98" y="37"/>
                      </a:lnTo>
                      <a:lnTo>
                        <a:pt x="98" y="33"/>
                      </a:lnTo>
                      <a:lnTo>
                        <a:pt x="102" y="32"/>
                      </a:lnTo>
                      <a:lnTo>
                        <a:pt x="103" y="31"/>
                      </a:lnTo>
                      <a:lnTo>
                        <a:pt x="107" y="27"/>
                      </a:lnTo>
                      <a:lnTo>
                        <a:pt x="103" y="26"/>
                      </a:lnTo>
                      <a:lnTo>
                        <a:pt x="104" y="25"/>
                      </a:lnTo>
                      <a:lnTo>
                        <a:pt x="103" y="24"/>
                      </a:lnTo>
                      <a:lnTo>
                        <a:pt x="102" y="24"/>
                      </a:lnTo>
                      <a:lnTo>
                        <a:pt x="101" y="24"/>
                      </a:lnTo>
                      <a:lnTo>
                        <a:pt x="101" y="24"/>
                      </a:lnTo>
                      <a:lnTo>
                        <a:pt x="100" y="23"/>
                      </a:lnTo>
                      <a:lnTo>
                        <a:pt x="98" y="24"/>
                      </a:lnTo>
                      <a:lnTo>
                        <a:pt x="97" y="23"/>
                      </a:lnTo>
                      <a:lnTo>
                        <a:pt x="96" y="23"/>
                      </a:lnTo>
                      <a:lnTo>
                        <a:pt x="95" y="21"/>
                      </a:lnTo>
                      <a:lnTo>
                        <a:pt x="95" y="21"/>
                      </a:lnTo>
                      <a:lnTo>
                        <a:pt x="95" y="20"/>
                      </a:lnTo>
                      <a:lnTo>
                        <a:pt x="94" y="21"/>
                      </a:lnTo>
                      <a:lnTo>
                        <a:pt x="94" y="23"/>
                      </a:lnTo>
                      <a:lnTo>
                        <a:pt x="93" y="23"/>
                      </a:lnTo>
                      <a:lnTo>
                        <a:pt x="91" y="21"/>
                      </a:lnTo>
                      <a:lnTo>
                        <a:pt x="90" y="23"/>
                      </a:lnTo>
                      <a:lnTo>
                        <a:pt x="89" y="20"/>
                      </a:lnTo>
                      <a:lnTo>
                        <a:pt x="88" y="19"/>
                      </a:lnTo>
                      <a:lnTo>
                        <a:pt x="88" y="20"/>
                      </a:lnTo>
                      <a:lnTo>
                        <a:pt x="88" y="19"/>
                      </a:lnTo>
                      <a:lnTo>
                        <a:pt x="87" y="18"/>
                      </a:lnTo>
                      <a:lnTo>
                        <a:pt x="88" y="18"/>
                      </a:lnTo>
                      <a:lnTo>
                        <a:pt x="89" y="18"/>
                      </a:lnTo>
                      <a:lnTo>
                        <a:pt x="89" y="17"/>
                      </a:lnTo>
                      <a:lnTo>
                        <a:pt x="89" y="17"/>
                      </a:lnTo>
                      <a:lnTo>
                        <a:pt x="89" y="16"/>
                      </a:lnTo>
                      <a:lnTo>
                        <a:pt x="88" y="16"/>
                      </a:lnTo>
                      <a:lnTo>
                        <a:pt x="88" y="16"/>
                      </a:lnTo>
                      <a:lnTo>
                        <a:pt x="87" y="17"/>
                      </a:lnTo>
                      <a:lnTo>
                        <a:pt x="86" y="17"/>
                      </a:lnTo>
                      <a:lnTo>
                        <a:pt x="84" y="17"/>
                      </a:lnTo>
                      <a:lnTo>
                        <a:pt x="83" y="17"/>
                      </a:lnTo>
                      <a:lnTo>
                        <a:pt x="82" y="17"/>
                      </a:lnTo>
                      <a:lnTo>
                        <a:pt x="82" y="16"/>
                      </a:lnTo>
                      <a:lnTo>
                        <a:pt x="80" y="14"/>
                      </a:lnTo>
                      <a:lnTo>
                        <a:pt x="80" y="14"/>
                      </a:lnTo>
                      <a:lnTo>
                        <a:pt x="77" y="14"/>
                      </a:lnTo>
                      <a:lnTo>
                        <a:pt x="75" y="13"/>
                      </a:lnTo>
                      <a:lnTo>
                        <a:pt x="75" y="14"/>
                      </a:lnTo>
                      <a:lnTo>
                        <a:pt x="75" y="14"/>
                      </a:lnTo>
                      <a:lnTo>
                        <a:pt x="77" y="16"/>
                      </a:lnTo>
                      <a:lnTo>
                        <a:pt x="77" y="17"/>
                      </a:lnTo>
                      <a:lnTo>
                        <a:pt x="77" y="17"/>
                      </a:lnTo>
                      <a:lnTo>
                        <a:pt x="76" y="17"/>
                      </a:lnTo>
                      <a:lnTo>
                        <a:pt x="76" y="17"/>
                      </a:lnTo>
                      <a:lnTo>
                        <a:pt x="76" y="18"/>
                      </a:lnTo>
                      <a:lnTo>
                        <a:pt x="75" y="18"/>
                      </a:lnTo>
                      <a:lnTo>
                        <a:pt x="74" y="19"/>
                      </a:lnTo>
                      <a:lnTo>
                        <a:pt x="74" y="20"/>
                      </a:lnTo>
                      <a:lnTo>
                        <a:pt x="71" y="19"/>
                      </a:lnTo>
                      <a:lnTo>
                        <a:pt x="70" y="18"/>
                      </a:lnTo>
                      <a:lnTo>
                        <a:pt x="70" y="17"/>
                      </a:lnTo>
                      <a:lnTo>
                        <a:pt x="68" y="16"/>
                      </a:lnTo>
                      <a:lnTo>
                        <a:pt x="68" y="16"/>
                      </a:lnTo>
                      <a:lnTo>
                        <a:pt x="67" y="14"/>
                      </a:lnTo>
                      <a:lnTo>
                        <a:pt x="66" y="14"/>
                      </a:lnTo>
                      <a:lnTo>
                        <a:pt x="66" y="14"/>
                      </a:lnTo>
                      <a:lnTo>
                        <a:pt x="64" y="13"/>
                      </a:lnTo>
                      <a:lnTo>
                        <a:pt x="64" y="13"/>
                      </a:lnTo>
                      <a:lnTo>
                        <a:pt x="66" y="13"/>
                      </a:lnTo>
                      <a:lnTo>
                        <a:pt x="66" y="12"/>
                      </a:lnTo>
                      <a:lnTo>
                        <a:pt x="67" y="12"/>
                      </a:lnTo>
                      <a:lnTo>
                        <a:pt x="67" y="12"/>
                      </a:lnTo>
                      <a:lnTo>
                        <a:pt x="67" y="11"/>
                      </a:lnTo>
                      <a:lnTo>
                        <a:pt x="68" y="11"/>
                      </a:lnTo>
                      <a:lnTo>
                        <a:pt x="68" y="11"/>
                      </a:lnTo>
                      <a:lnTo>
                        <a:pt x="66" y="9"/>
                      </a:lnTo>
                      <a:lnTo>
                        <a:pt x="64" y="9"/>
                      </a:lnTo>
                      <a:lnTo>
                        <a:pt x="64" y="9"/>
                      </a:lnTo>
                      <a:lnTo>
                        <a:pt x="63" y="10"/>
                      </a:lnTo>
                      <a:lnTo>
                        <a:pt x="62" y="9"/>
                      </a:lnTo>
                      <a:lnTo>
                        <a:pt x="62" y="10"/>
                      </a:lnTo>
                      <a:lnTo>
                        <a:pt x="61" y="11"/>
                      </a:lnTo>
                      <a:lnTo>
                        <a:pt x="61" y="10"/>
                      </a:lnTo>
                      <a:lnTo>
                        <a:pt x="60" y="9"/>
                      </a:lnTo>
                      <a:lnTo>
                        <a:pt x="57" y="9"/>
                      </a:lnTo>
                      <a:lnTo>
                        <a:pt x="57" y="7"/>
                      </a:lnTo>
                      <a:lnTo>
                        <a:pt x="56" y="7"/>
                      </a:lnTo>
                      <a:lnTo>
                        <a:pt x="56" y="7"/>
                      </a:lnTo>
                      <a:lnTo>
                        <a:pt x="55" y="7"/>
                      </a:lnTo>
                      <a:lnTo>
                        <a:pt x="55" y="7"/>
                      </a:lnTo>
                      <a:lnTo>
                        <a:pt x="54" y="6"/>
                      </a:lnTo>
                      <a:lnTo>
                        <a:pt x="51" y="5"/>
                      </a:lnTo>
                      <a:lnTo>
                        <a:pt x="50" y="6"/>
                      </a:lnTo>
                      <a:lnTo>
                        <a:pt x="50" y="6"/>
                      </a:lnTo>
                      <a:lnTo>
                        <a:pt x="50" y="5"/>
                      </a:lnTo>
                      <a:lnTo>
                        <a:pt x="50" y="5"/>
                      </a:lnTo>
                      <a:lnTo>
                        <a:pt x="49" y="5"/>
                      </a:lnTo>
                      <a:lnTo>
                        <a:pt x="49" y="3"/>
                      </a:lnTo>
                      <a:lnTo>
                        <a:pt x="49" y="3"/>
                      </a:lnTo>
                      <a:lnTo>
                        <a:pt x="47" y="1"/>
                      </a:lnTo>
                      <a:lnTo>
                        <a:pt x="47" y="3"/>
                      </a:lnTo>
                      <a:lnTo>
                        <a:pt x="46" y="1"/>
                      </a:lnTo>
                      <a:lnTo>
                        <a:pt x="44" y="1"/>
                      </a:lnTo>
                      <a:lnTo>
                        <a:pt x="44" y="1"/>
                      </a:lnTo>
                      <a:lnTo>
                        <a:pt x="44" y="3"/>
                      </a:lnTo>
                      <a:lnTo>
                        <a:pt x="44" y="4"/>
                      </a:lnTo>
                      <a:lnTo>
                        <a:pt x="43" y="4"/>
                      </a:lnTo>
                      <a:lnTo>
                        <a:pt x="42" y="5"/>
                      </a:lnTo>
                      <a:lnTo>
                        <a:pt x="42" y="5"/>
                      </a:lnTo>
                      <a:lnTo>
                        <a:pt x="41" y="5"/>
                      </a:lnTo>
                      <a:lnTo>
                        <a:pt x="40" y="5"/>
                      </a:lnTo>
                      <a:lnTo>
                        <a:pt x="40" y="3"/>
                      </a:lnTo>
                      <a:lnTo>
                        <a:pt x="38" y="3"/>
                      </a:lnTo>
                      <a:lnTo>
                        <a:pt x="38" y="1"/>
                      </a:lnTo>
                      <a:lnTo>
                        <a:pt x="38" y="3"/>
                      </a:lnTo>
                      <a:lnTo>
                        <a:pt x="36" y="1"/>
                      </a:lnTo>
                      <a:lnTo>
                        <a:pt x="36" y="1"/>
                      </a:lnTo>
                      <a:lnTo>
                        <a:pt x="36" y="1"/>
                      </a:lnTo>
                      <a:lnTo>
                        <a:pt x="34" y="0"/>
                      </a:lnTo>
                      <a:lnTo>
                        <a:pt x="33" y="1"/>
                      </a:lnTo>
                      <a:lnTo>
                        <a:pt x="34" y="1"/>
                      </a:lnTo>
                      <a:lnTo>
                        <a:pt x="34" y="3"/>
                      </a:lnTo>
                      <a:lnTo>
                        <a:pt x="34" y="3"/>
                      </a:lnTo>
                      <a:lnTo>
                        <a:pt x="35" y="3"/>
                      </a:lnTo>
                      <a:lnTo>
                        <a:pt x="35" y="4"/>
                      </a:lnTo>
                      <a:lnTo>
                        <a:pt x="33" y="4"/>
                      </a:lnTo>
                      <a:lnTo>
                        <a:pt x="31" y="5"/>
                      </a:lnTo>
                      <a:lnTo>
                        <a:pt x="30" y="5"/>
                      </a:lnTo>
                      <a:lnTo>
                        <a:pt x="29" y="6"/>
                      </a:lnTo>
                      <a:lnTo>
                        <a:pt x="29" y="5"/>
                      </a:lnTo>
                      <a:lnTo>
                        <a:pt x="28" y="6"/>
                      </a:lnTo>
                      <a:lnTo>
                        <a:pt x="28" y="6"/>
                      </a:lnTo>
                      <a:lnTo>
                        <a:pt x="28" y="7"/>
                      </a:lnTo>
                      <a:lnTo>
                        <a:pt x="27" y="7"/>
                      </a:lnTo>
                      <a:lnTo>
                        <a:pt x="26" y="7"/>
                      </a:lnTo>
                      <a:lnTo>
                        <a:pt x="21" y="7"/>
                      </a:lnTo>
                      <a:lnTo>
                        <a:pt x="21" y="7"/>
                      </a:lnTo>
                      <a:lnTo>
                        <a:pt x="22" y="9"/>
                      </a:lnTo>
                      <a:lnTo>
                        <a:pt x="21" y="9"/>
                      </a:lnTo>
                      <a:lnTo>
                        <a:pt x="21" y="10"/>
                      </a:lnTo>
                      <a:lnTo>
                        <a:pt x="21" y="10"/>
                      </a:lnTo>
                      <a:lnTo>
                        <a:pt x="21" y="10"/>
                      </a:lnTo>
                      <a:lnTo>
                        <a:pt x="20" y="10"/>
                      </a:lnTo>
                      <a:lnTo>
                        <a:pt x="19" y="11"/>
                      </a:lnTo>
                      <a:lnTo>
                        <a:pt x="19" y="11"/>
                      </a:lnTo>
                      <a:lnTo>
                        <a:pt x="19" y="11"/>
                      </a:lnTo>
                      <a:lnTo>
                        <a:pt x="17" y="12"/>
                      </a:lnTo>
                      <a:lnTo>
                        <a:pt x="16" y="12"/>
                      </a:lnTo>
                      <a:lnTo>
                        <a:pt x="14" y="12"/>
                      </a:lnTo>
                      <a:lnTo>
                        <a:pt x="14" y="13"/>
                      </a:lnTo>
                      <a:lnTo>
                        <a:pt x="14" y="13"/>
                      </a:lnTo>
                      <a:lnTo>
                        <a:pt x="13" y="14"/>
                      </a:lnTo>
                      <a:lnTo>
                        <a:pt x="11" y="13"/>
                      </a:lnTo>
                      <a:lnTo>
                        <a:pt x="10" y="13"/>
                      </a:lnTo>
                      <a:lnTo>
                        <a:pt x="8" y="14"/>
                      </a:lnTo>
                      <a:lnTo>
                        <a:pt x="6" y="14"/>
                      </a:lnTo>
                      <a:lnTo>
                        <a:pt x="6" y="14"/>
                      </a:lnTo>
                      <a:lnTo>
                        <a:pt x="6" y="14"/>
                      </a:lnTo>
                      <a:lnTo>
                        <a:pt x="4" y="16"/>
                      </a:lnTo>
                      <a:lnTo>
                        <a:pt x="4" y="16"/>
                      </a:lnTo>
                      <a:lnTo>
                        <a:pt x="3" y="17"/>
                      </a:lnTo>
                      <a:lnTo>
                        <a:pt x="3" y="17"/>
                      </a:lnTo>
                      <a:lnTo>
                        <a:pt x="3" y="17"/>
                      </a:lnTo>
                      <a:lnTo>
                        <a:pt x="3" y="17"/>
                      </a:lnTo>
                      <a:lnTo>
                        <a:pt x="3" y="17"/>
                      </a:lnTo>
                      <a:lnTo>
                        <a:pt x="2" y="17"/>
                      </a:lnTo>
                      <a:lnTo>
                        <a:pt x="2" y="17"/>
                      </a:lnTo>
                      <a:lnTo>
                        <a:pt x="1" y="16"/>
                      </a:lnTo>
                      <a:lnTo>
                        <a:pt x="1" y="16"/>
                      </a:lnTo>
                      <a:lnTo>
                        <a:pt x="0" y="16"/>
                      </a:lnTo>
                      <a:lnTo>
                        <a:pt x="0" y="16"/>
                      </a:lnTo>
                      <a:lnTo>
                        <a:pt x="0" y="17"/>
                      </a:lnTo>
                      <a:lnTo>
                        <a:pt x="1" y="17"/>
                      </a:lnTo>
                      <a:lnTo>
                        <a:pt x="1" y="18"/>
                      </a:lnTo>
                      <a:lnTo>
                        <a:pt x="1" y="18"/>
                      </a:lnTo>
                      <a:lnTo>
                        <a:pt x="1" y="19"/>
                      </a:lnTo>
                      <a:lnTo>
                        <a:pt x="1" y="20"/>
                      </a:lnTo>
                      <a:lnTo>
                        <a:pt x="3" y="20"/>
                      </a:lnTo>
                      <a:lnTo>
                        <a:pt x="3" y="20"/>
                      </a:lnTo>
                      <a:lnTo>
                        <a:pt x="3" y="21"/>
                      </a:lnTo>
                      <a:lnTo>
                        <a:pt x="6" y="23"/>
                      </a:lnTo>
                      <a:lnTo>
                        <a:pt x="7" y="23"/>
                      </a:lnTo>
                      <a:lnTo>
                        <a:pt x="7" y="23"/>
                      </a:lnTo>
                      <a:lnTo>
                        <a:pt x="7" y="23"/>
                      </a:lnTo>
                      <a:lnTo>
                        <a:pt x="7" y="24"/>
                      </a:lnTo>
                      <a:lnTo>
                        <a:pt x="7" y="25"/>
                      </a:lnTo>
                      <a:lnTo>
                        <a:pt x="7" y="26"/>
                      </a:lnTo>
                      <a:lnTo>
                        <a:pt x="6" y="26"/>
                      </a:lnTo>
                      <a:lnTo>
                        <a:pt x="6" y="27"/>
                      </a:lnTo>
                      <a:lnTo>
                        <a:pt x="7" y="29"/>
                      </a:lnTo>
                      <a:lnTo>
                        <a:pt x="7" y="29"/>
                      </a:lnTo>
                      <a:lnTo>
                        <a:pt x="7" y="30"/>
                      </a:lnTo>
                      <a:lnTo>
                        <a:pt x="9" y="30"/>
                      </a:lnTo>
                      <a:lnTo>
                        <a:pt x="9" y="31"/>
                      </a:lnTo>
                      <a:lnTo>
                        <a:pt x="9" y="32"/>
                      </a:lnTo>
                      <a:lnTo>
                        <a:pt x="10" y="32"/>
                      </a:lnTo>
                      <a:lnTo>
                        <a:pt x="10" y="33"/>
                      </a:lnTo>
                      <a:lnTo>
                        <a:pt x="13" y="33"/>
                      </a:lnTo>
                      <a:lnTo>
                        <a:pt x="13" y="34"/>
                      </a:lnTo>
                      <a:lnTo>
                        <a:pt x="14" y="34"/>
                      </a:lnTo>
                      <a:lnTo>
                        <a:pt x="15" y="34"/>
                      </a:lnTo>
                      <a:lnTo>
                        <a:pt x="15" y="36"/>
                      </a:lnTo>
                      <a:lnTo>
                        <a:pt x="16" y="36"/>
                      </a:lnTo>
                      <a:lnTo>
                        <a:pt x="17" y="37"/>
                      </a:lnTo>
                      <a:lnTo>
                        <a:pt x="17" y="38"/>
                      </a:lnTo>
                      <a:lnTo>
                        <a:pt x="19" y="39"/>
                      </a:lnTo>
                      <a:lnTo>
                        <a:pt x="19" y="39"/>
                      </a:lnTo>
                      <a:lnTo>
                        <a:pt x="21" y="40"/>
                      </a:lnTo>
                      <a:lnTo>
                        <a:pt x="22" y="40"/>
                      </a:lnTo>
                      <a:lnTo>
                        <a:pt x="22" y="43"/>
                      </a:lnTo>
                      <a:lnTo>
                        <a:pt x="23" y="44"/>
                      </a:lnTo>
                      <a:lnTo>
                        <a:pt x="23" y="43"/>
                      </a:lnTo>
                      <a:lnTo>
                        <a:pt x="27" y="44"/>
                      </a:lnTo>
                      <a:lnTo>
                        <a:pt x="27" y="44"/>
                      </a:lnTo>
                      <a:lnTo>
                        <a:pt x="27" y="44"/>
                      </a:lnTo>
                      <a:lnTo>
                        <a:pt x="28" y="44"/>
                      </a:lnTo>
                      <a:lnTo>
                        <a:pt x="29" y="46"/>
                      </a:lnTo>
                      <a:lnTo>
                        <a:pt x="29" y="47"/>
                      </a:lnTo>
                      <a:lnTo>
                        <a:pt x="31" y="47"/>
                      </a:lnTo>
                      <a:lnTo>
                        <a:pt x="33" y="49"/>
                      </a:lnTo>
                      <a:lnTo>
                        <a:pt x="31" y="49"/>
                      </a:lnTo>
                      <a:lnTo>
                        <a:pt x="34" y="50"/>
                      </a:lnTo>
                      <a:lnTo>
                        <a:pt x="35" y="50"/>
                      </a:lnTo>
                      <a:lnTo>
                        <a:pt x="37" y="50"/>
                      </a:lnTo>
                      <a:lnTo>
                        <a:pt x="37" y="50"/>
                      </a:lnTo>
                      <a:lnTo>
                        <a:pt x="40" y="50"/>
                      </a:lnTo>
                      <a:lnTo>
                        <a:pt x="40" y="49"/>
                      </a:lnTo>
                      <a:lnTo>
                        <a:pt x="42" y="50"/>
                      </a:lnTo>
                      <a:lnTo>
                        <a:pt x="43" y="49"/>
                      </a:lnTo>
                      <a:lnTo>
                        <a:pt x="43" y="50"/>
                      </a:lnTo>
                      <a:lnTo>
                        <a:pt x="43" y="50"/>
                      </a:lnTo>
                      <a:lnTo>
                        <a:pt x="44" y="49"/>
                      </a:lnTo>
                      <a:lnTo>
                        <a:pt x="46" y="47"/>
                      </a:lnTo>
                      <a:lnTo>
                        <a:pt x="46" y="46"/>
                      </a:lnTo>
                      <a:lnTo>
                        <a:pt x="47" y="46"/>
                      </a:lnTo>
                      <a:lnTo>
                        <a:pt x="47" y="46"/>
                      </a:lnTo>
                      <a:lnTo>
                        <a:pt x="48" y="44"/>
                      </a:lnTo>
                      <a:lnTo>
                        <a:pt x="47" y="43"/>
                      </a:lnTo>
                      <a:lnTo>
                        <a:pt x="47" y="41"/>
                      </a:lnTo>
                      <a:lnTo>
                        <a:pt x="50" y="41"/>
                      </a:lnTo>
                      <a:lnTo>
                        <a:pt x="50" y="43"/>
                      </a:lnTo>
                      <a:lnTo>
                        <a:pt x="53" y="44"/>
                      </a:lnTo>
                      <a:lnTo>
                        <a:pt x="53" y="43"/>
                      </a:lnTo>
                      <a:lnTo>
                        <a:pt x="53" y="43"/>
                      </a:lnTo>
                      <a:lnTo>
                        <a:pt x="55" y="44"/>
                      </a:lnTo>
                      <a:lnTo>
                        <a:pt x="55" y="44"/>
                      </a:lnTo>
                      <a:lnTo>
                        <a:pt x="56" y="44"/>
                      </a:lnTo>
                      <a:lnTo>
                        <a:pt x="57" y="44"/>
                      </a:lnTo>
                      <a:lnTo>
                        <a:pt x="58" y="45"/>
                      </a:lnTo>
                      <a:lnTo>
                        <a:pt x="61" y="45"/>
                      </a:lnTo>
                      <a:lnTo>
                        <a:pt x="61" y="45"/>
                      </a:lnTo>
                      <a:lnTo>
                        <a:pt x="62" y="45"/>
                      </a:lnTo>
                      <a:lnTo>
                        <a:pt x="62" y="45"/>
                      </a:lnTo>
                      <a:lnTo>
                        <a:pt x="63" y="46"/>
                      </a:lnTo>
                      <a:lnTo>
                        <a:pt x="63" y="46"/>
                      </a:lnTo>
                      <a:lnTo>
                        <a:pt x="66" y="47"/>
                      </a:lnTo>
                      <a:lnTo>
                        <a:pt x="69" y="47"/>
                      </a:lnTo>
                      <a:lnTo>
                        <a:pt x="70" y="47"/>
                      </a:lnTo>
                      <a:lnTo>
                        <a:pt x="71" y="46"/>
                      </a:lnTo>
                      <a:lnTo>
                        <a:pt x="73" y="46"/>
                      </a:lnTo>
                      <a:lnTo>
                        <a:pt x="74" y="46"/>
                      </a:lnTo>
                      <a:lnTo>
                        <a:pt x="75" y="46"/>
                      </a:lnTo>
                      <a:lnTo>
                        <a:pt x="75" y="47"/>
                      </a:lnTo>
                      <a:lnTo>
                        <a:pt x="76" y="47"/>
                      </a:lnTo>
                      <a:lnTo>
                        <a:pt x="77" y="47"/>
                      </a:lnTo>
                      <a:lnTo>
                        <a:pt x="77" y="46"/>
                      </a:lnTo>
                      <a:lnTo>
                        <a:pt x="77" y="46"/>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08" name="Bulgaria">
                  <a:extLst>
                    <a:ext uri="{FF2B5EF4-FFF2-40B4-BE49-F238E27FC236}">
                      <a16:creationId xmlns:a16="http://schemas.microsoft.com/office/drawing/2014/main" id="{D4A24C93-B215-2F4D-8592-C89691C62394}"/>
                    </a:ext>
                  </a:extLst>
                </p:cNvPr>
                <p:cNvSpPr>
                  <a:spLocks/>
                </p:cNvSpPr>
                <p:nvPr/>
              </p:nvSpPr>
              <p:spPr bwMode="auto">
                <a:xfrm>
                  <a:off x="6895940" y="2664172"/>
                  <a:ext cx="151626" cy="87477"/>
                </a:xfrm>
                <a:custGeom>
                  <a:avLst/>
                  <a:gdLst>
                    <a:gd name="T0" fmla="*/ 14 w 104"/>
                    <a:gd name="T1" fmla="*/ 53 h 60"/>
                    <a:gd name="T2" fmla="*/ 14 w 104"/>
                    <a:gd name="T3" fmla="*/ 48 h 60"/>
                    <a:gd name="T4" fmla="*/ 10 w 104"/>
                    <a:gd name="T5" fmla="*/ 43 h 60"/>
                    <a:gd name="T6" fmla="*/ 5 w 104"/>
                    <a:gd name="T7" fmla="*/ 40 h 60"/>
                    <a:gd name="T8" fmla="*/ 6 w 104"/>
                    <a:gd name="T9" fmla="*/ 34 h 60"/>
                    <a:gd name="T10" fmla="*/ 4 w 104"/>
                    <a:gd name="T11" fmla="*/ 28 h 60"/>
                    <a:gd name="T12" fmla="*/ 8 w 104"/>
                    <a:gd name="T13" fmla="*/ 27 h 60"/>
                    <a:gd name="T14" fmla="*/ 11 w 104"/>
                    <a:gd name="T15" fmla="*/ 23 h 60"/>
                    <a:gd name="T16" fmla="*/ 8 w 104"/>
                    <a:gd name="T17" fmla="*/ 18 h 60"/>
                    <a:gd name="T18" fmla="*/ 5 w 104"/>
                    <a:gd name="T19" fmla="*/ 15 h 60"/>
                    <a:gd name="T20" fmla="*/ 1 w 104"/>
                    <a:gd name="T21" fmla="*/ 9 h 60"/>
                    <a:gd name="T22" fmla="*/ 2 w 104"/>
                    <a:gd name="T23" fmla="*/ 3 h 60"/>
                    <a:gd name="T24" fmla="*/ 4 w 104"/>
                    <a:gd name="T25" fmla="*/ 0 h 60"/>
                    <a:gd name="T26" fmla="*/ 11 w 104"/>
                    <a:gd name="T27" fmla="*/ 2 h 60"/>
                    <a:gd name="T28" fmla="*/ 11 w 104"/>
                    <a:gd name="T29" fmla="*/ 8 h 60"/>
                    <a:gd name="T30" fmla="*/ 25 w 104"/>
                    <a:gd name="T31" fmla="*/ 9 h 60"/>
                    <a:gd name="T32" fmla="*/ 39 w 104"/>
                    <a:gd name="T33" fmla="*/ 9 h 60"/>
                    <a:gd name="T34" fmla="*/ 52 w 104"/>
                    <a:gd name="T35" fmla="*/ 12 h 60"/>
                    <a:gd name="T36" fmla="*/ 62 w 104"/>
                    <a:gd name="T37" fmla="*/ 6 h 60"/>
                    <a:gd name="T38" fmla="*/ 71 w 104"/>
                    <a:gd name="T39" fmla="*/ 2 h 60"/>
                    <a:gd name="T40" fmla="*/ 81 w 104"/>
                    <a:gd name="T41" fmla="*/ 3 h 60"/>
                    <a:gd name="T42" fmla="*/ 89 w 104"/>
                    <a:gd name="T43" fmla="*/ 6 h 60"/>
                    <a:gd name="T44" fmla="*/ 102 w 104"/>
                    <a:gd name="T45" fmla="*/ 9 h 60"/>
                    <a:gd name="T46" fmla="*/ 101 w 104"/>
                    <a:gd name="T47" fmla="*/ 16 h 60"/>
                    <a:gd name="T48" fmla="*/ 95 w 104"/>
                    <a:gd name="T49" fmla="*/ 20 h 60"/>
                    <a:gd name="T50" fmla="*/ 93 w 104"/>
                    <a:gd name="T51" fmla="*/ 26 h 60"/>
                    <a:gd name="T52" fmla="*/ 91 w 104"/>
                    <a:gd name="T53" fmla="*/ 30 h 60"/>
                    <a:gd name="T54" fmla="*/ 88 w 104"/>
                    <a:gd name="T55" fmla="*/ 33 h 60"/>
                    <a:gd name="T56" fmla="*/ 87 w 104"/>
                    <a:gd name="T57" fmla="*/ 36 h 60"/>
                    <a:gd name="T58" fmla="*/ 92 w 104"/>
                    <a:gd name="T59" fmla="*/ 36 h 60"/>
                    <a:gd name="T60" fmla="*/ 92 w 104"/>
                    <a:gd name="T61" fmla="*/ 40 h 60"/>
                    <a:gd name="T62" fmla="*/ 97 w 104"/>
                    <a:gd name="T63" fmla="*/ 45 h 60"/>
                    <a:gd name="T64" fmla="*/ 91 w 104"/>
                    <a:gd name="T65" fmla="*/ 46 h 60"/>
                    <a:gd name="T66" fmla="*/ 88 w 104"/>
                    <a:gd name="T67" fmla="*/ 45 h 60"/>
                    <a:gd name="T68" fmla="*/ 84 w 104"/>
                    <a:gd name="T69" fmla="*/ 43 h 60"/>
                    <a:gd name="T70" fmla="*/ 81 w 104"/>
                    <a:gd name="T71" fmla="*/ 43 h 60"/>
                    <a:gd name="T72" fmla="*/ 78 w 104"/>
                    <a:gd name="T73" fmla="*/ 46 h 60"/>
                    <a:gd name="T74" fmla="*/ 74 w 104"/>
                    <a:gd name="T75" fmla="*/ 47 h 60"/>
                    <a:gd name="T76" fmla="*/ 69 w 104"/>
                    <a:gd name="T77" fmla="*/ 50 h 60"/>
                    <a:gd name="T78" fmla="*/ 67 w 104"/>
                    <a:gd name="T79" fmla="*/ 50 h 60"/>
                    <a:gd name="T80" fmla="*/ 68 w 104"/>
                    <a:gd name="T81" fmla="*/ 55 h 60"/>
                    <a:gd name="T82" fmla="*/ 65 w 104"/>
                    <a:gd name="T83" fmla="*/ 59 h 60"/>
                    <a:gd name="T84" fmla="*/ 58 w 104"/>
                    <a:gd name="T85" fmla="*/ 60 h 60"/>
                    <a:gd name="T86" fmla="*/ 51 w 104"/>
                    <a:gd name="T87" fmla="*/ 59 h 60"/>
                    <a:gd name="T88" fmla="*/ 46 w 104"/>
                    <a:gd name="T89" fmla="*/ 58 h 60"/>
                    <a:gd name="T90" fmla="*/ 41 w 104"/>
                    <a:gd name="T91" fmla="*/ 55 h 60"/>
                    <a:gd name="T92" fmla="*/ 38 w 104"/>
                    <a:gd name="T93" fmla="*/ 55 h 60"/>
                    <a:gd name="T94" fmla="*/ 34 w 104"/>
                    <a:gd name="T95" fmla="*/ 55 h 60"/>
                    <a:gd name="T96" fmla="*/ 32 w 104"/>
                    <a:gd name="T97" fmla="*/ 56 h 60"/>
                    <a:gd name="T98" fmla="*/ 27 w 104"/>
                    <a:gd name="T99" fmla="*/ 56 h 60"/>
                    <a:gd name="T100" fmla="*/ 22 w 104"/>
                    <a:gd name="T101" fmla="*/ 58 h 60"/>
                    <a:gd name="T102" fmla="*/ 17 w 104"/>
                    <a:gd name="T103" fmla="*/ 60 h 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4" h="60">
                      <a:moveTo>
                        <a:pt x="15" y="58"/>
                      </a:moveTo>
                      <a:lnTo>
                        <a:pt x="15" y="56"/>
                      </a:lnTo>
                      <a:lnTo>
                        <a:pt x="15" y="56"/>
                      </a:lnTo>
                      <a:lnTo>
                        <a:pt x="15" y="54"/>
                      </a:lnTo>
                      <a:lnTo>
                        <a:pt x="14" y="53"/>
                      </a:lnTo>
                      <a:lnTo>
                        <a:pt x="14" y="52"/>
                      </a:lnTo>
                      <a:lnTo>
                        <a:pt x="15" y="50"/>
                      </a:lnTo>
                      <a:lnTo>
                        <a:pt x="15" y="49"/>
                      </a:lnTo>
                      <a:lnTo>
                        <a:pt x="14" y="49"/>
                      </a:lnTo>
                      <a:lnTo>
                        <a:pt x="14" y="48"/>
                      </a:lnTo>
                      <a:lnTo>
                        <a:pt x="13" y="47"/>
                      </a:lnTo>
                      <a:lnTo>
                        <a:pt x="12" y="43"/>
                      </a:lnTo>
                      <a:lnTo>
                        <a:pt x="12" y="43"/>
                      </a:lnTo>
                      <a:lnTo>
                        <a:pt x="11" y="43"/>
                      </a:lnTo>
                      <a:lnTo>
                        <a:pt x="10" y="43"/>
                      </a:lnTo>
                      <a:lnTo>
                        <a:pt x="8" y="43"/>
                      </a:lnTo>
                      <a:lnTo>
                        <a:pt x="7" y="42"/>
                      </a:lnTo>
                      <a:lnTo>
                        <a:pt x="6" y="41"/>
                      </a:lnTo>
                      <a:lnTo>
                        <a:pt x="5" y="41"/>
                      </a:lnTo>
                      <a:lnTo>
                        <a:pt x="5" y="40"/>
                      </a:lnTo>
                      <a:lnTo>
                        <a:pt x="5" y="39"/>
                      </a:lnTo>
                      <a:lnTo>
                        <a:pt x="5" y="36"/>
                      </a:lnTo>
                      <a:lnTo>
                        <a:pt x="6" y="36"/>
                      </a:lnTo>
                      <a:lnTo>
                        <a:pt x="6" y="35"/>
                      </a:lnTo>
                      <a:lnTo>
                        <a:pt x="6" y="34"/>
                      </a:lnTo>
                      <a:lnTo>
                        <a:pt x="4" y="33"/>
                      </a:lnTo>
                      <a:lnTo>
                        <a:pt x="5" y="30"/>
                      </a:lnTo>
                      <a:lnTo>
                        <a:pt x="5" y="30"/>
                      </a:lnTo>
                      <a:lnTo>
                        <a:pt x="5" y="29"/>
                      </a:lnTo>
                      <a:lnTo>
                        <a:pt x="4" y="28"/>
                      </a:lnTo>
                      <a:lnTo>
                        <a:pt x="5" y="27"/>
                      </a:lnTo>
                      <a:lnTo>
                        <a:pt x="6" y="27"/>
                      </a:lnTo>
                      <a:lnTo>
                        <a:pt x="6" y="27"/>
                      </a:lnTo>
                      <a:lnTo>
                        <a:pt x="7" y="27"/>
                      </a:lnTo>
                      <a:lnTo>
                        <a:pt x="8" y="27"/>
                      </a:lnTo>
                      <a:lnTo>
                        <a:pt x="8" y="26"/>
                      </a:lnTo>
                      <a:lnTo>
                        <a:pt x="8" y="26"/>
                      </a:lnTo>
                      <a:lnTo>
                        <a:pt x="10" y="25"/>
                      </a:lnTo>
                      <a:lnTo>
                        <a:pt x="11" y="23"/>
                      </a:lnTo>
                      <a:lnTo>
                        <a:pt x="11" y="23"/>
                      </a:lnTo>
                      <a:lnTo>
                        <a:pt x="12" y="22"/>
                      </a:lnTo>
                      <a:lnTo>
                        <a:pt x="12" y="21"/>
                      </a:lnTo>
                      <a:lnTo>
                        <a:pt x="10" y="20"/>
                      </a:lnTo>
                      <a:lnTo>
                        <a:pt x="8" y="19"/>
                      </a:lnTo>
                      <a:lnTo>
                        <a:pt x="8" y="18"/>
                      </a:lnTo>
                      <a:lnTo>
                        <a:pt x="8" y="18"/>
                      </a:lnTo>
                      <a:lnTo>
                        <a:pt x="7" y="16"/>
                      </a:lnTo>
                      <a:lnTo>
                        <a:pt x="6" y="16"/>
                      </a:lnTo>
                      <a:lnTo>
                        <a:pt x="5" y="15"/>
                      </a:lnTo>
                      <a:lnTo>
                        <a:pt x="5" y="15"/>
                      </a:lnTo>
                      <a:lnTo>
                        <a:pt x="4" y="15"/>
                      </a:lnTo>
                      <a:lnTo>
                        <a:pt x="4" y="13"/>
                      </a:lnTo>
                      <a:lnTo>
                        <a:pt x="4" y="12"/>
                      </a:lnTo>
                      <a:lnTo>
                        <a:pt x="1" y="10"/>
                      </a:lnTo>
                      <a:lnTo>
                        <a:pt x="1" y="9"/>
                      </a:lnTo>
                      <a:lnTo>
                        <a:pt x="1" y="8"/>
                      </a:lnTo>
                      <a:lnTo>
                        <a:pt x="0" y="7"/>
                      </a:lnTo>
                      <a:lnTo>
                        <a:pt x="0" y="5"/>
                      </a:lnTo>
                      <a:lnTo>
                        <a:pt x="1" y="3"/>
                      </a:lnTo>
                      <a:lnTo>
                        <a:pt x="2" y="3"/>
                      </a:lnTo>
                      <a:lnTo>
                        <a:pt x="4" y="2"/>
                      </a:lnTo>
                      <a:lnTo>
                        <a:pt x="4" y="2"/>
                      </a:lnTo>
                      <a:lnTo>
                        <a:pt x="4" y="1"/>
                      </a:lnTo>
                      <a:lnTo>
                        <a:pt x="4" y="1"/>
                      </a:lnTo>
                      <a:lnTo>
                        <a:pt x="4" y="0"/>
                      </a:lnTo>
                      <a:lnTo>
                        <a:pt x="5" y="0"/>
                      </a:lnTo>
                      <a:lnTo>
                        <a:pt x="6" y="0"/>
                      </a:lnTo>
                      <a:lnTo>
                        <a:pt x="8" y="1"/>
                      </a:lnTo>
                      <a:lnTo>
                        <a:pt x="11" y="2"/>
                      </a:lnTo>
                      <a:lnTo>
                        <a:pt x="11" y="2"/>
                      </a:lnTo>
                      <a:lnTo>
                        <a:pt x="11" y="3"/>
                      </a:lnTo>
                      <a:lnTo>
                        <a:pt x="8" y="5"/>
                      </a:lnTo>
                      <a:lnTo>
                        <a:pt x="7" y="6"/>
                      </a:lnTo>
                      <a:lnTo>
                        <a:pt x="8" y="8"/>
                      </a:lnTo>
                      <a:lnTo>
                        <a:pt x="11" y="8"/>
                      </a:lnTo>
                      <a:lnTo>
                        <a:pt x="14" y="8"/>
                      </a:lnTo>
                      <a:lnTo>
                        <a:pt x="15" y="8"/>
                      </a:lnTo>
                      <a:lnTo>
                        <a:pt x="20" y="8"/>
                      </a:lnTo>
                      <a:lnTo>
                        <a:pt x="24" y="8"/>
                      </a:lnTo>
                      <a:lnTo>
                        <a:pt x="25" y="9"/>
                      </a:lnTo>
                      <a:lnTo>
                        <a:pt x="27" y="9"/>
                      </a:lnTo>
                      <a:lnTo>
                        <a:pt x="32" y="10"/>
                      </a:lnTo>
                      <a:lnTo>
                        <a:pt x="35" y="9"/>
                      </a:lnTo>
                      <a:lnTo>
                        <a:pt x="38" y="9"/>
                      </a:lnTo>
                      <a:lnTo>
                        <a:pt x="39" y="9"/>
                      </a:lnTo>
                      <a:lnTo>
                        <a:pt x="42" y="9"/>
                      </a:lnTo>
                      <a:lnTo>
                        <a:pt x="46" y="10"/>
                      </a:lnTo>
                      <a:lnTo>
                        <a:pt x="48" y="10"/>
                      </a:lnTo>
                      <a:lnTo>
                        <a:pt x="51" y="12"/>
                      </a:lnTo>
                      <a:lnTo>
                        <a:pt x="52" y="12"/>
                      </a:lnTo>
                      <a:lnTo>
                        <a:pt x="54" y="10"/>
                      </a:lnTo>
                      <a:lnTo>
                        <a:pt x="55" y="9"/>
                      </a:lnTo>
                      <a:lnTo>
                        <a:pt x="58" y="9"/>
                      </a:lnTo>
                      <a:lnTo>
                        <a:pt x="59" y="8"/>
                      </a:lnTo>
                      <a:lnTo>
                        <a:pt x="62" y="6"/>
                      </a:lnTo>
                      <a:lnTo>
                        <a:pt x="62" y="5"/>
                      </a:lnTo>
                      <a:lnTo>
                        <a:pt x="65" y="3"/>
                      </a:lnTo>
                      <a:lnTo>
                        <a:pt x="65" y="3"/>
                      </a:lnTo>
                      <a:lnTo>
                        <a:pt x="69" y="3"/>
                      </a:lnTo>
                      <a:lnTo>
                        <a:pt x="71" y="2"/>
                      </a:lnTo>
                      <a:lnTo>
                        <a:pt x="74" y="1"/>
                      </a:lnTo>
                      <a:lnTo>
                        <a:pt x="77" y="1"/>
                      </a:lnTo>
                      <a:lnTo>
                        <a:pt x="80" y="1"/>
                      </a:lnTo>
                      <a:lnTo>
                        <a:pt x="80" y="2"/>
                      </a:lnTo>
                      <a:lnTo>
                        <a:pt x="81" y="3"/>
                      </a:lnTo>
                      <a:lnTo>
                        <a:pt x="82" y="3"/>
                      </a:lnTo>
                      <a:lnTo>
                        <a:pt x="86" y="3"/>
                      </a:lnTo>
                      <a:lnTo>
                        <a:pt x="86" y="3"/>
                      </a:lnTo>
                      <a:lnTo>
                        <a:pt x="88" y="5"/>
                      </a:lnTo>
                      <a:lnTo>
                        <a:pt x="89" y="6"/>
                      </a:lnTo>
                      <a:lnTo>
                        <a:pt x="92" y="5"/>
                      </a:lnTo>
                      <a:lnTo>
                        <a:pt x="93" y="7"/>
                      </a:lnTo>
                      <a:lnTo>
                        <a:pt x="94" y="8"/>
                      </a:lnTo>
                      <a:lnTo>
                        <a:pt x="97" y="9"/>
                      </a:lnTo>
                      <a:lnTo>
                        <a:pt x="102" y="9"/>
                      </a:lnTo>
                      <a:lnTo>
                        <a:pt x="102" y="13"/>
                      </a:lnTo>
                      <a:lnTo>
                        <a:pt x="104" y="14"/>
                      </a:lnTo>
                      <a:lnTo>
                        <a:pt x="102" y="15"/>
                      </a:lnTo>
                      <a:lnTo>
                        <a:pt x="102" y="16"/>
                      </a:lnTo>
                      <a:lnTo>
                        <a:pt x="101" y="16"/>
                      </a:lnTo>
                      <a:lnTo>
                        <a:pt x="99" y="16"/>
                      </a:lnTo>
                      <a:lnTo>
                        <a:pt x="98" y="16"/>
                      </a:lnTo>
                      <a:lnTo>
                        <a:pt x="95" y="16"/>
                      </a:lnTo>
                      <a:lnTo>
                        <a:pt x="95" y="16"/>
                      </a:lnTo>
                      <a:lnTo>
                        <a:pt x="95" y="20"/>
                      </a:lnTo>
                      <a:lnTo>
                        <a:pt x="94" y="21"/>
                      </a:lnTo>
                      <a:lnTo>
                        <a:pt x="94" y="21"/>
                      </a:lnTo>
                      <a:lnTo>
                        <a:pt x="93" y="23"/>
                      </a:lnTo>
                      <a:lnTo>
                        <a:pt x="93" y="25"/>
                      </a:lnTo>
                      <a:lnTo>
                        <a:pt x="93" y="26"/>
                      </a:lnTo>
                      <a:lnTo>
                        <a:pt x="93" y="28"/>
                      </a:lnTo>
                      <a:lnTo>
                        <a:pt x="93" y="29"/>
                      </a:lnTo>
                      <a:lnTo>
                        <a:pt x="93" y="30"/>
                      </a:lnTo>
                      <a:lnTo>
                        <a:pt x="92" y="30"/>
                      </a:lnTo>
                      <a:lnTo>
                        <a:pt x="91" y="30"/>
                      </a:lnTo>
                      <a:lnTo>
                        <a:pt x="91" y="32"/>
                      </a:lnTo>
                      <a:lnTo>
                        <a:pt x="92" y="32"/>
                      </a:lnTo>
                      <a:lnTo>
                        <a:pt x="89" y="33"/>
                      </a:lnTo>
                      <a:lnTo>
                        <a:pt x="89" y="33"/>
                      </a:lnTo>
                      <a:lnTo>
                        <a:pt x="88" y="33"/>
                      </a:lnTo>
                      <a:lnTo>
                        <a:pt x="87" y="35"/>
                      </a:lnTo>
                      <a:lnTo>
                        <a:pt x="87" y="35"/>
                      </a:lnTo>
                      <a:lnTo>
                        <a:pt x="87" y="35"/>
                      </a:lnTo>
                      <a:lnTo>
                        <a:pt x="87" y="35"/>
                      </a:lnTo>
                      <a:lnTo>
                        <a:pt x="87" y="36"/>
                      </a:lnTo>
                      <a:lnTo>
                        <a:pt x="88" y="35"/>
                      </a:lnTo>
                      <a:lnTo>
                        <a:pt x="89" y="35"/>
                      </a:lnTo>
                      <a:lnTo>
                        <a:pt x="89" y="36"/>
                      </a:lnTo>
                      <a:lnTo>
                        <a:pt x="91" y="36"/>
                      </a:lnTo>
                      <a:lnTo>
                        <a:pt x="92" y="36"/>
                      </a:lnTo>
                      <a:lnTo>
                        <a:pt x="92" y="38"/>
                      </a:lnTo>
                      <a:lnTo>
                        <a:pt x="92" y="38"/>
                      </a:lnTo>
                      <a:lnTo>
                        <a:pt x="92" y="39"/>
                      </a:lnTo>
                      <a:lnTo>
                        <a:pt x="93" y="39"/>
                      </a:lnTo>
                      <a:lnTo>
                        <a:pt x="92" y="40"/>
                      </a:lnTo>
                      <a:lnTo>
                        <a:pt x="93" y="40"/>
                      </a:lnTo>
                      <a:lnTo>
                        <a:pt x="95" y="42"/>
                      </a:lnTo>
                      <a:lnTo>
                        <a:pt x="98" y="43"/>
                      </a:lnTo>
                      <a:lnTo>
                        <a:pt x="98" y="45"/>
                      </a:lnTo>
                      <a:lnTo>
                        <a:pt x="97" y="45"/>
                      </a:lnTo>
                      <a:lnTo>
                        <a:pt x="95" y="45"/>
                      </a:lnTo>
                      <a:lnTo>
                        <a:pt x="94" y="45"/>
                      </a:lnTo>
                      <a:lnTo>
                        <a:pt x="94" y="46"/>
                      </a:lnTo>
                      <a:lnTo>
                        <a:pt x="92" y="45"/>
                      </a:lnTo>
                      <a:lnTo>
                        <a:pt x="91" y="46"/>
                      </a:lnTo>
                      <a:lnTo>
                        <a:pt x="89" y="47"/>
                      </a:lnTo>
                      <a:lnTo>
                        <a:pt x="89" y="47"/>
                      </a:lnTo>
                      <a:lnTo>
                        <a:pt x="89" y="46"/>
                      </a:lnTo>
                      <a:lnTo>
                        <a:pt x="88" y="46"/>
                      </a:lnTo>
                      <a:lnTo>
                        <a:pt x="88" y="45"/>
                      </a:lnTo>
                      <a:lnTo>
                        <a:pt x="87" y="43"/>
                      </a:lnTo>
                      <a:lnTo>
                        <a:pt x="86" y="42"/>
                      </a:lnTo>
                      <a:lnTo>
                        <a:pt x="85" y="42"/>
                      </a:lnTo>
                      <a:lnTo>
                        <a:pt x="84" y="42"/>
                      </a:lnTo>
                      <a:lnTo>
                        <a:pt x="84" y="43"/>
                      </a:lnTo>
                      <a:lnTo>
                        <a:pt x="84" y="43"/>
                      </a:lnTo>
                      <a:lnTo>
                        <a:pt x="82" y="42"/>
                      </a:lnTo>
                      <a:lnTo>
                        <a:pt x="81" y="42"/>
                      </a:lnTo>
                      <a:lnTo>
                        <a:pt x="81" y="43"/>
                      </a:lnTo>
                      <a:lnTo>
                        <a:pt x="81" y="43"/>
                      </a:lnTo>
                      <a:lnTo>
                        <a:pt x="80" y="45"/>
                      </a:lnTo>
                      <a:lnTo>
                        <a:pt x="80" y="45"/>
                      </a:lnTo>
                      <a:lnTo>
                        <a:pt x="79" y="45"/>
                      </a:lnTo>
                      <a:lnTo>
                        <a:pt x="78" y="45"/>
                      </a:lnTo>
                      <a:lnTo>
                        <a:pt x="78" y="46"/>
                      </a:lnTo>
                      <a:lnTo>
                        <a:pt x="77" y="45"/>
                      </a:lnTo>
                      <a:lnTo>
                        <a:pt x="77" y="46"/>
                      </a:lnTo>
                      <a:lnTo>
                        <a:pt x="74" y="45"/>
                      </a:lnTo>
                      <a:lnTo>
                        <a:pt x="73" y="46"/>
                      </a:lnTo>
                      <a:lnTo>
                        <a:pt x="74" y="47"/>
                      </a:lnTo>
                      <a:lnTo>
                        <a:pt x="73" y="48"/>
                      </a:lnTo>
                      <a:lnTo>
                        <a:pt x="71" y="48"/>
                      </a:lnTo>
                      <a:lnTo>
                        <a:pt x="71" y="49"/>
                      </a:lnTo>
                      <a:lnTo>
                        <a:pt x="71" y="49"/>
                      </a:lnTo>
                      <a:lnTo>
                        <a:pt x="69" y="50"/>
                      </a:lnTo>
                      <a:lnTo>
                        <a:pt x="71" y="50"/>
                      </a:lnTo>
                      <a:lnTo>
                        <a:pt x="69" y="50"/>
                      </a:lnTo>
                      <a:lnTo>
                        <a:pt x="69" y="50"/>
                      </a:lnTo>
                      <a:lnTo>
                        <a:pt x="68" y="50"/>
                      </a:lnTo>
                      <a:lnTo>
                        <a:pt x="67" y="50"/>
                      </a:lnTo>
                      <a:lnTo>
                        <a:pt x="67" y="52"/>
                      </a:lnTo>
                      <a:lnTo>
                        <a:pt x="67" y="52"/>
                      </a:lnTo>
                      <a:lnTo>
                        <a:pt x="67" y="52"/>
                      </a:lnTo>
                      <a:lnTo>
                        <a:pt x="67" y="54"/>
                      </a:lnTo>
                      <a:lnTo>
                        <a:pt x="68" y="55"/>
                      </a:lnTo>
                      <a:lnTo>
                        <a:pt x="69" y="56"/>
                      </a:lnTo>
                      <a:lnTo>
                        <a:pt x="69" y="56"/>
                      </a:lnTo>
                      <a:lnTo>
                        <a:pt x="68" y="59"/>
                      </a:lnTo>
                      <a:lnTo>
                        <a:pt x="67" y="59"/>
                      </a:lnTo>
                      <a:lnTo>
                        <a:pt x="65" y="59"/>
                      </a:lnTo>
                      <a:lnTo>
                        <a:pt x="64" y="60"/>
                      </a:lnTo>
                      <a:lnTo>
                        <a:pt x="64" y="59"/>
                      </a:lnTo>
                      <a:lnTo>
                        <a:pt x="61" y="60"/>
                      </a:lnTo>
                      <a:lnTo>
                        <a:pt x="60" y="59"/>
                      </a:lnTo>
                      <a:lnTo>
                        <a:pt x="58" y="60"/>
                      </a:lnTo>
                      <a:lnTo>
                        <a:pt x="57" y="60"/>
                      </a:lnTo>
                      <a:lnTo>
                        <a:pt x="54" y="60"/>
                      </a:lnTo>
                      <a:lnTo>
                        <a:pt x="53" y="60"/>
                      </a:lnTo>
                      <a:lnTo>
                        <a:pt x="52" y="59"/>
                      </a:lnTo>
                      <a:lnTo>
                        <a:pt x="51" y="59"/>
                      </a:lnTo>
                      <a:lnTo>
                        <a:pt x="51" y="58"/>
                      </a:lnTo>
                      <a:lnTo>
                        <a:pt x="48" y="58"/>
                      </a:lnTo>
                      <a:lnTo>
                        <a:pt x="47" y="56"/>
                      </a:lnTo>
                      <a:lnTo>
                        <a:pt x="46" y="58"/>
                      </a:lnTo>
                      <a:lnTo>
                        <a:pt x="46" y="58"/>
                      </a:lnTo>
                      <a:lnTo>
                        <a:pt x="45" y="58"/>
                      </a:lnTo>
                      <a:lnTo>
                        <a:pt x="44" y="58"/>
                      </a:lnTo>
                      <a:lnTo>
                        <a:pt x="42" y="56"/>
                      </a:lnTo>
                      <a:lnTo>
                        <a:pt x="42" y="56"/>
                      </a:lnTo>
                      <a:lnTo>
                        <a:pt x="41" y="55"/>
                      </a:lnTo>
                      <a:lnTo>
                        <a:pt x="41" y="55"/>
                      </a:lnTo>
                      <a:lnTo>
                        <a:pt x="40" y="54"/>
                      </a:lnTo>
                      <a:lnTo>
                        <a:pt x="40" y="55"/>
                      </a:lnTo>
                      <a:lnTo>
                        <a:pt x="39" y="55"/>
                      </a:lnTo>
                      <a:lnTo>
                        <a:pt x="38" y="55"/>
                      </a:lnTo>
                      <a:lnTo>
                        <a:pt x="38" y="54"/>
                      </a:lnTo>
                      <a:lnTo>
                        <a:pt x="37" y="54"/>
                      </a:lnTo>
                      <a:lnTo>
                        <a:pt x="35" y="55"/>
                      </a:lnTo>
                      <a:lnTo>
                        <a:pt x="35" y="55"/>
                      </a:lnTo>
                      <a:lnTo>
                        <a:pt x="34" y="55"/>
                      </a:lnTo>
                      <a:lnTo>
                        <a:pt x="33" y="55"/>
                      </a:lnTo>
                      <a:lnTo>
                        <a:pt x="33" y="55"/>
                      </a:lnTo>
                      <a:lnTo>
                        <a:pt x="34" y="56"/>
                      </a:lnTo>
                      <a:lnTo>
                        <a:pt x="33" y="56"/>
                      </a:lnTo>
                      <a:lnTo>
                        <a:pt x="32" y="56"/>
                      </a:lnTo>
                      <a:lnTo>
                        <a:pt x="32" y="56"/>
                      </a:lnTo>
                      <a:lnTo>
                        <a:pt x="31" y="56"/>
                      </a:lnTo>
                      <a:lnTo>
                        <a:pt x="30" y="56"/>
                      </a:lnTo>
                      <a:lnTo>
                        <a:pt x="28" y="58"/>
                      </a:lnTo>
                      <a:lnTo>
                        <a:pt x="27" y="56"/>
                      </a:lnTo>
                      <a:lnTo>
                        <a:pt x="26" y="58"/>
                      </a:lnTo>
                      <a:lnTo>
                        <a:pt x="25" y="58"/>
                      </a:lnTo>
                      <a:lnTo>
                        <a:pt x="24" y="56"/>
                      </a:lnTo>
                      <a:lnTo>
                        <a:pt x="22" y="58"/>
                      </a:lnTo>
                      <a:lnTo>
                        <a:pt x="22" y="58"/>
                      </a:lnTo>
                      <a:lnTo>
                        <a:pt x="21" y="58"/>
                      </a:lnTo>
                      <a:lnTo>
                        <a:pt x="20" y="58"/>
                      </a:lnTo>
                      <a:lnTo>
                        <a:pt x="20" y="59"/>
                      </a:lnTo>
                      <a:lnTo>
                        <a:pt x="19" y="60"/>
                      </a:lnTo>
                      <a:lnTo>
                        <a:pt x="17" y="60"/>
                      </a:lnTo>
                      <a:lnTo>
                        <a:pt x="15" y="59"/>
                      </a:lnTo>
                      <a:lnTo>
                        <a:pt x="15" y="58"/>
                      </a:lnTo>
                      <a:lnTo>
                        <a:pt x="15" y="58"/>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09" name="Brazil">
                  <a:extLst>
                    <a:ext uri="{FF2B5EF4-FFF2-40B4-BE49-F238E27FC236}">
                      <a16:creationId xmlns:a16="http://schemas.microsoft.com/office/drawing/2014/main" id="{574744E5-AFC1-4F4C-A316-2C1ADBBF5B6E}"/>
                    </a:ext>
                  </a:extLst>
                </p:cNvPr>
                <p:cNvSpPr>
                  <a:spLocks noEditPoints="1"/>
                </p:cNvSpPr>
                <p:nvPr/>
              </p:nvSpPr>
              <p:spPr bwMode="auto">
                <a:xfrm>
                  <a:off x="4412836" y="3829072"/>
                  <a:ext cx="1035144" cy="1166358"/>
                </a:xfrm>
                <a:custGeom>
                  <a:avLst/>
                  <a:gdLst>
                    <a:gd name="T0" fmla="*/ 646 w 710"/>
                    <a:gd name="T1" fmla="*/ 374 h 800"/>
                    <a:gd name="T2" fmla="*/ 669 w 710"/>
                    <a:gd name="T3" fmla="*/ 336 h 800"/>
                    <a:gd name="T4" fmla="*/ 708 w 710"/>
                    <a:gd name="T5" fmla="*/ 264 h 800"/>
                    <a:gd name="T6" fmla="*/ 663 w 710"/>
                    <a:gd name="T7" fmla="*/ 205 h 800"/>
                    <a:gd name="T8" fmla="*/ 590 w 710"/>
                    <a:gd name="T9" fmla="*/ 168 h 800"/>
                    <a:gd name="T10" fmla="*/ 551 w 710"/>
                    <a:gd name="T11" fmla="*/ 158 h 800"/>
                    <a:gd name="T12" fmla="*/ 536 w 710"/>
                    <a:gd name="T13" fmla="*/ 164 h 800"/>
                    <a:gd name="T14" fmla="*/ 531 w 710"/>
                    <a:gd name="T15" fmla="*/ 157 h 800"/>
                    <a:gd name="T16" fmla="*/ 529 w 710"/>
                    <a:gd name="T17" fmla="*/ 144 h 800"/>
                    <a:gd name="T18" fmla="*/ 516 w 710"/>
                    <a:gd name="T19" fmla="*/ 138 h 800"/>
                    <a:gd name="T20" fmla="*/ 507 w 710"/>
                    <a:gd name="T21" fmla="*/ 134 h 800"/>
                    <a:gd name="T22" fmla="*/ 499 w 710"/>
                    <a:gd name="T23" fmla="*/ 130 h 800"/>
                    <a:gd name="T24" fmla="*/ 484 w 710"/>
                    <a:gd name="T25" fmla="*/ 124 h 800"/>
                    <a:gd name="T26" fmla="*/ 469 w 710"/>
                    <a:gd name="T27" fmla="*/ 124 h 800"/>
                    <a:gd name="T28" fmla="*/ 453 w 710"/>
                    <a:gd name="T29" fmla="*/ 144 h 800"/>
                    <a:gd name="T30" fmla="*/ 435 w 710"/>
                    <a:gd name="T31" fmla="*/ 148 h 800"/>
                    <a:gd name="T32" fmla="*/ 415 w 710"/>
                    <a:gd name="T33" fmla="*/ 127 h 800"/>
                    <a:gd name="T34" fmla="*/ 419 w 710"/>
                    <a:gd name="T35" fmla="*/ 103 h 800"/>
                    <a:gd name="T36" fmla="*/ 415 w 710"/>
                    <a:gd name="T37" fmla="*/ 50 h 800"/>
                    <a:gd name="T38" fmla="*/ 373 w 710"/>
                    <a:gd name="T39" fmla="*/ 63 h 800"/>
                    <a:gd name="T40" fmla="*/ 335 w 710"/>
                    <a:gd name="T41" fmla="*/ 57 h 800"/>
                    <a:gd name="T42" fmla="*/ 279 w 710"/>
                    <a:gd name="T43" fmla="*/ 80 h 800"/>
                    <a:gd name="T44" fmla="*/ 253 w 710"/>
                    <a:gd name="T45" fmla="*/ 15 h 800"/>
                    <a:gd name="T46" fmla="*/ 227 w 710"/>
                    <a:gd name="T47" fmla="*/ 17 h 800"/>
                    <a:gd name="T48" fmla="*/ 202 w 710"/>
                    <a:gd name="T49" fmla="*/ 30 h 800"/>
                    <a:gd name="T50" fmla="*/ 166 w 710"/>
                    <a:gd name="T51" fmla="*/ 20 h 800"/>
                    <a:gd name="T52" fmla="*/ 190 w 710"/>
                    <a:gd name="T53" fmla="*/ 58 h 800"/>
                    <a:gd name="T54" fmla="*/ 162 w 710"/>
                    <a:gd name="T55" fmla="*/ 81 h 800"/>
                    <a:gd name="T56" fmla="*/ 126 w 710"/>
                    <a:gd name="T57" fmla="*/ 81 h 800"/>
                    <a:gd name="T58" fmla="*/ 81 w 710"/>
                    <a:gd name="T59" fmla="*/ 95 h 800"/>
                    <a:gd name="T60" fmla="*/ 65 w 710"/>
                    <a:gd name="T61" fmla="*/ 195 h 800"/>
                    <a:gd name="T62" fmla="*/ 28 w 710"/>
                    <a:gd name="T63" fmla="*/ 205 h 800"/>
                    <a:gd name="T64" fmla="*/ 5 w 710"/>
                    <a:gd name="T65" fmla="*/ 271 h 800"/>
                    <a:gd name="T66" fmla="*/ 65 w 710"/>
                    <a:gd name="T67" fmla="*/ 335 h 800"/>
                    <a:gd name="T68" fmla="*/ 146 w 710"/>
                    <a:gd name="T69" fmla="*/ 309 h 800"/>
                    <a:gd name="T70" fmla="*/ 173 w 710"/>
                    <a:gd name="T71" fmla="*/ 356 h 800"/>
                    <a:gd name="T72" fmla="*/ 246 w 710"/>
                    <a:gd name="T73" fmla="*/ 389 h 800"/>
                    <a:gd name="T74" fmla="*/ 308 w 710"/>
                    <a:gd name="T75" fmla="*/ 499 h 800"/>
                    <a:gd name="T76" fmla="*/ 309 w 710"/>
                    <a:gd name="T77" fmla="*/ 559 h 800"/>
                    <a:gd name="T78" fmla="*/ 348 w 710"/>
                    <a:gd name="T79" fmla="*/ 565 h 800"/>
                    <a:gd name="T80" fmla="*/ 383 w 710"/>
                    <a:gd name="T81" fmla="*/ 632 h 800"/>
                    <a:gd name="T82" fmla="*/ 353 w 710"/>
                    <a:gd name="T83" fmla="*/ 705 h 800"/>
                    <a:gd name="T84" fmla="*/ 388 w 710"/>
                    <a:gd name="T85" fmla="*/ 753 h 800"/>
                    <a:gd name="T86" fmla="*/ 430 w 710"/>
                    <a:gd name="T87" fmla="*/ 793 h 800"/>
                    <a:gd name="T88" fmla="*/ 440 w 710"/>
                    <a:gd name="T89" fmla="*/ 751 h 800"/>
                    <a:gd name="T90" fmla="*/ 453 w 710"/>
                    <a:gd name="T91" fmla="*/ 730 h 800"/>
                    <a:gd name="T92" fmla="*/ 441 w 710"/>
                    <a:gd name="T93" fmla="*/ 763 h 800"/>
                    <a:gd name="T94" fmla="*/ 471 w 710"/>
                    <a:gd name="T95" fmla="*/ 713 h 800"/>
                    <a:gd name="T96" fmla="*/ 486 w 710"/>
                    <a:gd name="T97" fmla="*/ 672 h 800"/>
                    <a:gd name="T98" fmla="*/ 484 w 710"/>
                    <a:gd name="T99" fmla="*/ 639 h 800"/>
                    <a:gd name="T100" fmla="*/ 493 w 710"/>
                    <a:gd name="T101" fmla="*/ 623 h 800"/>
                    <a:gd name="T102" fmla="*/ 522 w 710"/>
                    <a:gd name="T103" fmla="*/ 598 h 800"/>
                    <a:gd name="T104" fmla="*/ 550 w 710"/>
                    <a:gd name="T105" fmla="*/ 585 h 800"/>
                    <a:gd name="T106" fmla="*/ 560 w 710"/>
                    <a:gd name="T107" fmla="*/ 582 h 800"/>
                    <a:gd name="T108" fmla="*/ 591 w 710"/>
                    <a:gd name="T109" fmla="*/ 582 h 800"/>
                    <a:gd name="T110" fmla="*/ 610 w 710"/>
                    <a:gd name="T111" fmla="*/ 544 h 800"/>
                    <a:gd name="T112" fmla="*/ 629 w 710"/>
                    <a:gd name="T113" fmla="*/ 497 h 800"/>
                    <a:gd name="T114" fmla="*/ 640 w 710"/>
                    <a:gd name="T115" fmla="*/ 445 h 800"/>
                    <a:gd name="T116" fmla="*/ 637 w 710"/>
                    <a:gd name="T117" fmla="*/ 396 h 800"/>
                    <a:gd name="T118" fmla="*/ 429 w 710"/>
                    <a:gd name="T119" fmla="*/ 108 h 800"/>
                    <a:gd name="T120" fmla="*/ 434 w 710"/>
                    <a:gd name="T121" fmla="*/ 110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10" h="800">
                      <a:moveTo>
                        <a:pt x="637" y="390"/>
                      </a:moveTo>
                      <a:lnTo>
                        <a:pt x="636" y="388"/>
                      </a:lnTo>
                      <a:lnTo>
                        <a:pt x="636" y="386"/>
                      </a:lnTo>
                      <a:lnTo>
                        <a:pt x="636" y="386"/>
                      </a:lnTo>
                      <a:lnTo>
                        <a:pt x="639" y="383"/>
                      </a:lnTo>
                      <a:lnTo>
                        <a:pt x="639" y="379"/>
                      </a:lnTo>
                      <a:lnTo>
                        <a:pt x="639" y="377"/>
                      </a:lnTo>
                      <a:lnTo>
                        <a:pt x="640" y="377"/>
                      </a:lnTo>
                      <a:lnTo>
                        <a:pt x="641" y="375"/>
                      </a:lnTo>
                      <a:lnTo>
                        <a:pt x="640" y="372"/>
                      </a:lnTo>
                      <a:lnTo>
                        <a:pt x="639" y="370"/>
                      </a:lnTo>
                      <a:lnTo>
                        <a:pt x="639" y="368"/>
                      </a:lnTo>
                      <a:lnTo>
                        <a:pt x="640" y="368"/>
                      </a:lnTo>
                      <a:lnTo>
                        <a:pt x="639" y="369"/>
                      </a:lnTo>
                      <a:lnTo>
                        <a:pt x="641" y="369"/>
                      </a:lnTo>
                      <a:lnTo>
                        <a:pt x="643" y="369"/>
                      </a:lnTo>
                      <a:lnTo>
                        <a:pt x="644" y="369"/>
                      </a:lnTo>
                      <a:lnTo>
                        <a:pt x="646" y="369"/>
                      </a:lnTo>
                      <a:lnTo>
                        <a:pt x="646" y="374"/>
                      </a:lnTo>
                      <a:lnTo>
                        <a:pt x="648" y="374"/>
                      </a:lnTo>
                      <a:lnTo>
                        <a:pt x="649" y="374"/>
                      </a:lnTo>
                      <a:lnTo>
                        <a:pt x="651" y="371"/>
                      </a:lnTo>
                      <a:lnTo>
                        <a:pt x="650" y="370"/>
                      </a:lnTo>
                      <a:lnTo>
                        <a:pt x="651" y="368"/>
                      </a:lnTo>
                      <a:lnTo>
                        <a:pt x="653" y="366"/>
                      </a:lnTo>
                      <a:lnTo>
                        <a:pt x="656" y="363"/>
                      </a:lnTo>
                      <a:lnTo>
                        <a:pt x="663" y="346"/>
                      </a:lnTo>
                      <a:lnTo>
                        <a:pt x="663" y="344"/>
                      </a:lnTo>
                      <a:lnTo>
                        <a:pt x="663" y="342"/>
                      </a:lnTo>
                      <a:lnTo>
                        <a:pt x="664" y="341"/>
                      </a:lnTo>
                      <a:lnTo>
                        <a:pt x="664" y="341"/>
                      </a:lnTo>
                      <a:lnTo>
                        <a:pt x="666" y="338"/>
                      </a:lnTo>
                      <a:lnTo>
                        <a:pt x="666" y="338"/>
                      </a:lnTo>
                      <a:lnTo>
                        <a:pt x="667" y="337"/>
                      </a:lnTo>
                      <a:lnTo>
                        <a:pt x="664" y="341"/>
                      </a:lnTo>
                      <a:lnTo>
                        <a:pt x="664" y="342"/>
                      </a:lnTo>
                      <a:lnTo>
                        <a:pt x="668" y="338"/>
                      </a:lnTo>
                      <a:lnTo>
                        <a:pt x="669" y="336"/>
                      </a:lnTo>
                      <a:lnTo>
                        <a:pt x="667" y="335"/>
                      </a:lnTo>
                      <a:lnTo>
                        <a:pt x="669" y="336"/>
                      </a:lnTo>
                      <a:lnTo>
                        <a:pt x="674" y="328"/>
                      </a:lnTo>
                      <a:lnTo>
                        <a:pt x="682" y="323"/>
                      </a:lnTo>
                      <a:lnTo>
                        <a:pt x="684" y="318"/>
                      </a:lnTo>
                      <a:lnTo>
                        <a:pt x="693" y="308"/>
                      </a:lnTo>
                      <a:lnTo>
                        <a:pt x="691" y="307"/>
                      </a:lnTo>
                      <a:lnTo>
                        <a:pt x="691" y="307"/>
                      </a:lnTo>
                      <a:lnTo>
                        <a:pt x="693" y="305"/>
                      </a:lnTo>
                      <a:lnTo>
                        <a:pt x="693" y="307"/>
                      </a:lnTo>
                      <a:lnTo>
                        <a:pt x="695" y="305"/>
                      </a:lnTo>
                      <a:lnTo>
                        <a:pt x="704" y="291"/>
                      </a:lnTo>
                      <a:lnTo>
                        <a:pt x="707" y="284"/>
                      </a:lnTo>
                      <a:lnTo>
                        <a:pt x="708" y="274"/>
                      </a:lnTo>
                      <a:lnTo>
                        <a:pt x="708" y="274"/>
                      </a:lnTo>
                      <a:lnTo>
                        <a:pt x="709" y="269"/>
                      </a:lnTo>
                      <a:lnTo>
                        <a:pt x="708" y="268"/>
                      </a:lnTo>
                      <a:lnTo>
                        <a:pt x="708" y="267"/>
                      </a:lnTo>
                      <a:lnTo>
                        <a:pt x="708" y="264"/>
                      </a:lnTo>
                      <a:lnTo>
                        <a:pt x="709" y="264"/>
                      </a:lnTo>
                      <a:lnTo>
                        <a:pt x="708" y="263"/>
                      </a:lnTo>
                      <a:lnTo>
                        <a:pt x="708" y="263"/>
                      </a:lnTo>
                      <a:lnTo>
                        <a:pt x="709" y="263"/>
                      </a:lnTo>
                      <a:lnTo>
                        <a:pt x="710" y="255"/>
                      </a:lnTo>
                      <a:lnTo>
                        <a:pt x="708" y="252"/>
                      </a:lnTo>
                      <a:lnTo>
                        <a:pt x="707" y="254"/>
                      </a:lnTo>
                      <a:lnTo>
                        <a:pt x="707" y="249"/>
                      </a:lnTo>
                      <a:lnTo>
                        <a:pt x="707" y="245"/>
                      </a:lnTo>
                      <a:lnTo>
                        <a:pt x="703" y="235"/>
                      </a:lnTo>
                      <a:lnTo>
                        <a:pt x="703" y="234"/>
                      </a:lnTo>
                      <a:lnTo>
                        <a:pt x="703" y="230"/>
                      </a:lnTo>
                      <a:lnTo>
                        <a:pt x="701" y="221"/>
                      </a:lnTo>
                      <a:lnTo>
                        <a:pt x="696" y="214"/>
                      </a:lnTo>
                      <a:lnTo>
                        <a:pt x="686" y="211"/>
                      </a:lnTo>
                      <a:lnTo>
                        <a:pt x="676" y="212"/>
                      </a:lnTo>
                      <a:lnTo>
                        <a:pt x="677" y="214"/>
                      </a:lnTo>
                      <a:lnTo>
                        <a:pt x="670" y="209"/>
                      </a:lnTo>
                      <a:lnTo>
                        <a:pt x="663" y="205"/>
                      </a:lnTo>
                      <a:lnTo>
                        <a:pt x="657" y="203"/>
                      </a:lnTo>
                      <a:lnTo>
                        <a:pt x="655" y="198"/>
                      </a:lnTo>
                      <a:lnTo>
                        <a:pt x="647" y="194"/>
                      </a:lnTo>
                      <a:lnTo>
                        <a:pt x="644" y="189"/>
                      </a:lnTo>
                      <a:lnTo>
                        <a:pt x="641" y="184"/>
                      </a:lnTo>
                      <a:lnTo>
                        <a:pt x="636" y="181"/>
                      </a:lnTo>
                      <a:lnTo>
                        <a:pt x="633" y="178"/>
                      </a:lnTo>
                      <a:lnTo>
                        <a:pt x="629" y="176"/>
                      </a:lnTo>
                      <a:lnTo>
                        <a:pt x="623" y="172"/>
                      </a:lnTo>
                      <a:lnTo>
                        <a:pt x="620" y="170"/>
                      </a:lnTo>
                      <a:lnTo>
                        <a:pt x="619" y="170"/>
                      </a:lnTo>
                      <a:lnTo>
                        <a:pt x="614" y="167"/>
                      </a:lnTo>
                      <a:lnTo>
                        <a:pt x="610" y="165"/>
                      </a:lnTo>
                      <a:lnTo>
                        <a:pt x="606" y="165"/>
                      </a:lnTo>
                      <a:lnTo>
                        <a:pt x="603" y="165"/>
                      </a:lnTo>
                      <a:lnTo>
                        <a:pt x="599" y="167"/>
                      </a:lnTo>
                      <a:lnTo>
                        <a:pt x="597" y="167"/>
                      </a:lnTo>
                      <a:lnTo>
                        <a:pt x="594" y="168"/>
                      </a:lnTo>
                      <a:lnTo>
                        <a:pt x="590" y="168"/>
                      </a:lnTo>
                      <a:lnTo>
                        <a:pt x="590" y="168"/>
                      </a:lnTo>
                      <a:lnTo>
                        <a:pt x="589" y="168"/>
                      </a:lnTo>
                      <a:lnTo>
                        <a:pt x="587" y="168"/>
                      </a:lnTo>
                      <a:lnTo>
                        <a:pt x="584" y="167"/>
                      </a:lnTo>
                      <a:lnTo>
                        <a:pt x="583" y="167"/>
                      </a:lnTo>
                      <a:lnTo>
                        <a:pt x="583" y="167"/>
                      </a:lnTo>
                      <a:lnTo>
                        <a:pt x="581" y="164"/>
                      </a:lnTo>
                      <a:lnTo>
                        <a:pt x="579" y="164"/>
                      </a:lnTo>
                      <a:lnTo>
                        <a:pt x="577" y="165"/>
                      </a:lnTo>
                      <a:lnTo>
                        <a:pt x="575" y="165"/>
                      </a:lnTo>
                      <a:lnTo>
                        <a:pt x="574" y="165"/>
                      </a:lnTo>
                      <a:lnTo>
                        <a:pt x="573" y="165"/>
                      </a:lnTo>
                      <a:lnTo>
                        <a:pt x="569" y="164"/>
                      </a:lnTo>
                      <a:lnTo>
                        <a:pt x="569" y="163"/>
                      </a:lnTo>
                      <a:lnTo>
                        <a:pt x="564" y="161"/>
                      </a:lnTo>
                      <a:lnTo>
                        <a:pt x="561" y="158"/>
                      </a:lnTo>
                      <a:lnTo>
                        <a:pt x="551" y="157"/>
                      </a:lnTo>
                      <a:lnTo>
                        <a:pt x="551" y="158"/>
                      </a:lnTo>
                      <a:lnTo>
                        <a:pt x="551" y="158"/>
                      </a:lnTo>
                      <a:lnTo>
                        <a:pt x="551" y="161"/>
                      </a:lnTo>
                      <a:lnTo>
                        <a:pt x="550" y="160"/>
                      </a:lnTo>
                      <a:lnTo>
                        <a:pt x="549" y="158"/>
                      </a:lnTo>
                      <a:lnTo>
                        <a:pt x="549" y="158"/>
                      </a:lnTo>
                      <a:lnTo>
                        <a:pt x="547" y="160"/>
                      </a:lnTo>
                      <a:lnTo>
                        <a:pt x="547" y="160"/>
                      </a:lnTo>
                      <a:lnTo>
                        <a:pt x="547" y="161"/>
                      </a:lnTo>
                      <a:lnTo>
                        <a:pt x="546" y="161"/>
                      </a:lnTo>
                      <a:lnTo>
                        <a:pt x="543" y="161"/>
                      </a:lnTo>
                      <a:lnTo>
                        <a:pt x="542" y="161"/>
                      </a:lnTo>
                      <a:lnTo>
                        <a:pt x="541" y="162"/>
                      </a:lnTo>
                      <a:lnTo>
                        <a:pt x="540" y="165"/>
                      </a:lnTo>
                      <a:lnTo>
                        <a:pt x="539" y="165"/>
                      </a:lnTo>
                      <a:lnTo>
                        <a:pt x="539" y="165"/>
                      </a:lnTo>
                      <a:lnTo>
                        <a:pt x="537" y="164"/>
                      </a:lnTo>
                      <a:lnTo>
                        <a:pt x="537" y="165"/>
                      </a:lnTo>
                      <a:lnTo>
                        <a:pt x="536" y="165"/>
                      </a:lnTo>
                      <a:lnTo>
                        <a:pt x="535" y="164"/>
                      </a:lnTo>
                      <a:lnTo>
                        <a:pt x="536" y="164"/>
                      </a:lnTo>
                      <a:lnTo>
                        <a:pt x="537" y="163"/>
                      </a:lnTo>
                      <a:lnTo>
                        <a:pt x="539" y="163"/>
                      </a:lnTo>
                      <a:lnTo>
                        <a:pt x="540" y="160"/>
                      </a:lnTo>
                      <a:lnTo>
                        <a:pt x="540" y="158"/>
                      </a:lnTo>
                      <a:lnTo>
                        <a:pt x="539" y="157"/>
                      </a:lnTo>
                      <a:lnTo>
                        <a:pt x="536" y="161"/>
                      </a:lnTo>
                      <a:lnTo>
                        <a:pt x="535" y="161"/>
                      </a:lnTo>
                      <a:lnTo>
                        <a:pt x="534" y="162"/>
                      </a:lnTo>
                      <a:lnTo>
                        <a:pt x="534" y="164"/>
                      </a:lnTo>
                      <a:lnTo>
                        <a:pt x="534" y="165"/>
                      </a:lnTo>
                      <a:lnTo>
                        <a:pt x="529" y="174"/>
                      </a:lnTo>
                      <a:lnTo>
                        <a:pt x="528" y="174"/>
                      </a:lnTo>
                      <a:lnTo>
                        <a:pt x="527" y="174"/>
                      </a:lnTo>
                      <a:lnTo>
                        <a:pt x="529" y="170"/>
                      </a:lnTo>
                      <a:lnTo>
                        <a:pt x="528" y="169"/>
                      </a:lnTo>
                      <a:lnTo>
                        <a:pt x="529" y="163"/>
                      </a:lnTo>
                      <a:lnTo>
                        <a:pt x="529" y="162"/>
                      </a:lnTo>
                      <a:lnTo>
                        <a:pt x="531" y="158"/>
                      </a:lnTo>
                      <a:lnTo>
                        <a:pt x="531" y="157"/>
                      </a:lnTo>
                      <a:lnTo>
                        <a:pt x="531" y="156"/>
                      </a:lnTo>
                      <a:lnTo>
                        <a:pt x="533" y="156"/>
                      </a:lnTo>
                      <a:lnTo>
                        <a:pt x="531" y="154"/>
                      </a:lnTo>
                      <a:lnTo>
                        <a:pt x="529" y="155"/>
                      </a:lnTo>
                      <a:lnTo>
                        <a:pt x="529" y="155"/>
                      </a:lnTo>
                      <a:lnTo>
                        <a:pt x="529" y="155"/>
                      </a:lnTo>
                      <a:lnTo>
                        <a:pt x="528" y="154"/>
                      </a:lnTo>
                      <a:lnTo>
                        <a:pt x="528" y="154"/>
                      </a:lnTo>
                      <a:lnTo>
                        <a:pt x="528" y="154"/>
                      </a:lnTo>
                      <a:lnTo>
                        <a:pt x="530" y="152"/>
                      </a:lnTo>
                      <a:lnTo>
                        <a:pt x="530" y="151"/>
                      </a:lnTo>
                      <a:lnTo>
                        <a:pt x="531" y="149"/>
                      </a:lnTo>
                      <a:lnTo>
                        <a:pt x="531" y="149"/>
                      </a:lnTo>
                      <a:lnTo>
                        <a:pt x="530" y="147"/>
                      </a:lnTo>
                      <a:lnTo>
                        <a:pt x="531" y="145"/>
                      </a:lnTo>
                      <a:lnTo>
                        <a:pt x="530" y="144"/>
                      </a:lnTo>
                      <a:lnTo>
                        <a:pt x="529" y="144"/>
                      </a:lnTo>
                      <a:lnTo>
                        <a:pt x="529" y="144"/>
                      </a:lnTo>
                      <a:lnTo>
                        <a:pt x="529" y="144"/>
                      </a:lnTo>
                      <a:lnTo>
                        <a:pt x="528" y="144"/>
                      </a:lnTo>
                      <a:lnTo>
                        <a:pt x="527" y="143"/>
                      </a:lnTo>
                      <a:lnTo>
                        <a:pt x="527" y="143"/>
                      </a:lnTo>
                      <a:lnTo>
                        <a:pt x="526" y="141"/>
                      </a:lnTo>
                      <a:lnTo>
                        <a:pt x="524" y="141"/>
                      </a:lnTo>
                      <a:lnTo>
                        <a:pt x="524" y="140"/>
                      </a:lnTo>
                      <a:lnTo>
                        <a:pt x="523" y="138"/>
                      </a:lnTo>
                      <a:lnTo>
                        <a:pt x="522" y="140"/>
                      </a:lnTo>
                      <a:lnTo>
                        <a:pt x="522" y="140"/>
                      </a:lnTo>
                      <a:lnTo>
                        <a:pt x="522" y="138"/>
                      </a:lnTo>
                      <a:lnTo>
                        <a:pt x="522" y="138"/>
                      </a:lnTo>
                      <a:lnTo>
                        <a:pt x="521" y="137"/>
                      </a:lnTo>
                      <a:lnTo>
                        <a:pt x="520" y="138"/>
                      </a:lnTo>
                      <a:lnTo>
                        <a:pt x="520" y="138"/>
                      </a:lnTo>
                      <a:lnTo>
                        <a:pt x="519" y="140"/>
                      </a:lnTo>
                      <a:lnTo>
                        <a:pt x="517" y="141"/>
                      </a:lnTo>
                      <a:lnTo>
                        <a:pt x="516" y="140"/>
                      </a:lnTo>
                      <a:lnTo>
                        <a:pt x="516" y="140"/>
                      </a:lnTo>
                      <a:lnTo>
                        <a:pt x="516" y="138"/>
                      </a:lnTo>
                      <a:lnTo>
                        <a:pt x="517" y="137"/>
                      </a:lnTo>
                      <a:lnTo>
                        <a:pt x="516" y="136"/>
                      </a:lnTo>
                      <a:lnTo>
                        <a:pt x="516" y="137"/>
                      </a:lnTo>
                      <a:lnTo>
                        <a:pt x="515" y="137"/>
                      </a:lnTo>
                      <a:lnTo>
                        <a:pt x="514" y="138"/>
                      </a:lnTo>
                      <a:lnTo>
                        <a:pt x="513" y="138"/>
                      </a:lnTo>
                      <a:lnTo>
                        <a:pt x="513" y="138"/>
                      </a:lnTo>
                      <a:lnTo>
                        <a:pt x="514" y="136"/>
                      </a:lnTo>
                      <a:lnTo>
                        <a:pt x="513" y="137"/>
                      </a:lnTo>
                      <a:lnTo>
                        <a:pt x="513" y="135"/>
                      </a:lnTo>
                      <a:lnTo>
                        <a:pt x="513" y="134"/>
                      </a:lnTo>
                      <a:lnTo>
                        <a:pt x="511" y="135"/>
                      </a:lnTo>
                      <a:lnTo>
                        <a:pt x="511" y="134"/>
                      </a:lnTo>
                      <a:lnTo>
                        <a:pt x="510" y="136"/>
                      </a:lnTo>
                      <a:lnTo>
                        <a:pt x="509" y="134"/>
                      </a:lnTo>
                      <a:lnTo>
                        <a:pt x="509" y="132"/>
                      </a:lnTo>
                      <a:lnTo>
                        <a:pt x="508" y="134"/>
                      </a:lnTo>
                      <a:lnTo>
                        <a:pt x="508" y="132"/>
                      </a:lnTo>
                      <a:lnTo>
                        <a:pt x="507" y="134"/>
                      </a:lnTo>
                      <a:lnTo>
                        <a:pt x="507" y="134"/>
                      </a:lnTo>
                      <a:lnTo>
                        <a:pt x="507" y="131"/>
                      </a:lnTo>
                      <a:lnTo>
                        <a:pt x="506" y="131"/>
                      </a:lnTo>
                      <a:lnTo>
                        <a:pt x="506" y="131"/>
                      </a:lnTo>
                      <a:lnTo>
                        <a:pt x="506" y="131"/>
                      </a:lnTo>
                      <a:lnTo>
                        <a:pt x="506" y="131"/>
                      </a:lnTo>
                      <a:lnTo>
                        <a:pt x="504" y="131"/>
                      </a:lnTo>
                      <a:lnTo>
                        <a:pt x="504" y="130"/>
                      </a:lnTo>
                      <a:lnTo>
                        <a:pt x="503" y="131"/>
                      </a:lnTo>
                      <a:lnTo>
                        <a:pt x="503" y="131"/>
                      </a:lnTo>
                      <a:lnTo>
                        <a:pt x="502" y="131"/>
                      </a:lnTo>
                      <a:lnTo>
                        <a:pt x="501" y="131"/>
                      </a:lnTo>
                      <a:lnTo>
                        <a:pt x="501" y="130"/>
                      </a:lnTo>
                      <a:lnTo>
                        <a:pt x="501" y="128"/>
                      </a:lnTo>
                      <a:lnTo>
                        <a:pt x="500" y="128"/>
                      </a:lnTo>
                      <a:lnTo>
                        <a:pt x="500" y="128"/>
                      </a:lnTo>
                      <a:lnTo>
                        <a:pt x="500" y="130"/>
                      </a:lnTo>
                      <a:lnTo>
                        <a:pt x="499" y="130"/>
                      </a:lnTo>
                      <a:lnTo>
                        <a:pt x="499" y="130"/>
                      </a:lnTo>
                      <a:lnTo>
                        <a:pt x="497" y="129"/>
                      </a:lnTo>
                      <a:lnTo>
                        <a:pt x="496" y="129"/>
                      </a:lnTo>
                      <a:lnTo>
                        <a:pt x="494" y="129"/>
                      </a:lnTo>
                      <a:lnTo>
                        <a:pt x="494" y="128"/>
                      </a:lnTo>
                      <a:lnTo>
                        <a:pt x="494" y="128"/>
                      </a:lnTo>
                      <a:lnTo>
                        <a:pt x="490" y="129"/>
                      </a:lnTo>
                      <a:lnTo>
                        <a:pt x="494" y="127"/>
                      </a:lnTo>
                      <a:lnTo>
                        <a:pt x="493" y="124"/>
                      </a:lnTo>
                      <a:lnTo>
                        <a:pt x="491" y="124"/>
                      </a:lnTo>
                      <a:lnTo>
                        <a:pt x="491" y="125"/>
                      </a:lnTo>
                      <a:lnTo>
                        <a:pt x="490" y="125"/>
                      </a:lnTo>
                      <a:lnTo>
                        <a:pt x="489" y="124"/>
                      </a:lnTo>
                      <a:lnTo>
                        <a:pt x="489" y="122"/>
                      </a:lnTo>
                      <a:lnTo>
                        <a:pt x="488" y="124"/>
                      </a:lnTo>
                      <a:lnTo>
                        <a:pt x="487" y="125"/>
                      </a:lnTo>
                      <a:lnTo>
                        <a:pt x="487" y="124"/>
                      </a:lnTo>
                      <a:lnTo>
                        <a:pt x="486" y="125"/>
                      </a:lnTo>
                      <a:lnTo>
                        <a:pt x="486" y="124"/>
                      </a:lnTo>
                      <a:lnTo>
                        <a:pt x="484" y="124"/>
                      </a:lnTo>
                      <a:lnTo>
                        <a:pt x="482" y="123"/>
                      </a:lnTo>
                      <a:lnTo>
                        <a:pt x="483" y="122"/>
                      </a:lnTo>
                      <a:lnTo>
                        <a:pt x="482" y="122"/>
                      </a:lnTo>
                      <a:lnTo>
                        <a:pt x="482" y="121"/>
                      </a:lnTo>
                      <a:lnTo>
                        <a:pt x="482" y="122"/>
                      </a:lnTo>
                      <a:lnTo>
                        <a:pt x="481" y="121"/>
                      </a:lnTo>
                      <a:lnTo>
                        <a:pt x="480" y="121"/>
                      </a:lnTo>
                      <a:lnTo>
                        <a:pt x="480" y="121"/>
                      </a:lnTo>
                      <a:lnTo>
                        <a:pt x="479" y="121"/>
                      </a:lnTo>
                      <a:lnTo>
                        <a:pt x="479" y="120"/>
                      </a:lnTo>
                      <a:lnTo>
                        <a:pt x="477" y="123"/>
                      </a:lnTo>
                      <a:lnTo>
                        <a:pt x="479" y="123"/>
                      </a:lnTo>
                      <a:lnTo>
                        <a:pt x="479" y="124"/>
                      </a:lnTo>
                      <a:lnTo>
                        <a:pt x="477" y="123"/>
                      </a:lnTo>
                      <a:lnTo>
                        <a:pt x="476" y="121"/>
                      </a:lnTo>
                      <a:lnTo>
                        <a:pt x="473" y="122"/>
                      </a:lnTo>
                      <a:lnTo>
                        <a:pt x="471" y="122"/>
                      </a:lnTo>
                      <a:lnTo>
                        <a:pt x="470" y="122"/>
                      </a:lnTo>
                      <a:lnTo>
                        <a:pt x="469" y="124"/>
                      </a:lnTo>
                      <a:lnTo>
                        <a:pt x="464" y="124"/>
                      </a:lnTo>
                      <a:lnTo>
                        <a:pt x="464" y="129"/>
                      </a:lnTo>
                      <a:lnTo>
                        <a:pt x="463" y="130"/>
                      </a:lnTo>
                      <a:lnTo>
                        <a:pt x="463" y="131"/>
                      </a:lnTo>
                      <a:lnTo>
                        <a:pt x="463" y="131"/>
                      </a:lnTo>
                      <a:lnTo>
                        <a:pt x="461" y="135"/>
                      </a:lnTo>
                      <a:lnTo>
                        <a:pt x="461" y="131"/>
                      </a:lnTo>
                      <a:lnTo>
                        <a:pt x="461" y="131"/>
                      </a:lnTo>
                      <a:lnTo>
                        <a:pt x="460" y="132"/>
                      </a:lnTo>
                      <a:lnTo>
                        <a:pt x="460" y="135"/>
                      </a:lnTo>
                      <a:lnTo>
                        <a:pt x="460" y="136"/>
                      </a:lnTo>
                      <a:lnTo>
                        <a:pt x="462" y="138"/>
                      </a:lnTo>
                      <a:lnTo>
                        <a:pt x="460" y="138"/>
                      </a:lnTo>
                      <a:lnTo>
                        <a:pt x="460" y="141"/>
                      </a:lnTo>
                      <a:lnTo>
                        <a:pt x="457" y="141"/>
                      </a:lnTo>
                      <a:lnTo>
                        <a:pt x="456" y="138"/>
                      </a:lnTo>
                      <a:lnTo>
                        <a:pt x="455" y="138"/>
                      </a:lnTo>
                      <a:lnTo>
                        <a:pt x="454" y="141"/>
                      </a:lnTo>
                      <a:lnTo>
                        <a:pt x="453" y="144"/>
                      </a:lnTo>
                      <a:lnTo>
                        <a:pt x="450" y="145"/>
                      </a:lnTo>
                      <a:lnTo>
                        <a:pt x="449" y="149"/>
                      </a:lnTo>
                      <a:lnTo>
                        <a:pt x="446" y="149"/>
                      </a:lnTo>
                      <a:lnTo>
                        <a:pt x="442" y="156"/>
                      </a:lnTo>
                      <a:lnTo>
                        <a:pt x="441" y="161"/>
                      </a:lnTo>
                      <a:lnTo>
                        <a:pt x="440" y="164"/>
                      </a:lnTo>
                      <a:lnTo>
                        <a:pt x="440" y="167"/>
                      </a:lnTo>
                      <a:lnTo>
                        <a:pt x="442" y="171"/>
                      </a:lnTo>
                      <a:lnTo>
                        <a:pt x="439" y="165"/>
                      </a:lnTo>
                      <a:lnTo>
                        <a:pt x="437" y="163"/>
                      </a:lnTo>
                      <a:lnTo>
                        <a:pt x="439" y="158"/>
                      </a:lnTo>
                      <a:lnTo>
                        <a:pt x="441" y="154"/>
                      </a:lnTo>
                      <a:lnTo>
                        <a:pt x="443" y="147"/>
                      </a:lnTo>
                      <a:lnTo>
                        <a:pt x="442" y="144"/>
                      </a:lnTo>
                      <a:lnTo>
                        <a:pt x="441" y="144"/>
                      </a:lnTo>
                      <a:lnTo>
                        <a:pt x="441" y="145"/>
                      </a:lnTo>
                      <a:lnTo>
                        <a:pt x="439" y="148"/>
                      </a:lnTo>
                      <a:lnTo>
                        <a:pt x="439" y="148"/>
                      </a:lnTo>
                      <a:lnTo>
                        <a:pt x="435" y="148"/>
                      </a:lnTo>
                      <a:lnTo>
                        <a:pt x="435" y="151"/>
                      </a:lnTo>
                      <a:lnTo>
                        <a:pt x="434" y="151"/>
                      </a:lnTo>
                      <a:lnTo>
                        <a:pt x="433" y="155"/>
                      </a:lnTo>
                      <a:lnTo>
                        <a:pt x="433" y="152"/>
                      </a:lnTo>
                      <a:lnTo>
                        <a:pt x="433" y="148"/>
                      </a:lnTo>
                      <a:lnTo>
                        <a:pt x="433" y="147"/>
                      </a:lnTo>
                      <a:lnTo>
                        <a:pt x="429" y="145"/>
                      </a:lnTo>
                      <a:lnTo>
                        <a:pt x="428" y="147"/>
                      </a:lnTo>
                      <a:lnTo>
                        <a:pt x="426" y="149"/>
                      </a:lnTo>
                      <a:lnTo>
                        <a:pt x="424" y="150"/>
                      </a:lnTo>
                      <a:lnTo>
                        <a:pt x="423" y="149"/>
                      </a:lnTo>
                      <a:lnTo>
                        <a:pt x="423" y="148"/>
                      </a:lnTo>
                      <a:lnTo>
                        <a:pt x="420" y="144"/>
                      </a:lnTo>
                      <a:lnTo>
                        <a:pt x="417" y="137"/>
                      </a:lnTo>
                      <a:lnTo>
                        <a:pt x="416" y="131"/>
                      </a:lnTo>
                      <a:lnTo>
                        <a:pt x="415" y="131"/>
                      </a:lnTo>
                      <a:lnTo>
                        <a:pt x="416" y="130"/>
                      </a:lnTo>
                      <a:lnTo>
                        <a:pt x="417" y="127"/>
                      </a:lnTo>
                      <a:lnTo>
                        <a:pt x="415" y="127"/>
                      </a:lnTo>
                      <a:lnTo>
                        <a:pt x="414" y="127"/>
                      </a:lnTo>
                      <a:lnTo>
                        <a:pt x="414" y="129"/>
                      </a:lnTo>
                      <a:lnTo>
                        <a:pt x="408" y="134"/>
                      </a:lnTo>
                      <a:lnTo>
                        <a:pt x="407" y="134"/>
                      </a:lnTo>
                      <a:lnTo>
                        <a:pt x="402" y="136"/>
                      </a:lnTo>
                      <a:lnTo>
                        <a:pt x="393" y="142"/>
                      </a:lnTo>
                      <a:lnTo>
                        <a:pt x="390" y="142"/>
                      </a:lnTo>
                      <a:lnTo>
                        <a:pt x="390" y="138"/>
                      </a:lnTo>
                      <a:lnTo>
                        <a:pt x="382" y="141"/>
                      </a:lnTo>
                      <a:lnTo>
                        <a:pt x="387" y="138"/>
                      </a:lnTo>
                      <a:lnTo>
                        <a:pt x="396" y="134"/>
                      </a:lnTo>
                      <a:lnTo>
                        <a:pt x="404" y="131"/>
                      </a:lnTo>
                      <a:lnTo>
                        <a:pt x="407" y="125"/>
                      </a:lnTo>
                      <a:lnTo>
                        <a:pt x="409" y="121"/>
                      </a:lnTo>
                      <a:lnTo>
                        <a:pt x="409" y="118"/>
                      </a:lnTo>
                      <a:lnTo>
                        <a:pt x="410" y="115"/>
                      </a:lnTo>
                      <a:lnTo>
                        <a:pt x="413" y="111"/>
                      </a:lnTo>
                      <a:lnTo>
                        <a:pt x="414" y="108"/>
                      </a:lnTo>
                      <a:lnTo>
                        <a:pt x="419" y="103"/>
                      </a:lnTo>
                      <a:lnTo>
                        <a:pt x="423" y="100"/>
                      </a:lnTo>
                      <a:lnTo>
                        <a:pt x="429" y="98"/>
                      </a:lnTo>
                      <a:lnTo>
                        <a:pt x="424" y="92"/>
                      </a:lnTo>
                      <a:lnTo>
                        <a:pt x="424" y="95"/>
                      </a:lnTo>
                      <a:lnTo>
                        <a:pt x="428" y="91"/>
                      </a:lnTo>
                      <a:lnTo>
                        <a:pt x="426" y="88"/>
                      </a:lnTo>
                      <a:lnTo>
                        <a:pt x="429" y="88"/>
                      </a:lnTo>
                      <a:lnTo>
                        <a:pt x="431" y="85"/>
                      </a:lnTo>
                      <a:lnTo>
                        <a:pt x="434" y="84"/>
                      </a:lnTo>
                      <a:lnTo>
                        <a:pt x="434" y="78"/>
                      </a:lnTo>
                      <a:lnTo>
                        <a:pt x="430" y="71"/>
                      </a:lnTo>
                      <a:lnTo>
                        <a:pt x="421" y="65"/>
                      </a:lnTo>
                      <a:lnTo>
                        <a:pt x="419" y="64"/>
                      </a:lnTo>
                      <a:lnTo>
                        <a:pt x="417" y="65"/>
                      </a:lnTo>
                      <a:lnTo>
                        <a:pt x="417" y="63"/>
                      </a:lnTo>
                      <a:lnTo>
                        <a:pt x="420" y="62"/>
                      </a:lnTo>
                      <a:lnTo>
                        <a:pt x="419" y="57"/>
                      </a:lnTo>
                      <a:lnTo>
                        <a:pt x="417" y="56"/>
                      </a:lnTo>
                      <a:lnTo>
                        <a:pt x="415" y="50"/>
                      </a:lnTo>
                      <a:lnTo>
                        <a:pt x="413" y="38"/>
                      </a:lnTo>
                      <a:lnTo>
                        <a:pt x="412" y="28"/>
                      </a:lnTo>
                      <a:lnTo>
                        <a:pt x="412" y="25"/>
                      </a:lnTo>
                      <a:lnTo>
                        <a:pt x="409" y="21"/>
                      </a:lnTo>
                      <a:lnTo>
                        <a:pt x="404" y="18"/>
                      </a:lnTo>
                      <a:lnTo>
                        <a:pt x="407" y="27"/>
                      </a:lnTo>
                      <a:lnTo>
                        <a:pt x="403" y="24"/>
                      </a:lnTo>
                      <a:lnTo>
                        <a:pt x="402" y="25"/>
                      </a:lnTo>
                      <a:lnTo>
                        <a:pt x="400" y="28"/>
                      </a:lnTo>
                      <a:lnTo>
                        <a:pt x="397" y="31"/>
                      </a:lnTo>
                      <a:lnTo>
                        <a:pt x="396" y="34"/>
                      </a:lnTo>
                      <a:lnTo>
                        <a:pt x="390" y="41"/>
                      </a:lnTo>
                      <a:lnTo>
                        <a:pt x="389" y="44"/>
                      </a:lnTo>
                      <a:lnTo>
                        <a:pt x="389" y="48"/>
                      </a:lnTo>
                      <a:lnTo>
                        <a:pt x="386" y="54"/>
                      </a:lnTo>
                      <a:lnTo>
                        <a:pt x="383" y="58"/>
                      </a:lnTo>
                      <a:lnTo>
                        <a:pt x="380" y="63"/>
                      </a:lnTo>
                      <a:lnTo>
                        <a:pt x="376" y="63"/>
                      </a:lnTo>
                      <a:lnTo>
                        <a:pt x="373" y="63"/>
                      </a:lnTo>
                      <a:lnTo>
                        <a:pt x="372" y="60"/>
                      </a:lnTo>
                      <a:lnTo>
                        <a:pt x="368" y="62"/>
                      </a:lnTo>
                      <a:lnTo>
                        <a:pt x="364" y="60"/>
                      </a:lnTo>
                      <a:lnTo>
                        <a:pt x="361" y="61"/>
                      </a:lnTo>
                      <a:lnTo>
                        <a:pt x="359" y="63"/>
                      </a:lnTo>
                      <a:lnTo>
                        <a:pt x="356" y="64"/>
                      </a:lnTo>
                      <a:lnTo>
                        <a:pt x="355" y="63"/>
                      </a:lnTo>
                      <a:lnTo>
                        <a:pt x="352" y="62"/>
                      </a:lnTo>
                      <a:lnTo>
                        <a:pt x="350" y="60"/>
                      </a:lnTo>
                      <a:lnTo>
                        <a:pt x="348" y="60"/>
                      </a:lnTo>
                      <a:lnTo>
                        <a:pt x="348" y="60"/>
                      </a:lnTo>
                      <a:lnTo>
                        <a:pt x="348" y="60"/>
                      </a:lnTo>
                      <a:lnTo>
                        <a:pt x="347" y="58"/>
                      </a:lnTo>
                      <a:lnTo>
                        <a:pt x="346" y="57"/>
                      </a:lnTo>
                      <a:lnTo>
                        <a:pt x="343" y="57"/>
                      </a:lnTo>
                      <a:lnTo>
                        <a:pt x="343" y="54"/>
                      </a:lnTo>
                      <a:lnTo>
                        <a:pt x="339" y="56"/>
                      </a:lnTo>
                      <a:lnTo>
                        <a:pt x="337" y="56"/>
                      </a:lnTo>
                      <a:lnTo>
                        <a:pt x="335" y="57"/>
                      </a:lnTo>
                      <a:lnTo>
                        <a:pt x="323" y="56"/>
                      </a:lnTo>
                      <a:lnTo>
                        <a:pt x="322" y="60"/>
                      </a:lnTo>
                      <a:lnTo>
                        <a:pt x="322" y="62"/>
                      </a:lnTo>
                      <a:lnTo>
                        <a:pt x="326" y="65"/>
                      </a:lnTo>
                      <a:lnTo>
                        <a:pt x="323" y="70"/>
                      </a:lnTo>
                      <a:lnTo>
                        <a:pt x="316" y="68"/>
                      </a:lnTo>
                      <a:lnTo>
                        <a:pt x="314" y="68"/>
                      </a:lnTo>
                      <a:lnTo>
                        <a:pt x="313" y="68"/>
                      </a:lnTo>
                      <a:lnTo>
                        <a:pt x="309" y="69"/>
                      </a:lnTo>
                      <a:lnTo>
                        <a:pt x="304" y="68"/>
                      </a:lnTo>
                      <a:lnTo>
                        <a:pt x="301" y="68"/>
                      </a:lnTo>
                      <a:lnTo>
                        <a:pt x="297" y="68"/>
                      </a:lnTo>
                      <a:lnTo>
                        <a:pt x="295" y="72"/>
                      </a:lnTo>
                      <a:lnTo>
                        <a:pt x="289" y="74"/>
                      </a:lnTo>
                      <a:lnTo>
                        <a:pt x="287" y="74"/>
                      </a:lnTo>
                      <a:lnTo>
                        <a:pt x="284" y="76"/>
                      </a:lnTo>
                      <a:lnTo>
                        <a:pt x="281" y="75"/>
                      </a:lnTo>
                      <a:lnTo>
                        <a:pt x="280" y="77"/>
                      </a:lnTo>
                      <a:lnTo>
                        <a:pt x="279" y="80"/>
                      </a:lnTo>
                      <a:lnTo>
                        <a:pt x="274" y="81"/>
                      </a:lnTo>
                      <a:lnTo>
                        <a:pt x="272" y="83"/>
                      </a:lnTo>
                      <a:lnTo>
                        <a:pt x="270" y="82"/>
                      </a:lnTo>
                      <a:lnTo>
                        <a:pt x="264" y="80"/>
                      </a:lnTo>
                      <a:lnTo>
                        <a:pt x="262" y="76"/>
                      </a:lnTo>
                      <a:lnTo>
                        <a:pt x="260" y="72"/>
                      </a:lnTo>
                      <a:lnTo>
                        <a:pt x="257" y="70"/>
                      </a:lnTo>
                      <a:lnTo>
                        <a:pt x="255" y="70"/>
                      </a:lnTo>
                      <a:lnTo>
                        <a:pt x="252" y="58"/>
                      </a:lnTo>
                      <a:lnTo>
                        <a:pt x="252" y="52"/>
                      </a:lnTo>
                      <a:lnTo>
                        <a:pt x="254" y="38"/>
                      </a:lnTo>
                      <a:lnTo>
                        <a:pt x="257" y="31"/>
                      </a:lnTo>
                      <a:lnTo>
                        <a:pt x="259" y="29"/>
                      </a:lnTo>
                      <a:lnTo>
                        <a:pt x="260" y="27"/>
                      </a:lnTo>
                      <a:lnTo>
                        <a:pt x="257" y="24"/>
                      </a:lnTo>
                      <a:lnTo>
                        <a:pt x="257" y="22"/>
                      </a:lnTo>
                      <a:lnTo>
                        <a:pt x="256" y="20"/>
                      </a:lnTo>
                      <a:lnTo>
                        <a:pt x="255" y="16"/>
                      </a:lnTo>
                      <a:lnTo>
                        <a:pt x="253" y="15"/>
                      </a:lnTo>
                      <a:lnTo>
                        <a:pt x="249" y="14"/>
                      </a:lnTo>
                      <a:lnTo>
                        <a:pt x="252" y="11"/>
                      </a:lnTo>
                      <a:lnTo>
                        <a:pt x="250" y="2"/>
                      </a:lnTo>
                      <a:lnTo>
                        <a:pt x="249" y="1"/>
                      </a:lnTo>
                      <a:lnTo>
                        <a:pt x="247" y="0"/>
                      </a:lnTo>
                      <a:lnTo>
                        <a:pt x="244" y="1"/>
                      </a:lnTo>
                      <a:lnTo>
                        <a:pt x="240" y="1"/>
                      </a:lnTo>
                      <a:lnTo>
                        <a:pt x="239" y="1"/>
                      </a:lnTo>
                      <a:lnTo>
                        <a:pt x="240" y="1"/>
                      </a:lnTo>
                      <a:lnTo>
                        <a:pt x="241" y="3"/>
                      </a:lnTo>
                      <a:lnTo>
                        <a:pt x="241" y="5"/>
                      </a:lnTo>
                      <a:lnTo>
                        <a:pt x="240" y="9"/>
                      </a:lnTo>
                      <a:lnTo>
                        <a:pt x="237" y="10"/>
                      </a:lnTo>
                      <a:lnTo>
                        <a:pt x="236" y="10"/>
                      </a:lnTo>
                      <a:lnTo>
                        <a:pt x="234" y="15"/>
                      </a:lnTo>
                      <a:lnTo>
                        <a:pt x="230" y="15"/>
                      </a:lnTo>
                      <a:lnTo>
                        <a:pt x="228" y="15"/>
                      </a:lnTo>
                      <a:lnTo>
                        <a:pt x="228" y="16"/>
                      </a:lnTo>
                      <a:lnTo>
                        <a:pt x="227" y="17"/>
                      </a:lnTo>
                      <a:lnTo>
                        <a:pt x="226" y="16"/>
                      </a:lnTo>
                      <a:lnTo>
                        <a:pt x="224" y="17"/>
                      </a:lnTo>
                      <a:lnTo>
                        <a:pt x="223" y="20"/>
                      </a:lnTo>
                      <a:lnTo>
                        <a:pt x="223" y="21"/>
                      </a:lnTo>
                      <a:lnTo>
                        <a:pt x="223" y="21"/>
                      </a:lnTo>
                      <a:lnTo>
                        <a:pt x="222" y="21"/>
                      </a:lnTo>
                      <a:lnTo>
                        <a:pt x="221" y="20"/>
                      </a:lnTo>
                      <a:lnTo>
                        <a:pt x="216" y="22"/>
                      </a:lnTo>
                      <a:lnTo>
                        <a:pt x="214" y="22"/>
                      </a:lnTo>
                      <a:lnTo>
                        <a:pt x="214" y="23"/>
                      </a:lnTo>
                      <a:lnTo>
                        <a:pt x="207" y="22"/>
                      </a:lnTo>
                      <a:lnTo>
                        <a:pt x="207" y="22"/>
                      </a:lnTo>
                      <a:lnTo>
                        <a:pt x="206" y="23"/>
                      </a:lnTo>
                      <a:lnTo>
                        <a:pt x="204" y="25"/>
                      </a:lnTo>
                      <a:lnTo>
                        <a:pt x="203" y="24"/>
                      </a:lnTo>
                      <a:lnTo>
                        <a:pt x="201" y="25"/>
                      </a:lnTo>
                      <a:lnTo>
                        <a:pt x="202" y="27"/>
                      </a:lnTo>
                      <a:lnTo>
                        <a:pt x="201" y="28"/>
                      </a:lnTo>
                      <a:lnTo>
                        <a:pt x="202" y="30"/>
                      </a:lnTo>
                      <a:lnTo>
                        <a:pt x="202" y="32"/>
                      </a:lnTo>
                      <a:lnTo>
                        <a:pt x="201" y="34"/>
                      </a:lnTo>
                      <a:lnTo>
                        <a:pt x="200" y="34"/>
                      </a:lnTo>
                      <a:lnTo>
                        <a:pt x="200" y="35"/>
                      </a:lnTo>
                      <a:lnTo>
                        <a:pt x="197" y="35"/>
                      </a:lnTo>
                      <a:lnTo>
                        <a:pt x="197" y="34"/>
                      </a:lnTo>
                      <a:lnTo>
                        <a:pt x="190" y="27"/>
                      </a:lnTo>
                      <a:lnTo>
                        <a:pt x="189" y="27"/>
                      </a:lnTo>
                      <a:lnTo>
                        <a:pt x="189" y="28"/>
                      </a:lnTo>
                      <a:lnTo>
                        <a:pt x="188" y="28"/>
                      </a:lnTo>
                      <a:lnTo>
                        <a:pt x="186" y="27"/>
                      </a:lnTo>
                      <a:lnTo>
                        <a:pt x="182" y="27"/>
                      </a:lnTo>
                      <a:lnTo>
                        <a:pt x="182" y="27"/>
                      </a:lnTo>
                      <a:lnTo>
                        <a:pt x="179" y="28"/>
                      </a:lnTo>
                      <a:lnTo>
                        <a:pt x="176" y="23"/>
                      </a:lnTo>
                      <a:lnTo>
                        <a:pt x="174" y="22"/>
                      </a:lnTo>
                      <a:lnTo>
                        <a:pt x="168" y="23"/>
                      </a:lnTo>
                      <a:lnTo>
                        <a:pt x="167" y="21"/>
                      </a:lnTo>
                      <a:lnTo>
                        <a:pt x="166" y="20"/>
                      </a:lnTo>
                      <a:lnTo>
                        <a:pt x="165" y="20"/>
                      </a:lnTo>
                      <a:lnTo>
                        <a:pt x="165" y="21"/>
                      </a:lnTo>
                      <a:lnTo>
                        <a:pt x="166" y="22"/>
                      </a:lnTo>
                      <a:lnTo>
                        <a:pt x="166" y="24"/>
                      </a:lnTo>
                      <a:lnTo>
                        <a:pt x="167" y="25"/>
                      </a:lnTo>
                      <a:lnTo>
                        <a:pt x="170" y="30"/>
                      </a:lnTo>
                      <a:lnTo>
                        <a:pt x="173" y="31"/>
                      </a:lnTo>
                      <a:lnTo>
                        <a:pt x="175" y="34"/>
                      </a:lnTo>
                      <a:lnTo>
                        <a:pt x="175" y="35"/>
                      </a:lnTo>
                      <a:lnTo>
                        <a:pt x="174" y="37"/>
                      </a:lnTo>
                      <a:lnTo>
                        <a:pt x="174" y="44"/>
                      </a:lnTo>
                      <a:lnTo>
                        <a:pt x="175" y="44"/>
                      </a:lnTo>
                      <a:lnTo>
                        <a:pt x="179" y="52"/>
                      </a:lnTo>
                      <a:lnTo>
                        <a:pt x="177" y="56"/>
                      </a:lnTo>
                      <a:lnTo>
                        <a:pt x="177" y="57"/>
                      </a:lnTo>
                      <a:lnTo>
                        <a:pt x="181" y="58"/>
                      </a:lnTo>
                      <a:lnTo>
                        <a:pt x="185" y="57"/>
                      </a:lnTo>
                      <a:lnTo>
                        <a:pt x="189" y="58"/>
                      </a:lnTo>
                      <a:lnTo>
                        <a:pt x="190" y="58"/>
                      </a:lnTo>
                      <a:lnTo>
                        <a:pt x="189" y="58"/>
                      </a:lnTo>
                      <a:lnTo>
                        <a:pt x="190" y="61"/>
                      </a:lnTo>
                      <a:lnTo>
                        <a:pt x="189" y="63"/>
                      </a:lnTo>
                      <a:lnTo>
                        <a:pt x="189" y="63"/>
                      </a:lnTo>
                      <a:lnTo>
                        <a:pt x="185" y="64"/>
                      </a:lnTo>
                      <a:lnTo>
                        <a:pt x="182" y="68"/>
                      </a:lnTo>
                      <a:lnTo>
                        <a:pt x="179" y="67"/>
                      </a:lnTo>
                      <a:lnTo>
                        <a:pt x="177" y="68"/>
                      </a:lnTo>
                      <a:lnTo>
                        <a:pt x="176" y="69"/>
                      </a:lnTo>
                      <a:lnTo>
                        <a:pt x="176" y="72"/>
                      </a:lnTo>
                      <a:lnTo>
                        <a:pt x="176" y="75"/>
                      </a:lnTo>
                      <a:lnTo>
                        <a:pt x="172" y="80"/>
                      </a:lnTo>
                      <a:lnTo>
                        <a:pt x="170" y="78"/>
                      </a:lnTo>
                      <a:lnTo>
                        <a:pt x="172" y="77"/>
                      </a:lnTo>
                      <a:lnTo>
                        <a:pt x="170" y="76"/>
                      </a:lnTo>
                      <a:lnTo>
                        <a:pt x="168" y="78"/>
                      </a:lnTo>
                      <a:lnTo>
                        <a:pt x="167" y="81"/>
                      </a:lnTo>
                      <a:lnTo>
                        <a:pt x="165" y="82"/>
                      </a:lnTo>
                      <a:lnTo>
                        <a:pt x="162" y="81"/>
                      </a:lnTo>
                      <a:lnTo>
                        <a:pt x="160" y="84"/>
                      </a:lnTo>
                      <a:lnTo>
                        <a:pt x="157" y="84"/>
                      </a:lnTo>
                      <a:lnTo>
                        <a:pt x="156" y="89"/>
                      </a:lnTo>
                      <a:lnTo>
                        <a:pt x="154" y="89"/>
                      </a:lnTo>
                      <a:lnTo>
                        <a:pt x="152" y="94"/>
                      </a:lnTo>
                      <a:lnTo>
                        <a:pt x="150" y="95"/>
                      </a:lnTo>
                      <a:lnTo>
                        <a:pt x="149" y="94"/>
                      </a:lnTo>
                      <a:lnTo>
                        <a:pt x="149" y="92"/>
                      </a:lnTo>
                      <a:lnTo>
                        <a:pt x="150" y="90"/>
                      </a:lnTo>
                      <a:lnTo>
                        <a:pt x="150" y="89"/>
                      </a:lnTo>
                      <a:lnTo>
                        <a:pt x="149" y="88"/>
                      </a:lnTo>
                      <a:lnTo>
                        <a:pt x="147" y="88"/>
                      </a:lnTo>
                      <a:lnTo>
                        <a:pt x="143" y="89"/>
                      </a:lnTo>
                      <a:lnTo>
                        <a:pt x="142" y="91"/>
                      </a:lnTo>
                      <a:lnTo>
                        <a:pt x="140" y="91"/>
                      </a:lnTo>
                      <a:lnTo>
                        <a:pt x="139" y="92"/>
                      </a:lnTo>
                      <a:lnTo>
                        <a:pt x="137" y="91"/>
                      </a:lnTo>
                      <a:lnTo>
                        <a:pt x="135" y="92"/>
                      </a:lnTo>
                      <a:lnTo>
                        <a:pt x="126" y="81"/>
                      </a:lnTo>
                      <a:lnTo>
                        <a:pt x="122" y="84"/>
                      </a:lnTo>
                      <a:lnTo>
                        <a:pt x="117" y="64"/>
                      </a:lnTo>
                      <a:lnTo>
                        <a:pt x="114" y="64"/>
                      </a:lnTo>
                      <a:lnTo>
                        <a:pt x="109" y="70"/>
                      </a:lnTo>
                      <a:lnTo>
                        <a:pt x="106" y="71"/>
                      </a:lnTo>
                      <a:lnTo>
                        <a:pt x="102" y="68"/>
                      </a:lnTo>
                      <a:lnTo>
                        <a:pt x="100" y="70"/>
                      </a:lnTo>
                      <a:lnTo>
                        <a:pt x="101" y="71"/>
                      </a:lnTo>
                      <a:lnTo>
                        <a:pt x="80" y="71"/>
                      </a:lnTo>
                      <a:lnTo>
                        <a:pt x="74" y="71"/>
                      </a:lnTo>
                      <a:lnTo>
                        <a:pt x="72" y="72"/>
                      </a:lnTo>
                      <a:lnTo>
                        <a:pt x="73" y="85"/>
                      </a:lnTo>
                      <a:lnTo>
                        <a:pt x="79" y="85"/>
                      </a:lnTo>
                      <a:lnTo>
                        <a:pt x="81" y="85"/>
                      </a:lnTo>
                      <a:lnTo>
                        <a:pt x="83" y="89"/>
                      </a:lnTo>
                      <a:lnTo>
                        <a:pt x="85" y="90"/>
                      </a:lnTo>
                      <a:lnTo>
                        <a:pt x="83" y="92"/>
                      </a:lnTo>
                      <a:lnTo>
                        <a:pt x="82" y="95"/>
                      </a:lnTo>
                      <a:lnTo>
                        <a:pt x="81" y="95"/>
                      </a:lnTo>
                      <a:lnTo>
                        <a:pt x="76" y="94"/>
                      </a:lnTo>
                      <a:lnTo>
                        <a:pt x="75" y="94"/>
                      </a:lnTo>
                      <a:lnTo>
                        <a:pt x="70" y="95"/>
                      </a:lnTo>
                      <a:lnTo>
                        <a:pt x="69" y="95"/>
                      </a:lnTo>
                      <a:lnTo>
                        <a:pt x="68" y="96"/>
                      </a:lnTo>
                      <a:lnTo>
                        <a:pt x="70" y="114"/>
                      </a:lnTo>
                      <a:lnTo>
                        <a:pt x="73" y="117"/>
                      </a:lnTo>
                      <a:lnTo>
                        <a:pt x="76" y="120"/>
                      </a:lnTo>
                      <a:lnTo>
                        <a:pt x="76" y="123"/>
                      </a:lnTo>
                      <a:lnTo>
                        <a:pt x="77" y="127"/>
                      </a:lnTo>
                      <a:lnTo>
                        <a:pt x="80" y="131"/>
                      </a:lnTo>
                      <a:lnTo>
                        <a:pt x="79" y="138"/>
                      </a:lnTo>
                      <a:lnTo>
                        <a:pt x="79" y="140"/>
                      </a:lnTo>
                      <a:lnTo>
                        <a:pt x="72" y="194"/>
                      </a:lnTo>
                      <a:lnTo>
                        <a:pt x="69" y="197"/>
                      </a:lnTo>
                      <a:lnTo>
                        <a:pt x="69" y="196"/>
                      </a:lnTo>
                      <a:lnTo>
                        <a:pt x="67" y="195"/>
                      </a:lnTo>
                      <a:lnTo>
                        <a:pt x="66" y="197"/>
                      </a:lnTo>
                      <a:lnTo>
                        <a:pt x="65" y="195"/>
                      </a:lnTo>
                      <a:lnTo>
                        <a:pt x="63" y="192"/>
                      </a:lnTo>
                      <a:lnTo>
                        <a:pt x="62" y="192"/>
                      </a:lnTo>
                      <a:lnTo>
                        <a:pt x="60" y="192"/>
                      </a:lnTo>
                      <a:lnTo>
                        <a:pt x="59" y="194"/>
                      </a:lnTo>
                      <a:lnTo>
                        <a:pt x="57" y="192"/>
                      </a:lnTo>
                      <a:lnTo>
                        <a:pt x="56" y="192"/>
                      </a:lnTo>
                      <a:lnTo>
                        <a:pt x="55" y="195"/>
                      </a:lnTo>
                      <a:lnTo>
                        <a:pt x="52" y="197"/>
                      </a:lnTo>
                      <a:lnTo>
                        <a:pt x="50" y="197"/>
                      </a:lnTo>
                      <a:lnTo>
                        <a:pt x="49" y="197"/>
                      </a:lnTo>
                      <a:lnTo>
                        <a:pt x="47" y="198"/>
                      </a:lnTo>
                      <a:lnTo>
                        <a:pt x="43" y="198"/>
                      </a:lnTo>
                      <a:lnTo>
                        <a:pt x="41" y="199"/>
                      </a:lnTo>
                      <a:lnTo>
                        <a:pt x="40" y="201"/>
                      </a:lnTo>
                      <a:lnTo>
                        <a:pt x="39" y="199"/>
                      </a:lnTo>
                      <a:lnTo>
                        <a:pt x="35" y="201"/>
                      </a:lnTo>
                      <a:lnTo>
                        <a:pt x="33" y="202"/>
                      </a:lnTo>
                      <a:lnTo>
                        <a:pt x="32" y="204"/>
                      </a:lnTo>
                      <a:lnTo>
                        <a:pt x="28" y="205"/>
                      </a:lnTo>
                      <a:lnTo>
                        <a:pt x="27" y="207"/>
                      </a:lnTo>
                      <a:lnTo>
                        <a:pt x="26" y="208"/>
                      </a:lnTo>
                      <a:lnTo>
                        <a:pt x="25" y="209"/>
                      </a:lnTo>
                      <a:lnTo>
                        <a:pt x="23" y="210"/>
                      </a:lnTo>
                      <a:lnTo>
                        <a:pt x="20" y="211"/>
                      </a:lnTo>
                      <a:lnTo>
                        <a:pt x="19" y="212"/>
                      </a:lnTo>
                      <a:lnTo>
                        <a:pt x="19" y="216"/>
                      </a:lnTo>
                      <a:lnTo>
                        <a:pt x="17" y="221"/>
                      </a:lnTo>
                      <a:lnTo>
                        <a:pt x="14" y="228"/>
                      </a:lnTo>
                      <a:lnTo>
                        <a:pt x="14" y="232"/>
                      </a:lnTo>
                      <a:lnTo>
                        <a:pt x="13" y="242"/>
                      </a:lnTo>
                      <a:lnTo>
                        <a:pt x="5" y="249"/>
                      </a:lnTo>
                      <a:lnTo>
                        <a:pt x="3" y="254"/>
                      </a:lnTo>
                      <a:lnTo>
                        <a:pt x="5" y="257"/>
                      </a:lnTo>
                      <a:lnTo>
                        <a:pt x="0" y="258"/>
                      </a:lnTo>
                      <a:lnTo>
                        <a:pt x="0" y="262"/>
                      </a:lnTo>
                      <a:lnTo>
                        <a:pt x="3" y="267"/>
                      </a:lnTo>
                      <a:lnTo>
                        <a:pt x="6" y="269"/>
                      </a:lnTo>
                      <a:lnTo>
                        <a:pt x="5" y="271"/>
                      </a:lnTo>
                      <a:lnTo>
                        <a:pt x="9" y="279"/>
                      </a:lnTo>
                      <a:lnTo>
                        <a:pt x="13" y="282"/>
                      </a:lnTo>
                      <a:lnTo>
                        <a:pt x="14" y="284"/>
                      </a:lnTo>
                      <a:lnTo>
                        <a:pt x="16" y="287"/>
                      </a:lnTo>
                      <a:lnTo>
                        <a:pt x="20" y="292"/>
                      </a:lnTo>
                      <a:lnTo>
                        <a:pt x="20" y="296"/>
                      </a:lnTo>
                      <a:lnTo>
                        <a:pt x="20" y="297"/>
                      </a:lnTo>
                      <a:lnTo>
                        <a:pt x="16" y="301"/>
                      </a:lnTo>
                      <a:lnTo>
                        <a:pt x="26" y="302"/>
                      </a:lnTo>
                      <a:lnTo>
                        <a:pt x="33" y="307"/>
                      </a:lnTo>
                      <a:lnTo>
                        <a:pt x="35" y="310"/>
                      </a:lnTo>
                      <a:lnTo>
                        <a:pt x="50" y="314"/>
                      </a:lnTo>
                      <a:lnTo>
                        <a:pt x="52" y="314"/>
                      </a:lnTo>
                      <a:lnTo>
                        <a:pt x="56" y="310"/>
                      </a:lnTo>
                      <a:lnTo>
                        <a:pt x="63" y="302"/>
                      </a:lnTo>
                      <a:lnTo>
                        <a:pt x="65" y="303"/>
                      </a:lnTo>
                      <a:lnTo>
                        <a:pt x="63" y="304"/>
                      </a:lnTo>
                      <a:lnTo>
                        <a:pt x="65" y="308"/>
                      </a:lnTo>
                      <a:lnTo>
                        <a:pt x="65" y="335"/>
                      </a:lnTo>
                      <a:lnTo>
                        <a:pt x="68" y="335"/>
                      </a:lnTo>
                      <a:lnTo>
                        <a:pt x="73" y="335"/>
                      </a:lnTo>
                      <a:lnTo>
                        <a:pt x="77" y="332"/>
                      </a:lnTo>
                      <a:lnTo>
                        <a:pt x="80" y="332"/>
                      </a:lnTo>
                      <a:lnTo>
                        <a:pt x="83" y="332"/>
                      </a:lnTo>
                      <a:lnTo>
                        <a:pt x="86" y="332"/>
                      </a:lnTo>
                      <a:lnTo>
                        <a:pt x="95" y="335"/>
                      </a:lnTo>
                      <a:lnTo>
                        <a:pt x="97" y="335"/>
                      </a:lnTo>
                      <a:lnTo>
                        <a:pt x="101" y="336"/>
                      </a:lnTo>
                      <a:lnTo>
                        <a:pt x="105" y="335"/>
                      </a:lnTo>
                      <a:lnTo>
                        <a:pt x="110" y="328"/>
                      </a:lnTo>
                      <a:lnTo>
                        <a:pt x="116" y="328"/>
                      </a:lnTo>
                      <a:lnTo>
                        <a:pt x="122" y="322"/>
                      </a:lnTo>
                      <a:lnTo>
                        <a:pt x="123" y="321"/>
                      </a:lnTo>
                      <a:lnTo>
                        <a:pt x="126" y="319"/>
                      </a:lnTo>
                      <a:lnTo>
                        <a:pt x="133" y="312"/>
                      </a:lnTo>
                      <a:lnTo>
                        <a:pt x="135" y="311"/>
                      </a:lnTo>
                      <a:lnTo>
                        <a:pt x="141" y="310"/>
                      </a:lnTo>
                      <a:lnTo>
                        <a:pt x="146" y="309"/>
                      </a:lnTo>
                      <a:lnTo>
                        <a:pt x="150" y="308"/>
                      </a:lnTo>
                      <a:lnTo>
                        <a:pt x="150" y="308"/>
                      </a:lnTo>
                      <a:lnTo>
                        <a:pt x="152" y="308"/>
                      </a:lnTo>
                      <a:lnTo>
                        <a:pt x="154" y="310"/>
                      </a:lnTo>
                      <a:lnTo>
                        <a:pt x="156" y="307"/>
                      </a:lnTo>
                      <a:lnTo>
                        <a:pt x="159" y="307"/>
                      </a:lnTo>
                      <a:lnTo>
                        <a:pt x="159" y="314"/>
                      </a:lnTo>
                      <a:lnTo>
                        <a:pt x="157" y="323"/>
                      </a:lnTo>
                      <a:lnTo>
                        <a:pt x="159" y="326"/>
                      </a:lnTo>
                      <a:lnTo>
                        <a:pt x="160" y="330"/>
                      </a:lnTo>
                      <a:lnTo>
                        <a:pt x="160" y="336"/>
                      </a:lnTo>
                      <a:lnTo>
                        <a:pt x="160" y="338"/>
                      </a:lnTo>
                      <a:lnTo>
                        <a:pt x="161" y="341"/>
                      </a:lnTo>
                      <a:lnTo>
                        <a:pt x="162" y="344"/>
                      </a:lnTo>
                      <a:lnTo>
                        <a:pt x="163" y="349"/>
                      </a:lnTo>
                      <a:lnTo>
                        <a:pt x="165" y="348"/>
                      </a:lnTo>
                      <a:lnTo>
                        <a:pt x="167" y="350"/>
                      </a:lnTo>
                      <a:lnTo>
                        <a:pt x="170" y="355"/>
                      </a:lnTo>
                      <a:lnTo>
                        <a:pt x="173" y="356"/>
                      </a:lnTo>
                      <a:lnTo>
                        <a:pt x="174" y="358"/>
                      </a:lnTo>
                      <a:lnTo>
                        <a:pt x="176" y="362"/>
                      </a:lnTo>
                      <a:lnTo>
                        <a:pt x="182" y="364"/>
                      </a:lnTo>
                      <a:lnTo>
                        <a:pt x="185" y="364"/>
                      </a:lnTo>
                      <a:lnTo>
                        <a:pt x="188" y="364"/>
                      </a:lnTo>
                      <a:lnTo>
                        <a:pt x="199" y="369"/>
                      </a:lnTo>
                      <a:lnTo>
                        <a:pt x="201" y="368"/>
                      </a:lnTo>
                      <a:lnTo>
                        <a:pt x="204" y="371"/>
                      </a:lnTo>
                      <a:lnTo>
                        <a:pt x="208" y="375"/>
                      </a:lnTo>
                      <a:lnTo>
                        <a:pt x="210" y="375"/>
                      </a:lnTo>
                      <a:lnTo>
                        <a:pt x="214" y="376"/>
                      </a:lnTo>
                      <a:lnTo>
                        <a:pt x="219" y="377"/>
                      </a:lnTo>
                      <a:lnTo>
                        <a:pt x="221" y="381"/>
                      </a:lnTo>
                      <a:lnTo>
                        <a:pt x="226" y="386"/>
                      </a:lnTo>
                      <a:lnTo>
                        <a:pt x="233" y="386"/>
                      </a:lnTo>
                      <a:lnTo>
                        <a:pt x="236" y="385"/>
                      </a:lnTo>
                      <a:lnTo>
                        <a:pt x="240" y="384"/>
                      </a:lnTo>
                      <a:lnTo>
                        <a:pt x="241" y="386"/>
                      </a:lnTo>
                      <a:lnTo>
                        <a:pt x="246" y="389"/>
                      </a:lnTo>
                      <a:lnTo>
                        <a:pt x="252" y="391"/>
                      </a:lnTo>
                      <a:lnTo>
                        <a:pt x="253" y="395"/>
                      </a:lnTo>
                      <a:lnTo>
                        <a:pt x="252" y="399"/>
                      </a:lnTo>
                      <a:lnTo>
                        <a:pt x="255" y="405"/>
                      </a:lnTo>
                      <a:lnTo>
                        <a:pt x="255" y="408"/>
                      </a:lnTo>
                      <a:lnTo>
                        <a:pt x="254" y="412"/>
                      </a:lnTo>
                      <a:lnTo>
                        <a:pt x="252" y="418"/>
                      </a:lnTo>
                      <a:lnTo>
                        <a:pt x="260" y="442"/>
                      </a:lnTo>
                      <a:lnTo>
                        <a:pt x="293" y="442"/>
                      </a:lnTo>
                      <a:lnTo>
                        <a:pt x="293" y="445"/>
                      </a:lnTo>
                      <a:lnTo>
                        <a:pt x="292" y="449"/>
                      </a:lnTo>
                      <a:lnTo>
                        <a:pt x="294" y="462"/>
                      </a:lnTo>
                      <a:lnTo>
                        <a:pt x="306" y="469"/>
                      </a:lnTo>
                      <a:lnTo>
                        <a:pt x="307" y="472"/>
                      </a:lnTo>
                      <a:lnTo>
                        <a:pt x="307" y="475"/>
                      </a:lnTo>
                      <a:lnTo>
                        <a:pt x="312" y="482"/>
                      </a:lnTo>
                      <a:lnTo>
                        <a:pt x="310" y="482"/>
                      </a:lnTo>
                      <a:lnTo>
                        <a:pt x="308" y="497"/>
                      </a:lnTo>
                      <a:lnTo>
                        <a:pt x="308" y="499"/>
                      </a:lnTo>
                      <a:lnTo>
                        <a:pt x="308" y="518"/>
                      </a:lnTo>
                      <a:lnTo>
                        <a:pt x="304" y="521"/>
                      </a:lnTo>
                      <a:lnTo>
                        <a:pt x="303" y="522"/>
                      </a:lnTo>
                      <a:lnTo>
                        <a:pt x="302" y="522"/>
                      </a:lnTo>
                      <a:lnTo>
                        <a:pt x="303" y="523"/>
                      </a:lnTo>
                      <a:lnTo>
                        <a:pt x="302" y="523"/>
                      </a:lnTo>
                      <a:lnTo>
                        <a:pt x="303" y="524"/>
                      </a:lnTo>
                      <a:lnTo>
                        <a:pt x="306" y="528"/>
                      </a:lnTo>
                      <a:lnTo>
                        <a:pt x="307" y="532"/>
                      </a:lnTo>
                      <a:lnTo>
                        <a:pt x="308" y="532"/>
                      </a:lnTo>
                      <a:lnTo>
                        <a:pt x="308" y="535"/>
                      </a:lnTo>
                      <a:lnTo>
                        <a:pt x="308" y="537"/>
                      </a:lnTo>
                      <a:lnTo>
                        <a:pt x="310" y="538"/>
                      </a:lnTo>
                      <a:lnTo>
                        <a:pt x="310" y="541"/>
                      </a:lnTo>
                      <a:lnTo>
                        <a:pt x="309" y="545"/>
                      </a:lnTo>
                      <a:lnTo>
                        <a:pt x="309" y="550"/>
                      </a:lnTo>
                      <a:lnTo>
                        <a:pt x="310" y="553"/>
                      </a:lnTo>
                      <a:lnTo>
                        <a:pt x="310" y="557"/>
                      </a:lnTo>
                      <a:lnTo>
                        <a:pt x="309" y="559"/>
                      </a:lnTo>
                      <a:lnTo>
                        <a:pt x="310" y="562"/>
                      </a:lnTo>
                      <a:lnTo>
                        <a:pt x="312" y="562"/>
                      </a:lnTo>
                      <a:lnTo>
                        <a:pt x="313" y="562"/>
                      </a:lnTo>
                      <a:lnTo>
                        <a:pt x="313" y="562"/>
                      </a:lnTo>
                      <a:lnTo>
                        <a:pt x="316" y="563"/>
                      </a:lnTo>
                      <a:lnTo>
                        <a:pt x="321" y="564"/>
                      </a:lnTo>
                      <a:lnTo>
                        <a:pt x="322" y="564"/>
                      </a:lnTo>
                      <a:lnTo>
                        <a:pt x="324" y="564"/>
                      </a:lnTo>
                      <a:lnTo>
                        <a:pt x="326" y="564"/>
                      </a:lnTo>
                      <a:lnTo>
                        <a:pt x="329" y="565"/>
                      </a:lnTo>
                      <a:lnTo>
                        <a:pt x="329" y="565"/>
                      </a:lnTo>
                      <a:lnTo>
                        <a:pt x="330" y="565"/>
                      </a:lnTo>
                      <a:lnTo>
                        <a:pt x="333" y="564"/>
                      </a:lnTo>
                      <a:lnTo>
                        <a:pt x="334" y="564"/>
                      </a:lnTo>
                      <a:lnTo>
                        <a:pt x="336" y="562"/>
                      </a:lnTo>
                      <a:lnTo>
                        <a:pt x="339" y="563"/>
                      </a:lnTo>
                      <a:lnTo>
                        <a:pt x="343" y="565"/>
                      </a:lnTo>
                      <a:lnTo>
                        <a:pt x="346" y="565"/>
                      </a:lnTo>
                      <a:lnTo>
                        <a:pt x="348" y="565"/>
                      </a:lnTo>
                      <a:lnTo>
                        <a:pt x="350" y="571"/>
                      </a:lnTo>
                      <a:lnTo>
                        <a:pt x="353" y="581"/>
                      </a:lnTo>
                      <a:lnTo>
                        <a:pt x="354" y="583"/>
                      </a:lnTo>
                      <a:lnTo>
                        <a:pt x="355" y="585"/>
                      </a:lnTo>
                      <a:lnTo>
                        <a:pt x="356" y="588"/>
                      </a:lnTo>
                      <a:lnTo>
                        <a:pt x="356" y="592"/>
                      </a:lnTo>
                      <a:lnTo>
                        <a:pt x="359" y="600"/>
                      </a:lnTo>
                      <a:lnTo>
                        <a:pt x="364" y="600"/>
                      </a:lnTo>
                      <a:lnTo>
                        <a:pt x="368" y="599"/>
                      </a:lnTo>
                      <a:lnTo>
                        <a:pt x="376" y="599"/>
                      </a:lnTo>
                      <a:lnTo>
                        <a:pt x="379" y="603"/>
                      </a:lnTo>
                      <a:lnTo>
                        <a:pt x="379" y="611"/>
                      </a:lnTo>
                      <a:lnTo>
                        <a:pt x="379" y="617"/>
                      </a:lnTo>
                      <a:lnTo>
                        <a:pt x="379" y="624"/>
                      </a:lnTo>
                      <a:lnTo>
                        <a:pt x="376" y="632"/>
                      </a:lnTo>
                      <a:lnTo>
                        <a:pt x="376" y="633"/>
                      </a:lnTo>
                      <a:lnTo>
                        <a:pt x="377" y="633"/>
                      </a:lnTo>
                      <a:lnTo>
                        <a:pt x="382" y="632"/>
                      </a:lnTo>
                      <a:lnTo>
                        <a:pt x="383" y="632"/>
                      </a:lnTo>
                      <a:lnTo>
                        <a:pt x="386" y="632"/>
                      </a:lnTo>
                      <a:lnTo>
                        <a:pt x="389" y="636"/>
                      </a:lnTo>
                      <a:lnTo>
                        <a:pt x="393" y="643"/>
                      </a:lnTo>
                      <a:lnTo>
                        <a:pt x="394" y="656"/>
                      </a:lnTo>
                      <a:lnTo>
                        <a:pt x="394" y="665"/>
                      </a:lnTo>
                      <a:lnTo>
                        <a:pt x="392" y="665"/>
                      </a:lnTo>
                      <a:lnTo>
                        <a:pt x="388" y="668"/>
                      </a:lnTo>
                      <a:lnTo>
                        <a:pt x="386" y="671"/>
                      </a:lnTo>
                      <a:lnTo>
                        <a:pt x="382" y="672"/>
                      </a:lnTo>
                      <a:lnTo>
                        <a:pt x="380" y="673"/>
                      </a:lnTo>
                      <a:lnTo>
                        <a:pt x="376" y="675"/>
                      </a:lnTo>
                      <a:lnTo>
                        <a:pt x="374" y="678"/>
                      </a:lnTo>
                      <a:lnTo>
                        <a:pt x="372" y="679"/>
                      </a:lnTo>
                      <a:lnTo>
                        <a:pt x="369" y="684"/>
                      </a:lnTo>
                      <a:lnTo>
                        <a:pt x="364" y="685"/>
                      </a:lnTo>
                      <a:lnTo>
                        <a:pt x="364" y="690"/>
                      </a:lnTo>
                      <a:lnTo>
                        <a:pt x="361" y="692"/>
                      </a:lnTo>
                      <a:lnTo>
                        <a:pt x="356" y="698"/>
                      </a:lnTo>
                      <a:lnTo>
                        <a:pt x="353" y="705"/>
                      </a:lnTo>
                      <a:lnTo>
                        <a:pt x="343" y="719"/>
                      </a:lnTo>
                      <a:lnTo>
                        <a:pt x="337" y="726"/>
                      </a:lnTo>
                      <a:lnTo>
                        <a:pt x="336" y="730"/>
                      </a:lnTo>
                      <a:lnTo>
                        <a:pt x="336" y="729"/>
                      </a:lnTo>
                      <a:lnTo>
                        <a:pt x="337" y="729"/>
                      </a:lnTo>
                      <a:lnTo>
                        <a:pt x="340" y="730"/>
                      </a:lnTo>
                      <a:lnTo>
                        <a:pt x="341" y="730"/>
                      </a:lnTo>
                      <a:lnTo>
                        <a:pt x="344" y="726"/>
                      </a:lnTo>
                      <a:lnTo>
                        <a:pt x="354" y="729"/>
                      </a:lnTo>
                      <a:lnTo>
                        <a:pt x="354" y="730"/>
                      </a:lnTo>
                      <a:lnTo>
                        <a:pt x="361" y="736"/>
                      </a:lnTo>
                      <a:lnTo>
                        <a:pt x="363" y="738"/>
                      </a:lnTo>
                      <a:lnTo>
                        <a:pt x="367" y="746"/>
                      </a:lnTo>
                      <a:lnTo>
                        <a:pt x="372" y="744"/>
                      </a:lnTo>
                      <a:lnTo>
                        <a:pt x="373" y="742"/>
                      </a:lnTo>
                      <a:lnTo>
                        <a:pt x="377" y="744"/>
                      </a:lnTo>
                      <a:lnTo>
                        <a:pt x="382" y="750"/>
                      </a:lnTo>
                      <a:lnTo>
                        <a:pt x="384" y="751"/>
                      </a:lnTo>
                      <a:lnTo>
                        <a:pt x="388" y="753"/>
                      </a:lnTo>
                      <a:lnTo>
                        <a:pt x="395" y="756"/>
                      </a:lnTo>
                      <a:lnTo>
                        <a:pt x="402" y="764"/>
                      </a:lnTo>
                      <a:lnTo>
                        <a:pt x="403" y="763"/>
                      </a:lnTo>
                      <a:lnTo>
                        <a:pt x="406" y="764"/>
                      </a:lnTo>
                      <a:lnTo>
                        <a:pt x="409" y="765"/>
                      </a:lnTo>
                      <a:lnTo>
                        <a:pt x="412" y="771"/>
                      </a:lnTo>
                      <a:lnTo>
                        <a:pt x="413" y="772"/>
                      </a:lnTo>
                      <a:lnTo>
                        <a:pt x="417" y="777"/>
                      </a:lnTo>
                      <a:lnTo>
                        <a:pt x="422" y="780"/>
                      </a:lnTo>
                      <a:lnTo>
                        <a:pt x="420" y="785"/>
                      </a:lnTo>
                      <a:lnTo>
                        <a:pt x="417" y="790"/>
                      </a:lnTo>
                      <a:lnTo>
                        <a:pt x="419" y="799"/>
                      </a:lnTo>
                      <a:lnTo>
                        <a:pt x="421" y="800"/>
                      </a:lnTo>
                      <a:lnTo>
                        <a:pt x="421" y="800"/>
                      </a:lnTo>
                      <a:lnTo>
                        <a:pt x="422" y="800"/>
                      </a:lnTo>
                      <a:lnTo>
                        <a:pt x="424" y="800"/>
                      </a:lnTo>
                      <a:lnTo>
                        <a:pt x="428" y="797"/>
                      </a:lnTo>
                      <a:lnTo>
                        <a:pt x="428" y="796"/>
                      </a:lnTo>
                      <a:lnTo>
                        <a:pt x="430" y="793"/>
                      </a:lnTo>
                      <a:lnTo>
                        <a:pt x="433" y="789"/>
                      </a:lnTo>
                      <a:lnTo>
                        <a:pt x="431" y="784"/>
                      </a:lnTo>
                      <a:lnTo>
                        <a:pt x="435" y="785"/>
                      </a:lnTo>
                      <a:lnTo>
                        <a:pt x="435" y="780"/>
                      </a:lnTo>
                      <a:lnTo>
                        <a:pt x="436" y="777"/>
                      </a:lnTo>
                      <a:lnTo>
                        <a:pt x="437" y="771"/>
                      </a:lnTo>
                      <a:lnTo>
                        <a:pt x="439" y="769"/>
                      </a:lnTo>
                      <a:lnTo>
                        <a:pt x="437" y="767"/>
                      </a:lnTo>
                      <a:lnTo>
                        <a:pt x="436" y="766"/>
                      </a:lnTo>
                      <a:lnTo>
                        <a:pt x="435" y="766"/>
                      </a:lnTo>
                      <a:lnTo>
                        <a:pt x="435" y="765"/>
                      </a:lnTo>
                      <a:lnTo>
                        <a:pt x="436" y="764"/>
                      </a:lnTo>
                      <a:lnTo>
                        <a:pt x="435" y="760"/>
                      </a:lnTo>
                      <a:lnTo>
                        <a:pt x="437" y="758"/>
                      </a:lnTo>
                      <a:lnTo>
                        <a:pt x="436" y="757"/>
                      </a:lnTo>
                      <a:lnTo>
                        <a:pt x="436" y="756"/>
                      </a:lnTo>
                      <a:lnTo>
                        <a:pt x="437" y="757"/>
                      </a:lnTo>
                      <a:lnTo>
                        <a:pt x="439" y="752"/>
                      </a:lnTo>
                      <a:lnTo>
                        <a:pt x="440" y="751"/>
                      </a:lnTo>
                      <a:lnTo>
                        <a:pt x="443" y="750"/>
                      </a:lnTo>
                      <a:lnTo>
                        <a:pt x="443" y="747"/>
                      </a:lnTo>
                      <a:lnTo>
                        <a:pt x="444" y="745"/>
                      </a:lnTo>
                      <a:lnTo>
                        <a:pt x="446" y="742"/>
                      </a:lnTo>
                      <a:lnTo>
                        <a:pt x="446" y="738"/>
                      </a:lnTo>
                      <a:lnTo>
                        <a:pt x="447" y="739"/>
                      </a:lnTo>
                      <a:lnTo>
                        <a:pt x="448" y="740"/>
                      </a:lnTo>
                      <a:lnTo>
                        <a:pt x="447" y="735"/>
                      </a:lnTo>
                      <a:lnTo>
                        <a:pt x="449" y="732"/>
                      </a:lnTo>
                      <a:lnTo>
                        <a:pt x="448" y="731"/>
                      </a:lnTo>
                      <a:lnTo>
                        <a:pt x="447" y="730"/>
                      </a:lnTo>
                      <a:lnTo>
                        <a:pt x="446" y="729"/>
                      </a:lnTo>
                      <a:lnTo>
                        <a:pt x="446" y="726"/>
                      </a:lnTo>
                      <a:lnTo>
                        <a:pt x="447" y="725"/>
                      </a:lnTo>
                      <a:lnTo>
                        <a:pt x="447" y="728"/>
                      </a:lnTo>
                      <a:lnTo>
                        <a:pt x="448" y="728"/>
                      </a:lnTo>
                      <a:lnTo>
                        <a:pt x="450" y="729"/>
                      </a:lnTo>
                      <a:lnTo>
                        <a:pt x="451" y="732"/>
                      </a:lnTo>
                      <a:lnTo>
                        <a:pt x="453" y="730"/>
                      </a:lnTo>
                      <a:lnTo>
                        <a:pt x="455" y="730"/>
                      </a:lnTo>
                      <a:lnTo>
                        <a:pt x="456" y="729"/>
                      </a:lnTo>
                      <a:lnTo>
                        <a:pt x="460" y="730"/>
                      </a:lnTo>
                      <a:lnTo>
                        <a:pt x="459" y="735"/>
                      </a:lnTo>
                      <a:lnTo>
                        <a:pt x="456" y="732"/>
                      </a:lnTo>
                      <a:lnTo>
                        <a:pt x="457" y="737"/>
                      </a:lnTo>
                      <a:lnTo>
                        <a:pt x="457" y="740"/>
                      </a:lnTo>
                      <a:lnTo>
                        <a:pt x="454" y="743"/>
                      </a:lnTo>
                      <a:lnTo>
                        <a:pt x="454" y="744"/>
                      </a:lnTo>
                      <a:lnTo>
                        <a:pt x="454" y="746"/>
                      </a:lnTo>
                      <a:lnTo>
                        <a:pt x="454" y="746"/>
                      </a:lnTo>
                      <a:lnTo>
                        <a:pt x="451" y="750"/>
                      </a:lnTo>
                      <a:lnTo>
                        <a:pt x="450" y="755"/>
                      </a:lnTo>
                      <a:lnTo>
                        <a:pt x="447" y="755"/>
                      </a:lnTo>
                      <a:lnTo>
                        <a:pt x="447" y="756"/>
                      </a:lnTo>
                      <a:lnTo>
                        <a:pt x="446" y="759"/>
                      </a:lnTo>
                      <a:lnTo>
                        <a:pt x="444" y="760"/>
                      </a:lnTo>
                      <a:lnTo>
                        <a:pt x="442" y="760"/>
                      </a:lnTo>
                      <a:lnTo>
                        <a:pt x="441" y="763"/>
                      </a:lnTo>
                      <a:lnTo>
                        <a:pt x="437" y="762"/>
                      </a:lnTo>
                      <a:lnTo>
                        <a:pt x="439" y="767"/>
                      </a:lnTo>
                      <a:lnTo>
                        <a:pt x="441" y="765"/>
                      </a:lnTo>
                      <a:lnTo>
                        <a:pt x="444" y="763"/>
                      </a:lnTo>
                      <a:lnTo>
                        <a:pt x="447" y="762"/>
                      </a:lnTo>
                      <a:lnTo>
                        <a:pt x="450" y="760"/>
                      </a:lnTo>
                      <a:lnTo>
                        <a:pt x="451" y="757"/>
                      </a:lnTo>
                      <a:lnTo>
                        <a:pt x="454" y="753"/>
                      </a:lnTo>
                      <a:lnTo>
                        <a:pt x="456" y="753"/>
                      </a:lnTo>
                      <a:lnTo>
                        <a:pt x="457" y="749"/>
                      </a:lnTo>
                      <a:lnTo>
                        <a:pt x="460" y="745"/>
                      </a:lnTo>
                      <a:lnTo>
                        <a:pt x="462" y="739"/>
                      </a:lnTo>
                      <a:lnTo>
                        <a:pt x="463" y="737"/>
                      </a:lnTo>
                      <a:lnTo>
                        <a:pt x="464" y="736"/>
                      </a:lnTo>
                      <a:lnTo>
                        <a:pt x="463" y="733"/>
                      </a:lnTo>
                      <a:lnTo>
                        <a:pt x="464" y="730"/>
                      </a:lnTo>
                      <a:lnTo>
                        <a:pt x="467" y="724"/>
                      </a:lnTo>
                      <a:lnTo>
                        <a:pt x="469" y="717"/>
                      </a:lnTo>
                      <a:lnTo>
                        <a:pt x="471" y="713"/>
                      </a:lnTo>
                      <a:lnTo>
                        <a:pt x="471" y="712"/>
                      </a:lnTo>
                      <a:lnTo>
                        <a:pt x="474" y="706"/>
                      </a:lnTo>
                      <a:lnTo>
                        <a:pt x="477" y="703"/>
                      </a:lnTo>
                      <a:lnTo>
                        <a:pt x="477" y="700"/>
                      </a:lnTo>
                      <a:lnTo>
                        <a:pt x="486" y="696"/>
                      </a:lnTo>
                      <a:lnTo>
                        <a:pt x="486" y="693"/>
                      </a:lnTo>
                      <a:lnTo>
                        <a:pt x="484" y="693"/>
                      </a:lnTo>
                      <a:lnTo>
                        <a:pt x="483" y="691"/>
                      </a:lnTo>
                      <a:lnTo>
                        <a:pt x="486" y="691"/>
                      </a:lnTo>
                      <a:lnTo>
                        <a:pt x="487" y="688"/>
                      </a:lnTo>
                      <a:lnTo>
                        <a:pt x="489" y="684"/>
                      </a:lnTo>
                      <a:lnTo>
                        <a:pt x="489" y="682"/>
                      </a:lnTo>
                      <a:lnTo>
                        <a:pt x="488" y="679"/>
                      </a:lnTo>
                      <a:lnTo>
                        <a:pt x="487" y="678"/>
                      </a:lnTo>
                      <a:lnTo>
                        <a:pt x="490" y="676"/>
                      </a:lnTo>
                      <a:lnTo>
                        <a:pt x="490" y="673"/>
                      </a:lnTo>
                      <a:lnTo>
                        <a:pt x="486" y="675"/>
                      </a:lnTo>
                      <a:lnTo>
                        <a:pt x="487" y="673"/>
                      </a:lnTo>
                      <a:lnTo>
                        <a:pt x="486" y="672"/>
                      </a:lnTo>
                      <a:lnTo>
                        <a:pt x="487" y="670"/>
                      </a:lnTo>
                      <a:lnTo>
                        <a:pt x="486" y="668"/>
                      </a:lnTo>
                      <a:lnTo>
                        <a:pt x="487" y="666"/>
                      </a:lnTo>
                      <a:lnTo>
                        <a:pt x="487" y="665"/>
                      </a:lnTo>
                      <a:lnTo>
                        <a:pt x="486" y="666"/>
                      </a:lnTo>
                      <a:lnTo>
                        <a:pt x="486" y="663"/>
                      </a:lnTo>
                      <a:lnTo>
                        <a:pt x="484" y="660"/>
                      </a:lnTo>
                      <a:lnTo>
                        <a:pt x="483" y="657"/>
                      </a:lnTo>
                      <a:lnTo>
                        <a:pt x="483" y="651"/>
                      </a:lnTo>
                      <a:lnTo>
                        <a:pt x="480" y="649"/>
                      </a:lnTo>
                      <a:lnTo>
                        <a:pt x="481" y="648"/>
                      </a:lnTo>
                      <a:lnTo>
                        <a:pt x="480" y="644"/>
                      </a:lnTo>
                      <a:lnTo>
                        <a:pt x="481" y="646"/>
                      </a:lnTo>
                      <a:lnTo>
                        <a:pt x="483" y="645"/>
                      </a:lnTo>
                      <a:lnTo>
                        <a:pt x="483" y="639"/>
                      </a:lnTo>
                      <a:lnTo>
                        <a:pt x="482" y="638"/>
                      </a:lnTo>
                      <a:lnTo>
                        <a:pt x="482" y="638"/>
                      </a:lnTo>
                      <a:lnTo>
                        <a:pt x="483" y="638"/>
                      </a:lnTo>
                      <a:lnTo>
                        <a:pt x="484" y="639"/>
                      </a:lnTo>
                      <a:lnTo>
                        <a:pt x="487" y="633"/>
                      </a:lnTo>
                      <a:lnTo>
                        <a:pt x="484" y="633"/>
                      </a:lnTo>
                      <a:lnTo>
                        <a:pt x="483" y="632"/>
                      </a:lnTo>
                      <a:lnTo>
                        <a:pt x="481" y="632"/>
                      </a:lnTo>
                      <a:lnTo>
                        <a:pt x="480" y="631"/>
                      </a:lnTo>
                      <a:lnTo>
                        <a:pt x="479" y="629"/>
                      </a:lnTo>
                      <a:lnTo>
                        <a:pt x="484" y="631"/>
                      </a:lnTo>
                      <a:lnTo>
                        <a:pt x="484" y="629"/>
                      </a:lnTo>
                      <a:lnTo>
                        <a:pt x="484" y="628"/>
                      </a:lnTo>
                      <a:lnTo>
                        <a:pt x="484" y="628"/>
                      </a:lnTo>
                      <a:lnTo>
                        <a:pt x="486" y="628"/>
                      </a:lnTo>
                      <a:lnTo>
                        <a:pt x="487" y="629"/>
                      </a:lnTo>
                      <a:lnTo>
                        <a:pt x="488" y="628"/>
                      </a:lnTo>
                      <a:lnTo>
                        <a:pt x="489" y="628"/>
                      </a:lnTo>
                      <a:lnTo>
                        <a:pt x="488" y="629"/>
                      </a:lnTo>
                      <a:lnTo>
                        <a:pt x="488" y="631"/>
                      </a:lnTo>
                      <a:lnTo>
                        <a:pt x="489" y="629"/>
                      </a:lnTo>
                      <a:lnTo>
                        <a:pt x="494" y="623"/>
                      </a:lnTo>
                      <a:lnTo>
                        <a:pt x="493" y="623"/>
                      </a:lnTo>
                      <a:lnTo>
                        <a:pt x="490" y="622"/>
                      </a:lnTo>
                      <a:lnTo>
                        <a:pt x="491" y="622"/>
                      </a:lnTo>
                      <a:lnTo>
                        <a:pt x="495" y="619"/>
                      </a:lnTo>
                      <a:lnTo>
                        <a:pt x="497" y="618"/>
                      </a:lnTo>
                      <a:lnTo>
                        <a:pt x="499" y="617"/>
                      </a:lnTo>
                      <a:lnTo>
                        <a:pt x="497" y="616"/>
                      </a:lnTo>
                      <a:lnTo>
                        <a:pt x="500" y="617"/>
                      </a:lnTo>
                      <a:lnTo>
                        <a:pt x="501" y="615"/>
                      </a:lnTo>
                      <a:lnTo>
                        <a:pt x="504" y="612"/>
                      </a:lnTo>
                      <a:lnTo>
                        <a:pt x="508" y="610"/>
                      </a:lnTo>
                      <a:lnTo>
                        <a:pt x="509" y="606"/>
                      </a:lnTo>
                      <a:lnTo>
                        <a:pt x="519" y="602"/>
                      </a:lnTo>
                      <a:lnTo>
                        <a:pt x="517" y="599"/>
                      </a:lnTo>
                      <a:lnTo>
                        <a:pt x="519" y="598"/>
                      </a:lnTo>
                      <a:lnTo>
                        <a:pt x="520" y="599"/>
                      </a:lnTo>
                      <a:lnTo>
                        <a:pt x="520" y="600"/>
                      </a:lnTo>
                      <a:lnTo>
                        <a:pt x="521" y="600"/>
                      </a:lnTo>
                      <a:lnTo>
                        <a:pt x="523" y="598"/>
                      </a:lnTo>
                      <a:lnTo>
                        <a:pt x="522" y="598"/>
                      </a:lnTo>
                      <a:lnTo>
                        <a:pt x="524" y="597"/>
                      </a:lnTo>
                      <a:lnTo>
                        <a:pt x="530" y="598"/>
                      </a:lnTo>
                      <a:lnTo>
                        <a:pt x="533" y="597"/>
                      </a:lnTo>
                      <a:lnTo>
                        <a:pt x="534" y="596"/>
                      </a:lnTo>
                      <a:lnTo>
                        <a:pt x="536" y="600"/>
                      </a:lnTo>
                      <a:lnTo>
                        <a:pt x="535" y="597"/>
                      </a:lnTo>
                      <a:lnTo>
                        <a:pt x="535" y="595"/>
                      </a:lnTo>
                      <a:lnTo>
                        <a:pt x="536" y="595"/>
                      </a:lnTo>
                      <a:lnTo>
                        <a:pt x="536" y="592"/>
                      </a:lnTo>
                      <a:lnTo>
                        <a:pt x="537" y="592"/>
                      </a:lnTo>
                      <a:lnTo>
                        <a:pt x="539" y="591"/>
                      </a:lnTo>
                      <a:lnTo>
                        <a:pt x="540" y="590"/>
                      </a:lnTo>
                      <a:lnTo>
                        <a:pt x="541" y="590"/>
                      </a:lnTo>
                      <a:lnTo>
                        <a:pt x="541" y="590"/>
                      </a:lnTo>
                      <a:lnTo>
                        <a:pt x="541" y="589"/>
                      </a:lnTo>
                      <a:lnTo>
                        <a:pt x="543" y="588"/>
                      </a:lnTo>
                      <a:lnTo>
                        <a:pt x="548" y="588"/>
                      </a:lnTo>
                      <a:lnTo>
                        <a:pt x="551" y="586"/>
                      </a:lnTo>
                      <a:lnTo>
                        <a:pt x="550" y="585"/>
                      </a:lnTo>
                      <a:lnTo>
                        <a:pt x="548" y="586"/>
                      </a:lnTo>
                      <a:lnTo>
                        <a:pt x="548" y="585"/>
                      </a:lnTo>
                      <a:lnTo>
                        <a:pt x="547" y="585"/>
                      </a:lnTo>
                      <a:lnTo>
                        <a:pt x="548" y="582"/>
                      </a:lnTo>
                      <a:lnTo>
                        <a:pt x="550" y="581"/>
                      </a:lnTo>
                      <a:lnTo>
                        <a:pt x="551" y="578"/>
                      </a:lnTo>
                      <a:lnTo>
                        <a:pt x="553" y="578"/>
                      </a:lnTo>
                      <a:lnTo>
                        <a:pt x="554" y="579"/>
                      </a:lnTo>
                      <a:lnTo>
                        <a:pt x="553" y="581"/>
                      </a:lnTo>
                      <a:lnTo>
                        <a:pt x="555" y="582"/>
                      </a:lnTo>
                      <a:lnTo>
                        <a:pt x="559" y="578"/>
                      </a:lnTo>
                      <a:lnTo>
                        <a:pt x="559" y="579"/>
                      </a:lnTo>
                      <a:lnTo>
                        <a:pt x="561" y="578"/>
                      </a:lnTo>
                      <a:lnTo>
                        <a:pt x="563" y="578"/>
                      </a:lnTo>
                      <a:lnTo>
                        <a:pt x="564" y="579"/>
                      </a:lnTo>
                      <a:lnTo>
                        <a:pt x="563" y="581"/>
                      </a:lnTo>
                      <a:lnTo>
                        <a:pt x="562" y="582"/>
                      </a:lnTo>
                      <a:lnTo>
                        <a:pt x="561" y="582"/>
                      </a:lnTo>
                      <a:lnTo>
                        <a:pt x="560" y="582"/>
                      </a:lnTo>
                      <a:lnTo>
                        <a:pt x="561" y="583"/>
                      </a:lnTo>
                      <a:lnTo>
                        <a:pt x="563" y="583"/>
                      </a:lnTo>
                      <a:lnTo>
                        <a:pt x="566" y="582"/>
                      </a:lnTo>
                      <a:lnTo>
                        <a:pt x="569" y="583"/>
                      </a:lnTo>
                      <a:lnTo>
                        <a:pt x="573" y="581"/>
                      </a:lnTo>
                      <a:lnTo>
                        <a:pt x="574" y="578"/>
                      </a:lnTo>
                      <a:lnTo>
                        <a:pt x="573" y="578"/>
                      </a:lnTo>
                      <a:lnTo>
                        <a:pt x="573" y="577"/>
                      </a:lnTo>
                      <a:lnTo>
                        <a:pt x="575" y="573"/>
                      </a:lnTo>
                      <a:lnTo>
                        <a:pt x="576" y="575"/>
                      </a:lnTo>
                      <a:lnTo>
                        <a:pt x="576" y="576"/>
                      </a:lnTo>
                      <a:lnTo>
                        <a:pt x="575" y="578"/>
                      </a:lnTo>
                      <a:lnTo>
                        <a:pt x="576" y="579"/>
                      </a:lnTo>
                      <a:lnTo>
                        <a:pt x="577" y="581"/>
                      </a:lnTo>
                      <a:lnTo>
                        <a:pt x="582" y="582"/>
                      </a:lnTo>
                      <a:lnTo>
                        <a:pt x="584" y="582"/>
                      </a:lnTo>
                      <a:lnTo>
                        <a:pt x="588" y="582"/>
                      </a:lnTo>
                      <a:lnTo>
                        <a:pt x="590" y="581"/>
                      </a:lnTo>
                      <a:lnTo>
                        <a:pt x="591" y="582"/>
                      </a:lnTo>
                      <a:lnTo>
                        <a:pt x="594" y="579"/>
                      </a:lnTo>
                      <a:lnTo>
                        <a:pt x="596" y="576"/>
                      </a:lnTo>
                      <a:lnTo>
                        <a:pt x="596" y="575"/>
                      </a:lnTo>
                      <a:lnTo>
                        <a:pt x="595" y="575"/>
                      </a:lnTo>
                      <a:lnTo>
                        <a:pt x="596" y="575"/>
                      </a:lnTo>
                      <a:lnTo>
                        <a:pt x="594" y="571"/>
                      </a:lnTo>
                      <a:lnTo>
                        <a:pt x="596" y="568"/>
                      </a:lnTo>
                      <a:lnTo>
                        <a:pt x="600" y="566"/>
                      </a:lnTo>
                      <a:lnTo>
                        <a:pt x="601" y="565"/>
                      </a:lnTo>
                      <a:lnTo>
                        <a:pt x="602" y="565"/>
                      </a:lnTo>
                      <a:lnTo>
                        <a:pt x="603" y="563"/>
                      </a:lnTo>
                      <a:lnTo>
                        <a:pt x="606" y="564"/>
                      </a:lnTo>
                      <a:lnTo>
                        <a:pt x="608" y="566"/>
                      </a:lnTo>
                      <a:lnTo>
                        <a:pt x="610" y="562"/>
                      </a:lnTo>
                      <a:lnTo>
                        <a:pt x="611" y="559"/>
                      </a:lnTo>
                      <a:lnTo>
                        <a:pt x="610" y="556"/>
                      </a:lnTo>
                      <a:lnTo>
                        <a:pt x="607" y="552"/>
                      </a:lnTo>
                      <a:lnTo>
                        <a:pt x="609" y="550"/>
                      </a:lnTo>
                      <a:lnTo>
                        <a:pt x="610" y="544"/>
                      </a:lnTo>
                      <a:lnTo>
                        <a:pt x="613" y="542"/>
                      </a:lnTo>
                      <a:lnTo>
                        <a:pt x="613" y="538"/>
                      </a:lnTo>
                      <a:lnTo>
                        <a:pt x="616" y="536"/>
                      </a:lnTo>
                      <a:lnTo>
                        <a:pt x="620" y="532"/>
                      </a:lnTo>
                      <a:lnTo>
                        <a:pt x="620" y="528"/>
                      </a:lnTo>
                      <a:lnTo>
                        <a:pt x="622" y="525"/>
                      </a:lnTo>
                      <a:lnTo>
                        <a:pt x="620" y="524"/>
                      </a:lnTo>
                      <a:lnTo>
                        <a:pt x="620" y="524"/>
                      </a:lnTo>
                      <a:lnTo>
                        <a:pt x="621" y="524"/>
                      </a:lnTo>
                      <a:lnTo>
                        <a:pt x="623" y="522"/>
                      </a:lnTo>
                      <a:lnTo>
                        <a:pt x="623" y="519"/>
                      </a:lnTo>
                      <a:lnTo>
                        <a:pt x="624" y="517"/>
                      </a:lnTo>
                      <a:lnTo>
                        <a:pt x="628" y="513"/>
                      </a:lnTo>
                      <a:lnTo>
                        <a:pt x="629" y="511"/>
                      </a:lnTo>
                      <a:lnTo>
                        <a:pt x="629" y="506"/>
                      </a:lnTo>
                      <a:lnTo>
                        <a:pt x="631" y="503"/>
                      </a:lnTo>
                      <a:lnTo>
                        <a:pt x="629" y="502"/>
                      </a:lnTo>
                      <a:lnTo>
                        <a:pt x="629" y="498"/>
                      </a:lnTo>
                      <a:lnTo>
                        <a:pt x="629" y="497"/>
                      </a:lnTo>
                      <a:lnTo>
                        <a:pt x="629" y="496"/>
                      </a:lnTo>
                      <a:lnTo>
                        <a:pt x="630" y="497"/>
                      </a:lnTo>
                      <a:lnTo>
                        <a:pt x="629" y="493"/>
                      </a:lnTo>
                      <a:lnTo>
                        <a:pt x="629" y="491"/>
                      </a:lnTo>
                      <a:lnTo>
                        <a:pt x="629" y="490"/>
                      </a:lnTo>
                      <a:lnTo>
                        <a:pt x="629" y="489"/>
                      </a:lnTo>
                      <a:lnTo>
                        <a:pt x="629" y="483"/>
                      </a:lnTo>
                      <a:lnTo>
                        <a:pt x="631" y="478"/>
                      </a:lnTo>
                      <a:lnTo>
                        <a:pt x="634" y="477"/>
                      </a:lnTo>
                      <a:lnTo>
                        <a:pt x="636" y="473"/>
                      </a:lnTo>
                      <a:lnTo>
                        <a:pt x="639" y="471"/>
                      </a:lnTo>
                      <a:lnTo>
                        <a:pt x="639" y="469"/>
                      </a:lnTo>
                      <a:lnTo>
                        <a:pt x="637" y="468"/>
                      </a:lnTo>
                      <a:lnTo>
                        <a:pt x="637" y="464"/>
                      </a:lnTo>
                      <a:lnTo>
                        <a:pt x="639" y="461"/>
                      </a:lnTo>
                      <a:lnTo>
                        <a:pt x="637" y="457"/>
                      </a:lnTo>
                      <a:lnTo>
                        <a:pt x="637" y="452"/>
                      </a:lnTo>
                      <a:lnTo>
                        <a:pt x="639" y="449"/>
                      </a:lnTo>
                      <a:lnTo>
                        <a:pt x="640" y="445"/>
                      </a:lnTo>
                      <a:lnTo>
                        <a:pt x="640" y="444"/>
                      </a:lnTo>
                      <a:lnTo>
                        <a:pt x="641" y="441"/>
                      </a:lnTo>
                      <a:lnTo>
                        <a:pt x="641" y="439"/>
                      </a:lnTo>
                      <a:lnTo>
                        <a:pt x="641" y="436"/>
                      </a:lnTo>
                      <a:lnTo>
                        <a:pt x="640" y="430"/>
                      </a:lnTo>
                      <a:lnTo>
                        <a:pt x="641" y="426"/>
                      </a:lnTo>
                      <a:lnTo>
                        <a:pt x="640" y="423"/>
                      </a:lnTo>
                      <a:lnTo>
                        <a:pt x="640" y="423"/>
                      </a:lnTo>
                      <a:lnTo>
                        <a:pt x="637" y="412"/>
                      </a:lnTo>
                      <a:lnTo>
                        <a:pt x="637" y="409"/>
                      </a:lnTo>
                      <a:lnTo>
                        <a:pt x="637" y="405"/>
                      </a:lnTo>
                      <a:lnTo>
                        <a:pt x="637" y="401"/>
                      </a:lnTo>
                      <a:lnTo>
                        <a:pt x="639" y="398"/>
                      </a:lnTo>
                      <a:lnTo>
                        <a:pt x="639" y="396"/>
                      </a:lnTo>
                      <a:lnTo>
                        <a:pt x="639" y="394"/>
                      </a:lnTo>
                      <a:lnTo>
                        <a:pt x="639" y="392"/>
                      </a:lnTo>
                      <a:lnTo>
                        <a:pt x="637" y="397"/>
                      </a:lnTo>
                      <a:lnTo>
                        <a:pt x="636" y="398"/>
                      </a:lnTo>
                      <a:lnTo>
                        <a:pt x="637" y="396"/>
                      </a:lnTo>
                      <a:lnTo>
                        <a:pt x="637" y="396"/>
                      </a:lnTo>
                      <a:lnTo>
                        <a:pt x="637" y="395"/>
                      </a:lnTo>
                      <a:lnTo>
                        <a:pt x="636" y="392"/>
                      </a:lnTo>
                      <a:lnTo>
                        <a:pt x="637" y="392"/>
                      </a:lnTo>
                      <a:lnTo>
                        <a:pt x="635" y="390"/>
                      </a:lnTo>
                      <a:lnTo>
                        <a:pt x="636" y="390"/>
                      </a:lnTo>
                      <a:lnTo>
                        <a:pt x="637" y="391"/>
                      </a:lnTo>
                      <a:lnTo>
                        <a:pt x="637" y="390"/>
                      </a:lnTo>
                      <a:lnTo>
                        <a:pt x="637" y="390"/>
                      </a:lnTo>
                      <a:close/>
                      <a:moveTo>
                        <a:pt x="422" y="115"/>
                      </a:moveTo>
                      <a:lnTo>
                        <a:pt x="421" y="116"/>
                      </a:lnTo>
                      <a:lnTo>
                        <a:pt x="417" y="122"/>
                      </a:lnTo>
                      <a:lnTo>
                        <a:pt x="414" y="121"/>
                      </a:lnTo>
                      <a:lnTo>
                        <a:pt x="415" y="118"/>
                      </a:lnTo>
                      <a:lnTo>
                        <a:pt x="416" y="111"/>
                      </a:lnTo>
                      <a:lnTo>
                        <a:pt x="424" y="104"/>
                      </a:lnTo>
                      <a:lnTo>
                        <a:pt x="433" y="103"/>
                      </a:lnTo>
                      <a:lnTo>
                        <a:pt x="433" y="105"/>
                      </a:lnTo>
                      <a:lnTo>
                        <a:pt x="429" y="108"/>
                      </a:lnTo>
                      <a:lnTo>
                        <a:pt x="426" y="110"/>
                      </a:lnTo>
                      <a:lnTo>
                        <a:pt x="422" y="115"/>
                      </a:lnTo>
                      <a:lnTo>
                        <a:pt x="422" y="115"/>
                      </a:lnTo>
                      <a:close/>
                      <a:moveTo>
                        <a:pt x="459" y="122"/>
                      </a:moveTo>
                      <a:lnTo>
                        <a:pt x="457" y="125"/>
                      </a:lnTo>
                      <a:lnTo>
                        <a:pt x="456" y="129"/>
                      </a:lnTo>
                      <a:lnTo>
                        <a:pt x="453" y="132"/>
                      </a:lnTo>
                      <a:lnTo>
                        <a:pt x="451" y="138"/>
                      </a:lnTo>
                      <a:lnTo>
                        <a:pt x="442" y="140"/>
                      </a:lnTo>
                      <a:lnTo>
                        <a:pt x="437" y="143"/>
                      </a:lnTo>
                      <a:lnTo>
                        <a:pt x="428" y="142"/>
                      </a:lnTo>
                      <a:lnTo>
                        <a:pt x="424" y="140"/>
                      </a:lnTo>
                      <a:lnTo>
                        <a:pt x="423" y="136"/>
                      </a:lnTo>
                      <a:lnTo>
                        <a:pt x="423" y="131"/>
                      </a:lnTo>
                      <a:lnTo>
                        <a:pt x="422" y="128"/>
                      </a:lnTo>
                      <a:lnTo>
                        <a:pt x="424" y="124"/>
                      </a:lnTo>
                      <a:lnTo>
                        <a:pt x="422" y="121"/>
                      </a:lnTo>
                      <a:lnTo>
                        <a:pt x="427" y="115"/>
                      </a:lnTo>
                      <a:lnTo>
                        <a:pt x="434" y="110"/>
                      </a:lnTo>
                      <a:lnTo>
                        <a:pt x="436" y="110"/>
                      </a:lnTo>
                      <a:lnTo>
                        <a:pt x="442" y="115"/>
                      </a:lnTo>
                      <a:lnTo>
                        <a:pt x="447" y="114"/>
                      </a:lnTo>
                      <a:lnTo>
                        <a:pt x="453" y="112"/>
                      </a:lnTo>
                      <a:lnTo>
                        <a:pt x="456" y="111"/>
                      </a:lnTo>
                      <a:lnTo>
                        <a:pt x="460" y="112"/>
                      </a:lnTo>
                      <a:lnTo>
                        <a:pt x="460" y="114"/>
                      </a:lnTo>
                      <a:lnTo>
                        <a:pt x="460" y="115"/>
                      </a:lnTo>
                      <a:lnTo>
                        <a:pt x="460" y="117"/>
                      </a:lnTo>
                      <a:lnTo>
                        <a:pt x="459" y="122"/>
                      </a:lnTo>
                      <a:lnTo>
                        <a:pt x="459" y="122"/>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10" name="Belarus">
                  <a:extLst>
                    <a:ext uri="{FF2B5EF4-FFF2-40B4-BE49-F238E27FC236}">
                      <a16:creationId xmlns:a16="http://schemas.microsoft.com/office/drawing/2014/main" id="{A19F1C9E-CE66-DE4D-AC27-8726D3A24EC2}"/>
                    </a:ext>
                  </a:extLst>
                </p:cNvPr>
                <p:cNvSpPr>
                  <a:spLocks/>
                </p:cNvSpPr>
                <p:nvPr/>
              </p:nvSpPr>
              <p:spPr bwMode="auto">
                <a:xfrm>
                  <a:off x="6884276" y="2321554"/>
                  <a:ext cx="193907" cy="132673"/>
                </a:xfrm>
                <a:custGeom>
                  <a:avLst/>
                  <a:gdLst>
                    <a:gd name="T0" fmla="*/ 9 w 133"/>
                    <a:gd name="T1" fmla="*/ 87 h 91"/>
                    <a:gd name="T2" fmla="*/ 15 w 133"/>
                    <a:gd name="T3" fmla="*/ 84 h 91"/>
                    <a:gd name="T4" fmla="*/ 20 w 133"/>
                    <a:gd name="T5" fmla="*/ 78 h 91"/>
                    <a:gd name="T6" fmla="*/ 34 w 133"/>
                    <a:gd name="T7" fmla="*/ 78 h 91"/>
                    <a:gd name="T8" fmla="*/ 53 w 133"/>
                    <a:gd name="T9" fmla="*/ 83 h 91"/>
                    <a:gd name="T10" fmla="*/ 61 w 133"/>
                    <a:gd name="T11" fmla="*/ 82 h 91"/>
                    <a:gd name="T12" fmla="*/ 65 w 133"/>
                    <a:gd name="T13" fmla="*/ 87 h 91"/>
                    <a:gd name="T14" fmla="*/ 85 w 133"/>
                    <a:gd name="T15" fmla="*/ 86 h 91"/>
                    <a:gd name="T16" fmla="*/ 88 w 133"/>
                    <a:gd name="T17" fmla="*/ 89 h 91"/>
                    <a:gd name="T18" fmla="*/ 88 w 133"/>
                    <a:gd name="T19" fmla="*/ 86 h 91"/>
                    <a:gd name="T20" fmla="*/ 94 w 133"/>
                    <a:gd name="T21" fmla="*/ 86 h 91"/>
                    <a:gd name="T22" fmla="*/ 99 w 133"/>
                    <a:gd name="T23" fmla="*/ 88 h 91"/>
                    <a:gd name="T24" fmla="*/ 101 w 133"/>
                    <a:gd name="T25" fmla="*/ 87 h 91"/>
                    <a:gd name="T26" fmla="*/ 116 w 133"/>
                    <a:gd name="T27" fmla="*/ 91 h 91"/>
                    <a:gd name="T28" fmla="*/ 117 w 133"/>
                    <a:gd name="T29" fmla="*/ 87 h 91"/>
                    <a:gd name="T30" fmla="*/ 123 w 133"/>
                    <a:gd name="T31" fmla="*/ 83 h 91"/>
                    <a:gd name="T32" fmla="*/ 128 w 133"/>
                    <a:gd name="T33" fmla="*/ 71 h 91"/>
                    <a:gd name="T34" fmla="*/ 123 w 133"/>
                    <a:gd name="T35" fmla="*/ 62 h 91"/>
                    <a:gd name="T36" fmla="*/ 125 w 133"/>
                    <a:gd name="T37" fmla="*/ 57 h 91"/>
                    <a:gd name="T38" fmla="*/ 133 w 133"/>
                    <a:gd name="T39" fmla="*/ 55 h 91"/>
                    <a:gd name="T40" fmla="*/ 132 w 133"/>
                    <a:gd name="T41" fmla="*/ 44 h 91"/>
                    <a:gd name="T42" fmla="*/ 115 w 133"/>
                    <a:gd name="T43" fmla="*/ 34 h 91"/>
                    <a:gd name="T44" fmla="*/ 112 w 133"/>
                    <a:gd name="T45" fmla="*/ 26 h 91"/>
                    <a:gd name="T46" fmla="*/ 109 w 133"/>
                    <a:gd name="T47" fmla="*/ 22 h 91"/>
                    <a:gd name="T48" fmla="*/ 109 w 133"/>
                    <a:gd name="T49" fmla="*/ 17 h 91"/>
                    <a:gd name="T50" fmla="*/ 105 w 133"/>
                    <a:gd name="T51" fmla="*/ 13 h 91"/>
                    <a:gd name="T52" fmla="*/ 106 w 133"/>
                    <a:gd name="T53" fmla="*/ 9 h 91"/>
                    <a:gd name="T54" fmla="*/ 87 w 133"/>
                    <a:gd name="T55" fmla="*/ 2 h 91"/>
                    <a:gd name="T56" fmla="*/ 83 w 133"/>
                    <a:gd name="T57" fmla="*/ 6 h 91"/>
                    <a:gd name="T58" fmla="*/ 81 w 133"/>
                    <a:gd name="T59" fmla="*/ 3 h 91"/>
                    <a:gd name="T60" fmla="*/ 65 w 133"/>
                    <a:gd name="T61" fmla="*/ 0 h 91"/>
                    <a:gd name="T62" fmla="*/ 56 w 133"/>
                    <a:gd name="T63" fmla="*/ 0 h 91"/>
                    <a:gd name="T64" fmla="*/ 52 w 133"/>
                    <a:gd name="T65" fmla="*/ 3 h 91"/>
                    <a:gd name="T66" fmla="*/ 46 w 133"/>
                    <a:gd name="T67" fmla="*/ 3 h 91"/>
                    <a:gd name="T68" fmla="*/ 39 w 133"/>
                    <a:gd name="T69" fmla="*/ 7 h 91"/>
                    <a:gd name="T70" fmla="*/ 36 w 133"/>
                    <a:gd name="T71" fmla="*/ 10 h 91"/>
                    <a:gd name="T72" fmla="*/ 42 w 133"/>
                    <a:gd name="T73" fmla="*/ 14 h 91"/>
                    <a:gd name="T74" fmla="*/ 41 w 133"/>
                    <a:gd name="T75" fmla="*/ 16 h 91"/>
                    <a:gd name="T76" fmla="*/ 38 w 133"/>
                    <a:gd name="T77" fmla="*/ 16 h 91"/>
                    <a:gd name="T78" fmla="*/ 36 w 133"/>
                    <a:gd name="T79" fmla="*/ 19 h 91"/>
                    <a:gd name="T80" fmla="*/ 32 w 133"/>
                    <a:gd name="T81" fmla="*/ 22 h 91"/>
                    <a:gd name="T82" fmla="*/ 29 w 133"/>
                    <a:gd name="T83" fmla="*/ 30 h 91"/>
                    <a:gd name="T84" fmla="*/ 27 w 133"/>
                    <a:gd name="T85" fmla="*/ 34 h 91"/>
                    <a:gd name="T86" fmla="*/ 18 w 133"/>
                    <a:gd name="T87" fmla="*/ 34 h 91"/>
                    <a:gd name="T88" fmla="*/ 1 w 133"/>
                    <a:gd name="T89" fmla="*/ 36 h 91"/>
                    <a:gd name="T90" fmla="*/ 6 w 133"/>
                    <a:gd name="T91" fmla="*/ 50 h 91"/>
                    <a:gd name="T92" fmla="*/ 9 w 133"/>
                    <a:gd name="T93" fmla="*/ 55 h 91"/>
                    <a:gd name="T94" fmla="*/ 10 w 133"/>
                    <a:gd name="T95" fmla="*/ 67 h 91"/>
                    <a:gd name="T96" fmla="*/ 3 w 133"/>
                    <a:gd name="T97" fmla="*/ 69 h 91"/>
                    <a:gd name="T98" fmla="*/ 0 w 133"/>
                    <a:gd name="T99" fmla="*/ 75 h 91"/>
                    <a:gd name="T100" fmla="*/ 1 w 133"/>
                    <a:gd name="T101" fmla="*/ 75 h 91"/>
                    <a:gd name="T102" fmla="*/ 2 w 133"/>
                    <a:gd name="T103" fmla="*/ 77 h 91"/>
                    <a:gd name="T104" fmla="*/ 5 w 133"/>
                    <a:gd name="T105" fmla="*/ 77 h 91"/>
                    <a:gd name="T106" fmla="*/ 5 w 133"/>
                    <a:gd name="T107" fmla="*/ 77 h 91"/>
                    <a:gd name="T108" fmla="*/ 5 w 133"/>
                    <a:gd name="T109" fmla="*/ 78 h 91"/>
                    <a:gd name="T110" fmla="*/ 6 w 133"/>
                    <a:gd name="T111" fmla="*/ 80 h 91"/>
                    <a:gd name="T112" fmla="*/ 8 w 133"/>
                    <a:gd name="T113" fmla="*/ 80 h 91"/>
                    <a:gd name="T114" fmla="*/ 9 w 133"/>
                    <a:gd name="T115" fmla="*/ 87 h 91"/>
                    <a:gd name="T116" fmla="*/ 9 w 133"/>
                    <a:gd name="T117" fmla="*/ 87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33" h="91">
                      <a:moveTo>
                        <a:pt x="9" y="87"/>
                      </a:moveTo>
                      <a:lnTo>
                        <a:pt x="15" y="84"/>
                      </a:lnTo>
                      <a:lnTo>
                        <a:pt x="20" y="78"/>
                      </a:lnTo>
                      <a:lnTo>
                        <a:pt x="34" y="78"/>
                      </a:lnTo>
                      <a:lnTo>
                        <a:pt x="53" y="83"/>
                      </a:lnTo>
                      <a:lnTo>
                        <a:pt x="61" y="82"/>
                      </a:lnTo>
                      <a:lnTo>
                        <a:pt x="65" y="87"/>
                      </a:lnTo>
                      <a:lnTo>
                        <a:pt x="85" y="86"/>
                      </a:lnTo>
                      <a:lnTo>
                        <a:pt x="88" y="89"/>
                      </a:lnTo>
                      <a:lnTo>
                        <a:pt x="88" y="86"/>
                      </a:lnTo>
                      <a:lnTo>
                        <a:pt x="94" y="86"/>
                      </a:lnTo>
                      <a:lnTo>
                        <a:pt x="99" y="88"/>
                      </a:lnTo>
                      <a:lnTo>
                        <a:pt x="101" y="87"/>
                      </a:lnTo>
                      <a:lnTo>
                        <a:pt x="116" y="91"/>
                      </a:lnTo>
                      <a:lnTo>
                        <a:pt x="117" y="87"/>
                      </a:lnTo>
                      <a:lnTo>
                        <a:pt x="123" y="83"/>
                      </a:lnTo>
                      <a:lnTo>
                        <a:pt x="128" y="71"/>
                      </a:lnTo>
                      <a:lnTo>
                        <a:pt x="123" y="62"/>
                      </a:lnTo>
                      <a:lnTo>
                        <a:pt x="125" y="57"/>
                      </a:lnTo>
                      <a:lnTo>
                        <a:pt x="133" y="55"/>
                      </a:lnTo>
                      <a:lnTo>
                        <a:pt x="132" y="44"/>
                      </a:lnTo>
                      <a:lnTo>
                        <a:pt x="115" y="34"/>
                      </a:lnTo>
                      <a:lnTo>
                        <a:pt x="112" y="26"/>
                      </a:lnTo>
                      <a:lnTo>
                        <a:pt x="109" y="22"/>
                      </a:lnTo>
                      <a:lnTo>
                        <a:pt x="109" y="17"/>
                      </a:lnTo>
                      <a:lnTo>
                        <a:pt x="105" y="13"/>
                      </a:lnTo>
                      <a:lnTo>
                        <a:pt x="106" y="9"/>
                      </a:lnTo>
                      <a:lnTo>
                        <a:pt x="87" y="2"/>
                      </a:lnTo>
                      <a:lnTo>
                        <a:pt x="83" y="6"/>
                      </a:lnTo>
                      <a:lnTo>
                        <a:pt x="81" y="3"/>
                      </a:lnTo>
                      <a:lnTo>
                        <a:pt x="65" y="0"/>
                      </a:lnTo>
                      <a:lnTo>
                        <a:pt x="56" y="0"/>
                      </a:lnTo>
                      <a:lnTo>
                        <a:pt x="52" y="3"/>
                      </a:lnTo>
                      <a:lnTo>
                        <a:pt x="46" y="3"/>
                      </a:lnTo>
                      <a:lnTo>
                        <a:pt x="39" y="7"/>
                      </a:lnTo>
                      <a:lnTo>
                        <a:pt x="36" y="10"/>
                      </a:lnTo>
                      <a:lnTo>
                        <a:pt x="42" y="14"/>
                      </a:lnTo>
                      <a:lnTo>
                        <a:pt x="41" y="16"/>
                      </a:lnTo>
                      <a:lnTo>
                        <a:pt x="38" y="16"/>
                      </a:lnTo>
                      <a:lnTo>
                        <a:pt x="36" y="19"/>
                      </a:lnTo>
                      <a:lnTo>
                        <a:pt x="32" y="22"/>
                      </a:lnTo>
                      <a:lnTo>
                        <a:pt x="29" y="30"/>
                      </a:lnTo>
                      <a:lnTo>
                        <a:pt x="27" y="34"/>
                      </a:lnTo>
                      <a:lnTo>
                        <a:pt x="18" y="34"/>
                      </a:lnTo>
                      <a:lnTo>
                        <a:pt x="1" y="36"/>
                      </a:lnTo>
                      <a:lnTo>
                        <a:pt x="6" y="50"/>
                      </a:lnTo>
                      <a:lnTo>
                        <a:pt x="9" y="55"/>
                      </a:lnTo>
                      <a:lnTo>
                        <a:pt x="10" y="67"/>
                      </a:lnTo>
                      <a:lnTo>
                        <a:pt x="3" y="69"/>
                      </a:lnTo>
                      <a:lnTo>
                        <a:pt x="0" y="75"/>
                      </a:lnTo>
                      <a:lnTo>
                        <a:pt x="1" y="75"/>
                      </a:lnTo>
                      <a:lnTo>
                        <a:pt x="2" y="77"/>
                      </a:lnTo>
                      <a:lnTo>
                        <a:pt x="5" y="77"/>
                      </a:lnTo>
                      <a:lnTo>
                        <a:pt x="5" y="77"/>
                      </a:lnTo>
                      <a:lnTo>
                        <a:pt x="5" y="78"/>
                      </a:lnTo>
                      <a:lnTo>
                        <a:pt x="6" y="80"/>
                      </a:lnTo>
                      <a:lnTo>
                        <a:pt x="8" y="80"/>
                      </a:lnTo>
                      <a:lnTo>
                        <a:pt x="9" y="87"/>
                      </a:lnTo>
                      <a:lnTo>
                        <a:pt x="9" y="87"/>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grpSp>
              <p:nvGrpSpPr>
                <p:cNvPr id="411" name="Azerbaijan">
                  <a:extLst>
                    <a:ext uri="{FF2B5EF4-FFF2-40B4-BE49-F238E27FC236}">
                      <a16:creationId xmlns:a16="http://schemas.microsoft.com/office/drawing/2014/main" id="{0DD935BE-C0A8-2D48-A064-78E845FEB5A3}"/>
                    </a:ext>
                  </a:extLst>
                </p:cNvPr>
                <p:cNvGrpSpPr/>
                <p:nvPr/>
              </p:nvGrpSpPr>
              <p:grpSpPr>
                <a:xfrm>
                  <a:off x="7447045" y="2726864"/>
                  <a:ext cx="142879" cy="110804"/>
                  <a:chOff x="6227883" y="2944930"/>
                  <a:chExt cx="157563" cy="122192"/>
                </a:xfrm>
                <a:grpFill/>
              </p:grpSpPr>
              <p:sp>
                <p:nvSpPr>
                  <p:cNvPr id="488" name="Freeform 279">
                    <a:extLst>
                      <a:ext uri="{FF2B5EF4-FFF2-40B4-BE49-F238E27FC236}">
                        <a16:creationId xmlns:a16="http://schemas.microsoft.com/office/drawing/2014/main" id="{2DCDEBF0-14D3-724F-91A5-2E5EB73F6990}"/>
                      </a:ext>
                    </a:extLst>
                  </p:cNvPr>
                  <p:cNvSpPr>
                    <a:spLocks/>
                  </p:cNvSpPr>
                  <p:nvPr/>
                </p:nvSpPr>
                <p:spPr bwMode="auto">
                  <a:xfrm>
                    <a:off x="6227883" y="2944930"/>
                    <a:ext cx="157563" cy="122192"/>
                  </a:xfrm>
                  <a:custGeom>
                    <a:avLst/>
                    <a:gdLst>
                      <a:gd name="T0" fmla="*/ 77 w 98"/>
                      <a:gd name="T1" fmla="*/ 65 h 76"/>
                      <a:gd name="T2" fmla="*/ 78 w 98"/>
                      <a:gd name="T3" fmla="*/ 59 h 76"/>
                      <a:gd name="T4" fmla="*/ 82 w 98"/>
                      <a:gd name="T5" fmla="*/ 64 h 76"/>
                      <a:gd name="T6" fmla="*/ 82 w 98"/>
                      <a:gd name="T7" fmla="*/ 58 h 76"/>
                      <a:gd name="T8" fmla="*/ 84 w 98"/>
                      <a:gd name="T9" fmla="*/ 53 h 76"/>
                      <a:gd name="T10" fmla="*/ 82 w 98"/>
                      <a:gd name="T11" fmla="*/ 46 h 76"/>
                      <a:gd name="T12" fmla="*/ 82 w 98"/>
                      <a:gd name="T13" fmla="*/ 42 h 76"/>
                      <a:gd name="T14" fmla="*/ 88 w 98"/>
                      <a:gd name="T15" fmla="*/ 36 h 76"/>
                      <a:gd name="T16" fmla="*/ 93 w 98"/>
                      <a:gd name="T17" fmla="*/ 36 h 76"/>
                      <a:gd name="T18" fmla="*/ 98 w 98"/>
                      <a:gd name="T19" fmla="*/ 37 h 76"/>
                      <a:gd name="T20" fmla="*/ 94 w 98"/>
                      <a:gd name="T21" fmla="*/ 30 h 76"/>
                      <a:gd name="T22" fmla="*/ 89 w 98"/>
                      <a:gd name="T23" fmla="*/ 29 h 76"/>
                      <a:gd name="T24" fmla="*/ 82 w 98"/>
                      <a:gd name="T25" fmla="*/ 30 h 76"/>
                      <a:gd name="T26" fmla="*/ 81 w 98"/>
                      <a:gd name="T27" fmla="*/ 24 h 76"/>
                      <a:gd name="T28" fmla="*/ 74 w 98"/>
                      <a:gd name="T29" fmla="*/ 19 h 76"/>
                      <a:gd name="T30" fmla="*/ 73 w 98"/>
                      <a:gd name="T31" fmla="*/ 15 h 76"/>
                      <a:gd name="T32" fmla="*/ 69 w 98"/>
                      <a:gd name="T33" fmla="*/ 10 h 76"/>
                      <a:gd name="T34" fmla="*/ 62 w 98"/>
                      <a:gd name="T35" fmla="*/ 4 h 76"/>
                      <a:gd name="T36" fmla="*/ 54 w 98"/>
                      <a:gd name="T37" fmla="*/ 6 h 76"/>
                      <a:gd name="T38" fmla="*/ 41 w 98"/>
                      <a:gd name="T39" fmla="*/ 12 h 76"/>
                      <a:gd name="T40" fmla="*/ 28 w 98"/>
                      <a:gd name="T41" fmla="*/ 0 h 76"/>
                      <a:gd name="T42" fmla="*/ 29 w 98"/>
                      <a:gd name="T43" fmla="*/ 12 h 76"/>
                      <a:gd name="T44" fmla="*/ 11 w 98"/>
                      <a:gd name="T45" fmla="*/ 10 h 76"/>
                      <a:gd name="T46" fmla="*/ 6 w 98"/>
                      <a:gd name="T47" fmla="*/ 19 h 76"/>
                      <a:gd name="T48" fmla="*/ 13 w 98"/>
                      <a:gd name="T49" fmla="*/ 30 h 76"/>
                      <a:gd name="T50" fmla="*/ 16 w 98"/>
                      <a:gd name="T51" fmla="*/ 39 h 76"/>
                      <a:gd name="T52" fmla="*/ 26 w 98"/>
                      <a:gd name="T53" fmla="*/ 47 h 76"/>
                      <a:gd name="T54" fmla="*/ 34 w 98"/>
                      <a:gd name="T55" fmla="*/ 56 h 76"/>
                      <a:gd name="T56" fmla="*/ 38 w 98"/>
                      <a:gd name="T57" fmla="*/ 65 h 76"/>
                      <a:gd name="T58" fmla="*/ 41 w 98"/>
                      <a:gd name="T59" fmla="*/ 63 h 76"/>
                      <a:gd name="T60" fmla="*/ 44 w 98"/>
                      <a:gd name="T61" fmla="*/ 59 h 76"/>
                      <a:gd name="T62" fmla="*/ 47 w 98"/>
                      <a:gd name="T63" fmla="*/ 57 h 76"/>
                      <a:gd name="T64" fmla="*/ 51 w 98"/>
                      <a:gd name="T65" fmla="*/ 52 h 76"/>
                      <a:gd name="T66" fmla="*/ 56 w 98"/>
                      <a:gd name="T67" fmla="*/ 50 h 76"/>
                      <a:gd name="T68" fmla="*/ 60 w 98"/>
                      <a:gd name="T69" fmla="*/ 50 h 76"/>
                      <a:gd name="T70" fmla="*/ 67 w 98"/>
                      <a:gd name="T71" fmla="*/ 54 h 76"/>
                      <a:gd name="T72" fmla="*/ 63 w 98"/>
                      <a:gd name="T73" fmla="*/ 57 h 76"/>
                      <a:gd name="T74" fmla="*/ 66 w 98"/>
                      <a:gd name="T75" fmla="*/ 59 h 76"/>
                      <a:gd name="T76" fmla="*/ 67 w 98"/>
                      <a:gd name="T77" fmla="*/ 64 h 76"/>
                      <a:gd name="T78" fmla="*/ 62 w 98"/>
                      <a:gd name="T79" fmla="*/ 65 h 76"/>
                      <a:gd name="T80" fmla="*/ 68 w 98"/>
                      <a:gd name="T81" fmla="*/ 69 h 76"/>
                      <a:gd name="T82" fmla="*/ 70 w 98"/>
                      <a:gd name="T83" fmla="*/ 71 h 76"/>
                      <a:gd name="T84" fmla="*/ 75 w 98"/>
                      <a:gd name="T85" fmla="*/ 76 h 76"/>
                      <a:gd name="T86" fmla="*/ 78 w 98"/>
                      <a:gd name="T87" fmla="*/ 74 h 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98" h="76">
                        <a:moveTo>
                          <a:pt x="77" y="71"/>
                        </a:moveTo>
                        <a:lnTo>
                          <a:pt x="76" y="65"/>
                        </a:lnTo>
                        <a:lnTo>
                          <a:pt x="77" y="65"/>
                        </a:lnTo>
                        <a:lnTo>
                          <a:pt x="78" y="64"/>
                        </a:lnTo>
                        <a:lnTo>
                          <a:pt x="78" y="62"/>
                        </a:lnTo>
                        <a:lnTo>
                          <a:pt x="78" y="59"/>
                        </a:lnTo>
                        <a:lnTo>
                          <a:pt x="81" y="60"/>
                        </a:lnTo>
                        <a:lnTo>
                          <a:pt x="82" y="63"/>
                        </a:lnTo>
                        <a:lnTo>
                          <a:pt x="82" y="64"/>
                        </a:lnTo>
                        <a:lnTo>
                          <a:pt x="84" y="64"/>
                        </a:lnTo>
                        <a:lnTo>
                          <a:pt x="83" y="62"/>
                        </a:lnTo>
                        <a:lnTo>
                          <a:pt x="82" y="58"/>
                        </a:lnTo>
                        <a:lnTo>
                          <a:pt x="83" y="57"/>
                        </a:lnTo>
                        <a:lnTo>
                          <a:pt x="86" y="58"/>
                        </a:lnTo>
                        <a:lnTo>
                          <a:pt x="84" y="53"/>
                        </a:lnTo>
                        <a:lnTo>
                          <a:pt x="83" y="51"/>
                        </a:lnTo>
                        <a:lnTo>
                          <a:pt x="84" y="47"/>
                        </a:lnTo>
                        <a:lnTo>
                          <a:pt x="82" y="46"/>
                        </a:lnTo>
                        <a:lnTo>
                          <a:pt x="82" y="44"/>
                        </a:lnTo>
                        <a:lnTo>
                          <a:pt x="82" y="44"/>
                        </a:lnTo>
                        <a:lnTo>
                          <a:pt x="82" y="42"/>
                        </a:lnTo>
                        <a:lnTo>
                          <a:pt x="82" y="40"/>
                        </a:lnTo>
                        <a:lnTo>
                          <a:pt x="87" y="39"/>
                        </a:lnTo>
                        <a:lnTo>
                          <a:pt x="88" y="36"/>
                        </a:lnTo>
                        <a:lnTo>
                          <a:pt x="89" y="36"/>
                        </a:lnTo>
                        <a:lnTo>
                          <a:pt x="90" y="36"/>
                        </a:lnTo>
                        <a:lnTo>
                          <a:pt x="93" y="36"/>
                        </a:lnTo>
                        <a:lnTo>
                          <a:pt x="95" y="38"/>
                        </a:lnTo>
                        <a:lnTo>
                          <a:pt x="96" y="38"/>
                        </a:lnTo>
                        <a:lnTo>
                          <a:pt x="98" y="37"/>
                        </a:lnTo>
                        <a:lnTo>
                          <a:pt x="96" y="35"/>
                        </a:lnTo>
                        <a:lnTo>
                          <a:pt x="95" y="33"/>
                        </a:lnTo>
                        <a:lnTo>
                          <a:pt x="94" y="30"/>
                        </a:lnTo>
                        <a:lnTo>
                          <a:pt x="93" y="30"/>
                        </a:lnTo>
                        <a:lnTo>
                          <a:pt x="91" y="30"/>
                        </a:lnTo>
                        <a:lnTo>
                          <a:pt x="89" y="29"/>
                        </a:lnTo>
                        <a:lnTo>
                          <a:pt x="88" y="30"/>
                        </a:lnTo>
                        <a:lnTo>
                          <a:pt x="87" y="29"/>
                        </a:lnTo>
                        <a:lnTo>
                          <a:pt x="82" y="30"/>
                        </a:lnTo>
                        <a:lnTo>
                          <a:pt x="82" y="27"/>
                        </a:lnTo>
                        <a:lnTo>
                          <a:pt x="81" y="26"/>
                        </a:lnTo>
                        <a:lnTo>
                          <a:pt x="81" y="24"/>
                        </a:lnTo>
                        <a:lnTo>
                          <a:pt x="77" y="22"/>
                        </a:lnTo>
                        <a:lnTo>
                          <a:pt x="75" y="20"/>
                        </a:lnTo>
                        <a:lnTo>
                          <a:pt x="74" y="19"/>
                        </a:lnTo>
                        <a:lnTo>
                          <a:pt x="73" y="18"/>
                        </a:lnTo>
                        <a:lnTo>
                          <a:pt x="73" y="16"/>
                        </a:lnTo>
                        <a:lnTo>
                          <a:pt x="73" y="15"/>
                        </a:lnTo>
                        <a:lnTo>
                          <a:pt x="70" y="13"/>
                        </a:lnTo>
                        <a:lnTo>
                          <a:pt x="70" y="11"/>
                        </a:lnTo>
                        <a:lnTo>
                          <a:pt x="69" y="10"/>
                        </a:lnTo>
                        <a:lnTo>
                          <a:pt x="67" y="9"/>
                        </a:lnTo>
                        <a:lnTo>
                          <a:pt x="66" y="5"/>
                        </a:lnTo>
                        <a:lnTo>
                          <a:pt x="62" y="4"/>
                        </a:lnTo>
                        <a:lnTo>
                          <a:pt x="62" y="3"/>
                        </a:lnTo>
                        <a:lnTo>
                          <a:pt x="61" y="0"/>
                        </a:lnTo>
                        <a:lnTo>
                          <a:pt x="54" y="6"/>
                        </a:lnTo>
                        <a:lnTo>
                          <a:pt x="50" y="9"/>
                        </a:lnTo>
                        <a:lnTo>
                          <a:pt x="50" y="15"/>
                        </a:lnTo>
                        <a:lnTo>
                          <a:pt x="41" y="12"/>
                        </a:lnTo>
                        <a:lnTo>
                          <a:pt x="36" y="6"/>
                        </a:lnTo>
                        <a:lnTo>
                          <a:pt x="31" y="4"/>
                        </a:lnTo>
                        <a:lnTo>
                          <a:pt x="28" y="0"/>
                        </a:lnTo>
                        <a:lnTo>
                          <a:pt x="23" y="2"/>
                        </a:lnTo>
                        <a:lnTo>
                          <a:pt x="23" y="2"/>
                        </a:lnTo>
                        <a:lnTo>
                          <a:pt x="29" y="12"/>
                        </a:lnTo>
                        <a:lnTo>
                          <a:pt x="27" y="17"/>
                        </a:lnTo>
                        <a:lnTo>
                          <a:pt x="18" y="15"/>
                        </a:lnTo>
                        <a:lnTo>
                          <a:pt x="11" y="10"/>
                        </a:lnTo>
                        <a:lnTo>
                          <a:pt x="3" y="9"/>
                        </a:lnTo>
                        <a:lnTo>
                          <a:pt x="0" y="13"/>
                        </a:lnTo>
                        <a:lnTo>
                          <a:pt x="6" y="19"/>
                        </a:lnTo>
                        <a:lnTo>
                          <a:pt x="8" y="18"/>
                        </a:lnTo>
                        <a:lnTo>
                          <a:pt x="11" y="23"/>
                        </a:lnTo>
                        <a:lnTo>
                          <a:pt x="13" y="30"/>
                        </a:lnTo>
                        <a:lnTo>
                          <a:pt x="21" y="33"/>
                        </a:lnTo>
                        <a:lnTo>
                          <a:pt x="21" y="37"/>
                        </a:lnTo>
                        <a:lnTo>
                          <a:pt x="16" y="39"/>
                        </a:lnTo>
                        <a:lnTo>
                          <a:pt x="17" y="40"/>
                        </a:lnTo>
                        <a:lnTo>
                          <a:pt x="21" y="43"/>
                        </a:lnTo>
                        <a:lnTo>
                          <a:pt x="26" y="47"/>
                        </a:lnTo>
                        <a:lnTo>
                          <a:pt x="33" y="49"/>
                        </a:lnTo>
                        <a:lnTo>
                          <a:pt x="31" y="51"/>
                        </a:lnTo>
                        <a:lnTo>
                          <a:pt x="34" y="56"/>
                        </a:lnTo>
                        <a:lnTo>
                          <a:pt x="33" y="57"/>
                        </a:lnTo>
                        <a:lnTo>
                          <a:pt x="38" y="63"/>
                        </a:lnTo>
                        <a:lnTo>
                          <a:pt x="38" y="65"/>
                        </a:lnTo>
                        <a:lnTo>
                          <a:pt x="41" y="64"/>
                        </a:lnTo>
                        <a:lnTo>
                          <a:pt x="40" y="63"/>
                        </a:lnTo>
                        <a:lnTo>
                          <a:pt x="41" y="63"/>
                        </a:lnTo>
                        <a:lnTo>
                          <a:pt x="40" y="62"/>
                        </a:lnTo>
                        <a:lnTo>
                          <a:pt x="42" y="59"/>
                        </a:lnTo>
                        <a:lnTo>
                          <a:pt x="44" y="59"/>
                        </a:lnTo>
                        <a:lnTo>
                          <a:pt x="44" y="59"/>
                        </a:lnTo>
                        <a:lnTo>
                          <a:pt x="46" y="58"/>
                        </a:lnTo>
                        <a:lnTo>
                          <a:pt x="47" y="57"/>
                        </a:lnTo>
                        <a:lnTo>
                          <a:pt x="49" y="54"/>
                        </a:lnTo>
                        <a:lnTo>
                          <a:pt x="50" y="53"/>
                        </a:lnTo>
                        <a:lnTo>
                          <a:pt x="51" y="52"/>
                        </a:lnTo>
                        <a:lnTo>
                          <a:pt x="53" y="52"/>
                        </a:lnTo>
                        <a:lnTo>
                          <a:pt x="56" y="50"/>
                        </a:lnTo>
                        <a:lnTo>
                          <a:pt x="56" y="50"/>
                        </a:lnTo>
                        <a:lnTo>
                          <a:pt x="60" y="50"/>
                        </a:lnTo>
                        <a:lnTo>
                          <a:pt x="58" y="49"/>
                        </a:lnTo>
                        <a:lnTo>
                          <a:pt x="60" y="50"/>
                        </a:lnTo>
                        <a:lnTo>
                          <a:pt x="62" y="51"/>
                        </a:lnTo>
                        <a:lnTo>
                          <a:pt x="67" y="53"/>
                        </a:lnTo>
                        <a:lnTo>
                          <a:pt x="67" y="54"/>
                        </a:lnTo>
                        <a:lnTo>
                          <a:pt x="66" y="56"/>
                        </a:lnTo>
                        <a:lnTo>
                          <a:pt x="63" y="56"/>
                        </a:lnTo>
                        <a:lnTo>
                          <a:pt x="63" y="57"/>
                        </a:lnTo>
                        <a:lnTo>
                          <a:pt x="63" y="58"/>
                        </a:lnTo>
                        <a:lnTo>
                          <a:pt x="63" y="58"/>
                        </a:lnTo>
                        <a:lnTo>
                          <a:pt x="66" y="59"/>
                        </a:lnTo>
                        <a:lnTo>
                          <a:pt x="67" y="60"/>
                        </a:lnTo>
                        <a:lnTo>
                          <a:pt x="68" y="63"/>
                        </a:lnTo>
                        <a:lnTo>
                          <a:pt x="67" y="64"/>
                        </a:lnTo>
                        <a:lnTo>
                          <a:pt x="64" y="64"/>
                        </a:lnTo>
                        <a:lnTo>
                          <a:pt x="64" y="65"/>
                        </a:lnTo>
                        <a:lnTo>
                          <a:pt x="62" y="65"/>
                        </a:lnTo>
                        <a:lnTo>
                          <a:pt x="62" y="66"/>
                        </a:lnTo>
                        <a:lnTo>
                          <a:pt x="66" y="69"/>
                        </a:lnTo>
                        <a:lnTo>
                          <a:pt x="68" y="69"/>
                        </a:lnTo>
                        <a:lnTo>
                          <a:pt x="68" y="70"/>
                        </a:lnTo>
                        <a:lnTo>
                          <a:pt x="68" y="70"/>
                        </a:lnTo>
                        <a:lnTo>
                          <a:pt x="70" y="71"/>
                        </a:lnTo>
                        <a:lnTo>
                          <a:pt x="71" y="71"/>
                        </a:lnTo>
                        <a:lnTo>
                          <a:pt x="71" y="72"/>
                        </a:lnTo>
                        <a:lnTo>
                          <a:pt x="75" y="76"/>
                        </a:lnTo>
                        <a:lnTo>
                          <a:pt x="76" y="74"/>
                        </a:lnTo>
                        <a:lnTo>
                          <a:pt x="77" y="74"/>
                        </a:lnTo>
                        <a:lnTo>
                          <a:pt x="78" y="74"/>
                        </a:lnTo>
                        <a:lnTo>
                          <a:pt x="77" y="71"/>
                        </a:lnTo>
                        <a:lnTo>
                          <a:pt x="77" y="71"/>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89" name="Freeform 280">
                    <a:extLst>
                      <a:ext uri="{FF2B5EF4-FFF2-40B4-BE49-F238E27FC236}">
                        <a16:creationId xmlns:a16="http://schemas.microsoft.com/office/drawing/2014/main" id="{CF3ECB17-F690-F346-9FEC-466F5F872FC2}"/>
                      </a:ext>
                    </a:extLst>
                  </p:cNvPr>
                  <p:cNvSpPr>
                    <a:spLocks/>
                  </p:cNvSpPr>
                  <p:nvPr/>
                </p:nvSpPr>
                <p:spPr bwMode="auto">
                  <a:xfrm>
                    <a:off x="6237530" y="3007634"/>
                    <a:ext cx="36980" cy="41803"/>
                  </a:xfrm>
                  <a:custGeom>
                    <a:avLst/>
                    <a:gdLst>
                      <a:gd name="T0" fmla="*/ 0 w 23"/>
                      <a:gd name="T1" fmla="*/ 0 h 26"/>
                      <a:gd name="T2" fmla="*/ 2 w 23"/>
                      <a:gd name="T3" fmla="*/ 4 h 26"/>
                      <a:gd name="T4" fmla="*/ 2 w 23"/>
                      <a:gd name="T5" fmla="*/ 8 h 26"/>
                      <a:gd name="T6" fmla="*/ 10 w 23"/>
                      <a:gd name="T7" fmla="*/ 11 h 26"/>
                      <a:gd name="T8" fmla="*/ 12 w 23"/>
                      <a:gd name="T9" fmla="*/ 10 h 26"/>
                      <a:gd name="T10" fmla="*/ 16 w 23"/>
                      <a:gd name="T11" fmla="*/ 11 h 26"/>
                      <a:gd name="T12" fmla="*/ 16 w 23"/>
                      <a:gd name="T13" fmla="*/ 13 h 26"/>
                      <a:gd name="T14" fmla="*/ 20 w 23"/>
                      <a:gd name="T15" fmla="*/ 17 h 26"/>
                      <a:gd name="T16" fmla="*/ 23 w 23"/>
                      <a:gd name="T17" fmla="*/ 26 h 26"/>
                      <a:gd name="T18" fmla="*/ 23 w 23"/>
                      <a:gd name="T19" fmla="*/ 26 h 26"/>
                      <a:gd name="T20" fmla="*/ 21 w 23"/>
                      <a:gd name="T21" fmla="*/ 26 h 26"/>
                      <a:gd name="T22" fmla="*/ 20 w 23"/>
                      <a:gd name="T23" fmla="*/ 26 h 26"/>
                      <a:gd name="T24" fmla="*/ 17 w 23"/>
                      <a:gd name="T25" fmla="*/ 25 h 26"/>
                      <a:gd name="T26" fmla="*/ 15 w 23"/>
                      <a:gd name="T27" fmla="*/ 25 h 26"/>
                      <a:gd name="T28" fmla="*/ 15 w 23"/>
                      <a:gd name="T29" fmla="*/ 25 h 26"/>
                      <a:gd name="T30" fmla="*/ 12 w 23"/>
                      <a:gd name="T31" fmla="*/ 25 h 26"/>
                      <a:gd name="T32" fmla="*/ 12 w 23"/>
                      <a:gd name="T33" fmla="*/ 24 h 26"/>
                      <a:gd name="T34" fmla="*/ 12 w 23"/>
                      <a:gd name="T35" fmla="*/ 23 h 26"/>
                      <a:gd name="T36" fmla="*/ 12 w 23"/>
                      <a:gd name="T37" fmla="*/ 21 h 26"/>
                      <a:gd name="T38" fmla="*/ 12 w 23"/>
                      <a:gd name="T39" fmla="*/ 21 h 26"/>
                      <a:gd name="T40" fmla="*/ 11 w 23"/>
                      <a:gd name="T41" fmla="*/ 20 h 26"/>
                      <a:gd name="T42" fmla="*/ 10 w 23"/>
                      <a:gd name="T43" fmla="*/ 20 h 26"/>
                      <a:gd name="T44" fmla="*/ 10 w 23"/>
                      <a:gd name="T45" fmla="*/ 20 h 26"/>
                      <a:gd name="T46" fmla="*/ 10 w 23"/>
                      <a:gd name="T47" fmla="*/ 20 h 26"/>
                      <a:gd name="T48" fmla="*/ 7 w 23"/>
                      <a:gd name="T49" fmla="*/ 19 h 26"/>
                      <a:gd name="T50" fmla="*/ 7 w 23"/>
                      <a:gd name="T51" fmla="*/ 18 h 26"/>
                      <a:gd name="T52" fmla="*/ 5 w 23"/>
                      <a:gd name="T53" fmla="*/ 17 h 26"/>
                      <a:gd name="T54" fmla="*/ 3 w 23"/>
                      <a:gd name="T55" fmla="*/ 13 h 26"/>
                      <a:gd name="T56" fmla="*/ 0 w 23"/>
                      <a:gd name="T57" fmla="*/ 0 h 26"/>
                      <a:gd name="T58" fmla="*/ 0 w 23"/>
                      <a:gd name="T59" fmla="*/ 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23" h="26">
                        <a:moveTo>
                          <a:pt x="0" y="0"/>
                        </a:moveTo>
                        <a:lnTo>
                          <a:pt x="2" y="4"/>
                        </a:lnTo>
                        <a:lnTo>
                          <a:pt x="2" y="8"/>
                        </a:lnTo>
                        <a:lnTo>
                          <a:pt x="10" y="11"/>
                        </a:lnTo>
                        <a:lnTo>
                          <a:pt x="12" y="10"/>
                        </a:lnTo>
                        <a:lnTo>
                          <a:pt x="16" y="11"/>
                        </a:lnTo>
                        <a:lnTo>
                          <a:pt x="16" y="13"/>
                        </a:lnTo>
                        <a:lnTo>
                          <a:pt x="20" y="17"/>
                        </a:lnTo>
                        <a:lnTo>
                          <a:pt x="23" y="26"/>
                        </a:lnTo>
                        <a:lnTo>
                          <a:pt x="23" y="26"/>
                        </a:lnTo>
                        <a:lnTo>
                          <a:pt x="21" y="26"/>
                        </a:lnTo>
                        <a:lnTo>
                          <a:pt x="20" y="26"/>
                        </a:lnTo>
                        <a:lnTo>
                          <a:pt x="17" y="25"/>
                        </a:lnTo>
                        <a:lnTo>
                          <a:pt x="15" y="25"/>
                        </a:lnTo>
                        <a:lnTo>
                          <a:pt x="15" y="25"/>
                        </a:lnTo>
                        <a:lnTo>
                          <a:pt x="12" y="25"/>
                        </a:lnTo>
                        <a:lnTo>
                          <a:pt x="12" y="24"/>
                        </a:lnTo>
                        <a:lnTo>
                          <a:pt x="12" y="23"/>
                        </a:lnTo>
                        <a:lnTo>
                          <a:pt x="12" y="21"/>
                        </a:lnTo>
                        <a:lnTo>
                          <a:pt x="12" y="21"/>
                        </a:lnTo>
                        <a:lnTo>
                          <a:pt x="11" y="20"/>
                        </a:lnTo>
                        <a:lnTo>
                          <a:pt x="10" y="20"/>
                        </a:lnTo>
                        <a:lnTo>
                          <a:pt x="10" y="20"/>
                        </a:lnTo>
                        <a:lnTo>
                          <a:pt x="10" y="20"/>
                        </a:lnTo>
                        <a:lnTo>
                          <a:pt x="7" y="19"/>
                        </a:lnTo>
                        <a:lnTo>
                          <a:pt x="7" y="18"/>
                        </a:lnTo>
                        <a:lnTo>
                          <a:pt x="5" y="17"/>
                        </a:lnTo>
                        <a:lnTo>
                          <a:pt x="3" y="13"/>
                        </a:lnTo>
                        <a:lnTo>
                          <a:pt x="0" y="0"/>
                        </a:lnTo>
                        <a:lnTo>
                          <a:pt x="0" y="0"/>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grpSp>
            <p:sp>
              <p:nvSpPr>
                <p:cNvPr id="412" name="Austria">
                  <a:extLst>
                    <a:ext uri="{FF2B5EF4-FFF2-40B4-BE49-F238E27FC236}">
                      <a16:creationId xmlns:a16="http://schemas.microsoft.com/office/drawing/2014/main" id="{3B907E88-4AF9-CB43-92FD-BEB4359ACD2F}"/>
                    </a:ext>
                  </a:extLst>
                </p:cNvPr>
                <p:cNvSpPr>
                  <a:spLocks/>
                </p:cNvSpPr>
                <p:nvPr/>
              </p:nvSpPr>
              <p:spPr bwMode="auto">
                <a:xfrm>
                  <a:off x="6585397" y="2522751"/>
                  <a:ext cx="176412" cy="77272"/>
                </a:xfrm>
                <a:custGeom>
                  <a:avLst/>
                  <a:gdLst>
                    <a:gd name="T0" fmla="*/ 6 w 121"/>
                    <a:gd name="T1" fmla="*/ 42 h 53"/>
                    <a:gd name="T2" fmla="*/ 12 w 121"/>
                    <a:gd name="T3" fmla="*/ 42 h 53"/>
                    <a:gd name="T4" fmla="*/ 14 w 121"/>
                    <a:gd name="T5" fmla="*/ 43 h 53"/>
                    <a:gd name="T6" fmla="*/ 20 w 121"/>
                    <a:gd name="T7" fmla="*/ 44 h 53"/>
                    <a:gd name="T8" fmla="*/ 25 w 121"/>
                    <a:gd name="T9" fmla="*/ 44 h 53"/>
                    <a:gd name="T10" fmla="*/ 33 w 121"/>
                    <a:gd name="T11" fmla="*/ 40 h 53"/>
                    <a:gd name="T12" fmla="*/ 41 w 121"/>
                    <a:gd name="T13" fmla="*/ 39 h 53"/>
                    <a:gd name="T14" fmla="*/ 43 w 121"/>
                    <a:gd name="T15" fmla="*/ 43 h 53"/>
                    <a:gd name="T16" fmla="*/ 50 w 121"/>
                    <a:gd name="T17" fmla="*/ 48 h 53"/>
                    <a:gd name="T18" fmla="*/ 60 w 121"/>
                    <a:gd name="T19" fmla="*/ 50 h 53"/>
                    <a:gd name="T20" fmla="*/ 71 w 121"/>
                    <a:gd name="T21" fmla="*/ 52 h 53"/>
                    <a:gd name="T22" fmla="*/ 80 w 121"/>
                    <a:gd name="T23" fmla="*/ 52 h 53"/>
                    <a:gd name="T24" fmla="*/ 86 w 121"/>
                    <a:gd name="T25" fmla="*/ 49 h 53"/>
                    <a:gd name="T26" fmla="*/ 95 w 121"/>
                    <a:gd name="T27" fmla="*/ 48 h 53"/>
                    <a:gd name="T28" fmla="*/ 100 w 121"/>
                    <a:gd name="T29" fmla="*/ 46 h 53"/>
                    <a:gd name="T30" fmla="*/ 105 w 121"/>
                    <a:gd name="T31" fmla="*/ 45 h 53"/>
                    <a:gd name="T32" fmla="*/ 110 w 121"/>
                    <a:gd name="T33" fmla="*/ 40 h 53"/>
                    <a:gd name="T34" fmla="*/ 113 w 121"/>
                    <a:gd name="T35" fmla="*/ 38 h 53"/>
                    <a:gd name="T36" fmla="*/ 111 w 121"/>
                    <a:gd name="T37" fmla="*/ 35 h 53"/>
                    <a:gd name="T38" fmla="*/ 113 w 121"/>
                    <a:gd name="T39" fmla="*/ 32 h 53"/>
                    <a:gd name="T40" fmla="*/ 113 w 121"/>
                    <a:gd name="T41" fmla="*/ 29 h 53"/>
                    <a:gd name="T42" fmla="*/ 113 w 121"/>
                    <a:gd name="T43" fmla="*/ 25 h 53"/>
                    <a:gd name="T44" fmla="*/ 117 w 121"/>
                    <a:gd name="T45" fmla="*/ 26 h 53"/>
                    <a:gd name="T46" fmla="*/ 120 w 121"/>
                    <a:gd name="T47" fmla="*/ 23 h 53"/>
                    <a:gd name="T48" fmla="*/ 120 w 121"/>
                    <a:gd name="T49" fmla="*/ 19 h 53"/>
                    <a:gd name="T50" fmla="*/ 115 w 121"/>
                    <a:gd name="T51" fmla="*/ 15 h 53"/>
                    <a:gd name="T52" fmla="*/ 113 w 121"/>
                    <a:gd name="T53" fmla="*/ 6 h 53"/>
                    <a:gd name="T54" fmla="*/ 107 w 121"/>
                    <a:gd name="T55" fmla="*/ 6 h 53"/>
                    <a:gd name="T56" fmla="*/ 99 w 121"/>
                    <a:gd name="T57" fmla="*/ 4 h 53"/>
                    <a:gd name="T58" fmla="*/ 92 w 121"/>
                    <a:gd name="T59" fmla="*/ 3 h 53"/>
                    <a:gd name="T60" fmla="*/ 87 w 121"/>
                    <a:gd name="T61" fmla="*/ 0 h 53"/>
                    <a:gd name="T62" fmla="*/ 83 w 121"/>
                    <a:gd name="T63" fmla="*/ 5 h 53"/>
                    <a:gd name="T64" fmla="*/ 79 w 121"/>
                    <a:gd name="T65" fmla="*/ 9 h 53"/>
                    <a:gd name="T66" fmla="*/ 71 w 121"/>
                    <a:gd name="T67" fmla="*/ 9 h 53"/>
                    <a:gd name="T68" fmla="*/ 66 w 121"/>
                    <a:gd name="T69" fmla="*/ 8 h 53"/>
                    <a:gd name="T70" fmla="*/ 61 w 121"/>
                    <a:gd name="T71" fmla="*/ 9 h 53"/>
                    <a:gd name="T72" fmla="*/ 60 w 121"/>
                    <a:gd name="T73" fmla="*/ 13 h 53"/>
                    <a:gd name="T74" fmla="*/ 51 w 121"/>
                    <a:gd name="T75" fmla="*/ 17 h 53"/>
                    <a:gd name="T76" fmla="*/ 54 w 121"/>
                    <a:gd name="T77" fmla="*/ 24 h 53"/>
                    <a:gd name="T78" fmla="*/ 56 w 121"/>
                    <a:gd name="T79" fmla="*/ 29 h 53"/>
                    <a:gd name="T80" fmla="*/ 53 w 121"/>
                    <a:gd name="T81" fmla="*/ 30 h 53"/>
                    <a:gd name="T82" fmla="*/ 48 w 121"/>
                    <a:gd name="T83" fmla="*/ 28 h 53"/>
                    <a:gd name="T84" fmla="*/ 44 w 121"/>
                    <a:gd name="T85" fmla="*/ 26 h 53"/>
                    <a:gd name="T86" fmla="*/ 38 w 121"/>
                    <a:gd name="T87" fmla="*/ 29 h 53"/>
                    <a:gd name="T88" fmla="*/ 31 w 121"/>
                    <a:gd name="T89" fmla="*/ 30 h 53"/>
                    <a:gd name="T90" fmla="*/ 28 w 121"/>
                    <a:gd name="T91" fmla="*/ 32 h 53"/>
                    <a:gd name="T92" fmla="*/ 23 w 121"/>
                    <a:gd name="T93" fmla="*/ 32 h 53"/>
                    <a:gd name="T94" fmla="*/ 19 w 121"/>
                    <a:gd name="T95" fmla="*/ 29 h 53"/>
                    <a:gd name="T96" fmla="*/ 14 w 121"/>
                    <a:gd name="T97" fmla="*/ 30 h 53"/>
                    <a:gd name="T98" fmla="*/ 12 w 121"/>
                    <a:gd name="T99" fmla="*/ 35 h 53"/>
                    <a:gd name="T100" fmla="*/ 10 w 121"/>
                    <a:gd name="T101" fmla="*/ 33 h 53"/>
                    <a:gd name="T102" fmla="*/ 7 w 121"/>
                    <a:gd name="T103" fmla="*/ 31 h 53"/>
                    <a:gd name="T104" fmla="*/ 4 w 121"/>
                    <a:gd name="T105" fmla="*/ 30 h 53"/>
                    <a:gd name="T106" fmla="*/ 0 w 121"/>
                    <a:gd name="T107" fmla="*/ 30 h 53"/>
                    <a:gd name="T108" fmla="*/ 1 w 121"/>
                    <a:gd name="T109" fmla="*/ 33 h 53"/>
                    <a:gd name="T110" fmla="*/ 1 w 121"/>
                    <a:gd name="T111" fmla="*/ 3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1" h="53">
                      <a:moveTo>
                        <a:pt x="1" y="39"/>
                      </a:moveTo>
                      <a:lnTo>
                        <a:pt x="1" y="39"/>
                      </a:lnTo>
                      <a:lnTo>
                        <a:pt x="6" y="40"/>
                      </a:lnTo>
                      <a:lnTo>
                        <a:pt x="6" y="40"/>
                      </a:lnTo>
                      <a:lnTo>
                        <a:pt x="6" y="40"/>
                      </a:lnTo>
                      <a:lnTo>
                        <a:pt x="6" y="42"/>
                      </a:lnTo>
                      <a:lnTo>
                        <a:pt x="7" y="43"/>
                      </a:lnTo>
                      <a:lnTo>
                        <a:pt x="7" y="43"/>
                      </a:lnTo>
                      <a:lnTo>
                        <a:pt x="8" y="44"/>
                      </a:lnTo>
                      <a:lnTo>
                        <a:pt x="10" y="44"/>
                      </a:lnTo>
                      <a:lnTo>
                        <a:pt x="12" y="43"/>
                      </a:lnTo>
                      <a:lnTo>
                        <a:pt x="12" y="42"/>
                      </a:lnTo>
                      <a:lnTo>
                        <a:pt x="12" y="42"/>
                      </a:lnTo>
                      <a:lnTo>
                        <a:pt x="12" y="42"/>
                      </a:lnTo>
                      <a:lnTo>
                        <a:pt x="13" y="40"/>
                      </a:lnTo>
                      <a:lnTo>
                        <a:pt x="14" y="40"/>
                      </a:lnTo>
                      <a:lnTo>
                        <a:pt x="16" y="42"/>
                      </a:lnTo>
                      <a:lnTo>
                        <a:pt x="14" y="43"/>
                      </a:lnTo>
                      <a:lnTo>
                        <a:pt x="14" y="44"/>
                      </a:lnTo>
                      <a:lnTo>
                        <a:pt x="17" y="44"/>
                      </a:lnTo>
                      <a:lnTo>
                        <a:pt x="18" y="44"/>
                      </a:lnTo>
                      <a:lnTo>
                        <a:pt x="18" y="44"/>
                      </a:lnTo>
                      <a:lnTo>
                        <a:pt x="18" y="44"/>
                      </a:lnTo>
                      <a:lnTo>
                        <a:pt x="20" y="44"/>
                      </a:lnTo>
                      <a:lnTo>
                        <a:pt x="20" y="44"/>
                      </a:lnTo>
                      <a:lnTo>
                        <a:pt x="21" y="45"/>
                      </a:lnTo>
                      <a:lnTo>
                        <a:pt x="23" y="45"/>
                      </a:lnTo>
                      <a:lnTo>
                        <a:pt x="23" y="45"/>
                      </a:lnTo>
                      <a:lnTo>
                        <a:pt x="24" y="45"/>
                      </a:lnTo>
                      <a:lnTo>
                        <a:pt x="25" y="44"/>
                      </a:lnTo>
                      <a:lnTo>
                        <a:pt x="25" y="43"/>
                      </a:lnTo>
                      <a:lnTo>
                        <a:pt x="26" y="42"/>
                      </a:lnTo>
                      <a:lnTo>
                        <a:pt x="28" y="40"/>
                      </a:lnTo>
                      <a:lnTo>
                        <a:pt x="31" y="42"/>
                      </a:lnTo>
                      <a:lnTo>
                        <a:pt x="31" y="40"/>
                      </a:lnTo>
                      <a:lnTo>
                        <a:pt x="33" y="40"/>
                      </a:lnTo>
                      <a:lnTo>
                        <a:pt x="33" y="40"/>
                      </a:lnTo>
                      <a:lnTo>
                        <a:pt x="37" y="40"/>
                      </a:lnTo>
                      <a:lnTo>
                        <a:pt x="39" y="39"/>
                      </a:lnTo>
                      <a:lnTo>
                        <a:pt x="40" y="39"/>
                      </a:lnTo>
                      <a:lnTo>
                        <a:pt x="41" y="39"/>
                      </a:lnTo>
                      <a:lnTo>
                        <a:pt x="41" y="39"/>
                      </a:lnTo>
                      <a:lnTo>
                        <a:pt x="44" y="39"/>
                      </a:lnTo>
                      <a:lnTo>
                        <a:pt x="41" y="40"/>
                      </a:lnTo>
                      <a:lnTo>
                        <a:pt x="41" y="42"/>
                      </a:lnTo>
                      <a:lnTo>
                        <a:pt x="41" y="42"/>
                      </a:lnTo>
                      <a:lnTo>
                        <a:pt x="41" y="43"/>
                      </a:lnTo>
                      <a:lnTo>
                        <a:pt x="43" y="43"/>
                      </a:lnTo>
                      <a:lnTo>
                        <a:pt x="44" y="43"/>
                      </a:lnTo>
                      <a:lnTo>
                        <a:pt x="44" y="43"/>
                      </a:lnTo>
                      <a:lnTo>
                        <a:pt x="45" y="44"/>
                      </a:lnTo>
                      <a:lnTo>
                        <a:pt x="45" y="44"/>
                      </a:lnTo>
                      <a:lnTo>
                        <a:pt x="46" y="46"/>
                      </a:lnTo>
                      <a:lnTo>
                        <a:pt x="50" y="48"/>
                      </a:lnTo>
                      <a:lnTo>
                        <a:pt x="51" y="48"/>
                      </a:lnTo>
                      <a:lnTo>
                        <a:pt x="52" y="48"/>
                      </a:lnTo>
                      <a:lnTo>
                        <a:pt x="53" y="48"/>
                      </a:lnTo>
                      <a:lnTo>
                        <a:pt x="53" y="48"/>
                      </a:lnTo>
                      <a:lnTo>
                        <a:pt x="59" y="49"/>
                      </a:lnTo>
                      <a:lnTo>
                        <a:pt x="60" y="50"/>
                      </a:lnTo>
                      <a:lnTo>
                        <a:pt x="61" y="50"/>
                      </a:lnTo>
                      <a:lnTo>
                        <a:pt x="63" y="49"/>
                      </a:lnTo>
                      <a:lnTo>
                        <a:pt x="64" y="50"/>
                      </a:lnTo>
                      <a:lnTo>
                        <a:pt x="65" y="50"/>
                      </a:lnTo>
                      <a:lnTo>
                        <a:pt x="68" y="50"/>
                      </a:lnTo>
                      <a:lnTo>
                        <a:pt x="71" y="52"/>
                      </a:lnTo>
                      <a:lnTo>
                        <a:pt x="72" y="51"/>
                      </a:lnTo>
                      <a:lnTo>
                        <a:pt x="74" y="52"/>
                      </a:lnTo>
                      <a:lnTo>
                        <a:pt x="74" y="52"/>
                      </a:lnTo>
                      <a:lnTo>
                        <a:pt x="78" y="52"/>
                      </a:lnTo>
                      <a:lnTo>
                        <a:pt x="80" y="52"/>
                      </a:lnTo>
                      <a:lnTo>
                        <a:pt x="80" y="52"/>
                      </a:lnTo>
                      <a:lnTo>
                        <a:pt x="83" y="53"/>
                      </a:lnTo>
                      <a:lnTo>
                        <a:pt x="83" y="52"/>
                      </a:lnTo>
                      <a:lnTo>
                        <a:pt x="84" y="52"/>
                      </a:lnTo>
                      <a:lnTo>
                        <a:pt x="84" y="51"/>
                      </a:lnTo>
                      <a:lnTo>
                        <a:pt x="86" y="51"/>
                      </a:lnTo>
                      <a:lnTo>
                        <a:pt x="86" y="49"/>
                      </a:lnTo>
                      <a:lnTo>
                        <a:pt x="87" y="48"/>
                      </a:lnTo>
                      <a:lnTo>
                        <a:pt x="88" y="48"/>
                      </a:lnTo>
                      <a:lnTo>
                        <a:pt x="88" y="48"/>
                      </a:lnTo>
                      <a:lnTo>
                        <a:pt x="91" y="49"/>
                      </a:lnTo>
                      <a:lnTo>
                        <a:pt x="93" y="48"/>
                      </a:lnTo>
                      <a:lnTo>
                        <a:pt x="95" y="48"/>
                      </a:lnTo>
                      <a:lnTo>
                        <a:pt x="95" y="48"/>
                      </a:lnTo>
                      <a:lnTo>
                        <a:pt x="97" y="48"/>
                      </a:lnTo>
                      <a:lnTo>
                        <a:pt x="97" y="48"/>
                      </a:lnTo>
                      <a:lnTo>
                        <a:pt x="99" y="48"/>
                      </a:lnTo>
                      <a:lnTo>
                        <a:pt x="99" y="46"/>
                      </a:lnTo>
                      <a:lnTo>
                        <a:pt x="100" y="46"/>
                      </a:lnTo>
                      <a:lnTo>
                        <a:pt x="101" y="46"/>
                      </a:lnTo>
                      <a:lnTo>
                        <a:pt x="101" y="46"/>
                      </a:lnTo>
                      <a:lnTo>
                        <a:pt x="105" y="48"/>
                      </a:lnTo>
                      <a:lnTo>
                        <a:pt x="105" y="48"/>
                      </a:lnTo>
                      <a:lnTo>
                        <a:pt x="105" y="46"/>
                      </a:lnTo>
                      <a:lnTo>
                        <a:pt x="105" y="45"/>
                      </a:lnTo>
                      <a:lnTo>
                        <a:pt x="104" y="44"/>
                      </a:lnTo>
                      <a:lnTo>
                        <a:pt x="106" y="43"/>
                      </a:lnTo>
                      <a:lnTo>
                        <a:pt x="107" y="42"/>
                      </a:lnTo>
                      <a:lnTo>
                        <a:pt x="108" y="42"/>
                      </a:lnTo>
                      <a:lnTo>
                        <a:pt x="108" y="40"/>
                      </a:lnTo>
                      <a:lnTo>
                        <a:pt x="110" y="40"/>
                      </a:lnTo>
                      <a:lnTo>
                        <a:pt x="111" y="40"/>
                      </a:lnTo>
                      <a:lnTo>
                        <a:pt x="111" y="40"/>
                      </a:lnTo>
                      <a:lnTo>
                        <a:pt x="111" y="40"/>
                      </a:lnTo>
                      <a:lnTo>
                        <a:pt x="113" y="39"/>
                      </a:lnTo>
                      <a:lnTo>
                        <a:pt x="113" y="39"/>
                      </a:lnTo>
                      <a:lnTo>
                        <a:pt x="113" y="38"/>
                      </a:lnTo>
                      <a:lnTo>
                        <a:pt x="113" y="38"/>
                      </a:lnTo>
                      <a:lnTo>
                        <a:pt x="112" y="38"/>
                      </a:lnTo>
                      <a:lnTo>
                        <a:pt x="111" y="37"/>
                      </a:lnTo>
                      <a:lnTo>
                        <a:pt x="110" y="37"/>
                      </a:lnTo>
                      <a:lnTo>
                        <a:pt x="111" y="36"/>
                      </a:lnTo>
                      <a:lnTo>
                        <a:pt x="111" y="35"/>
                      </a:lnTo>
                      <a:lnTo>
                        <a:pt x="111" y="35"/>
                      </a:lnTo>
                      <a:lnTo>
                        <a:pt x="111" y="33"/>
                      </a:lnTo>
                      <a:lnTo>
                        <a:pt x="111" y="32"/>
                      </a:lnTo>
                      <a:lnTo>
                        <a:pt x="112" y="33"/>
                      </a:lnTo>
                      <a:lnTo>
                        <a:pt x="112" y="32"/>
                      </a:lnTo>
                      <a:lnTo>
                        <a:pt x="113" y="32"/>
                      </a:lnTo>
                      <a:lnTo>
                        <a:pt x="114" y="31"/>
                      </a:lnTo>
                      <a:lnTo>
                        <a:pt x="114" y="30"/>
                      </a:lnTo>
                      <a:lnTo>
                        <a:pt x="114" y="29"/>
                      </a:lnTo>
                      <a:lnTo>
                        <a:pt x="114" y="29"/>
                      </a:lnTo>
                      <a:lnTo>
                        <a:pt x="114" y="29"/>
                      </a:lnTo>
                      <a:lnTo>
                        <a:pt x="113" y="29"/>
                      </a:lnTo>
                      <a:lnTo>
                        <a:pt x="110" y="28"/>
                      </a:lnTo>
                      <a:lnTo>
                        <a:pt x="110" y="26"/>
                      </a:lnTo>
                      <a:lnTo>
                        <a:pt x="111" y="26"/>
                      </a:lnTo>
                      <a:lnTo>
                        <a:pt x="112" y="26"/>
                      </a:lnTo>
                      <a:lnTo>
                        <a:pt x="112" y="26"/>
                      </a:lnTo>
                      <a:lnTo>
                        <a:pt x="113" y="25"/>
                      </a:lnTo>
                      <a:lnTo>
                        <a:pt x="114" y="26"/>
                      </a:lnTo>
                      <a:lnTo>
                        <a:pt x="114" y="26"/>
                      </a:lnTo>
                      <a:lnTo>
                        <a:pt x="115" y="26"/>
                      </a:lnTo>
                      <a:lnTo>
                        <a:pt x="117" y="26"/>
                      </a:lnTo>
                      <a:lnTo>
                        <a:pt x="117" y="26"/>
                      </a:lnTo>
                      <a:lnTo>
                        <a:pt x="117" y="26"/>
                      </a:lnTo>
                      <a:lnTo>
                        <a:pt x="120" y="26"/>
                      </a:lnTo>
                      <a:lnTo>
                        <a:pt x="120" y="25"/>
                      </a:lnTo>
                      <a:lnTo>
                        <a:pt x="119" y="25"/>
                      </a:lnTo>
                      <a:lnTo>
                        <a:pt x="119" y="25"/>
                      </a:lnTo>
                      <a:lnTo>
                        <a:pt x="119" y="24"/>
                      </a:lnTo>
                      <a:lnTo>
                        <a:pt x="120" y="23"/>
                      </a:lnTo>
                      <a:lnTo>
                        <a:pt x="120" y="23"/>
                      </a:lnTo>
                      <a:lnTo>
                        <a:pt x="121" y="22"/>
                      </a:lnTo>
                      <a:lnTo>
                        <a:pt x="120" y="22"/>
                      </a:lnTo>
                      <a:lnTo>
                        <a:pt x="121" y="20"/>
                      </a:lnTo>
                      <a:lnTo>
                        <a:pt x="120" y="20"/>
                      </a:lnTo>
                      <a:lnTo>
                        <a:pt x="120" y="19"/>
                      </a:lnTo>
                      <a:lnTo>
                        <a:pt x="120" y="19"/>
                      </a:lnTo>
                      <a:lnTo>
                        <a:pt x="119" y="18"/>
                      </a:lnTo>
                      <a:lnTo>
                        <a:pt x="117" y="18"/>
                      </a:lnTo>
                      <a:lnTo>
                        <a:pt x="117" y="15"/>
                      </a:lnTo>
                      <a:lnTo>
                        <a:pt x="115" y="15"/>
                      </a:lnTo>
                      <a:lnTo>
                        <a:pt x="115" y="15"/>
                      </a:lnTo>
                      <a:lnTo>
                        <a:pt x="114" y="13"/>
                      </a:lnTo>
                      <a:lnTo>
                        <a:pt x="115" y="11"/>
                      </a:lnTo>
                      <a:lnTo>
                        <a:pt x="117" y="9"/>
                      </a:lnTo>
                      <a:lnTo>
                        <a:pt x="115" y="6"/>
                      </a:lnTo>
                      <a:lnTo>
                        <a:pt x="114" y="6"/>
                      </a:lnTo>
                      <a:lnTo>
                        <a:pt x="113" y="6"/>
                      </a:lnTo>
                      <a:lnTo>
                        <a:pt x="112" y="6"/>
                      </a:lnTo>
                      <a:lnTo>
                        <a:pt x="112" y="5"/>
                      </a:lnTo>
                      <a:lnTo>
                        <a:pt x="111" y="5"/>
                      </a:lnTo>
                      <a:lnTo>
                        <a:pt x="110" y="5"/>
                      </a:lnTo>
                      <a:lnTo>
                        <a:pt x="108" y="5"/>
                      </a:lnTo>
                      <a:lnTo>
                        <a:pt x="107" y="6"/>
                      </a:lnTo>
                      <a:lnTo>
                        <a:pt x="106" y="6"/>
                      </a:lnTo>
                      <a:lnTo>
                        <a:pt x="103" y="6"/>
                      </a:lnTo>
                      <a:lnTo>
                        <a:pt x="100" y="5"/>
                      </a:lnTo>
                      <a:lnTo>
                        <a:pt x="100" y="5"/>
                      </a:lnTo>
                      <a:lnTo>
                        <a:pt x="99" y="4"/>
                      </a:lnTo>
                      <a:lnTo>
                        <a:pt x="99" y="4"/>
                      </a:lnTo>
                      <a:lnTo>
                        <a:pt x="98" y="4"/>
                      </a:lnTo>
                      <a:lnTo>
                        <a:pt x="98" y="4"/>
                      </a:lnTo>
                      <a:lnTo>
                        <a:pt x="95" y="4"/>
                      </a:lnTo>
                      <a:lnTo>
                        <a:pt x="94" y="3"/>
                      </a:lnTo>
                      <a:lnTo>
                        <a:pt x="93" y="3"/>
                      </a:lnTo>
                      <a:lnTo>
                        <a:pt x="92" y="3"/>
                      </a:lnTo>
                      <a:lnTo>
                        <a:pt x="92" y="3"/>
                      </a:lnTo>
                      <a:lnTo>
                        <a:pt x="90" y="2"/>
                      </a:lnTo>
                      <a:lnTo>
                        <a:pt x="90" y="2"/>
                      </a:lnTo>
                      <a:lnTo>
                        <a:pt x="90" y="3"/>
                      </a:lnTo>
                      <a:lnTo>
                        <a:pt x="87" y="2"/>
                      </a:lnTo>
                      <a:lnTo>
                        <a:pt x="87" y="0"/>
                      </a:lnTo>
                      <a:lnTo>
                        <a:pt x="84" y="0"/>
                      </a:lnTo>
                      <a:lnTo>
                        <a:pt x="84" y="2"/>
                      </a:lnTo>
                      <a:lnTo>
                        <a:pt x="85" y="3"/>
                      </a:lnTo>
                      <a:lnTo>
                        <a:pt x="84" y="5"/>
                      </a:lnTo>
                      <a:lnTo>
                        <a:pt x="84" y="5"/>
                      </a:lnTo>
                      <a:lnTo>
                        <a:pt x="83" y="5"/>
                      </a:lnTo>
                      <a:lnTo>
                        <a:pt x="83" y="6"/>
                      </a:lnTo>
                      <a:lnTo>
                        <a:pt x="81" y="8"/>
                      </a:lnTo>
                      <a:lnTo>
                        <a:pt x="80" y="9"/>
                      </a:lnTo>
                      <a:lnTo>
                        <a:pt x="80" y="9"/>
                      </a:lnTo>
                      <a:lnTo>
                        <a:pt x="80" y="8"/>
                      </a:lnTo>
                      <a:lnTo>
                        <a:pt x="79" y="9"/>
                      </a:lnTo>
                      <a:lnTo>
                        <a:pt x="77" y="8"/>
                      </a:lnTo>
                      <a:lnTo>
                        <a:pt x="77" y="9"/>
                      </a:lnTo>
                      <a:lnTo>
                        <a:pt x="74" y="9"/>
                      </a:lnTo>
                      <a:lnTo>
                        <a:pt x="74" y="9"/>
                      </a:lnTo>
                      <a:lnTo>
                        <a:pt x="72" y="9"/>
                      </a:lnTo>
                      <a:lnTo>
                        <a:pt x="71" y="9"/>
                      </a:lnTo>
                      <a:lnTo>
                        <a:pt x="68" y="8"/>
                      </a:lnTo>
                      <a:lnTo>
                        <a:pt x="70" y="8"/>
                      </a:lnTo>
                      <a:lnTo>
                        <a:pt x="68" y="6"/>
                      </a:lnTo>
                      <a:lnTo>
                        <a:pt x="66" y="6"/>
                      </a:lnTo>
                      <a:lnTo>
                        <a:pt x="66" y="6"/>
                      </a:lnTo>
                      <a:lnTo>
                        <a:pt x="66" y="8"/>
                      </a:lnTo>
                      <a:lnTo>
                        <a:pt x="67" y="9"/>
                      </a:lnTo>
                      <a:lnTo>
                        <a:pt x="66" y="10"/>
                      </a:lnTo>
                      <a:lnTo>
                        <a:pt x="65" y="11"/>
                      </a:lnTo>
                      <a:lnTo>
                        <a:pt x="64" y="10"/>
                      </a:lnTo>
                      <a:lnTo>
                        <a:pt x="63" y="9"/>
                      </a:lnTo>
                      <a:lnTo>
                        <a:pt x="61" y="9"/>
                      </a:lnTo>
                      <a:lnTo>
                        <a:pt x="60" y="9"/>
                      </a:lnTo>
                      <a:lnTo>
                        <a:pt x="60" y="9"/>
                      </a:lnTo>
                      <a:lnTo>
                        <a:pt x="61" y="10"/>
                      </a:lnTo>
                      <a:lnTo>
                        <a:pt x="60" y="11"/>
                      </a:lnTo>
                      <a:lnTo>
                        <a:pt x="61" y="12"/>
                      </a:lnTo>
                      <a:lnTo>
                        <a:pt x="60" y="13"/>
                      </a:lnTo>
                      <a:lnTo>
                        <a:pt x="59" y="15"/>
                      </a:lnTo>
                      <a:lnTo>
                        <a:pt x="57" y="15"/>
                      </a:lnTo>
                      <a:lnTo>
                        <a:pt x="54" y="16"/>
                      </a:lnTo>
                      <a:lnTo>
                        <a:pt x="53" y="16"/>
                      </a:lnTo>
                      <a:lnTo>
                        <a:pt x="52" y="17"/>
                      </a:lnTo>
                      <a:lnTo>
                        <a:pt x="51" y="17"/>
                      </a:lnTo>
                      <a:lnTo>
                        <a:pt x="51" y="18"/>
                      </a:lnTo>
                      <a:lnTo>
                        <a:pt x="51" y="19"/>
                      </a:lnTo>
                      <a:lnTo>
                        <a:pt x="52" y="20"/>
                      </a:lnTo>
                      <a:lnTo>
                        <a:pt x="52" y="22"/>
                      </a:lnTo>
                      <a:lnTo>
                        <a:pt x="53" y="23"/>
                      </a:lnTo>
                      <a:lnTo>
                        <a:pt x="54" y="24"/>
                      </a:lnTo>
                      <a:lnTo>
                        <a:pt x="53" y="25"/>
                      </a:lnTo>
                      <a:lnTo>
                        <a:pt x="53" y="25"/>
                      </a:lnTo>
                      <a:lnTo>
                        <a:pt x="56" y="26"/>
                      </a:lnTo>
                      <a:lnTo>
                        <a:pt x="57" y="26"/>
                      </a:lnTo>
                      <a:lnTo>
                        <a:pt x="57" y="28"/>
                      </a:lnTo>
                      <a:lnTo>
                        <a:pt x="56" y="29"/>
                      </a:lnTo>
                      <a:lnTo>
                        <a:pt x="56" y="29"/>
                      </a:lnTo>
                      <a:lnTo>
                        <a:pt x="56" y="30"/>
                      </a:lnTo>
                      <a:lnTo>
                        <a:pt x="56" y="30"/>
                      </a:lnTo>
                      <a:lnTo>
                        <a:pt x="56" y="31"/>
                      </a:lnTo>
                      <a:lnTo>
                        <a:pt x="54" y="31"/>
                      </a:lnTo>
                      <a:lnTo>
                        <a:pt x="53" y="30"/>
                      </a:lnTo>
                      <a:lnTo>
                        <a:pt x="52" y="29"/>
                      </a:lnTo>
                      <a:lnTo>
                        <a:pt x="52" y="28"/>
                      </a:lnTo>
                      <a:lnTo>
                        <a:pt x="51" y="26"/>
                      </a:lnTo>
                      <a:lnTo>
                        <a:pt x="48" y="26"/>
                      </a:lnTo>
                      <a:lnTo>
                        <a:pt x="48" y="28"/>
                      </a:lnTo>
                      <a:lnTo>
                        <a:pt x="48" y="28"/>
                      </a:lnTo>
                      <a:lnTo>
                        <a:pt x="46" y="28"/>
                      </a:lnTo>
                      <a:lnTo>
                        <a:pt x="46" y="28"/>
                      </a:lnTo>
                      <a:lnTo>
                        <a:pt x="46" y="26"/>
                      </a:lnTo>
                      <a:lnTo>
                        <a:pt x="46" y="26"/>
                      </a:lnTo>
                      <a:lnTo>
                        <a:pt x="45" y="26"/>
                      </a:lnTo>
                      <a:lnTo>
                        <a:pt x="44" y="26"/>
                      </a:lnTo>
                      <a:lnTo>
                        <a:pt x="43" y="26"/>
                      </a:lnTo>
                      <a:lnTo>
                        <a:pt x="43" y="26"/>
                      </a:lnTo>
                      <a:lnTo>
                        <a:pt x="43" y="28"/>
                      </a:lnTo>
                      <a:lnTo>
                        <a:pt x="43" y="28"/>
                      </a:lnTo>
                      <a:lnTo>
                        <a:pt x="40" y="28"/>
                      </a:lnTo>
                      <a:lnTo>
                        <a:pt x="38" y="29"/>
                      </a:lnTo>
                      <a:lnTo>
                        <a:pt x="34" y="29"/>
                      </a:lnTo>
                      <a:lnTo>
                        <a:pt x="33" y="29"/>
                      </a:lnTo>
                      <a:lnTo>
                        <a:pt x="33" y="29"/>
                      </a:lnTo>
                      <a:lnTo>
                        <a:pt x="33" y="30"/>
                      </a:lnTo>
                      <a:lnTo>
                        <a:pt x="32" y="30"/>
                      </a:lnTo>
                      <a:lnTo>
                        <a:pt x="31" y="30"/>
                      </a:lnTo>
                      <a:lnTo>
                        <a:pt x="30" y="30"/>
                      </a:lnTo>
                      <a:lnTo>
                        <a:pt x="30" y="31"/>
                      </a:lnTo>
                      <a:lnTo>
                        <a:pt x="30" y="31"/>
                      </a:lnTo>
                      <a:lnTo>
                        <a:pt x="30" y="32"/>
                      </a:lnTo>
                      <a:lnTo>
                        <a:pt x="28" y="32"/>
                      </a:lnTo>
                      <a:lnTo>
                        <a:pt x="28" y="32"/>
                      </a:lnTo>
                      <a:lnTo>
                        <a:pt x="27" y="32"/>
                      </a:lnTo>
                      <a:lnTo>
                        <a:pt x="27" y="32"/>
                      </a:lnTo>
                      <a:lnTo>
                        <a:pt x="27" y="32"/>
                      </a:lnTo>
                      <a:lnTo>
                        <a:pt x="25" y="33"/>
                      </a:lnTo>
                      <a:lnTo>
                        <a:pt x="24" y="32"/>
                      </a:lnTo>
                      <a:lnTo>
                        <a:pt x="23" y="32"/>
                      </a:lnTo>
                      <a:lnTo>
                        <a:pt x="23" y="31"/>
                      </a:lnTo>
                      <a:lnTo>
                        <a:pt x="23" y="31"/>
                      </a:lnTo>
                      <a:lnTo>
                        <a:pt x="23" y="30"/>
                      </a:lnTo>
                      <a:lnTo>
                        <a:pt x="21" y="30"/>
                      </a:lnTo>
                      <a:lnTo>
                        <a:pt x="20" y="30"/>
                      </a:lnTo>
                      <a:lnTo>
                        <a:pt x="19" y="29"/>
                      </a:lnTo>
                      <a:lnTo>
                        <a:pt x="17" y="29"/>
                      </a:lnTo>
                      <a:lnTo>
                        <a:pt x="16" y="30"/>
                      </a:lnTo>
                      <a:lnTo>
                        <a:pt x="14" y="30"/>
                      </a:lnTo>
                      <a:lnTo>
                        <a:pt x="14" y="30"/>
                      </a:lnTo>
                      <a:lnTo>
                        <a:pt x="14" y="30"/>
                      </a:lnTo>
                      <a:lnTo>
                        <a:pt x="14" y="30"/>
                      </a:lnTo>
                      <a:lnTo>
                        <a:pt x="14" y="30"/>
                      </a:lnTo>
                      <a:lnTo>
                        <a:pt x="14" y="31"/>
                      </a:lnTo>
                      <a:lnTo>
                        <a:pt x="14" y="32"/>
                      </a:lnTo>
                      <a:lnTo>
                        <a:pt x="14" y="33"/>
                      </a:lnTo>
                      <a:lnTo>
                        <a:pt x="13" y="33"/>
                      </a:lnTo>
                      <a:lnTo>
                        <a:pt x="12" y="35"/>
                      </a:lnTo>
                      <a:lnTo>
                        <a:pt x="12" y="36"/>
                      </a:lnTo>
                      <a:lnTo>
                        <a:pt x="10" y="36"/>
                      </a:lnTo>
                      <a:lnTo>
                        <a:pt x="10" y="35"/>
                      </a:lnTo>
                      <a:lnTo>
                        <a:pt x="10" y="35"/>
                      </a:lnTo>
                      <a:lnTo>
                        <a:pt x="10" y="35"/>
                      </a:lnTo>
                      <a:lnTo>
                        <a:pt x="10" y="33"/>
                      </a:lnTo>
                      <a:lnTo>
                        <a:pt x="10" y="33"/>
                      </a:lnTo>
                      <a:lnTo>
                        <a:pt x="8" y="33"/>
                      </a:lnTo>
                      <a:lnTo>
                        <a:pt x="8" y="32"/>
                      </a:lnTo>
                      <a:lnTo>
                        <a:pt x="8" y="32"/>
                      </a:lnTo>
                      <a:lnTo>
                        <a:pt x="8" y="31"/>
                      </a:lnTo>
                      <a:lnTo>
                        <a:pt x="7" y="31"/>
                      </a:lnTo>
                      <a:lnTo>
                        <a:pt x="6" y="30"/>
                      </a:lnTo>
                      <a:lnTo>
                        <a:pt x="6" y="30"/>
                      </a:lnTo>
                      <a:lnTo>
                        <a:pt x="6" y="30"/>
                      </a:lnTo>
                      <a:lnTo>
                        <a:pt x="6" y="30"/>
                      </a:lnTo>
                      <a:lnTo>
                        <a:pt x="4" y="30"/>
                      </a:lnTo>
                      <a:lnTo>
                        <a:pt x="4" y="30"/>
                      </a:lnTo>
                      <a:lnTo>
                        <a:pt x="4" y="30"/>
                      </a:lnTo>
                      <a:lnTo>
                        <a:pt x="3" y="30"/>
                      </a:lnTo>
                      <a:lnTo>
                        <a:pt x="3" y="30"/>
                      </a:lnTo>
                      <a:lnTo>
                        <a:pt x="0" y="30"/>
                      </a:lnTo>
                      <a:lnTo>
                        <a:pt x="0" y="30"/>
                      </a:lnTo>
                      <a:lnTo>
                        <a:pt x="0" y="30"/>
                      </a:lnTo>
                      <a:lnTo>
                        <a:pt x="0" y="30"/>
                      </a:lnTo>
                      <a:lnTo>
                        <a:pt x="0" y="31"/>
                      </a:lnTo>
                      <a:lnTo>
                        <a:pt x="1" y="32"/>
                      </a:lnTo>
                      <a:lnTo>
                        <a:pt x="1" y="32"/>
                      </a:lnTo>
                      <a:lnTo>
                        <a:pt x="1" y="33"/>
                      </a:lnTo>
                      <a:lnTo>
                        <a:pt x="1" y="33"/>
                      </a:lnTo>
                      <a:lnTo>
                        <a:pt x="0" y="36"/>
                      </a:lnTo>
                      <a:lnTo>
                        <a:pt x="1" y="37"/>
                      </a:lnTo>
                      <a:lnTo>
                        <a:pt x="1" y="38"/>
                      </a:lnTo>
                      <a:lnTo>
                        <a:pt x="1" y="38"/>
                      </a:lnTo>
                      <a:lnTo>
                        <a:pt x="1" y="38"/>
                      </a:lnTo>
                      <a:lnTo>
                        <a:pt x="1" y="39"/>
                      </a:lnTo>
                      <a:lnTo>
                        <a:pt x="1" y="39"/>
                      </a:lnTo>
                      <a:lnTo>
                        <a:pt x="1" y="39"/>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13" name="Armenia">
                  <a:extLst>
                    <a:ext uri="{FF2B5EF4-FFF2-40B4-BE49-F238E27FC236}">
                      <a16:creationId xmlns:a16="http://schemas.microsoft.com/office/drawing/2014/main" id="{DA1AC91C-677D-754C-80A2-AAAEB4072836}"/>
                    </a:ext>
                  </a:extLst>
                </p:cNvPr>
                <p:cNvSpPr>
                  <a:spLocks/>
                </p:cNvSpPr>
                <p:nvPr/>
              </p:nvSpPr>
              <p:spPr bwMode="auto">
                <a:xfrm>
                  <a:off x="7404764" y="2745817"/>
                  <a:ext cx="97683" cy="77272"/>
                </a:xfrm>
                <a:custGeom>
                  <a:avLst/>
                  <a:gdLst>
                    <a:gd name="T0" fmla="*/ 65 w 67"/>
                    <a:gd name="T1" fmla="*/ 52 h 53"/>
                    <a:gd name="T2" fmla="*/ 60 w 67"/>
                    <a:gd name="T3" fmla="*/ 53 h 53"/>
                    <a:gd name="T4" fmla="*/ 58 w 67"/>
                    <a:gd name="T5" fmla="*/ 52 h 53"/>
                    <a:gd name="T6" fmla="*/ 55 w 67"/>
                    <a:gd name="T7" fmla="*/ 52 h 53"/>
                    <a:gd name="T8" fmla="*/ 50 w 67"/>
                    <a:gd name="T9" fmla="*/ 51 h 53"/>
                    <a:gd name="T10" fmla="*/ 47 w 67"/>
                    <a:gd name="T11" fmla="*/ 51 h 53"/>
                    <a:gd name="T12" fmla="*/ 47 w 67"/>
                    <a:gd name="T13" fmla="*/ 49 h 53"/>
                    <a:gd name="T14" fmla="*/ 47 w 67"/>
                    <a:gd name="T15" fmla="*/ 47 h 53"/>
                    <a:gd name="T16" fmla="*/ 45 w 67"/>
                    <a:gd name="T17" fmla="*/ 46 h 53"/>
                    <a:gd name="T18" fmla="*/ 45 w 67"/>
                    <a:gd name="T19" fmla="*/ 46 h 53"/>
                    <a:gd name="T20" fmla="*/ 42 w 67"/>
                    <a:gd name="T21" fmla="*/ 44 h 53"/>
                    <a:gd name="T22" fmla="*/ 38 w 67"/>
                    <a:gd name="T23" fmla="*/ 39 h 53"/>
                    <a:gd name="T24" fmla="*/ 30 w 67"/>
                    <a:gd name="T25" fmla="*/ 27 h 53"/>
                    <a:gd name="T26" fmla="*/ 25 w 67"/>
                    <a:gd name="T27" fmla="*/ 32 h 53"/>
                    <a:gd name="T28" fmla="*/ 24 w 67"/>
                    <a:gd name="T29" fmla="*/ 27 h 53"/>
                    <a:gd name="T30" fmla="*/ 19 w 67"/>
                    <a:gd name="T31" fmla="*/ 27 h 53"/>
                    <a:gd name="T32" fmla="*/ 15 w 67"/>
                    <a:gd name="T33" fmla="*/ 24 h 53"/>
                    <a:gd name="T34" fmla="*/ 13 w 67"/>
                    <a:gd name="T35" fmla="*/ 20 h 53"/>
                    <a:gd name="T36" fmla="*/ 12 w 67"/>
                    <a:gd name="T37" fmla="*/ 17 h 53"/>
                    <a:gd name="T38" fmla="*/ 11 w 67"/>
                    <a:gd name="T39" fmla="*/ 11 h 53"/>
                    <a:gd name="T40" fmla="*/ 6 w 67"/>
                    <a:gd name="T41" fmla="*/ 9 h 53"/>
                    <a:gd name="T42" fmla="*/ 5 w 67"/>
                    <a:gd name="T43" fmla="*/ 5 h 53"/>
                    <a:gd name="T44" fmla="*/ 3 w 67"/>
                    <a:gd name="T45" fmla="*/ 5 h 53"/>
                    <a:gd name="T46" fmla="*/ 0 w 67"/>
                    <a:gd name="T47" fmla="*/ 3 h 53"/>
                    <a:gd name="T48" fmla="*/ 17 w 67"/>
                    <a:gd name="T49" fmla="*/ 3 h 53"/>
                    <a:gd name="T50" fmla="*/ 29 w 67"/>
                    <a:gd name="T51" fmla="*/ 0 h 53"/>
                    <a:gd name="T52" fmla="*/ 37 w 67"/>
                    <a:gd name="T53" fmla="*/ 5 h 53"/>
                    <a:gd name="T54" fmla="*/ 42 w 67"/>
                    <a:gd name="T55" fmla="*/ 17 h 53"/>
                    <a:gd name="T56" fmla="*/ 50 w 67"/>
                    <a:gd name="T57" fmla="*/ 24 h 53"/>
                    <a:gd name="T58" fmla="*/ 46 w 67"/>
                    <a:gd name="T59" fmla="*/ 27 h 53"/>
                    <a:gd name="T60" fmla="*/ 55 w 67"/>
                    <a:gd name="T61" fmla="*/ 34 h 53"/>
                    <a:gd name="T62" fmla="*/ 60 w 67"/>
                    <a:gd name="T63" fmla="*/ 38 h 53"/>
                    <a:gd name="T64" fmla="*/ 62 w 67"/>
                    <a:gd name="T65" fmla="*/ 44 h 53"/>
                    <a:gd name="T66" fmla="*/ 67 w 67"/>
                    <a:gd name="T67" fmla="*/ 52 h 53"/>
                    <a:gd name="T68" fmla="*/ 67 w 67"/>
                    <a:gd name="T69"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7" h="53">
                      <a:moveTo>
                        <a:pt x="67" y="53"/>
                      </a:moveTo>
                      <a:lnTo>
                        <a:pt x="65" y="52"/>
                      </a:lnTo>
                      <a:lnTo>
                        <a:pt x="63" y="52"/>
                      </a:lnTo>
                      <a:lnTo>
                        <a:pt x="60" y="53"/>
                      </a:lnTo>
                      <a:lnTo>
                        <a:pt x="58" y="52"/>
                      </a:lnTo>
                      <a:lnTo>
                        <a:pt x="58" y="52"/>
                      </a:lnTo>
                      <a:lnTo>
                        <a:pt x="56" y="52"/>
                      </a:lnTo>
                      <a:lnTo>
                        <a:pt x="55" y="52"/>
                      </a:lnTo>
                      <a:lnTo>
                        <a:pt x="52" y="51"/>
                      </a:lnTo>
                      <a:lnTo>
                        <a:pt x="50" y="51"/>
                      </a:lnTo>
                      <a:lnTo>
                        <a:pt x="50" y="51"/>
                      </a:lnTo>
                      <a:lnTo>
                        <a:pt x="47" y="51"/>
                      </a:lnTo>
                      <a:lnTo>
                        <a:pt x="47" y="50"/>
                      </a:lnTo>
                      <a:lnTo>
                        <a:pt x="47" y="49"/>
                      </a:lnTo>
                      <a:lnTo>
                        <a:pt x="47" y="47"/>
                      </a:lnTo>
                      <a:lnTo>
                        <a:pt x="47" y="47"/>
                      </a:lnTo>
                      <a:lnTo>
                        <a:pt x="46" y="46"/>
                      </a:lnTo>
                      <a:lnTo>
                        <a:pt x="45" y="46"/>
                      </a:lnTo>
                      <a:lnTo>
                        <a:pt x="45" y="46"/>
                      </a:lnTo>
                      <a:lnTo>
                        <a:pt x="45" y="46"/>
                      </a:lnTo>
                      <a:lnTo>
                        <a:pt x="42" y="45"/>
                      </a:lnTo>
                      <a:lnTo>
                        <a:pt x="42" y="44"/>
                      </a:lnTo>
                      <a:lnTo>
                        <a:pt x="40" y="43"/>
                      </a:lnTo>
                      <a:lnTo>
                        <a:pt x="38" y="39"/>
                      </a:lnTo>
                      <a:lnTo>
                        <a:pt x="32" y="32"/>
                      </a:lnTo>
                      <a:lnTo>
                        <a:pt x="30" y="27"/>
                      </a:lnTo>
                      <a:lnTo>
                        <a:pt x="27" y="30"/>
                      </a:lnTo>
                      <a:lnTo>
                        <a:pt x="25" y="32"/>
                      </a:lnTo>
                      <a:lnTo>
                        <a:pt x="26" y="25"/>
                      </a:lnTo>
                      <a:lnTo>
                        <a:pt x="24" y="27"/>
                      </a:lnTo>
                      <a:lnTo>
                        <a:pt x="22" y="27"/>
                      </a:lnTo>
                      <a:lnTo>
                        <a:pt x="19" y="27"/>
                      </a:lnTo>
                      <a:lnTo>
                        <a:pt x="16" y="25"/>
                      </a:lnTo>
                      <a:lnTo>
                        <a:pt x="15" y="24"/>
                      </a:lnTo>
                      <a:lnTo>
                        <a:pt x="12" y="22"/>
                      </a:lnTo>
                      <a:lnTo>
                        <a:pt x="13" y="20"/>
                      </a:lnTo>
                      <a:lnTo>
                        <a:pt x="11" y="19"/>
                      </a:lnTo>
                      <a:lnTo>
                        <a:pt x="12" y="17"/>
                      </a:lnTo>
                      <a:lnTo>
                        <a:pt x="12" y="13"/>
                      </a:lnTo>
                      <a:lnTo>
                        <a:pt x="11" y="11"/>
                      </a:lnTo>
                      <a:lnTo>
                        <a:pt x="9" y="10"/>
                      </a:lnTo>
                      <a:lnTo>
                        <a:pt x="6" y="9"/>
                      </a:lnTo>
                      <a:lnTo>
                        <a:pt x="6" y="7"/>
                      </a:lnTo>
                      <a:lnTo>
                        <a:pt x="5" y="5"/>
                      </a:lnTo>
                      <a:lnTo>
                        <a:pt x="4" y="5"/>
                      </a:lnTo>
                      <a:lnTo>
                        <a:pt x="3" y="5"/>
                      </a:lnTo>
                      <a:lnTo>
                        <a:pt x="2" y="4"/>
                      </a:lnTo>
                      <a:lnTo>
                        <a:pt x="0" y="3"/>
                      </a:lnTo>
                      <a:lnTo>
                        <a:pt x="11" y="5"/>
                      </a:lnTo>
                      <a:lnTo>
                        <a:pt x="17" y="3"/>
                      </a:lnTo>
                      <a:lnTo>
                        <a:pt x="23" y="3"/>
                      </a:lnTo>
                      <a:lnTo>
                        <a:pt x="29" y="0"/>
                      </a:lnTo>
                      <a:lnTo>
                        <a:pt x="35" y="6"/>
                      </a:lnTo>
                      <a:lnTo>
                        <a:pt x="37" y="5"/>
                      </a:lnTo>
                      <a:lnTo>
                        <a:pt x="40" y="10"/>
                      </a:lnTo>
                      <a:lnTo>
                        <a:pt x="42" y="17"/>
                      </a:lnTo>
                      <a:lnTo>
                        <a:pt x="50" y="20"/>
                      </a:lnTo>
                      <a:lnTo>
                        <a:pt x="50" y="24"/>
                      </a:lnTo>
                      <a:lnTo>
                        <a:pt x="45" y="26"/>
                      </a:lnTo>
                      <a:lnTo>
                        <a:pt x="46" y="27"/>
                      </a:lnTo>
                      <a:lnTo>
                        <a:pt x="50" y="30"/>
                      </a:lnTo>
                      <a:lnTo>
                        <a:pt x="55" y="34"/>
                      </a:lnTo>
                      <a:lnTo>
                        <a:pt x="62" y="36"/>
                      </a:lnTo>
                      <a:lnTo>
                        <a:pt x="60" y="38"/>
                      </a:lnTo>
                      <a:lnTo>
                        <a:pt x="63" y="43"/>
                      </a:lnTo>
                      <a:lnTo>
                        <a:pt x="62" y="44"/>
                      </a:lnTo>
                      <a:lnTo>
                        <a:pt x="67" y="50"/>
                      </a:lnTo>
                      <a:lnTo>
                        <a:pt x="67" y="52"/>
                      </a:lnTo>
                      <a:lnTo>
                        <a:pt x="67" y="53"/>
                      </a:lnTo>
                      <a:lnTo>
                        <a:pt x="67" y="53"/>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grpSp>
              <p:nvGrpSpPr>
                <p:cNvPr id="414" name="Russia">
                  <a:extLst>
                    <a:ext uri="{FF2B5EF4-FFF2-40B4-BE49-F238E27FC236}">
                      <a16:creationId xmlns:a16="http://schemas.microsoft.com/office/drawing/2014/main" id="{6EBEBC67-75EC-D349-B81E-034B115C9C54}"/>
                    </a:ext>
                  </a:extLst>
                </p:cNvPr>
                <p:cNvGrpSpPr/>
                <p:nvPr/>
              </p:nvGrpSpPr>
              <p:grpSpPr>
                <a:xfrm>
                  <a:off x="6795341" y="1666412"/>
                  <a:ext cx="3455338" cy="1082320"/>
                  <a:chOff x="5509202" y="1775492"/>
                  <a:chExt cx="3810455" cy="1193554"/>
                </a:xfrm>
                <a:grpFill/>
              </p:grpSpPr>
              <p:sp>
                <p:nvSpPr>
                  <p:cNvPr id="416" name="Freeform 80">
                    <a:extLst>
                      <a:ext uri="{FF2B5EF4-FFF2-40B4-BE49-F238E27FC236}">
                        <a16:creationId xmlns:a16="http://schemas.microsoft.com/office/drawing/2014/main" id="{60CA003A-55E8-4047-99FC-C0D4A6F63077}"/>
                      </a:ext>
                    </a:extLst>
                  </p:cNvPr>
                  <p:cNvSpPr>
                    <a:spLocks/>
                  </p:cNvSpPr>
                  <p:nvPr/>
                </p:nvSpPr>
                <p:spPr bwMode="auto">
                  <a:xfrm>
                    <a:off x="8859831" y="2867756"/>
                    <a:ext cx="20901" cy="20901"/>
                  </a:xfrm>
                  <a:custGeom>
                    <a:avLst/>
                    <a:gdLst>
                      <a:gd name="T0" fmla="*/ 7 w 13"/>
                      <a:gd name="T1" fmla="*/ 10 h 13"/>
                      <a:gd name="T2" fmla="*/ 6 w 13"/>
                      <a:gd name="T3" fmla="*/ 11 h 13"/>
                      <a:gd name="T4" fmla="*/ 3 w 13"/>
                      <a:gd name="T5" fmla="*/ 13 h 13"/>
                      <a:gd name="T6" fmla="*/ 1 w 13"/>
                      <a:gd name="T7" fmla="*/ 13 h 13"/>
                      <a:gd name="T8" fmla="*/ 0 w 13"/>
                      <a:gd name="T9" fmla="*/ 11 h 13"/>
                      <a:gd name="T10" fmla="*/ 3 w 13"/>
                      <a:gd name="T11" fmla="*/ 10 h 13"/>
                      <a:gd name="T12" fmla="*/ 3 w 13"/>
                      <a:gd name="T13" fmla="*/ 7 h 13"/>
                      <a:gd name="T14" fmla="*/ 3 w 13"/>
                      <a:gd name="T15" fmla="*/ 5 h 13"/>
                      <a:gd name="T16" fmla="*/ 6 w 13"/>
                      <a:gd name="T17" fmla="*/ 5 h 13"/>
                      <a:gd name="T18" fmla="*/ 8 w 13"/>
                      <a:gd name="T19" fmla="*/ 5 h 13"/>
                      <a:gd name="T20" fmla="*/ 9 w 13"/>
                      <a:gd name="T21" fmla="*/ 3 h 13"/>
                      <a:gd name="T22" fmla="*/ 9 w 13"/>
                      <a:gd name="T23" fmla="*/ 3 h 13"/>
                      <a:gd name="T24" fmla="*/ 13 w 13"/>
                      <a:gd name="T25" fmla="*/ 0 h 13"/>
                      <a:gd name="T26" fmla="*/ 13 w 13"/>
                      <a:gd name="T27" fmla="*/ 5 h 13"/>
                      <a:gd name="T28" fmla="*/ 13 w 13"/>
                      <a:gd name="T29" fmla="*/ 8 h 13"/>
                      <a:gd name="T30" fmla="*/ 10 w 13"/>
                      <a:gd name="T31" fmla="*/ 7 h 13"/>
                      <a:gd name="T32" fmla="*/ 9 w 13"/>
                      <a:gd name="T33" fmla="*/ 7 h 13"/>
                      <a:gd name="T34" fmla="*/ 8 w 13"/>
                      <a:gd name="T35" fmla="*/ 10 h 13"/>
                      <a:gd name="T36" fmla="*/ 7 w 13"/>
                      <a:gd name="T37" fmla="*/ 10 h 13"/>
                      <a:gd name="T38" fmla="*/ 7 w 13"/>
                      <a:gd name="T39" fmla="*/ 10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3" h="13">
                        <a:moveTo>
                          <a:pt x="7" y="10"/>
                        </a:moveTo>
                        <a:lnTo>
                          <a:pt x="6" y="11"/>
                        </a:lnTo>
                        <a:lnTo>
                          <a:pt x="3" y="13"/>
                        </a:lnTo>
                        <a:lnTo>
                          <a:pt x="1" y="13"/>
                        </a:lnTo>
                        <a:lnTo>
                          <a:pt x="0" y="11"/>
                        </a:lnTo>
                        <a:lnTo>
                          <a:pt x="3" y="10"/>
                        </a:lnTo>
                        <a:lnTo>
                          <a:pt x="3" y="7"/>
                        </a:lnTo>
                        <a:lnTo>
                          <a:pt x="3" y="5"/>
                        </a:lnTo>
                        <a:lnTo>
                          <a:pt x="6" y="5"/>
                        </a:lnTo>
                        <a:lnTo>
                          <a:pt x="8" y="5"/>
                        </a:lnTo>
                        <a:lnTo>
                          <a:pt x="9" y="3"/>
                        </a:lnTo>
                        <a:lnTo>
                          <a:pt x="9" y="3"/>
                        </a:lnTo>
                        <a:lnTo>
                          <a:pt x="13" y="0"/>
                        </a:lnTo>
                        <a:lnTo>
                          <a:pt x="13" y="5"/>
                        </a:lnTo>
                        <a:lnTo>
                          <a:pt x="13" y="8"/>
                        </a:lnTo>
                        <a:lnTo>
                          <a:pt x="10" y="7"/>
                        </a:lnTo>
                        <a:lnTo>
                          <a:pt x="9" y="7"/>
                        </a:lnTo>
                        <a:lnTo>
                          <a:pt x="8" y="10"/>
                        </a:lnTo>
                        <a:lnTo>
                          <a:pt x="7" y="10"/>
                        </a:lnTo>
                        <a:lnTo>
                          <a:pt x="7" y="10"/>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17" name="Freeform 81">
                    <a:extLst>
                      <a:ext uri="{FF2B5EF4-FFF2-40B4-BE49-F238E27FC236}">
                        <a16:creationId xmlns:a16="http://schemas.microsoft.com/office/drawing/2014/main" id="{2AC596A8-397E-6745-8A34-33682FEE3A0C}"/>
                      </a:ext>
                    </a:extLst>
                  </p:cNvPr>
                  <p:cNvSpPr>
                    <a:spLocks/>
                  </p:cNvSpPr>
                  <p:nvPr/>
                </p:nvSpPr>
                <p:spPr bwMode="auto">
                  <a:xfrm>
                    <a:off x="8371063" y="2531728"/>
                    <a:ext cx="20901" cy="14470"/>
                  </a:xfrm>
                  <a:custGeom>
                    <a:avLst/>
                    <a:gdLst>
                      <a:gd name="T0" fmla="*/ 13 w 13"/>
                      <a:gd name="T1" fmla="*/ 3 h 9"/>
                      <a:gd name="T2" fmla="*/ 12 w 13"/>
                      <a:gd name="T3" fmla="*/ 5 h 9"/>
                      <a:gd name="T4" fmla="*/ 11 w 13"/>
                      <a:gd name="T5" fmla="*/ 6 h 9"/>
                      <a:gd name="T6" fmla="*/ 9 w 13"/>
                      <a:gd name="T7" fmla="*/ 6 h 9"/>
                      <a:gd name="T8" fmla="*/ 7 w 13"/>
                      <a:gd name="T9" fmla="*/ 8 h 9"/>
                      <a:gd name="T10" fmla="*/ 5 w 13"/>
                      <a:gd name="T11" fmla="*/ 9 h 9"/>
                      <a:gd name="T12" fmla="*/ 4 w 13"/>
                      <a:gd name="T13" fmla="*/ 9 h 9"/>
                      <a:gd name="T14" fmla="*/ 4 w 13"/>
                      <a:gd name="T15" fmla="*/ 8 h 9"/>
                      <a:gd name="T16" fmla="*/ 3 w 13"/>
                      <a:gd name="T17" fmla="*/ 6 h 9"/>
                      <a:gd name="T18" fmla="*/ 0 w 13"/>
                      <a:gd name="T19" fmla="*/ 5 h 9"/>
                      <a:gd name="T20" fmla="*/ 2 w 13"/>
                      <a:gd name="T21" fmla="*/ 2 h 9"/>
                      <a:gd name="T22" fmla="*/ 2 w 13"/>
                      <a:gd name="T23" fmla="*/ 0 h 9"/>
                      <a:gd name="T24" fmla="*/ 4 w 13"/>
                      <a:gd name="T25" fmla="*/ 1 h 9"/>
                      <a:gd name="T26" fmla="*/ 5 w 13"/>
                      <a:gd name="T27" fmla="*/ 0 h 9"/>
                      <a:gd name="T28" fmla="*/ 7 w 13"/>
                      <a:gd name="T29" fmla="*/ 1 h 9"/>
                      <a:gd name="T30" fmla="*/ 9 w 13"/>
                      <a:gd name="T31" fmla="*/ 0 h 9"/>
                      <a:gd name="T32" fmla="*/ 11 w 13"/>
                      <a:gd name="T33" fmla="*/ 1 h 9"/>
                      <a:gd name="T34" fmla="*/ 13 w 13"/>
                      <a:gd name="T35" fmla="*/ 1 h 9"/>
                      <a:gd name="T36" fmla="*/ 12 w 13"/>
                      <a:gd name="T37" fmla="*/ 2 h 9"/>
                      <a:gd name="T38" fmla="*/ 12 w 13"/>
                      <a:gd name="T39" fmla="*/ 2 h 9"/>
                      <a:gd name="T40" fmla="*/ 11 w 13"/>
                      <a:gd name="T41" fmla="*/ 2 h 9"/>
                      <a:gd name="T42" fmla="*/ 13 w 13"/>
                      <a:gd name="T43" fmla="*/ 3 h 9"/>
                      <a:gd name="T44" fmla="*/ 13 w 13"/>
                      <a:gd name="T45"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 h="9">
                        <a:moveTo>
                          <a:pt x="13" y="3"/>
                        </a:moveTo>
                        <a:lnTo>
                          <a:pt x="12" y="5"/>
                        </a:lnTo>
                        <a:lnTo>
                          <a:pt x="11" y="6"/>
                        </a:lnTo>
                        <a:lnTo>
                          <a:pt x="9" y="6"/>
                        </a:lnTo>
                        <a:lnTo>
                          <a:pt x="7" y="8"/>
                        </a:lnTo>
                        <a:lnTo>
                          <a:pt x="5" y="9"/>
                        </a:lnTo>
                        <a:lnTo>
                          <a:pt x="4" y="9"/>
                        </a:lnTo>
                        <a:lnTo>
                          <a:pt x="4" y="8"/>
                        </a:lnTo>
                        <a:lnTo>
                          <a:pt x="3" y="6"/>
                        </a:lnTo>
                        <a:lnTo>
                          <a:pt x="0" y="5"/>
                        </a:lnTo>
                        <a:lnTo>
                          <a:pt x="2" y="2"/>
                        </a:lnTo>
                        <a:lnTo>
                          <a:pt x="2" y="0"/>
                        </a:lnTo>
                        <a:lnTo>
                          <a:pt x="4" y="1"/>
                        </a:lnTo>
                        <a:lnTo>
                          <a:pt x="5" y="0"/>
                        </a:lnTo>
                        <a:lnTo>
                          <a:pt x="7" y="1"/>
                        </a:lnTo>
                        <a:lnTo>
                          <a:pt x="9" y="0"/>
                        </a:lnTo>
                        <a:lnTo>
                          <a:pt x="11" y="1"/>
                        </a:lnTo>
                        <a:lnTo>
                          <a:pt x="13" y="1"/>
                        </a:lnTo>
                        <a:lnTo>
                          <a:pt x="12" y="2"/>
                        </a:lnTo>
                        <a:lnTo>
                          <a:pt x="12" y="2"/>
                        </a:lnTo>
                        <a:lnTo>
                          <a:pt x="11" y="2"/>
                        </a:lnTo>
                        <a:lnTo>
                          <a:pt x="13" y="3"/>
                        </a:lnTo>
                        <a:lnTo>
                          <a:pt x="13" y="3"/>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grpSp>
                <p:nvGrpSpPr>
                  <p:cNvPr id="418" name="Russia">
                    <a:extLst>
                      <a:ext uri="{FF2B5EF4-FFF2-40B4-BE49-F238E27FC236}">
                        <a16:creationId xmlns:a16="http://schemas.microsoft.com/office/drawing/2014/main" id="{9ADC7A85-EEF0-3147-B97B-F7596A5E8DC7}"/>
                      </a:ext>
                    </a:extLst>
                  </p:cNvPr>
                  <p:cNvGrpSpPr/>
                  <p:nvPr/>
                </p:nvGrpSpPr>
                <p:grpSpPr>
                  <a:xfrm>
                    <a:off x="5509202" y="1775492"/>
                    <a:ext cx="3810455" cy="1193554"/>
                    <a:chOff x="5509202" y="1775492"/>
                    <a:chExt cx="3810455" cy="1193554"/>
                  </a:xfrm>
                  <a:grpFill/>
                </p:grpSpPr>
                <p:sp>
                  <p:nvSpPr>
                    <p:cNvPr id="419" name="Freeform 73">
                      <a:extLst>
                        <a:ext uri="{FF2B5EF4-FFF2-40B4-BE49-F238E27FC236}">
                          <a16:creationId xmlns:a16="http://schemas.microsoft.com/office/drawing/2014/main" id="{FD0C3692-1899-3343-A7FF-76090B47A2D2}"/>
                        </a:ext>
                      </a:extLst>
                    </p:cNvPr>
                    <p:cNvSpPr>
                      <a:spLocks/>
                    </p:cNvSpPr>
                    <p:nvPr/>
                  </p:nvSpPr>
                  <p:spPr bwMode="auto">
                    <a:xfrm>
                      <a:off x="5509202" y="2514042"/>
                      <a:ext cx="81998" cy="38587"/>
                    </a:xfrm>
                    <a:custGeom>
                      <a:avLst/>
                      <a:gdLst>
                        <a:gd name="T0" fmla="*/ 8 w 51"/>
                        <a:gd name="T1" fmla="*/ 23 h 24"/>
                        <a:gd name="T2" fmla="*/ 1 w 51"/>
                        <a:gd name="T3" fmla="*/ 20 h 24"/>
                        <a:gd name="T4" fmla="*/ 1 w 51"/>
                        <a:gd name="T5" fmla="*/ 19 h 24"/>
                        <a:gd name="T6" fmla="*/ 1 w 51"/>
                        <a:gd name="T7" fmla="*/ 19 h 24"/>
                        <a:gd name="T8" fmla="*/ 1 w 51"/>
                        <a:gd name="T9" fmla="*/ 18 h 24"/>
                        <a:gd name="T10" fmla="*/ 2 w 51"/>
                        <a:gd name="T11" fmla="*/ 18 h 24"/>
                        <a:gd name="T12" fmla="*/ 2 w 51"/>
                        <a:gd name="T13" fmla="*/ 17 h 24"/>
                        <a:gd name="T14" fmla="*/ 2 w 51"/>
                        <a:gd name="T15" fmla="*/ 17 h 24"/>
                        <a:gd name="T16" fmla="*/ 3 w 51"/>
                        <a:gd name="T17" fmla="*/ 17 h 24"/>
                        <a:gd name="T18" fmla="*/ 4 w 51"/>
                        <a:gd name="T19" fmla="*/ 17 h 24"/>
                        <a:gd name="T20" fmla="*/ 6 w 51"/>
                        <a:gd name="T21" fmla="*/ 17 h 24"/>
                        <a:gd name="T22" fmla="*/ 6 w 51"/>
                        <a:gd name="T23" fmla="*/ 14 h 24"/>
                        <a:gd name="T24" fmla="*/ 3 w 51"/>
                        <a:gd name="T25" fmla="*/ 13 h 24"/>
                        <a:gd name="T26" fmla="*/ 0 w 51"/>
                        <a:gd name="T27" fmla="*/ 14 h 24"/>
                        <a:gd name="T28" fmla="*/ 3 w 51"/>
                        <a:gd name="T29" fmla="*/ 12 h 24"/>
                        <a:gd name="T30" fmla="*/ 6 w 51"/>
                        <a:gd name="T31" fmla="*/ 11 h 24"/>
                        <a:gd name="T32" fmla="*/ 8 w 51"/>
                        <a:gd name="T33" fmla="*/ 10 h 24"/>
                        <a:gd name="T34" fmla="*/ 11 w 51"/>
                        <a:gd name="T35" fmla="*/ 9 h 24"/>
                        <a:gd name="T36" fmla="*/ 16 w 51"/>
                        <a:gd name="T37" fmla="*/ 7 h 24"/>
                        <a:gd name="T38" fmla="*/ 19 w 51"/>
                        <a:gd name="T39" fmla="*/ 3 h 24"/>
                        <a:gd name="T40" fmla="*/ 20 w 51"/>
                        <a:gd name="T41" fmla="*/ 3 h 24"/>
                        <a:gd name="T42" fmla="*/ 17 w 51"/>
                        <a:gd name="T43" fmla="*/ 7 h 24"/>
                        <a:gd name="T44" fmla="*/ 14 w 51"/>
                        <a:gd name="T45" fmla="*/ 9 h 24"/>
                        <a:gd name="T46" fmla="*/ 9 w 51"/>
                        <a:gd name="T47" fmla="*/ 11 h 24"/>
                        <a:gd name="T48" fmla="*/ 8 w 51"/>
                        <a:gd name="T49" fmla="*/ 12 h 24"/>
                        <a:gd name="T50" fmla="*/ 9 w 51"/>
                        <a:gd name="T51" fmla="*/ 12 h 24"/>
                        <a:gd name="T52" fmla="*/ 11 w 51"/>
                        <a:gd name="T53" fmla="*/ 11 h 24"/>
                        <a:gd name="T54" fmla="*/ 14 w 51"/>
                        <a:gd name="T55" fmla="*/ 11 h 24"/>
                        <a:gd name="T56" fmla="*/ 16 w 51"/>
                        <a:gd name="T57" fmla="*/ 12 h 24"/>
                        <a:gd name="T58" fmla="*/ 20 w 51"/>
                        <a:gd name="T59" fmla="*/ 12 h 24"/>
                        <a:gd name="T60" fmla="*/ 21 w 51"/>
                        <a:gd name="T61" fmla="*/ 12 h 24"/>
                        <a:gd name="T62" fmla="*/ 22 w 51"/>
                        <a:gd name="T63" fmla="*/ 10 h 24"/>
                        <a:gd name="T64" fmla="*/ 26 w 51"/>
                        <a:gd name="T65" fmla="*/ 9 h 24"/>
                        <a:gd name="T66" fmla="*/ 34 w 51"/>
                        <a:gd name="T67" fmla="*/ 9 h 24"/>
                        <a:gd name="T68" fmla="*/ 41 w 51"/>
                        <a:gd name="T69" fmla="*/ 9 h 24"/>
                        <a:gd name="T70" fmla="*/ 43 w 51"/>
                        <a:gd name="T71" fmla="*/ 9 h 24"/>
                        <a:gd name="T72" fmla="*/ 46 w 51"/>
                        <a:gd name="T73" fmla="*/ 10 h 24"/>
                        <a:gd name="T74" fmla="*/ 47 w 51"/>
                        <a:gd name="T75" fmla="*/ 12 h 24"/>
                        <a:gd name="T76" fmla="*/ 51 w 51"/>
                        <a:gd name="T77" fmla="*/ 18 h 24"/>
                        <a:gd name="T78" fmla="*/ 51 w 51"/>
                        <a:gd name="T79" fmla="*/ 24 h 24"/>
                        <a:gd name="T80" fmla="*/ 30 w 51"/>
                        <a:gd name="T81" fmla="*/ 24 h 24"/>
                        <a:gd name="T82" fmla="*/ 19 w 51"/>
                        <a:gd name="T83" fmla="*/ 23 h 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51" h="24">
                          <a:moveTo>
                            <a:pt x="19" y="23"/>
                          </a:moveTo>
                          <a:lnTo>
                            <a:pt x="8" y="23"/>
                          </a:lnTo>
                          <a:lnTo>
                            <a:pt x="0" y="21"/>
                          </a:lnTo>
                          <a:lnTo>
                            <a:pt x="1" y="20"/>
                          </a:lnTo>
                          <a:lnTo>
                            <a:pt x="1" y="20"/>
                          </a:lnTo>
                          <a:lnTo>
                            <a:pt x="1" y="19"/>
                          </a:lnTo>
                          <a:lnTo>
                            <a:pt x="1" y="19"/>
                          </a:lnTo>
                          <a:lnTo>
                            <a:pt x="1" y="19"/>
                          </a:lnTo>
                          <a:lnTo>
                            <a:pt x="1" y="19"/>
                          </a:lnTo>
                          <a:lnTo>
                            <a:pt x="1" y="18"/>
                          </a:lnTo>
                          <a:lnTo>
                            <a:pt x="1" y="18"/>
                          </a:lnTo>
                          <a:lnTo>
                            <a:pt x="2" y="18"/>
                          </a:lnTo>
                          <a:lnTo>
                            <a:pt x="2" y="18"/>
                          </a:lnTo>
                          <a:lnTo>
                            <a:pt x="2" y="17"/>
                          </a:lnTo>
                          <a:lnTo>
                            <a:pt x="2" y="17"/>
                          </a:lnTo>
                          <a:lnTo>
                            <a:pt x="2" y="17"/>
                          </a:lnTo>
                          <a:lnTo>
                            <a:pt x="2" y="17"/>
                          </a:lnTo>
                          <a:lnTo>
                            <a:pt x="3" y="17"/>
                          </a:lnTo>
                          <a:lnTo>
                            <a:pt x="3" y="17"/>
                          </a:lnTo>
                          <a:lnTo>
                            <a:pt x="4" y="17"/>
                          </a:lnTo>
                          <a:lnTo>
                            <a:pt x="6" y="17"/>
                          </a:lnTo>
                          <a:lnTo>
                            <a:pt x="6" y="17"/>
                          </a:lnTo>
                          <a:lnTo>
                            <a:pt x="6" y="16"/>
                          </a:lnTo>
                          <a:lnTo>
                            <a:pt x="6" y="14"/>
                          </a:lnTo>
                          <a:lnTo>
                            <a:pt x="6" y="14"/>
                          </a:lnTo>
                          <a:lnTo>
                            <a:pt x="3" y="13"/>
                          </a:lnTo>
                          <a:lnTo>
                            <a:pt x="1" y="14"/>
                          </a:lnTo>
                          <a:lnTo>
                            <a:pt x="0" y="14"/>
                          </a:lnTo>
                          <a:lnTo>
                            <a:pt x="2" y="13"/>
                          </a:lnTo>
                          <a:lnTo>
                            <a:pt x="3" y="12"/>
                          </a:lnTo>
                          <a:lnTo>
                            <a:pt x="3" y="12"/>
                          </a:lnTo>
                          <a:lnTo>
                            <a:pt x="6" y="11"/>
                          </a:lnTo>
                          <a:lnTo>
                            <a:pt x="6" y="11"/>
                          </a:lnTo>
                          <a:lnTo>
                            <a:pt x="8" y="10"/>
                          </a:lnTo>
                          <a:lnTo>
                            <a:pt x="9" y="9"/>
                          </a:lnTo>
                          <a:lnTo>
                            <a:pt x="11" y="9"/>
                          </a:lnTo>
                          <a:lnTo>
                            <a:pt x="14" y="7"/>
                          </a:lnTo>
                          <a:lnTo>
                            <a:pt x="16" y="7"/>
                          </a:lnTo>
                          <a:lnTo>
                            <a:pt x="17" y="5"/>
                          </a:lnTo>
                          <a:lnTo>
                            <a:pt x="19" y="3"/>
                          </a:lnTo>
                          <a:lnTo>
                            <a:pt x="20" y="0"/>
                          </a:lnTo>
                          <a:lnTo>
                            <a:pt x="20" y="3"/>
                          </a:lnTo>
                          <a:lnTo>
                            <a:pt x="19" y="5"/>
                          </a:lnTo>
                          <a:lnTo>
                            <a:pt x="17" y="7"/>
                          </a:lnTo>
                          <a:lnTo>
                            <a:pt x="16" y="9"/>
                          </a:lnTo>
                          <a:lnTo>
                            <a:pt x="14" y="9"/>
                          </a:lnTo>
                          <a:lnTo>
                            <a:pt x="13" y="10"/>
                          </a:lnTo>
                          <a:lnTo>
                            <a:pt x="9" y="11"/>
                          </a:lnTo>
                          <a:lnTo>
                            <a:pt x="8" y="11"/>
                          </a:lnTo>
                          <a:lnTo>
                            <a:pt x="8" y="12"/>
                          </a:lnTo>
                          <a:lnTo>
                            <a:pt x="9" y="13"/>
                          </a:lnTo>
                          <a:lnTo>
                            <a:pt x="9" y="12"/>
                          </a:lnTo>
                          <a:lnTo>
                            <a:pt x="10" y="13"/>
                          </a:lnTo>
                          <a:lnTo>
                            <a:pt x="11" y="11"/>
                          </a:lnTo>
                          <a:lnTo>
                            <a:pt x="13" y="11"/>
                          </a:lnTo>
                          <a:lnTo>
                            <a:pt x="14" y="11"/>
                          </a:lnTo>
                          <a:lnTo>
                            <a:pt x="16" y="11"/>
                          </a:lnTo>
                          <a:lnTo>
                            <a:pt x="16" y="12"/>
                          </a:lnTo>
                          <a:lnTo>
                            <a:pt x="17" y="12"/>
                          </a:lnTo>
                          <a:lnTo>
                            <a:pt x="20" y="12"/>
                          </a:lnTo>
                          <a:lnTo>
                            <a:pt x="20" y="12"/>
                          </a:lnTo>
                          <a:lnTo>
                            <a:pt x="21" y="12"/>
                          </a:lnTo>
                          <a:lnTo>
                            <a:pt x="22" y="11"/>
                          </a:lnTo>
                          <a:lnTo>
                            <a:pt x="22" y="10"/>
                          </a:lnTo>
                          <a:lnTo>
                            <a:pt x="22" y="10"/>
                          </a:lnTo>
                          <a:lnTo>
                            <a:pt x="26" y="9"/>
                          </a:lnTo>
                          <a:lnTo>
                            <a:pt x="30" y="7"/>
                          </a:lnTo>
                          <a:lnTo>
                            <a:pt x="34" y="9"/>
                          </a:lnTo>
                          <a:lnTo>
                            <a:pt x="39" y="9"/>
                          </a:lnTo>
                          <a:lnTo>
                            <a:pt x="41" y="9"/>
                          </a:lnTo>
                          <a:lnTo>
                            <a:pt x="43" y="10"/>
                          </a:lnTo>
                          <a:lnTo>
                            <a:pt x="43" y="9"/>
                          </a:lnTo>
                          <a:lnTo>
                            <a:pt x="44" y="9"/>
                          </a:lnTo>
                          <a:lnTo>
                            <a:pt x="46" y="10"/>
                          </a:lnTo>
                          <a:lnTo>
                            <a:pt x="48" y="12"/>
                          </a:lnTo>
                          <a:lnTo>
                            <a:pt x="47" y="12"/>
                          </a:lnTo>
                          <a:lnTo>
                            <a:pt x="49" y="16"/>
                          </a:lnTo>
                          <a:lnTo>
                            <a:pt x="51" y="18"/>
                          </a:lnTo>
                          <a:lnTo>
                            <a:pt x="51" y="20"/>
                          </a:lnTo>
                          <a:lnTo>
                            <a:pt x="51" y="24"/>
                          </a:lnTo>
                          <a:lnTo>
                            <a:pt x="35" y="24"/>
                          </a:lnTo>
                          <a:lnTo>
                            <a:pt x="30" y="24"/>
                          </a:lnTo>
                          <a:lnTo>
                            <a:pt x="19" y="23"/>
                          </a:lnTo>
                          <a:lnTo>
                            <a:pt x="19" y="23"/>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20" name="Freeform 74">
                      <a:extLst>
                        <a:ext uri="{FF2B5EF4-FFF2-40B4-BE49-F238E27FC236}">
                          <a16:creationId xmlns:a16="http://schemas.microsoft.com/office/drawing/2014/main" id="{7AAFE080-F532-424D-803B-B61042916A03}"/>
                        </a:ext>
                      </a:extLst>
                    </p:cNvPr>
                    <p:cNvSpPr>
                      <a:spLocks/>
                    </p:cNvSpPr>
                    <p:nvPr/>
                  </p:nvSpPr>
                  <p:spPr bwMode="auto">
                    <a:xfrm>
                      <a:off x="8964337" y="2715016"/>
                      <a:ext cx="4823" cy="4823"/>
                    </a:xfrm>
                    <a:custGeom>
                      <a:avLst/>
                      <a:gdLst>
                        <a:gd name="T0" fmla="*/ 1 w 3"/>
                        <a:gd name="T1" fmla="*/ 0 h 3"/>
                        <a:gd name="T2" fmla="*/ 3 w 3"/>
                        <a:gd name="T3" fmla="*/ 1 h 3"/>
                        <a:gd name="T4" fmla="*/ 3 w 3"/>
                        <a:gd name="T5" fmla="*/ 2 h 3"/>
                        <a:gd name="T6" fmla="*/ 1 w 3"/>
                        <a:gd name="T7" fmla="*/ 3 h 3"/>
                        <a:gd name="T8" fmla="*/ 0 w 3"/>
                        <a:gd name="T9" fmla="*/ 0 h 3"/>
                        <a:gd name="T10" fmla="*/ 1 w 3"/>
                        <a:gd name="T11" fmla="*/ 0 h 3"/>
                        <a:gd name="T12" fmla="*/ 1 w 3"/>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3" h="3">
                          <a:moveTo>
                            <a:pt x="1" y="0"/>
                          </a:moveTo>
                          <a:lnTo>
                            <a:pt x="3" y="1"/>
                          </a:lnTo>
                          <a:lnTo>
                            <a:pt x="3" y="2"/>
                          </a:lnTo>
                          <a:lnTo>
                            <a:pt x="1" y="3"/>
                          </a:lnTo>
                          <a:lnTo>
                            <a:pt x="0" y="0"/>
                          </a:lnTo>
                          <a:lnTo>
                            <a:pt x="1" y="0"/>
                          </a:lnTo>
                          <a:lnTo>
                            <a:pt x="1" y="0"/>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21" name="Freeform 75">
                      <a:extLst>
                        <a:ext uri="{FF2B5EF4-FFF2-40B4-BE49-F238E27FC236}">
                          <a16:creationId xmlns:a16="http://schemas.microsoft.com/office/drawing/2014/main" id="{B35649EB-D629-FF44-B209-B1B3F58B8068}"/>
                        </a:ext>
                      </a:extLst>
                    </p:cNvPr>
                    <p:cNvSpPr>
                      <a:spLocks/>
                    </p:cNvSpPr>
                    <p:nvPr/>
                  </p:nvSpPr>
                  <p:spPr bwMode="auto">
                    <a:xfrm>
                      <a:off x="8957906" y="2687683"/>
                      <a:ext cx="8039" cy="9647"/>
                    </a:xfrm>
                    <a:custGeom>
                      <a:avLst/>
                      <a:gdLst>
                        <a:gd name="T0" fmla="*/ 0 w 5"/>
                        <a:gd name="T1" fmla="*/ 0 h 6"/>
                        <a:gd name="T2" fmla="*/ 5 w 5"/>
                        <a:gd name="T3" fmla="*/ 4 h 6"/>
                        <a:gd name="T4" fmla="*/ 1 w 5"/>
                        <a:gd name="T5" fmla="*/ 6 h 6"/>
                        <a:gd name="T6" fmla="*/ 2 w 5"/>
                        <a:gd name="T7" fmla="*/ 4 h 6"/>
                        <a:gd name="T8" fmla="*/ 0 w 5"/>
                        <a:gd name="T9" fmla="*/ 0 h 6"/>
                        <a:gd name="T10" fmla="*/ 0 w 5"/>
                        <a:gd name="T11" fmla="*/ 0 h 6"/>
                        <a:gd name="T12" fmla="*/ 0 w 5"/>
                        <a:gd name="T13" fmla="*/ 0 h 6"/>
                      </a:gdLst>
                      <a:ahLst/>
                      <a:cxnLst>
                        <a:cxn ang="0">
                          <a:pos x="T0" y="T1"/>
                        </a:cxn>
                        <a:cxn ang="0">
                          <a:pos x="T2" y="T3"/>
                        </a:cxn>
                        <a:cxn ang="0">
                          <a:pos x="T4" y="T5"/>
                        </a:cxn>
                        <a:cxn ang="0">
                          <a:pos x="T6" y="T7"/>
                        </a:cxn>
                        <a:cxn ang="0">
                          <a:pos x="T8" y="T9"/>
                        </a:cxn>
                        <a:cxn ang="0">
                          <a:pos x="T10" y="T11"/>
                        </a:cxn>
                        <a:cxn ang="0">
                          <a:pos x="T12" y="T13"/>
                        </a:cxn>
                      </a:cxnLst>
                      <a:rect l="0" t="0" r="r" b="b"/>
                      <a:pathLst>
                        <a:path w="5" h="6">
                          <a:moveTo>
                            <a:pt x="0" y="0"/>
                          </a:moveTo>
                          <a:lnTo>
                            <a:pt x="5" y="4"/>
                          </a:lnTo>
                          <a:lnTo>
                            <a:pt x="1" y="6"/>
                          </a:lnTo>
                          <a:lnTo>
                            <a:pt x="2" y="4"/>
                          </a:lnTo>
                          <a:lnTo>
                            <a:pt x="0" y="0"/>
                          </a:lnTo>
                          <a:lnTo>
                            <a:pt x="0" y="0"/>
                          </a:lnTo>
                          <a:lnTo>
                            <a:pt x="0" y="0"/>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22" name="Freeform 76">
                      <a:extLst>
                        <a:ext uri="{FF2B5EF4-FFF2-40B4-BE49-F238E27FC236}">
                          <a16:creationId xmlns:a16="http://schemas.microsoft.com/office/drawing/2014/main" id="{0F8A1181-45B4-7649-ACA7-509314FD1B2F}"/>
                        </a:ext>
                      </a:extLst>
                    </p:cNvPr>
                    <p:cNvSpPr>
                      <a:spLocks/>
                    </p:cNvSpPr>
                    <p:nvPr/>
                  </p:nvSpPr>
                  <p:spPr bwMode="auto">
                    <a:xfrm>
                      <a:off x="8961121" y="2671606"/>
                      <a:ext cx="14470" cy="22509"/>
                    </a:xfrm>
                    <a:custGeom>
                      <a:avLst/>
                      <a:gdLst>
                        <a:gd name="T0" fmla="*/ 2 w 9"/>
                        <a:gd name="T1" fmla="*/ 7 h 14"/>
                        <a:gd name="T2" fmla="*/ 0 w 9"/>
                        <a:gd name="T3" fmla="*/ 5 h 14"/>
                        <a:gd name="T4" fmla="*/ 0 w 9"/>
                        <a:gd name="T5" fmla="*/ 2 h 14"/>
                        <a:gd name="T6" fmla="*/ 4 w 9"/>
                        <a:gd name="T7" fmla="*/ 0 h 14"/>
                        <a:gd name="T8" fmla="*/ 6 w 9"/>
                        <a:gd name="T9" fmla="*/ 0 h 14"/>
                        <a:gd name="T10" fmla="*/ 7 w 9"/>
                        <a:gd name="T11" fmla="*/ 1 h 14"/>
                        <a:gd name="T12" fmla="*/ 7 w 9"/>
                        <a:gd name="T13" fmla="*/ 2 h 14"/>
                        <a:gd name="T14" fmla="*/ 5 w 9"/>
                        <a:gd name="T15" fmla="*/ 6 h 14"/>
                        <a:gd name="T16" fmla="*/ 6 w 9"/>
                        <a:gd name="T17" fmla="*/ 7 h 14"/>
                        <a:gd name="T18" fmla="*/ 9 w 9"/>
                        <a:gd name="T19" fmla="*/ 10 h 14"/>
                        <a:gd name="T20" fmla="*/ 7 w 9"/>
                        <a:gd name="T21" fmla="*/ 13 h 14"/>
                        <a:gd name="T22" fmla="*/ 5 w 9"/>
                        <a:gd name="T23" fmla="*/ 14 h 14"/>
                        <a:gd name="T24" fmla="*/ 3 w 9"/>
                        <a:gd name="T25" fmla="*/ 10 h 14"/>
                        <a:gd name="T26" fmla="*/ 2 w 9"/>
                        <a:gd name="T27" fmla="*/ 7 h 14"/>
                        <a:gd name="T28" fmla="*/ 2 w 9"/>
                        <a:gd name="T29" fmla="*/ 7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 h="14">
                          <a:moveTo>
                            <a:pt x="2" y="7"/>
                          </a:moveTo>
                          <a:lnTo>
                            <a:pt x="0" y="5"/>
                          </a:lnTo>
                          <a:lnTo>
                            <a:pt x="0" y="2"/>
                          </a:lnTo>
                          <a:lnTo>
                            <a:pt x="4" y="0"/>
                          </a:lnTo>
                          <a:lnTo>
                            <a:pt x="6" y="0"/>
                          </a:lnTo>
                          <a:lnTo>
                            <a:pt x="7" y="1"/>
                          </a:lnTo>
                          <a:lnTo>
                            <a:pt x="7" y="2"/>
                          </a:lnTo>
                          <a:lnTo>
                            <a:pt x="5" y="6"/>
                          </a:lnTo>
                          <a:lnTo>
                            <a:pt x="6" y="7"/>
                          </a:lnTo>
                          <a:lnTo>
                            <a:pt x="9" y="10"/>
                          </a:lnTo>
                          <a:lnTo>
                            <a:pt x="7" y="13"/>
                          </a:lnTo>
                          <a:lnTo>
                            <a:pt x="5" y="14"/>
                          </a:lnTo>
                          <a:lnTo>
                            <a:pt x="3" y="10"/>
                          </a:lnTo>
                          <a:lnTo>
                            <a:pt x="2" y="7"/>
                          </a:lnTo>
                          <a:lnTo>
                            <a:pt x="2" y="7"/>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23" name="Freeform 77">
                      <a:extLst>
                        <a:ext uri="{FF2B5EF4-FFF2-40B4-BE49-F238E27FC236}">
                          <a16:creationId xmlns:a16="http://schemas.microsoft.com/office/drawing/2014/main" id="{2689D696-7B78-4D4E-92C2-93EB80152191}"/>
                        </a:ext>
                      </a:extLst>
                    </p:cNvPr>
                    <p:cNvSpPr>
                      <a:spLocks/>
                    </p:cNvSpPr>
                    <p:nvPr/>
                  </p:nvSpPr>
                  <p:spPr bwMode="auto">
                    <a:xfrm>
                      <a:off x="8957906" y="2779328"/>
                      <a:ext cx="3215" cy="3215"/>
                    </a:xfrm>
                    <a:custGeom>
                      <a:avLst/>
                      <a:gdLst>
                        <a:gd name="T0" fmla="*/ 2 w 2"/>
                        <a:gd name="T1" fmla="*/ 2 h 2"/>
                        <a:gd name="T2" fmla="*/ 0 w 2"/>
                        <a:gd name="T3" fmla="*/ 2 h 2"/>
                        <a:gd name="T4" fmla="*/ 0 w 2"/>
                        <a:gd name="T5" fmla="*/ 0 h 2"/>
                        <a:gd name="T6" fmla="*/ 1 w 2"/>
                        <a:gd name="T7" fmla="*/ 0 h 2"/>
                        <a:gd name="T8" fmla="*/ 2 w 2"/>
                        <a:gd name="T9" fmla="*/ 2 h 2"/>
                        <a:gd name="T10" fmla="*/ 2 w 2"/>
                        <a:gd name="T11" fmla="*/ 2 h 2"/>
                      </a:gdLst>
                      <a:ahLst/>
                      <a:cxnLst>
                        <a:cxn ang="0">
                          <a:pos x="T0" y="T1"/>
                        </a:cxn>
                        <a:cxn ang="0">
                          <a:pos x="T2" y="T3"/>
                        </a:cxn>
                        <a:cxn ang="0">
                          <a:pos x="T4" y="T5"/>
                        </a:cxn>
                        <a:cxn ang="0">
                          <a:pos x="T6" y="T7"/>
                        </a:cxn>
                        <a:cxn ang="0">
                          <a:pos x="T8" y="T9"/>
                        </a:cxn>
                        <a:cxn ang="0">
                          <a:pos x="T10" y="T11"/>
                        </a:cxn>
                      </a:cxnLst>
                      <a:rect l="0" t="0" r="r" b="b"/>
                      <a:pathLst>
                        <a:path w="2" h="2">
                          <a:moveTo>
                            <a:pt x="2" y="2"/>
                          </a:moveTo>
                          <a:lnTo>
                            <a:pt x="0" y="2"/>
                          </a:lnTo>
                          <a:lnTo>
                            <a:pt x="0" y="0"/>
                          </a:lnTo>
                          <a:lnTo>
                            <a:pt x="1" y="0"/>
                          </a:lnTo>
                          <a:lnTo>
                            <a:pt x="2" y="2"/>
                          </a:lnTo>
                          <a:lnTo>
                            <a:pt x="2" y="2"/>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24" name="Freeform 78">
                      <a:extLst>
                        <a:ext uri="{FF2B5EF4-FFF2-40B4-BE49-F238E27FC236}">
                          <a16:creationId xmlns:a16="http://schemas.microsoft.com/office/drawing/2014/main" id="{1CF7887A-9DD7-3743-8859-497F6D427612}"/>
                        </a:ext>
                      </a:extLst>
                    </p:cNvPr>
                    <p:cNvSpPr>
                      <a:spLocks/>
                    </p:cNvSpPr>
                    <p:nvPr/>
                  </p:nvSpPr>
                  <p:spPr bwMode="auto">
                    <a:xfrm>
                      <a:off x="8925750" y="2814699"/>
                      <a:ext cx="19294" cy="22509"/>
                    </a:xfrm>
                    <a:custGeom>
                      <a:avLst/>
                      <a:gdLst>
                        <a:gd name="T0" fmla="*/ 9 w 12"/>
                        <a:gd name="T1" fmla="*/ 1 h 14"/>
                        <a:gd name="T2" fmla="*/ 9 w 12"/>
                        <a:gd name="T3" fmla="*/ 5 h 14"/>
                        <a:gd name="T4" fmla="*/ 9 w 12"/>
                        <a:gd name="T5" fmla="*/ 7 h 14"/>
                        <a:gd name="T6" fmla="*/ 9 w 12"/>
                        <a:gd name="T7" fmla="*/ 8 h 14"/>
                        <a:gd name="T8" fmla="*/ 9 w 12"/>
                        <a:gd name="T9" fmla="*/ 11 h 14"/>
                        <a:gd name="T10" fmla="*/ 7 w 12"/>
                        <a:gd name="T11" fmla="*/ 12 h 14"/>
                        <a:gd name="T12" fmla="*/ 5 w 12"/>
                        <a:gd name="T13" fmla="*/ 12 h 14"/>
                        <a:gd name="T14" fmla="*/ 5 w 12"/>
                        <a:gd name="T15" fmla="*/ 13 h 14"/>
                        <a:gd name="T16" fmla="*/ 2 w 12"/>
                        <a:gd name="T17" fmla="*/ 13 h 14"/>
                        <a:gd name="T18" fmla="*/ 1 w 12"/>
                        <a:gd name="T19" fmla="*/ 14 h 14"/>
                        <a:gd name="T20" fmla="*/ 0 w 12"/>
                        <a:gd name="T21" fmla="*/ 14 h 14"/>
                        <a:gd name="T22" fmla="*/ 1 w 12"/>
                        <a:gd name="T23" fmla="*/ 12 h 14"/>
                        <a:gd name="T24" fmla="*/ 0 w 12"/>
                        <a:gd name="T25" fmla="*/ 11 h 14"/>
                        <a:gd name="T26" fmla="*/ 0 w 12"/>
                        <a:gd name="T27" fmla="*/ 8 h 14"/>
                        <a:gd name="T28" fmla="*/ 1 w 12"/>
                        <a:gd name="T29" fmla="*/ 7 h 14"/>
                        <a:gd name="T30" fmla="*/ 4 w 12"/>
                        <a:gd name="T31" fmla="*/ 8 h 14"/>
                        <a:gd name="T32" fmla="*/ 6 w 12"/>
                        <a:gd name="T33" fmla="*/ 6 h 14"/>
                        <a:gd name="T34" fmla="*/ 7 w 12"/>
                        <a:gd name="T35" fmla="*/ 6 h 14"/>
                        <a:gd name="T36" fmla="*/ 8 w 12"/>
                        <a:gd name="T37" fmla="*/ 0 h 14"/>
                        <a:gd name="T38" fmla="*/ 12 w 12"/>
                        <a:gd name="T39" fmla="*/ 0 h 14"/>
                        <a:gd name="T40" fmla="*/ 9 w 12"/>
                        <a:gd name="T41" fmla="*/ 1 h 14"/>
                        <a:gd name="T42" fmla="*/ 9 w 12"/>
                        <a:gd name="T43" fmla="*/ 1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2" h="14">
                          <a:moveTo>
                            <a:pt x="9" y="1"/>
                          </a:moveTo>
                          <a:lnTo>
                            <a:pt x="9" y="5"/>
                          </a:lnTo>
                          <a:lnTo>
                            <a:pt x="9" y="7"/>
                          </a:lnTo>
                          <a:lnTo>
                            <a:pt x="9" y="8"/>
                          </a:lnTo>
                          <a:lnTo>
                            <a:pt x="9" y="11"/>
                          </a:lnTo>
                          <a:lnTo>
                            <a:pt x="7" y="12"/>
                          </a:lnTo>
                          <a:lnTo>
                            <a:pt x="5" y="12"/>
                          </a:lnTo>
                          <a:lnTo>
                            <a:pt x="5" y="13"/>
                          </a:lnTo>
                          <a:lnTo>
                            <a:pt x="2" y="13"/>
                          </a:lnTo>
                          <a:lnTo>
                            <a:pt x="1" y="14"/>
                          </a:lnTo>
                          <a:lnTo>
                            <a:pt x="0" y="14"/>
                          </a:lnTo>
                          <a:lnTo>
                            <a:pt x="1" y="12"/>
                          </a:lnTo>
                          <a:lnTo>
                            <a:pt x="0" y="11"/>
                          </a:lnTo>
                          <a:lnTo>
                            <a:pt x="0" y="8"/>
                          </a:lnTo>
                          <a:lnTo>
                            <a:pt x="1" y="7"/>
                          </a:lnTo>
                          <a:lnTo>
                            <a:pt x="4" y="8"/>
                          </a:lnTo>
                          <a:lnTo>
                            <a:pt x="6" y="6"/>
                          </a:lnTo>
                          <a:lnTo>
                            <a:pt x="7" y="6"/>
                          </a:lnTo>
                          <a:lnTo>
                            <a:pt x="8" y="0"/>
                          </a:lnTo>
                          <a:lnTo>
                            <a:pt x="12" y="0"/>
                          </a:lnTo>
                          <a:lnTo>
                            <a:pt x="9" y="1"/>
                          </a:lnTo>
                          <a:lnTo>
                            <a:pt x="9" y="1"/>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25" name="Freeform 79">
                      <a:extLst>
                        <a:ext uri="{FF2B5EF4-FFF2-40B4-BE49-F238E27FC236}">
                          <a16:creationId xmlns:a16="http://schemas.microsoft.com/office/drawing/2014/main" id="{DAD71E91-ECAA-CF4D-9A42-0E57D2C86716}"/>
                        </a:ext>
                      </a:extLst>
                    </p:cNvPr>
                    <p:cNvSpPr>
                      <a:spLocks/>
                    </p:cNvSpPr>
                    <p:nvPr/>
                  </p:nvSpPr>
                  <p:spPr bwMode="auto">
                    <a:xfrm>
                      <a:off x="8883947" y="2832385"/>
                      <a:ext cx="38587" cy="41803"/>
                    </a:xfrm>
                    <a:custGeom>
                      <a:avLst/>
                      <a:gdLst>
                        <a:gd name="T0" fmla="*/ 17 w 24"/>
                        <a:gd name="T1" fmla="*/ 10 h 26"/>
                        <a:gd name="T2" fmla="*/ 15 w 24"/>
                        <a:gd name="T3" fmla="*/ 15 h 26"/>
                        <a:gd name="T4" fmla="*/ 13 w 24"/>
                        <a:gd name="T5" fmla="*/ 17 h 26"/>
                        <a:gd name="T6" fmla="*/ 12 w 24"/>
                        <a:gd name="T7" fmla="*/ 20 h 26"/>
                        <a:gd name="T8" fmla="*/ 7 w 24"/>
                        <a:gd name="T9" fmla="*/ 20 h 26"/>
                        <a:gd name="T10" fmla="*/ 5 w 24"/>
                        <a:gd name="T11" fmla="*/ 21 h 26"/>
                        <a:gd name="T12" fmla="*/ 5 w 24"/>
                        <a:gd name="T13" fmla="*/ 25 h 26"/>
                        <a:gd name="T14" fmla="*/ 1 w 24"/>
                        <a:gd name="T15" fmla="*/ 26 h 26"/>
                        <a:gd name="T16" fmla="*/ 0 w 24"/>
                        <a:gd name="T17" fmla="*/ 21 h 26"/>
                        <a:gd name="T18" fmla="*/ 4 w 24"/>
                        <a:gd name="T19" fmla="*/ 17 h 26"/>
                        <a:gd name="T20" fmla="*/ 4 w 24"/>
                        <a:gd name="T21" fmla="*/ 14 h 26"/>
                        <a:gd name="T22" fmla="*/ 6 w 24"/>
                        <a:gd name="T23" fmla="*/ 9 h 26"/>
                        <a:gd name="T24" fmla="*/ 8 w 24"/>
                        <a:gd name="T25" fmla="*/ 8 h 26"/>
                        <a:gd name="T26" fmla="*/ 14 w 24"/>
                        <a:gd name="T27" fmla="*/ 8 h 26"/>
                        <a:gd name="T28" fmla="*/ 15 w 24"/>
                        <a:gd name="T29" fmla="*/ 6 h 26"/>
                        <a:gd name="T30" fmla="*/ 20 w 24"/>
                        <a:gd name="T31" fmla="*/ 2 h 26"/>
                        <a:gd name="T32" fmla="*/ 24 w 24"/>
                        <a:gd name="T33" fmla="*/ 0 h 26"/>
                        <a:gd name="T34" fmla="*/ 23 w 24"/>
                        <a:gd name="T35" fmla="*/ 5 h 26"/>
                        <a:gd name="T36" fmla="*/ 20 w 24"/>
                        <a:gd name="T37" fmla="*/ 9 h 26"/>
                        <a:gd name="T38" fmla="*/ 19 w 24"/>
                        <a:gd name="T39" fmla="*/ 10 h 26"/>
                        <a:gd name="T40" fmla="*/ 17 w 24"/>
                        <a:gd name="T41" fmla="*/ 10 h 26"/>
                        <a:gd name="T42" fmla="*/ 17 w 24"/>
                        <a:gd name="T43" fmla="*/ 10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 h="26">
                          <a:moveTo>
                            <a:pt x="17" y="10"/>
                          </a:moveTo>
                          <a:lnTo>
                            <a:pt x="15" y="15"/>
                          </a:lnTo>
                          <a:lnTo>
                            <a:pt x="13" y="17"/>
                          </a:lnTo>
                          <a:lnTo>
                            <a:pt x="12" y="20"/>
                          </a:lnTo>
                          <a:lnTo>
                            <a:pt x="7" y="20"/>
                          </a:lnTo>
                          <a:lnTo>
                            <a:pt x="5" y="21"/>
                          </a:lnTo>
                          <a:lnTo>
                            <a:pt x="5" y="25"/>
                          </a:lnTo>
                          <a:lnTo>
                            <a:pt x="1" y="26"/>
                          </a:lnTo>
                          <a:lnTo>
                            <a:pt x="0" y="21"/>
                          </a:lnTo>
                          <a:lnTo>
                            <a:pt x="4" y="17"/>
                          </a:lnTo>
                          <a:lnTo>
                            <a:pt x="4" y="14"/>
                          </a:lnTo>
                          <a:lnTo>
                            <a:pt x="6" y="9"/>
                          </a:lnTo>
                          <a:lnTo>
                            <a:pt x="8" y="8"/>
                          </a:lnTo>
                          <a:lnTo>
                            <a:pt x="14" y="8"/>
                          </a:lnTo>
                          <a:lnTo>
                            <a:pt x="15" y="6"/>
                          </a:lnTo>
                          <a:lnTo>
                            <a:pt x="20" y="2"/>
                          </a:lnTo>
                          <a:lnTo>
                            <a:pt x="24" y="0"/>
                          </a:lnTo>
                          <a:lnTo>
                            <a:pt x="23" y="5"/>
                          </a:lnTo>
                          <a:lnTo>
                            <a:pt x="20" y="9"/>
                          </a:lnTo>
                          <a:lnTo>
                            <a:pt x="19" y="10"/>
                          </a:lnTo>
                          <a:lnTo>
                            <a:pt x="17" y="10"/>
                          </a:lnTo>
                          <a:lnTo>
                            <a:pt x="17" y="10"/>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26" name="Freeform 82">
                      <a:extLst>
                        <a:ext uri="{FF2B5EF4-FFF2-40B4-BE49-F238E27FC236}">
                          <a16:creationId xmlns:a16="http://schemas.microsoft.com/office/drawing/2014/main" id="{6A727EA9-FE35-1F46-9857-ACA1079F021E}"/>
                        </a:ext>
                      </a:extLst>
                    </p:cNvPr>
                    <p:cNvSpPr>
                      <a:spLocks/>
                    </p:cNvSpPr>
                    <p:nvPr/>
                  </p:nvSpPr>
                  <p:spPr bwMode="auto">
                    <a:xfrm>
                      <a:off x="9054373" y="2514042"/>
                      <a:ext cx="33763" cy="19294"/>
                    </a:xfrm>
                    <a:custGeom>
                      <a:avLst/>
                      <a:gdLst>
                        <a:gd name="T0" fmla="*/ 21 w 21"/>
                        <a:gd name="T1" fmla="*/ 11 h 12"/>
                        <a:gd name="T2" fmla="*/ 18 w 21"/>
                        <a:gd name="T3" fmla="*/ 11 h 12"/>
                        <a:gd name="T4" fmla="*/ 20 w 21"/>
                        <a:gd name="T5" fmla="*/ 12 h 12"/>
                        <a:gd name="T6" fmla="*/ 13 w 21"/>
                        <a:gd name="T7" fmla="*/ 10 h 12"/>
                        <a:gd name="T8" fmla="*/ 11 w 21"/>
                        <a:gd name="T9" fmla="*/ 10 h 12"/>
                        <a:gd name="T10" fmla="*/ 7 w 21"/>
                        <a:gd name="T11" fmla="*/ 5 h 12"/>
                        <a:gd name="T12" fmla="*/ 5 w 21"/>
                        <a:gd name="T13" fmla="*/ 6 h 12"/>
                        <a:gd name="T14" fmla="*/ 0 w 21"/>
                        <a:gd name="T15" fmla="*/ 1 h 12"/>
                        <a:gd name="T16" fmla="*/ 2 w 21"/>
                        <a:gd name="T17" fmla="*/ 1 h 12"/>
                        <a:gd name="T18" fmla="*/ 6 w 21"/>
                        <a:gd name="T19" fmla="*/ 3 h 12"/>
                        <a:gd name="T20" fmla="*/ 9 w 21"/>
                        <a:gd name="T21" fmla="*/ 0 h 12"/>
                        <a:gd name="T22" fmla="*/ 9 w 21"/>
                        <a:gd name="T23" fmla="*/ 4 h 12"/>
                        <a:gd name="T24" fmla="*/ 15 w 21"/>
                        <a:gd name="T25" fmla="*/ 4 h 12"/>
                        <a:gd name="T26" fmla="*/ 19 w 21"/>
                        <a:gd name="T27" fmla="*/ 9 h 12"/>
                        <a:gd name="T28" fmla="*/ 21 w 21"/>
                        <a:gd name="T29" fmla="*/ 11 h 12"/>
                        <a:gd name="T30" fmla="*/ 21 w 21"/>
                        <a:gd name="T31" fmla="*/ 1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12">
                          <a:moveTo>
                            <a:pt x="21" y="11"/>
                          </a:moveTo>
                          <a:lnTo>
                            <a:pt x="18" y="11"/>
                          </a:lnTo>
                          <a:lnTo>
                            <a:pt x="20" y="12"/>
                          </a:lnTo>
                          <a:lnTo>
                            <a:pt x="13" y="10"/>
                          </a:lnTo>
                          <a:lnTo>
                            <a:pt x="11" y="10"/>
                          </a:lnTo>
                          <a:lnTo>
                            <a:pt x="7" y="5"/>
                          </a:lnTo>
                          <a:lnTo>
                            <a:pt x="5" y="6"/>
                          </a:lnTo>
                          <a:lnTo>
                            <a:pt x="0" y="1"/>
                          </a:lnTo>
                          <a:lnTo>
                            <a:pt x="2" y="1"/>
                          </a:lnTo>
                          <a:lnTo>
                            <a:pt x="6" y="3"/>
                          </a:lnTo>
                          <a:lnTo>
                            <a:pt x="9" y="0"/>
                          </a:lnTo>
                          <a:lnTo>
                            <a:pt x="9" y="4"/>
                          </a:lnTo>
                          <a:lnTo>
                            <a:pt x="15" y="4"/>
                          </a:lnTo>
                          <a:lnTo>
                            <a:pt x="19" y="9"/>
                          </a:lnTo>
                          <a:lnTo>
                            <a:pt x="21" y="11"/>
                          </a:lnTo>
                          <a:lnTo>
                            <a:pt x="21" y="11"/>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27" name="Freeform 83">
                      <a:extLst>
                        <a:ext uri="{FF2B5EF4-FFF2-40B4-BE49-F238E27FC236}">
                          <a16:creationId xmlns:a16="http://schemas.microsoft.com/office/drawing/2014/main" id="{222DE32C-CB97-A848-BC5A-DCD68BEFD337}"/>
                        </a:ext>
                      </a:extLst>
                    </p:cNvPr>
                    <p:cNvSpPr>
                      <a:spLocks/>
                    </p:cNvSpPr>
                    <p:nvPr/>
                  </p:nvSpPr>
                  <p:spPr bwMode="auto">
                    <a:xfrm>
                      <a:off x="8885555" y="2404713"/>
                      <a:ext cx="25724" cy="19294"/>
                    </a:xfrm>
                    <a:custGeom>
                      <a:avLst/>
                      <a:gdLst>
                        <a:gd name="T0" fmla="*/ 6 w 16"/>
                        <a:gd name="T1" fmla="*/ 0 h 12"/>
                        <a:gd name="T2" fmla="*/ 7 w 16"/>
                        <a:gd name="T3" fmla="*/ 2 h 12"/>
                        <a:gd name="T4" fmla="*/ 10 w 16"/>
                        <a:gd name="T5" fmla="*/ 4 h 12"/>
                        <a:gd name="T6" fmla="*/ 11 w 16"/>
                        <a:gd name="T7" fmla="*/ 2 h 12"/>
                        <a:gd name="T8" fmla="*/ 12 w 16"/>
                        <a:gd name="T9" fmla="*/ 5 h 12"/>
                        <a:gd name="T10" fmla="*/ 14 w 16"/>
                        <a:gd name="T11" fmla="*/ 6 h 12"/>
                        <a:gd name="T12" fmla="*/ 16 w 16"/>
                        <a:gd name="T13" fmla="*/ 6 h 12"/>
                        <a:gd name="T14" fmla="*/ 13 w 16"/>
                        <a:gd name="T15" fmla="*/ 7 h 12"/>
                        <a:gd name="T16" fmla="*/ 12 w 16"/>
                        <a:gd name="T17" fmla="*/ 7 h 12"/>
                        <a:gd name="T18" fmla="*/ 9 w 16"/>
                        <a:gd name="T19" fmla="*/ 7 h 12"/>
                        <a:gd name="T20" fmla="*/ 9 w 16"/>
                        <a:gd name="T21" fmla="*/ 8 h 12"/>
                        <a:gd name="T22" fmla="*/ 10 w 16"/>
                        <a:gd name="T23" fmla="*/ 11 h 12"/>
                        <a:gd name="T24" fmla="*/ 7 w 16"/>
                        <a:gd name="T25" fmla="*/ 11 h 12"/>
                        <a:gd name="T26" fmla="*/ 5 w 16"/>
                        <a:gd name="T27" fmla="*/ 12 h 12"/>
                        <a:gd name="T28" fmla="*/ 3 w 16"/>
                        <a:gd name="T29" fmla="*/ 9 h 12"/>
                        <a:gd name="T30" fmla="*/ 3 w 16"/>
                        <a:gd name="T31" fmla="*/ 8 h 12"/>
                        <a:gd name="T32" fmla="*/ 3 w 16"/>
                        <a:gd name="T33" fmla="*/ 7 h 12"/>
                        <a:gd name="T34" fmla="*/ 0 w 16"/>
                        <a:gd name="T35" fmla="*/ 5 h 12"/>
                        <a:gd name="T36" fmla="*/ 5 w 16"/>
                        <a:gd name="T37" fmla="*/ 5 h 12"/>
                        <a:gd name="T38" fmla="*/ 5 w 16"/>
                        <a:gd name="T39" fmla="*/ 2 h 12"/>
                        <a:gd name="T40" fmla="*/ 6 w 16"/>
                        <a:gd name="T41" fmla="*/ 0 h 12"/>
                        <a:gd name="T42" fmla="*/ 6 w 16"/>
                        <a:gd name="T43" fmla="*/ 0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6" h="12">
                          <a:moveTo>
                            <a:pt x="6" y="0"/>
                          </a:moveTo>
                          <a:lnTo>
                            <a:pt x="7" y="2"/>
                          </a:lnTo>
                          <a:lnTo>
                            <a:pt x="10" y="4"/>
                          </a:lnTo>
                          <a:lnTo>
                            <a:pt x="11" y="2"/>
                          </a:lnTo>
                          <a:lnTo>
                            <a:pt x="12" y="5"/>
                          </a:lnTo>
                          <a:lnTo>
                            <a:pt x="14" y="6"/>
                          </a:lnTo>
                          <a:lnTo>
                            <a:pt x="16" y="6"/>
                          </a:lnTo>
                          <a:lnTo>
                            <a:pt x="13" y="7"/>
                          </a:lnTo>
                          <a:lnTo>
                            <a:pt x="12" y="7"/>
                          </a:lnTo>
                          <a:lnTo>
                            <a:pt x="9" y="7"/>
                          </a:lnTo>
                          <a:lnTo>
                            <a:pt x="9" y="8"/>
                          </a:lnTo>
                          <a:lnTo>
                            <a:pt x="10" y="11"/>
                          </a:lnTo>
                          <a:lnTo>
                            <a:pt x="7" y="11"/>
                          </a:lnTo>
                          <a:lnTo>
                            <a:pt x="5" y="12"/>
                          </a:lnTo>
                          <a:lnTo>
                            <a:pt x="3" y="9"/>
                          </a:lnTo>
                          <a:lnTo>
                            <a:pt x="3" y="8"/>
                          </a:lnTo>
                          <a:lnTo>
                            <a:pt x="3" y="7"/>
                          </a:lnTo>
                          <a:lnTo>
                            <a:pt x="0" y="5"/>
                          </a:lnTo>
                          <a:lnTo>
                            <a:pt x="5" y="5"/>
                          </a:lnTo>
                          <a:lnTo>
                            <a:pt x="5" y="2"/>
                          </a:lnTo>
                          <a:lnTo>
                            <a:pt x="6" y="0"/>
                          </a:lnTo>
                          <a:lnTo>
                            <a:pt x="6" y="0"/>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28" name="Freeform 84">
                      <a:extLst>
                        <a:ext uri="{FF2B5EF4-FFF2-40B4-BE49-F238E27FC236}">
                          <a16:creationId xmlns:a16="http://schemas.microsoft.com/office/drawing/2014/main" id="{5FD97811-0488-EB47-AC57-E0C66A03824B}"/>
                        </a:ext>
                      </a:extLst>
                    </p:cNvPr>
                    <p:cNvSpPr>
                      <a:spLocks/>
                    </p:cNvSpPr>
                    <p:nvPr/>
                  </p:nvSpPr>
                  <p:spPr bwMode="auto">
                    <a:xfrm>
                      <a:off x="8742462" y="2042961"/>
                      <a:ext cx="78781" cy="25724"/>
                    </a:xfrm>
                    <a:custGeom>
                      <a:avLst/>
                      <a:gdLst>
                        <a:gd name="T0" fmla="*/ 38 w 49"/>
                        <a:gd name="T1" fmla="*/ 4 h 16"/>
                        <a:gd name="T2" fmla="*/ 42 w 49"/>
                        <a:gd name="T3" fmla="*/ 6 h 16"/>
                        <a:gd name="T4" fmla="*/ 47 w 49"/>
                        <a:gd name="T5" fmla="*/ 6 h 16"/>
                        <a:gd name="T6" fmla="*/ 49 w 49"/>
                        <a:gd name="T7" fmla="*/ 4 h 16"/>
                        <a:gd name="T8" fmla="*/ 49 w 49"/>
                        <a:gd name="T9" fmla="*/ 9 h 16"/>
                        <a:gd name="T10" fmla="*/ 47 w 49"/>
                        <a:gd name="T11" fmla="*/ 11 h 16"/>
                        <a:gd name="T12" fmla="*/ 46 w 49"/>
                        <a:gd name="T13" fmla="*/ 12 h 16"/>
                        <a:gd name="T14" fmla="*/ 42 w 49"/>
                        <a:gd name="T15" fmla="*/ 12 h 16"/>
                        <a:gd name="T16" fmla="*/ 41 w 49"/>
                        <a:gd name="T17" fmla="*/ 15 h 16"/>
                        <a:gd name="T18" fmla="*/ 36 w 49"/>
                        <a:gd name="T19" fmla="*/ 15 h 16"/>
                        <a:gd name="T20" fmla="*/ 32 w 49"/>
                        <a:gd name="T21" fmla="*/ 15 h 16"/>
                        <a:gd name="T22" fmla="*/ 26 w 49"/>
                        <a:gd name="T23" fmla="*/ 12 h 16"/>
                        <a:gd name="T24" fmla="*/ 23 w 49"/>
                        <a:gd name="T25" fmla="*/ 15 h 16"/>
                        <a:gd name="T26" fmla="*/ 21 w 49"/>
                        <a:gd name="T27" fmla="*/ 12 h 16"/>
                        <a:gd name="T28" fmla="*/ 16 w 49"/>
                        <a:gd name="T29" fmla="*/ 13 h 16"/>
                        <a:gd name="T30" fmla="*/ 14 w 49"/>
                        <a:gd name="T31" fmla="*/ 13 h 16"/>
                        <a:gd name="T32" fmla="*/ 12 w 49"/>
                        <a:gd name="T33" fmla="*/ 12 h 16"/>
                        <a:gd name="T34" fmla="*/ 12 w 49"/>
                        <a:gd name="T35" fmla="*/ 16 h 16"/>
                        <a:gd name="T36" fmla="*/ 9 w 49"/>
                        <a:gd name="T37" fmla="*/ 16 h 16"/>
                        <a:gd name="T38" fmla="*/ 8 w 49"/>
                        <a:gd name="T39" fmla="*/ 13 h 16"/>
                        <a:gd name="T40" fmla="*/ 5 w 49"/>
                        <a:gd name="T41" fmla="*/ 13 h 16"/>
                        <a:gd name="T42" fmla="*/ 5 w 49"/>
                        <a:gd name="T43" fmla="*/ 10 h 16"/>
                        <a:gd name="T44" fmla="*/ 0 w 49"/>
                        <a:gd name="T45" fmla="*/ 12 h 16"/>
                        <a:gd name="T46" fmla="*/ 0 w 49"/>
                        <a:gd name="T47" fmla="*/ 8 h 16"/>
                        <a:gd name="T48" fmla="*/ 0 w 49"/>
                        <a:gd name="T49" fmla="*/ 5 h 16"/>
                        <a:gd name="T50" fmla="*/ 3 w 49"/>
                        <a:gd name="T51" fmla="*/ 4 h 16"/>
                        <a:gd name="T52" fmla="*/ 1 w 49"/>
                        <a:gd name="T53" fmla="*/ 2 h 16"/>
                        <a:gd name="T54" fmla="*/ 3 w 49"/>
                        <a:gd name="T55" fmla="*/ 2 h 16"/>
                        <a:gd name="T56" fmla="*/ 6 w 49"/>
                        <a:gd name="T57" fmla="*/ 0 h 16"/>
                        <a:gd name="T58" fmla="*/ 9 w 49"/>
                        <a:gd name="T59" fmla="*/ 2 h 16"/>
                        <a:gd name="T60" fmla="*/ 18 w 49"/>
                        <a:gd name="T61" fmla="*/ 2 h 16"/>
                        <a:gd name="T62" fmla="*/ 23 w 49"/>
                        <a:gd name="T63" fmla="*/ 2 h 16"/>
                        <a:gd name="T64" fmla="*/ 28 w 49"/>
                        <a:gd name="T65" fmla="*/ 2 h 16"/>
                        <a:gd name="T66" fmla="*/ 34 w 49"/>
                        <a:gd name="T67" fmla="*/ 0 h 16"/>
                        <a:gd name="T68" fmla="*/ 38 w 49"/>
                        <a:gd name="T69" fmla="*/ 4 h 16"/>
                        <a:gd name="T70" fmla="*/ 38 w 49"/>
                        <a:gd name="T71" fmla="*/ 4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9" h="16">
                          <a:moveTo>
                            <a:pt x="38" y="4"/>
                          </a:moveTo>
                          <a:lnTo>
                            <a:pt x="42" y="6"/>
                          </a:lnTo>
                          <a:lnTo>
                            <a:pt x="47" y="6"/>
                          </a:lnTo>
                          <a:lnTo>
                            <a:pt x="49" y="4"/>
                          </a:lnTo>
                          <a:lnTo>
                            <a:pt x="49" y="9"/>
                          </a:lnTo>
                          <a:lnTo>
                            <a:pt x="47" y="11"/>
                          </a:lnTo>
                          <a:lnTo>
                            <a:pt x="46" y="12"/>
                          </a:lnTo>
                          <a:lnTo>
                            <a:pt x="42" y="12"/>
                          </a:lnTo>
                          <a:lnTo>
                            <a:pt x="41" y="15"/>
                          </a:lnTo>
                          <a:lnTo>
                            <a:pt x="36" y="15"/>
                          </a:lnTo>
                          <a:lnTo>
                            <a:pt x="32" y="15"/>
                          </a:lnTo>
                          <a:lnTo>
                            <a:pt x="26" y="12"/>
                          </a:lnTo>
                          <a:lnTo>
                            <a:pt x="23" y="15"/>
                          </a:lnTo>
                          <a:lnTo>
                            <a:pt x="21" y="12"/>
                          </a:lnTo>
                          <a:lnTo>
                            <a:pt x="16" y="13"/>
                          </a:lnTo>
                          <a:lnTo>
                            <a:pt x="14" y="13"/>
                          </a:lnTo>
                          <a:lnTo>
                            <a:pt x="12" y="12"/>
                          </a:lnTo>
                          <a:lnTo>
                            <a:pt x="12" y="16"/>
                          </a:lnTo>
                          <a:lnTo>
                            <a:pt x="9" y="16"/>
                          </a:lnTo>
                          <a:lnTo>
                            <a:pt x="8" y="13"/>
                          </a:lnTo>
                          <a:lnTo>
                            <a:pt x="5" y="13"/>
                          </a:lnTo>
                          <a:lnTo>
                            <a:pt x="5" y="10"/>
                          </a:lnTo>
                          <a:lnTo>
                            <a:pt x="0" y="12"/>
                          </a:lnTo>
                          <a:lnTo>
                            <a:pt x="0" y="8"/>
                          </a:lnTo>
                          <a:lnTo>
                            <a:pt x="0" y="5"/>
                          </a:lnTo>
                          <a:lnTo>
                            <a:pt x="3" y="4"/>
                          </a:lnTo>
                          <a:lnTo>
                            <a:pt x="1" y="2"/>
                          </a:lnTo>
                          <a:lnTo>
                            <a:pt x="3" y="2"/>
                          </a:lnTo>
                          <a:lnTo>
                            <a:pt x="6" y="0"/>
                          </a:lnTo>
                          <a:lnTo>
                            <a:pt x="9" y="2"/>
                          </a:lnTo>
                          <a:lnTo>
                            <a:pt x="18" y="2"/>
                          </a:lnTo>
                          <a:lnTo>
                            <a:pt x="23" y="2"/>
                          </a:lnTo>
                          <a:lnTo>
                            <a:pt x="28" y="2"/>
                          </a:lnTo>
                          <a:lnTo>
                            <a:pt x="34" y="0"/>
                          </a:lnTo>
                          <a:lnTo>
                            <a:pt x="38" y="4"/>
                          </a:lnTo>
                          <a:lnTo>
                            <a:pt x="38" y="4"/>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29" name="Freeform 85">
                      <a:extLst>
                        <a:ext uri="{FF2B5EF4-FFF2-40B4-BE49-F238E27FC236}">
                          <a16:creationId xmlns:a16="http://schemas.microsoft.com/office/drawing/2014/main" id="{B69F307D-3AE4-6A45-A898-39F75F0EB90A}"/>
                        </a:ext>
                      </a:extLst>
                    </p:cNvPr>
                    <p:cNvSpPr>
                      <a:spLocks/>
                    </p:cNvSpPr>
                    <p:nvPr/>
                  </p:nvSpPr>
                  <p:spPr bwMode="auto">
                    <a:xfrm>
                      <a:off x="8567213" y="2084764"/>
                      <a:ext cx="40195" cy="16077"/>
                    </a:xfrm>
                    <a:custGeom>
                      <a:avLst/>
                      <a:gdLst>
                        <a:gd name="T0" fmla="*/ 9 w 25"/>
                        <a:gd name="T1" fmla="*/ 4 h 10"/>
                        <a:gd name="T2" fmla="*/ 14 w 25"/>
                        <a:gd name="T3" fmla="*/ 2 h 10"/>
                        <a:gd name="T4" fmla="*/ 20 w 25"/>
                        <a:gd name="T5" fmla="*/ 3 h 10"/>
                        <a:gd name="T6" fmla="*/ 25 w 25"/>
                        <a:gd name="T7" fmla="*/ 5 h 10"/>
                        <a:gd name="T8" fmla="*/ 24 w 25"/>
                        <a:gd name="T9" fmla="*/ 9 h 10"/>
                        <a:gd name="T10" fmla="*/ 21 w 25"/>
                        <a:gd name="T11" fmla="*/ 10 h 10"/>
                        <a:gd name="T12" fmla="*/ 9 w 25"/>
                        <a:gd name="T13" fmla="*/ 7 h 10"/>
                        <a:gd name="T14" fmla="*/ 3 w 25"/>
                        <a:gd name="T15" fmla="*/ 6 h 10"/>
                        <a:gd name="T16" fmla="*/ 0 w 25"/>
                        <a:gd name="T17" fmla="*/ 3 h 10"/>
                        <a:gd name="T18" fmla="*/ 3 w 25"/>
                        <a:gd name="T19" fmla="*/ 0 h 10"/>
                        <a:gd name="T20" fmla="*/ 9 w 25"/>
                        <a:gd name="T21" fmla="*/ 4 h 10"/>
                        <a:gd name="T22" fmla="*/ 9 w 25"/>
                        <a:gd name="T23" fmla="*/ 4 h 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5" h="10">
                          <a:moveTo>
                            <a:pt x="9" y="4"/>
                          </a:moveTo>
                          <a:lnTo>
                            <a:pt x="14" y="2"/>
                          </a:lnTo>
                          <a:lnTo>
                            <a:pt x="20" y="3"/>
                          </a:lnTo>
                          <a:lnTo>
                            <a:pt x="25" y="5"/>
                          </a:lnTo>
                          <a:lnTo>
                            <a:pt x="24" y="9"/>
                          </a:lnTo>
                          <a:lnTo>
                            <a:pt x="21" y="10"/>
                          </a:lnTo>
                          <a:lnTo>
                            <a:pt x="9" y="7"/>
                          </a:lnTo>
                          <a:lnTo>
                            <a:pt x="3" y="6"/>
                          </a:lnTo>
                          <a:lnTo>
                            <a:pt x="0" y="3"/>
                          </a:lnTo>
                          <a:lnTo>
                            <a:pt x="3" y="0"/>
                          </a:lnTo>
                          <a:lnTo>
                            <a:pt x="9" y="4"/>
                          </a:lnTo>
                          <a:lnTo>
                            <a:pt x="9" y="4"/>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30" name="Freeform 86">
                      <a:extLst>
                        <a:ext uri="{FF2B5EF4-FFF2-40B4-BE49-F238E27FC236}">
                          <a16:creationId xmlns:a16="http://schemas.microsoft.com/office/drawing/2014/main" id="{0A679BFF-7061-9D46-9923-427C5BAAC675}"/>
                        </a:ext>
                      </a:extLst>
                    </p:cNvPr>
                    <p:cNvSpPr>
                      <a:spLocks/>
                    </p:cNvSpPr>
                    <p:nvPr/>
                  </p:nvSpPr>
                  <p:spPr bwMode="auto">
                    <a:xfrm>
                      <a:off x="7779398" y="1920769"/>
                      <a:ext cx="107722" cy="28941"/>
                    </a:xfrm>
                    <a:custGeom>
                      <a:avLst/>
                      <a:gdLst>
                        <a:gd name="T0" fmla="*/ 38 w 67"/>
                        <a:gd name="T1" fmla="*/ 14 h 18"/>
                        <a:gd name="T2" fmla="*/ 33 w 67"/>
                        <a:gd name="T3" fmla="*/ 12 h 18"/>
                        <a:gd name="T4" fmla="*/ 32 w 67"/>
                        <a:gd name="T5" fmla="*/ 8 h 18"/>
                        <a:gd name="T6" fmla="*/ 26 w 67"/>
                        <a:gd name="T7" fmla="*/ 7 h 18"/>
                        <a:gd name="T8" fmla="*/ 0 w 67"/>
                        <a:gd name="T9" fmla="*/ 1 h 18"/>
                        <a:gd name="T10" fmla="*/ 4 w 67"/>
                        <a:gd name="T11" fmla="*/ 0 h 18"/>
                        <a:gd name="T12" fmla="*/ 12 w 67"/>
                        <a:gd name="T13" fmla="*/ 0 h 18"/>
                        <a:gd name="T14" fmla="*/ 18 w 67"/>
                        <a:gd name="T15" fmla="*/ 0 h 18"/>
                        <a:gd name="T16" fmla="*/ 20 w 67"/>
                        <a:gd name="T17" fmla="*/ 2 h 18"/>
                        <a:gd name="T18" fmla="*/ 29 w 67"/>
                        <a:gd name="T19" fmla="*/ 2 h 18"/>
                        <a:gd name="T20" fmla="*/ 31 w 67"/>
                        <a:gd name="T21" fmla="*/ 4 h 18"/>
                        <a:gd name="T22" fmla="*/ 38 w 67"/>
                        <a:gd name="T23" fmla="*/ 5 h 18"/>
                        <a:gd name="T24" fmla="*/ 44 w 67"/>
                        <a:gd name="T25" fmla="*/ 4 h 18"/>
                        <a:gd name="T26" fmla="*/ 45 w 67"/>
                        <a:gd name="T27" fmla="*/ 6 h 18"/>
                        <a:gd name="T28" fmla="*/ 50 w 67"/>
                        <a:gd name="T29" fmla="*/ 7 h 18"/>
                        <a:gd name="T30" fmla="*/ 53 w 67"/>
                        <a:gd name="T31" fmla="*/ 6 h 18"/>
                        <a:gd name="T32" fmla="*/ 61 w 67"/>
                        <a:gd name="T33" fmla="*/ 8 h 18"/>
                        <a:gd name="T34" fmla="*/ 65 w 67"/>
                        <a:gd name="T35" fmla="*/ 11 h 18"/>
                        <a:gd name="T36" fmla="*/ 64 w 67"/>
                        <a:gd name="T37" fmla="*/ 12 h 18"/>
                        <a:gd name="T38" fmla="*/ 59 w 67"/>
                        <a:gd name="T39" fmla="*/ 12 h 18"/>
                        <a:gd name="T40" fmla="*/ 59 w 67"/>
                        <a:gd name="T41" fmla="*/ 13 h 18"/>
                        <a:gd name="T42" fmla="*/ 67 w 67"/>
                        <a:gd name="T43" fmla="*/ 13 h 18"/>
                        <a:gd name="T44" fmla="*/ 66 w 67"/>
                        <a:gd name="T45" fmla="*/ 15 h 18"/>
                        <a:gd name="T46" fmla="*/ 61 w 67"/>
                        <a:gd name="T47" fmla="*/ 18 h 18"/>
                        <a:gd name="T48" fmla="*/ 59 w 67"/>
                        <a:gd name="T49" fmla="*/ 18 h 18"/>
                        <a:gd name="T50" fmla="*/ 43 w 67"/>
                        <a:gd name="T51" fmla="*/ 15 h 18"/>
                        <a:gd name="T52" fmla="*/ 38 w 67"/>
                        <a:gd name="T53" fmla="*/ 14 h 18"/>
                        <a:gd name="T54" fmla="*/ 38 w 67"/>
                        <a:gd name="T55" fmla="*/ 14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7" h="18">
                          <a:moveTo>
                            <a:pt x="38" y="14"/>
                          </a:moveTo>
                          <a:lnTo>
                            <a:pt x="33" y="12"/>
                          </a:lnTo>
                          <a:lnTo>
                            <a:pt x="32" y="8"/>
                          </a:lnTo>
                          <a:lnTo>
                            <a:pt x="26" y="7"/>
                          </a:lnTo>
                          <a:lnTo>
                            <a:pt x="0" y="1"/>
                          </a:lnTo>
                          <a:lnTo>
                            <a:pt x="4" y="0"/>
                          </a:lnTo>
                          <a:lnTo>
                            <a:pt x="12" y="0"/>
                          </a:lnTo>
                          <a:lnTo>
                            <a:pt x="18" y="0"/>
                          </a:lnTo>
                          <a:lnTo>
                            <a:pt x="20" y="2"/>
                          </a:lnTo>
                          <a:lnTo>
                            <a:pt x="29" y="2"/>
                          </a:lnTo>
                          <a:lnTo>
                            <a:pt x="31" y="4"/>
                          </a:lnTo>
                          <a:lnTo>
                            <a:pt x="38" y="5"/>
                          </a:lnTo>
                          <a:lnTo>
                            <a:pt x="44" y="4"/>
                          </a:lnTo>
                          <a:lnTo>
                            <a:pt x="45" y="6"/>
                          </a:lnTo>
                          <a:lnTo>
                            <a:pt x="50" y="7"/>
                          </a:lnTo>
                          <a:lnTo>
                            <a:pt x="53" y="6"/>
                          </a:lnTo>
                          <a:lnTo>
                            <a:pt x="61" y="8"/>
                          </a:lnTo>
                          <a:lnTo>
                            <a:pt x="65" y="11"/>
                          </a:lnTo>
                          <a:lnTo>
                            <a:pt x="64" y="12"/>
                          </a:lnTo>
                          <a:lnTo>
                            <a:pt x="59" y="12"/>
                          </a:lnTo>
                          <a:lnTo>
                            <a:pt x="59" y="13"/>
                          </a:lnTo>
                          <a:lnTo>
                            <a:pt x="67" y="13"/>
                          </a:lnTo>
                          <a:lnTo>
                            <a:pt x="66" y="15"/>
                          </a:lnTo>
                          <a:lnTo>
                            <a:pt x="61" y="18"/>
                          </a:lnTo>
                          <a:lnTo>
                            <a:pt x="59" y="18"/>
                          </a:lnTo>
                          <a:lnTo>
                            <a:pt x="43" y="15"/>
                          </a:lnTo>
                          <a:lnTo>
                            <a:pt x="38" y="14"/>
                          </a:lnTo>
                          <a:lnTo>
                            <a:pt x="38" y="14"/>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31" name="Freeform 87">
                      <a:extLst>
                        <a:ext uri="{FF2B5EF4-FFF2-40B4-BE49-F238E27FC236}">
                          <a16:creationId xmlns:a16="http://schemas.microsoft.com/office/drawing/2014/main" id="{C81F4118-1022-7B46-B4FD-D8FD2F354FD9}"/>
                        </a:ext>
                      </a:extLst>
                    </p:cNvPr>
                    <p:cNvSpPr>
                      <a:spLocks/>
                    </p:cNvSpPr>
                    <p:nvPr/>
                  </p:nvSpPr>
                  <p:spPr bwMode="auto">
                    <a:xfrm>
                      <a:off x="7711870" y="1919162"/>
                      <a:ext cx="160779" cy="41803"/>
                    </a:xfrm>
                    <a:custGeom>
                      <a:avLst/>
                      <a:gdLst>
                        <a:gd name="T0" fmla="*/ 55 w 100"/>
                        <a:gd name="T1" fmla="*/ 26 h 26"/>
                        <a:gd name="T2" fmla="*/ 52 w 100"/>
                        <a:gd name="T3" fmla="*/ 26 h 26"/>
                        <a:gd name="T4" fmla="*/ 49 w 100"/>
                        <a:gd name="T5" fmla="*/ 25 h 26"/>
                        <a:gd name="T6" fmla="*/ 46 w 100"/>
                        <a:gd name="T7" fmla="*/ 25 h 26"/>
                        <a:gd name="T8" fmla="*/ 45 w 100"/>
                        <a:gd name="T9" fmla="*/ 25 h 26"/>
                        <a:gd name="T10" fmla="*/ 40 w 100"/>
                        <a:gd name="T11" fmla="*/ 25 h 26"/>
                        <a:gd name="T12" fmla="*/ 41 w 100"/>
                        <a:gd name="T13" fmla="*/ 25 h 26"/>
                        <a:gd name="T14" fmla="*/ 36 w 100"/>
                        <a:gd name="T15" fmla="*/ 23 h 26"/>
                        <a:gd name="T16" fmla="*/ 29 w 100"/>
                        <a:gd name="T17" fmla="*/ 21 h 26"/>
                        <a:gd name="T18" fmla="*/ 31 w 100"/>
                        <a:gd name="T19" fmla="*/ 21 h 26"/>
                        <a:gd name="T20" fmla="*/ 29 w 100"/>
                        <a:gd name="T21" fmla="*/ 19 h 26"/>
                        <a:gd name="T22" fmla="*/ 25 w 100"/>
                        <a:gd name="T23" fmla="*/ 19 h 26"/>
                        <a:gd name="T24" fmla="*/ 21 w 100"/>
                        <a:gd name="T25" fmla="*/ 20 h 26"/>
                        <a:gd name="T26" fmla="*/ 20 w 100"/>
                        <a:gd name="T27" fmla="*/ 17 h 26"/>
                        <a:gd name="T28" fmla="*/ 20 w 100"/>
                        <a:gd name="T29" fmla="*/ 17 h 26"/>
                        <a:gd name="T30" fmla="*/ 14 w 100"/>
                        <a:gd name="T31" fmla="*/ 17 h 26"/>
                        <a:gd name="T32" fmla="*/ 11 w 100"/>
                        <a:gd name="T33" fmla="*/ 14 h 26"/>
                        <a:gd name="T34" fmla="*/ 33 w 100"/>
                        <a:gd name="T35" fmla="*/ 15 h 26"/>
                        <a:gd name="T36" fmla="*/ 11 w 100"/>
                        <a:gd name="T37" fmla="*/ 13 h 26"/>
                        <a:gd name="T38" fmla="*/ 7 w 100"/>
                        <a:gd name="T39" fmla="*/ 12 h 26"/>
                        <a:gd name="T40" fmla="*/ 8 w 100"/>
                        <a:gd name="T41" fmla="*/ 9 h 26"/>
                        <a:gd name="T42" fmla="*/ 3 w 100"/>
                        <a:gd name="T43" fmla="*/ 9 h 26"/>
                        <a:gd name="T44" fmla="*/ 0 w 100"/>
                        <a:gd name="T45" fmla="*/ 6 h 26"/>
                        <a:gd name="T46" fmla="*/ 3 w 100"/>
                        <a:gd name="T47" fmla="*/ 5 h 26"/>
                        <a:gd name="T48" fmla="*/ 2 w 100"/>
                        <a:gd name="T49" fmla="*/ 1 h 26"/>
                        <a:gd name="T50" fmla="*/ 7 w 100"/>
                        <a:gd name="T51" fmla="*/ 0 h 26"/>
                        <a:gd name="T52" fmla="*/ 8 w 100"/>
                        <a:gd name="T53" fmla="*/ 2 h 26"/>
                        <a:gd name="T54" fmla="*/ 13 w 100"/>
                        <a:gd name="T55" fmla="*/ 1 h 26"/>
                        <a:gd name="T56" fmla="*/ 16 w 100"/>
                        <a:gd name="T57" fmla="*/ 2 h 26"/>
                        <a:gd name="T58" fmla="*/ 20 w 100"/>
                        <a:gd name="T59" fmla="*/ 1 h 26"/>
                        <a:gd name="T60" fmla="*/ 22 w 100"/>
                        <a:gd name="T61" fmla="*/ 1 h 26"/>
                        <a:gd name="T62" fmla="*/ 27 w 100"/>
                        <a:gd name="T63" fmla="*/ 5 h 26"/>
                        <a:gd name="T64" fmla="*/ 34 w 100"/>
                        <a:gd name="T65" fmla="*/ 5 h 26"/>
                        <a:gd name="T66" fmla="*/ 38 w 100"/>
                        <a:gd name="T67" fmla="*/ 3 h 26"/>
                        <a:gd name="T68" fmla="*/ 39 w 100"/>
                        <a:gd name="T69" fmla="*/ 5 h 26"/>
                        <a:gd name="T70" fmla="*/ 39 w 100"/>
                        <a:gd name="T71" fmla="*/ 5 h 26"/>
                        <a:gd name="T72" fmla="*/ 46 w 100"/>
                        <a:gd name="T73" fmla="*/ 12 h 26"/>
                        <a:gd name="T74" fmla="*/ 41 w 100"/>
                        <a:gd name="T75" fmla="*/ 6 h 26"/>
                        <a:gd name="T76" fmla="*/ 42 w 100"/>
                        <a:gd name="T77" fmla="*/ 5 h 26"/>
                        <a:gd name="T78" fmla="*/ 42 w 100"/>
                        <a:gd name="T79" fmla="*/ 3 h 26"/>
                        <a:gd name="T80" fmla="*/ 54 w 100"/>
                        <a:gd name="T81" fmla="*/ 6 h 26"/>
                        <a:gd name="T82" fmla="*/ 69 w 100"/>
                        <a:gd name="T83" fmla="*/ 9 h 26"/>
                        <a:gd name="T84" fmla="*/ 73 w 100"/>
                        <a:gd name="T85" fmla="*/ 15 h 26"/>
                        <a:gd name="T86" fmla="*/ 81 w 100"/>
                        <a:gd name="T87" fmla="*/ 17 h 26"/>
                        <a:gd name="T88" fmla="*/ 85 w 100"/>
                        <a:gd name="T89" fmla="*/ 20 h 26"/>
                        <a:gd name="T90" fmla="*/ 92 w 100"/>
                        <a:gd name="T91" fmla="*/ 20 h 26"/>
                        <a:gd name="T92" fmla="*/ 98 w 100"/>
                        <a:gd name="T93" fmla="*/ 20 h 26"/>
                        <a:gd name="T94" fmla="*/ 100 w 100"/>
                        <a:gd name="T95" fmla="*/ 19 h 26"/>
                        <a:gd name="T96" fmla="*/ 100 w 100"/>
                        <a:gd name="T97" fmla="*/ 22 h 26"/>
                        <a:gd name="T98" fmla="*/ 85 w 100"/>
                        <a:gd name="T99" fmla="*/ 21 h 26"/>
                        <a:gd name="T100" fmla="*/ 82 w 100"/>
                        <a:gd name="T101" fmla="*/ 22 h 26"/>
                        <a:gd name="T102" fmla="*/ 80 w 100"/>
                        <a:gd name="T103" fmla="*/ 21 h 26"/>
                        <a:gd name="T104" fmla="*/ 72 w 100"/>
                        <a:gd name="T105" fmla="*/ 21 h 26"/>
                        <a:gd name="T106" fmla="*/ 66 w 100"/>
                        <a:gd name="T107" fmla="*/ 22 h 26"/>
                        <a:gd name="T108" fmla="*/ 62 w 100"/>
                        <a:gd name="T109" fmla="*/ 21 h 26"/>
                        <a:gd name="T110" fmla="*/ 59 w 100"/>
                        <a:gd name="T111" fmla="*/ 23 h 26"/>
                        <a:gd name="T112" fmla="*/ 49 w 100"/>
                        <a:gd name="T113" fmla="*/ 21 h 26"/>
                        <a:gd name="T114" fmla="*/ 55 w 100"/>
                        <a:gd name="T115" fmla="*/ 26 h 26"/>
                        <a:gd name="T116" fmla="*/ 55 w 100"/>
                        <a:gd name="T117" fmla="*/ 26 h 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100" h="26">
                          <a:moveTo>
                            <a:pt x="55" y="26"/>
                          </a:moveTo>
                          <a:lnTo>
                            <a:pt x="52" y="26"/>
                          </a:lnTo>
                          <a:lnTo>
                            <a:pt x="49" y="25"/>
                          </a:lnTo>
                          <a:lnTo>
                            <a:pt x="46" y="25"/>
                          </a:lnTo>
                          <a:lnTo>
                            <a:pt x="45" y="25"/>
                          </a:lnTo>
                          <a:lnTo>
                            <a:pt x="40" y="25"/>
                          </a:lnTo>
                          <a:lnTo>
                            <a:pt x="41" y="25"/>
                          </a:lnTo>
                          <a:lnTo>
                            <a:pt x="36" y="23"/>
                          </a:lnTo>
                          <a:lnTo>
                            <a:pt x="29" y="21"/>
                          </a:lnTo>
                          <a:lnTo>
                            <a:pt x="31" y="21"/>
                          </a:lnTo>
                          <a:lnTo>
                            <a:pt x="29" y="19"/>
                          </a:lnTo>
                          <a:lnTo>
                            <a:pt x="25" y="19"/>
                          </a:lnTo>
                          <a:lnTo>
                            <a:pt x="21" y="20"/>
                          </a:lnTo>
                          <a:lnTo>
                            <a:pt x="20" y="17"/>
                          </a:lnTo>
                          <a:lnTo>
                            <a:pt x="20" y="17"/>
                          </a:lnTo>
                          <a:lnTo>
                            <a:pt x="14" y="17"/>
                          </a:lnTo>
                          <a:lnTo>
                            <a:pt x="11" y="14"/>
                          </a:lnTo>
                          <a:lnTo>
                            <a:pt x="33" y="15"/>
                          </a:lnTo>
                          <a:lnTo>
                            <a:pt x="11" y="13"/>
                          </a:lnTo>
                          <a:lnTo>
                            <a:pt x="7" y="12"/>
                          </a:lnTo>
                          <a:lnTo>
                            <a:pt x="8" y="9"/>
                          </a:lnTo>
                          <a:lnTo>
                            <a:pt x="3" y="9"/>
                          </a:lnTo>
                          <a:lnTo>
                            <a:pt x="0" y="6"/>
                          </a:lnTo>
                          <a:lnTo>
                            <a:pt x="3" y="5"/>
                          </a:lnTo>
                          <a:lnTo>
                            <a:pt x="2" y="1"/>
                          </a:lnTo>
                          <a:lnTo>
                            <a:pt x="7" y="0"/>
                          </a:lnTo>
                          <a:lnTo>
                            <a:pt x="8" y="2"/>
                          </a:lnTo>
                          <a:lnTo>
                            <a:pt x="13" y="1"/>
                          </a:lnTo>
                          <a:lnTo>
                            <a:pt x="16" y="2"/>
                          </a:lnTo>
                          <a:lnTo>
                            <a:pt x="20" y="1"/>
                          </a:lnTo>
                          <a:lnTo>
                            <a:pt x="22" y="1"/>
                          </a:lnTo>
                          <a:lnTo>
                            <a:pt x="27" y="5"/>
                          </a:lnTo>
                          <a:lnTo>
                            <a:pt x="34" y="5"/>
                          </a:lnTo>
                          <a:lnTo>
                            <a:pt x="38" y="3"/>
                          </a:lnTo>
                          <a:lnTo>
                            <a:pt x="39" y="5"/>
                          </a:lnTo>
                          <a:lnTo>
                            <a:pt x="39" y="5"/>
                          </a:lnTo>
                          <a:lnTo>
                            <a:pt x="46" y="12"/>
                          </a:lnTo>
                          <a:lnTo>
                            <a:pt x="41" y="6"/>
                          </a:lnTo>
                          <a:lnTo>
                            <a:pt x="42" y="5"/>
                          </a:lnTo>
                          <a:lnTo>
                            <a:pt x="42" y="3"/>
                          </a:lnTo>
                          <a:lnTo>
                            <a:pt x="54" y="6"/>
                          </a:lnTo>
                          <a:lnTo>
                            <a:pt x="69" y="9"/>
                          </a:lnTo>
                          <a:lnTo>
                            <a:pt x="73" y="15"/>
                          </a:lnTo>
                          <a:lnTo>
                            <a:pt x="81" y="17"/>
                          </a:lnTo>
                          <a:lnTo>
                            <a:pt x="85" y="20"/>
                          </a:lnTo>
                          <a:lnTo>
                            <a:pt x="92" y="20"/>
                          </a:lnTo>
                          <a:lnTo>
                            <a:pt x="98" y="20"/>
                          </a:lnTo>
                          <a:lnTo>
                            <a:pt x="100" y="19"/>
                          </a:lnTo>
                          <a:lnTo>
                            <a:pt x="100" y="22"/>
                          </a:lnTo>
                          <a:lnTo>
                            <a:pt x="85" y="21"/>
                          </a:lnTo>
                          <a:lnTo>
                            <a:pt x="82" y="22"/>
                          </a:lnTo>
                          <a:lnTo>
                            <a:pt x="80" y="21"/>
                          </a:lnTo>
                          <a:lnTo>
                            <a:pt x="72" y="21"/>
                          </a:lnTo>
                          <a:lnTo>
                            <a:pt x="66" y="22"/>
                          </a:lnTo>
                          <a:lnTo>
                            <a:pt x="62" y="21"/>
                          </a:lnTo>
                          <a:lnTo>
                            <a:pt x="59" y="23"/>
                          </a:lnTo>
                          <a:lnTo>
                            <a:pt x="49" y="21"/>
                          </a:lnTo>
                          <a:lnTo>
                            <a:pt x="55" y="26"/>
                          </a:lnTo>
                          <a:lnTo>
                            <a:pt x="55" y="26"/>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32" name="Freeform 88">
                      <a:extLst>
                        <a:ext uri="{FF2B5EF4-FFF2-40B4-BE49-F238E27FC236}">
                          <a16:creationId xmlns:a16="http://schemas.microsoft.com/office/drawing/2014/main" id="{C145D4E8-3100-8B47-997A-45B7F9BA2EF6}"/>
                        </a:ext>
                      </a:extLst>
                    </p:cNvPr>
                    <p:cNvSpPr>
                      <a:spLocks/>
                    </p:cNvSpPr>
                    <p:nvPr/>
                  </p:nvSpPr>
                  <p:spPr bwMode="auto">
                    <a:xfrm>
                      <a:off x="7832454" y="1967395"/>
                      <a:ext cx="22509" cy="8039"/>
                    </a:xfrm>
                    <a:custGeom>
                      <a:avLst/>
                      <a:gdLst>
                        <a:gd name="T0" fmla="*/ 11 w 14"/>
                        <a:gd name="T1" fmla="*/ 3 h 5"/>
                        <a:gd name="T2" fmla="*/ 14 w 14"/>
                        <a:gd name="T3" fmla="*/ 3 h 5"/>
                        <a:gd name="T4" fmla="*/ 13 w 14"/>
                        <a:gd name="T5" fmla="*/ 4 h 5"/>
                        <a:gd name="T6" fmla="*/ 11 w 14"/>
                        <a:gd name="T7" fmla="*/ 5 h 5"/>
                        <a:gd name="T8" fmla="*/ 10 w 14"/>
                        <a:gd name="T9" fmla="*/ 5 h 5"/>
                        <a:gd name="T10" fmla="*/ 5 w 14"/>
                        <a:gd name="T11" fmla="*/ 5 h 5"/>
                        <a:gd name="T12" fmla="*/ 0 w 14"/>
                        <a:gd name="T13" fmla="*/ 3 h 5"/>
                        <a:gd name="T14" fmla="*/ 3 w 14"/>
                        <a:gd name="T15" fmla="*/ 0 h 5"/>
                        <a:gd name="T16" fmla="*/ 4 w 14"/>
                        <a:gd name="T17" fmla="*/ 0 h 5"/>
                        <a:gd name="T18" fmla="*/ 7 w 14"/>
                        <a:gd name="T19" fmla="*/ 0 h 5"/>
                        <a:gd name="T20" fmla="*/ 8 w 14"/>
                        <a:gd name="T21" fmla="*/ 0 h 5"/>
                        <a:gd name="T22" fmla="*/ 11 w 14"/>
                        <a:gd name="T23" fmla="*/ 3 h 5"/>
                        <a:gd name="T24" fmla="*/ 11 w 14"/>
                        <a:gd name="T25" fmla="*/ 3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4" h="5">
                          <a:moveTo>
                            <a:pt x="11" y="3"/>
                          </a:moveTo>
                          <a:lnTo>
                            <a:pt x="14" y="3"/>
                          </a:lnTo>
                          <a:lnTo>
                            <a:pt x="13" y="4"/>
                          </a:lnTo>
                          <a:lnTo>
                            <a:pt x="11" y="5"/>
                          </a:lnTo>
                          <a:lnTo>
                            <a:pt x="10" y="5"/>
                          </a:lnTo>
                          <a:lnTo>
                            <a:pt x="5" y="5"/>
                          </a:lnTo>
                          <a:lnTo>
                            <a:pt x="0" y="3"/>
                          </a:lnTo>
                          <a:lnTo>
                            <a:pt x="3" y="0"/>
                          </a:lnTo>
                          <a:lnTo>
                            <a:pt x="4" y="0"/>
                          </a:lnTo>
                          <a:lnTo>
                            <a:pt x="7" y="0"/>
                          </a:lnTo>
                          <a:lnTo>
                            <a:pt x="8" y="0"/>
                          </a:lnTo>
                          <a:lnTo>
                            <a:pt x="11" y="3"/>
                          </a:lnTo>
                          <a:lnTo>
                            <a:pt x="11" y="3"/>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33" name="Freeform 89">
                      <a:extLst>
                        <a:ext uri="{FF2B5EF4-FFF2-40B4-BE49-F238E27FC236}">
                          <a16:creationId xmlns:a16="http://schemas.microsoft.com/office/drawing/2014/main" id="{0DB4D172-B0F4-6E45-8089-27C02254CDDA}"/>
                        </a:ext>
                      </a:extLst>
                    </p:cNvPr>
                    <p:cNvSpPr>
                      <a:spLocks/>
                    </p:cNvSpPr>
                    <p:nvPr/>
                  </p:nvSpPr>
                  <p:spPr bwMode="auto">
                    <a:xfrm>
                      <a:off x="7854964" y="1975434"/>
                      <a:ext cx="80389" cy="22509"/>
                    </a:xfrm>
                    <a:custGeom>
                      <a:avLst/>
                      <a:gdLst>
                        <a:gd name="T0" fmla="*/ 40 w 50"/>
                        <a:gd name="T1" fmla="*/ 13 h 14"/>
                        <a:gd name="T2" fmla="*/ 36 w 50"/>
                        <a:gd name="T3" fmla="*/ 13 h 14"/>
                        <a:gd name="T4" fmla="*/ 31 w 50"/>
                        <a:gd name="T5" fmla="*/ 13 h 14"/>
                        <a:gd name="T6" fmla="*/ 31 w 50"/>
                        <a:gd name="T7" fmla="*/ 13 h 14"/>
                        <a:gd name="T8" fmla="*/ 26 w 50"/>
                        <a:gd name="T9" fmla="*/ 14 h 14"/>
                        <a:gd name="T10" fmla="*/ 26 w 50"/>
                        <a:gd name="T11" fmla="*/ 13 h 14"/>
                        <a:gd name="T12" fmla="*/ 24 w 50"/>
                        <a:gd name="T13" fmla="*/ 12 h 14"/>
                        <a:gd name="T14" fmla="*/ 23 w 50"/>
                        <a:gd name="T15" fmla="*/ 12 h 14"/>
                        <a:gd name="T16" fmla="*/ 16 w 50"/>
                        <a:gd name="T17" fmla="*/ 11 h 14"/>
                        <a:gd name="T18" fmla="*/ 6 w 50"/>
                        <a:gd name="T19" fmla="*/ 11 h 14"/>
                        <a:gd name="T20" fmla="*/ 5 w 50"/>
                        <a:gd name="T21" fmla="*/ 10 h 14"/>
                        <a:gd name="T22" fmla="*/ 3 w 50"/>
                        <a:gd name="T23" fmla="*/ 10 h 14"/>
                        <a:gd name="T24" fmla="*/ 0 w 50"/>
                        <a:gd name="T25" fmla="*/ 11 h 14"/>
                        <a:gd name="T26" fmla="*/ 5 w 50"/>
                        <a:gd name="T27" fmla="*/ 8 h 14"/>
                        <a:gd name="T28" fmla="*/ 4 w 50"/>
                        <a:gd name="T29" fmla="*/ 6 h 14"/>
                        <a:gd name="T30" fmla="*/ 4 w 50"/>
                        <a:gd name="T31" fmla="*/ 4 h 14"/>
                        <a:gd name="T32" fmla="*/ 9 w 50"/>
                        <a:gd name="T33" fmla="*/ 2 h 14"/>
                        <a:gd name="T34" fmla="*/ 10 w 50"/>
                        <a:gd name="T35" fmla="*/ 2 h 14"/>
                        <a:gd name="T36" fmla="*/ 13 w 50"/>
                        <a:gd name="T37" fmla="*/ 0 h 14"/>
                        <a:gd name="T38" fmla="*/ 14 w 50"/>
                        <a:gd name="T39" fmla="*/ 2 h 14"/>
                        <a:gd name="T40" fmla="*/ 17 w 50"/>
                        <a:gd name="T41" fmla="*/ 0 h 14"/>
                        <a:gd name="T42" fmla="*/ 19 w 50"/>
                        <a:gd name="T43" fmla="*/ 2 h 14"/>
                        <a:gd name="T44" fmla="*/ 25 w 50"/>
                        <a:gd name="T45" fmla="*/ 4 h 14"/>
                        <a:gd name="T46" fmla="*/ 27 w 50"/>
                        <a:gd name="T47" fmla="*/ 7 h 14"/>
                        <a:gd name="T48" fmla="*/ 31 w 50"/>
                        <a:gd name="T49" fmla="*/ 4 h 14"/>
                        <a:gd name="T50" fmla="*/ 33 w 50"/>
                        <a:gd name="T51" fmla="*/ 5 h 14"/>
                        <a:gd name="T52" fmla="*/ 39 w 50"/>
                        <a:gd name="T53" fmla="*/ 6 h 14"/>
                        <a:gd name="T54" fmla="*/ 43 w 50"/>
                        <a:gd name="T55" fmla="*/ 7 h 14"/>
                        <a:gd name="T56" fmla="*/ 47 w 50"/>
                        <a:gd name="T57" fmla="*/ 7 h 14"/>
                        <a:gd name="T58" fmla="*/ 49 w 50"/>
                        <a:gd name="T59" fmla="*/ 12 h 14"/>
                        <a:gd name="T60" fmla="*/ 50 w 50"/>
                        <a:gd name="T61" fmla="*/ 13 h 14"/>
                        <a:gd name="T62" fmla="*/ 47 w 50"/>
                        <a:gd name="T63" fmla="*/ 14 h 14"/>
                        <a:gd name="T64" fmla="*/ 43 w 50"/>
                        <a:gd name="T65" fmla="*/ 13 h 14"/>
                        <a:gd name="T66" fmla="*/ 40 w 50"/>
                        <a:gd name="T67" fmla="*/ 13 h 14"/>
                        <a:gd name="T68" fmla="*/ 40 w 50"/>
                        <a:gd name="T69" fmla="*/ 13 h 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50" h="14">
                          <a:moveTo>
                            <a:pt x="40" y="13"/>
                          </a:moveTo>
                          <a:lnTo>
                            <a:pt x="36" y="13"/>
                          </a:lnTo>
                          <a:lnTo>
                            <a:pt x="31" y="13"/>
                          </a:lnTo>
                          <a:lnTo>
                            <a:pt x="31" y="13"/>
                          </a:lnTo>
                          <a:lnTo>
                            <a:pt x="26" y="14"/>
                          </a:lnTo>
                          <a:lnTo>
                            <a:pt x="26" y="13"/>
                          </a:lnTo>
                          <a:lnTo>
                            <a:pt x="24" y="12"/>
                          </a:lnTo>
                          <a:lnTo>
                            <a:pt x="23" y="12"/>
                          </a:lnTo>
                          <a:lnTo>
                            <a:pt x="16" y="11"/>
                          </a:lnTo>
                          <a:lnTo>
                            <a:pt x="6" y="11"/>
                          </a:lnTo>
                          <a:lnTo>
                            <a:pt x="5" y="10"/>
                          </a:lnTo>
                          <a:lnTo>
                            <a:pt x="3" y="10"/>
                          </a:lnTo>
                          <a:lnTo>
                            <a:pt x="0" y="11"/>
                          </a:lnTo>
                          <a:lnTo>
                            <a:pt x="5" y="8"/>
                          </a:lnTo>
                          <a:lnTo>
                            <a:pt x="4" y="6"/>
                          </a:lnTo>
                          <a:lnTo>
                            <a:pt x="4" y="4"/>
                          </a:lnTo>
                          <a:lnTo>
                            <a:pt x="9" y="2"/>
                          </a:lnTo>
                          <a:lnTo>
                            <a:pt x="10" y="2"/>
                          </a:lnTo>
                          <a:lnTo>
                            <a:pt x="13" y="0"/>
                          </a:lnTo>
                          <a:lnTo>
                            <a:pt x="14" y="2"/>
                          </a:lnTo>
                          <a:lnTo>
                            <a:pt x="17" y="0"/>
                          </a:lnTo>
                          <a:lnTo>
                            <a:pt x="19" y="2"/>
                          </a:lnTo>
                          <a:lnTo>
                            <a:pt x="25" y="4"/>
                          </a:lnTo>
                          <a:lnTo>
                            <a:pt x="27" y="7"/>
                          </a:lnTo>
                          <a:lnTo>
                            <a:pt x="31" y="4"/>
                          </a:lnTo>
                          <a:lnTo>
                            <a:pt x="33" y="5"/>
                          </a:lnTo>
                          <a:lnTo>
                            <a:pt x="39" y="6"/>
                          </a:lnTo>
                          <a:lnTo>
                            <a:pt x="43" y="7"/>
                          </a:lnTo>
                          <a:lnTo>
                            <a:pt x="47" y="7"/>
                          </a:lnTo>
                          <a:lnTo>
                            <a:pt x="49" y="12"/>
                          </a:lnTo>
                          <a:lnTo>
                            <a:pt x="50" y="13"/>
                          </a:lnTo>
                          <a:lnTo>
                            <a:pt x="47" y="14"/>
                          </a:lnTo>
                          <a:lnTo>
                            <a:pt x="43" y="13"/>
                          </a:lnTo>
                          <a:lnTo>
                            <a:pt x="40" y="13"/>
                          </a:lnTo>
                          <a:lnTo>
                            <a:pt x="40" y="13"/>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34" name="Freeform 90">
                      <a:extLst>
                        <a:ext uri="{FF2B5EF4-FFF2-40B4-BE49-F238E27FC236}">
                          <a16:creationId xmlns:a16="http://schemas.microsoft.com/office/drawing/2014/main" id="{0831E697-4BCF-CC46-ADD3-3D8C205028CF}"/>
                        </a:ext>
                      </a:extLst>
                    </p:cNvPr>
                    <p:cNvSpPr>
                      <a:spLocks/>
                    </p:cNvSpPr>
                    <p:nvPr/>
                  </p:nvSpPr>
                  <p:spPr bwMode="auto">
                    <a:xfrm>
                      <a:off x="7898374" y="1933632"/>
                      <a:ext cx="117369" cy="25724"/>
                    </a:xfrm>
                    <a:custGeom>
                      <a:avLst/>
                      <a:gdLst>
                        <a:gd name="T0" fmla="*/ 11 w 73"/>
                        <a:gd name="T1" fmla="*/ 5 h 16"/>
                        <a:gd name="T2" fmla="*/ 5 w 73"/>
                        <a:gd name="T3" fmla="*/ 5 h 16"/>
                        <a:gd name="T4" fmla="*/ 0 w 73"/>
                        <a:gd name="T5" fmla="*/ 3 h 16"/>
                        <a:gd name="T6" fmla="*/ 2 w 73"/>
                        <a:gd name="T7" fmla="*/ 1 h 16"/>
                        <a:gd name="T8" fmla="*/ 6 w 73"/>
                        <a:gd name="T9" fmla="*/ 1 h 16"/>
                        <a:gd name="T10" fmla="*/ 9 w 73"/>
                        <a:gd name="T11" fmla="*/ 0 h 16"/>
                        <a:gd name="T12" fmla="*/ 13 w 73"/>
                        <a:gd name="T13" fmla="*/ 4 h 16"/>
                        <a:gd name="T14" fmla="*/ 16 w 73"/>
                        <a:gd name="T15" fmla="*/ 3 h 16"/>
                        <a:gd name="T16" fmla="*/ 19 w 73"/>
                        <a:gd name="T17" fmla="*/ 5 h 16"/>
                        <a:gd name="T18" fmla="*/ 20 w 73"/>
                        <a:gd name="T19" fmla="*/ 3 h 16"/>
                        <a:gd name="T20" fmla="*/ 26 w 73"/>
                        <a:gd name="T21" fmla="*/ 1 h 16"/>
                        <a:gd name="T22" fmla="*/ 34 w 73"/>
                        <a:gd name="T23" fmla="*/ 1 h 16"/>
                        <a:gd name="T24" fmla="*/ 36 w 73"/>
                        <a:gd name="T25" fmla="*/ 4 h 16"/>
                        <a:gd name="T26" fmla="*/ 39 w 73"/>
                        <a:gd name="T27" fmla="*/ 6 h 16"/>
                        <a:gd name="T28" fmla="*/ 43 w 73"/>
                        <a:gd name="T29" fmla="*/ 6 h 16"/>
                        <a:gd name="T30" fmla="*/ 45 w 73"/>
                        <a:gd name="T31" fmla="*/ 4 h 16"/>
                        <a:gd name="T32" fmla="*/ 46 w 73"/>
                        <a:gd name="T33" fmla="*/ 7 h 16"/>
                        <a:gd name="T34" fmla="*/ 49 w 73"/>
                        <a:gd name="T35" fmla="*/ 4 h 16"/>
                        <a:gd name="T36" fmla="*/ 56 w 73"/>
                        <a:gd name="T37" fmla="*/ 4 h 16"/>
                        <a:gd name="T38" fmla="*/ 59 w 73"/>
                        <a:gd name="T39" fmla="*/ 6 h 16"/>
                        <a:gd name="T40" fmla="*/ 64 w 73"/>
                        <a:gd name="T41" fmla="*/ 6 h 16"/>
                        <a:gd name="T42" fmla="*/ 69 w 73"/>
                        <a:gd name="T43" fmla="*/ 7 h 16"/>
                        <a:gd name="T44" fmla="*/ 73 w 73"/>
                        <a:gd name="T45" fmla="*/ 7 h 16"/>
                        <a:gd name="T46" fmla="*/ 73 w 73"/>
                        <a:gd name="T47" fmla="*/ 10 h 16"/>
                        <a:gd name="T48" fmla="*/ 69 w 73"/>
                        <a:gd name="T49" fmla="*/ 13 h 16"/>
                        <a:gd name="T50" fmla="*/ 63 w 73"/>
                        <a:gd name="T51" fmla="*/ 13 h 16"/>
                        <a:gd name="T52" fmla="*/ 57 w 73"/>
                        <a:gd name="T53" fmla="*/ 14 h 16"/>
                        <a:gd name="T54" fmla="*/ 50 w 73"/>
                        <a:gd name="T55" fmla="*/ 16 h 16"/>
                        <a:gd name="T56" fmla="*/ 43 w 73"/>
                        <a:gd name="T57" fmla="*/ 14 h 16"/>
                        <a:gd name="T58" fmla="*/ 38 w 73"/>
                        <a:gd name="T59" fmla="*/ 12 h 16"/>
                        <a:gd name="T60" fmla="*/ 33 w 73"/>
                        <a:gd name="T61" fmla="*/ 11 h 16"/>
                        <a:gd name="T62" fmla="*/ 30 w 73"/>
                        <a:gd name="T63" fmla="*/ 12 h 16"/>
                        <a:gd name="T64" fmla="*/ 26 w 73"/>
                        <a:gd name="T65" fmla="*/ 11 h 16"/>
                        <a:gd name="T66" fmla="*/ 24 w 73"/>
                        <a:gd name="T67" fmla="*/ 8 h 16"/>
                        <a:gd name="T68" fmla="*/ 13 w 73"/>
                        <a:gd name="T69" fmla="*/ 8 h 16"/>
                        <a:gd name="T70" fmla="*/ 11 w 73"/>
                        <a:gd name="T71" fmla="*/ 5 h 16"/>
                        <a:gd name="T72" fmla="*/ 11 w 73"/>
                        <a:gd name="T73" fmla="*/ 5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73" h="16">
                          <a:moveTo>
                            <a:pt x="11" y="5"/>
                          </a:moveTo>
                          <a:lnTo>
                            <a:pt x="5" y="5"/>
                          </a:lnTo>
                          <a:lnTo>
                            <a:pt x="0" y="3"/>
                          </a:lnTo>
                          <a:lnTo>
                            <a:pt x="2" y="1"/>
                          </a:lnTo>
                          <a:lnTo>
                            <a:pt x="6" y="1"/>
                          </a:lnTo>
                          <a:lnTo>
                            <a:pt x="9" y="0"/>
                          </a:lnTo>
                          <a:lnTo>
                            <a:pt x="13" y="4"/>
                          </a:lnTo>
                          <a:lnTo>
                            <a:pt x="16" y="3"/>
                          </a:lnTo>
                          <a:lnTo>
                            <a:pt x="19" y="5"/>
                          </a:lnTo>
                          <a:lnTo>
                            <a:pt x="20" y="3"/>
                          </a:lnTo>
                          <a:lnTo>
                            <a:pt x="26" y="1"/>
                          </a:lnTo>
                          <a:lnTo>
                            <a:pt x="34" y="1"/>
                          </a:lnTo>
                          <a:lnTo>
                            <a:pt x="36" y="4"/>
                          </a:lnTo>
                          <a:lnTo>
                            <a:pt x="39" y="6"/>
                          </a:lnTo>
                          <a:lnTo>
                            <a:pt x="43" y="6"/>
                          </a:lnTo>
                          <a:lnTo>
                            <a:pt x="45" y="4"/>
                          </a:lnTo>
                          <a:lnTo>
                            <a:pt x="46" y="7"/>
                          </a:lnTo>
                          <a:lnTo>
                            <a:pt x="49" y="4"/>
                          </a:lnTo>
                          <a:lnTo>
                            <a:pt x="56" y="4"/>
                          </a:lnTo>
                          <a:lnTo>
                            <a:pt x="59" y="6"/>
                          </a:lnTo>
                          <a:lnTo>
                            <a:pt x="64" y="6"/>
                          </a:lnTo>
                          <a:lnTo>
                            <a:pt x="69" y="7"/>
                          </a:lnTo>
                          <a:lnTo>
                            <a:pt x="73" y="7"/>
                          </a:lnTo>
                          <a:lnTo>
                            <a:pt x="73" y="10"/>
                          </a:lnTo>
                          <a:lnTo>
                            <a:pt x="69" y="13"/>
                          </a:lnTo>
                          <a:lnTo>
                            <a:pt x="63" y="13"/>
                          </a:lnTo>
                          <a:lnTo>
                            <a:pt x="57" y="14"/>
                          </a:lnTo>
                          <a:lnTo>
                            <a:pt x="50" y="16"/>
                          </a:lnTo>
                          <a:lnTo>
                            <a:pt x="43" y="14"/>
                          </a:lnTo>
                          <a:lnTo>
                            <a:pt x="38" y="12"/>
                          </a:lnTo>
                          <a:lnTo>
                            <a:pt x="33" y="11"/>
                          </a:lnTo>
                          <a:lnTo>
                            <a:pt x="30" y="12"/>
                          </a:lnTo>
                          <a:lnTo>
                            <a:pt x="26" y="11"/>
                          </a:lnTo>
                          <a:lnTo>
                            <a:pt x="24" y="8"/>
                          </a:lnTo>
                          <a:lnTo>
                            <a:pt x="13" y="8"/>
                          </a:lnTo>
                          <a:lnTo>
                            <a:pt x="11" y="5"/>
                          </a:lnTo>
                          <a:lnTo>
                            <a:pt x="11" y="5"/>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35" name="Freeform 91">
                      <a:extLst>
                        <a:ext uri="{FF2B5EF4-FFF2-40B4-BE49-F238E27FC236}">
                          <a16:creationId xmlns:a16="http://schemas.microsoft.com/office/drawing/2014/main" id="{7C364FD5-03D6-2648-A77D-F56C3F884EAD}"/>
                        </a:ext>
                      </a:extLst>
                    </p:cNvPr>
                    <p:cNvSpPr>
                      <a:spLocks/>
                    </p:cNvSpPr>
                    <p:nvPr/>
                  </p:nvSpPr>
                  <p:spPr bwMode="auto">
                    <a:xfrm>
                      <a:off x="7737595" y="1967395"/>
                      <a:ext cx="27333" cy="11254"/>
                    </a:xfrm>
                    <a:custGeom>
                      <a:avLst/>
                      <a:gdLst>
                        <a:gd name="T0" fmla="*/ 17 w 17"/>
                        <a:gd name="T1" fmla="*/ 6 h 7"/>
                        <a:gd name="T2" fmla="*/ 10 w 17"/>
                        <a:gd name="T3" fmla="*/ 7 h 7"/>
                        <a:gd name="T4" fmla="*/ 6 w 17"/>
                        <a:gd name="T5" fmla="*/ 5 h 7"/>
                        <a:gd name="T6" fmla="*/ 2 w 17"/>
                        <a:gd name="T7" fmla="*/ 5 h 7"/>
                        <a:gd name="T8" fmla="*/ 0 w 17"/>
                        <a:gd name="T9" fmla="*/ 0 h 7"/>
                        <a:gd name="T10" fmla="*/ 7 w 17"/>
                        <a:gd name="T11" fmla="*/ 3 h 7"/>
                        <a:gd name="T12" fmla="*/ 13 w 17"/>
                        <a:gd name="T13" fmla="*/ 3 h 7"/>
                        <a:gd name="T14" fmla="*/ 17 w 17"/>
                        <a:gd name="T15" fmla="*/ 6 h 7"/>
                        <a:gd name="T16" fmla="*/ 17 w 17"/>
                        <a:gd name="T17" fmla="*/ 6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7" h="7">
                          <a:moveTo>
                            <a:pt x="17" y="6"/>
                          </a:moveTo>
                          <a:lnTo>
                            <a:pt x="10" y="7"/>
                          </a:lnTo>
                          <a:lnTo>
                            <a:pt x="6" y="5"/>
                          </a:lnTo>
                          <a:lnTo>
                            <a:pt x="2" y="5"/>
                          </a:lnTo>
                          <a:lnTo>
                            <a:pt x="0" y="0"/>
                          </a:lnTo>
                          <a:lnTo>
                            <a:pt x="7" y="3"/>
                          </a:lnTo>
                          <a:lnTo>
                            <a:pt x="13" y="3"/>
                          </a:lnTo>
                          <a:lnTo>
                            <a:pt x="17" y="6"/>
                          </a:lnTo>
                          <a:lnTo>
                            <a:pt x="17" y="6"/>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36" name="Freeform 92">
                      <a:extLst>
                        <a:ext uri="{FF2B5EF4-FFF2-40B4-BE49-F238E27FC236}">
                          <a16:creationId xmlns:a16="http://schemas.microsoft.com/office/drawing/2014/main" id="{4C64340D-FE67-7A46-8631-EBA9235B8597}"/>
                        </a:ext>
                      </a:extLst>
                    </p:cNvPr>
                    <p:cNvSpPr>
                      <a:spLocks/>
                    </p:cNvSpPr>
                    <p:nvPr/>
                  </p:nvSpPr>
                  <p:spPr bwMode="auto">
                    <a:xfrm>
                      <a:off x="7679714" y="1927200"/>
                      <a:ext cx="22509" cy="14470"/>
                    </a:xfrm>
                    <a:custGeom>
                      <a:avLst/>
                      <a:gdLst>
                        <a:gd name="T0" fmla="*/ 14 w 14"/>
                        <a:gd name="T1" fmla="*/ 3 h 9"/>
                        <a:gd name="T2" fmla="*/ 14 w 14"/>
                        <a:gd name="T3" fmla="*/ 8 h 9"/>
                        <a:gd name="T4" fmla="*/ 12 w 14"/>
                        <a:gd name="T5" fmla="*/ 9 h 9"/>
                        <a:gd name="T6" fmla="*/ 9 w 14"/>
                        <a:gd name="T7" fmla="*/ 9 h 9"/>
                        <a:gd name="T8" fmla="*/ 7 w 14"/>
                        <a:gd name="T9" fmla="*/ 7 h 9"/>
                        <a:gd name="T10" fmla="*/ 5 w 14"/>
                        <a:gd name="T11" fmla="*/ 3 h 9"/>
                        <a:gd name="T12" fmla="*/ 0 w 14"/>
                        <a:gd name="T13" fmla="*/ 1 h 9"/>
                        <a:gd name="T14" fmla="*/ 2 w 14"/>
                        <a:gd name="T15" fmla="*/ 0 h 9"/>
                        <a:gd name="T16" fmla="*/ 7 w 14"/>
                        <a:gd name="T17" fmla="*/ 1 h 9"/>
                        <a:gd name="T18" fmla="*/ 8 w 14"/>
                        <a:gd name="T19" fmla="*/ 3 h 9"/>
                        <a:gd name="T20" fmla="*/ 14 w 14"/>
                        <a:gd name="T21" fmla="*/ 3 h 9"/>
                        <a:gd name="T22" fmla="*/ 14 w 14"/>
                        <a:gd name="T23"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 h="9">
                          <a:moveTo>
                            <a:pt x="14" y="3"/>
                          </a:moveTo>
                          <a:lnTo>
                            <a:pt x="14" y="8"/>
                          </a:lnTo>
                          <a:lnTo>
                            <a:pt x="12" y="9"/>
                          </a:lnTo>
                          <a:lnTo>
                            <a:pt x="9" y="9"/>
                          </a:lnTo>
                          <a:lnTo>
                            <a:pt x="7" y="7"/>
                          </a:lnTo>
                          <a:lnTo>
                            <a:pt x="5" y="3"/>
                          </a:lnTo>
                          <a:lnTo>
                            <a:pt x="0" y="1"/>
                          </a:lnTo>
                          <a:lnTo>
                            <a:pt x="2" y="0"/>
                          </a:lnTo>
                          <a:lnTo>
                            <a:pt x="7" y="1"/>
                          </a:lnTo>
                          <a:lnTo>
                            <a:pt x="8" y="3"/>
                          </a:lnTo>
                          <a:lnTo>
                            <a:pt x="14" y="3"/>
                          </a:lnTo>
                          <a:lnTo>
                            <a:pt x="14" y="3"/>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37" name="Freeform 93">
                      <a:extLst>
                        <a:ext uri="{FF2B5EF4-FFF2-40B4-BE49-F238E27FC236}">
                          <a16:creationId xmlns:a16="http://schemas.microsoft.com/office/drawing/2014/main" id="{FD99A44B-F08A-6D4D-A996-F32717FB8746}"/>
                        </a:ext>
                      </a:extLst>
                    </p:cNvPr>
                    <p:cNvSpPr>
                      <a:spLocks/>
                    </p:cNvSpPr>
                    <p:nvPr/>
                  </p:nvSpPr>
                  <p:spPr bwMode="auto">
                    <a:xfrm>
                      <a:off x="7034992" y="1869320"/>
                      <a:ext cx="22509" cy="8039"/>
                    </a:xfrm>
                    <a:custGeom>
                      <a:avLst/>
                      <a:gdLst>
                        <a:gd name="T0" fmla="*/ 14 w 14"/>
                        <a:gd name="T1" fmla="*/ 1 h 5"/>
                        <a:gd name="T2" fmla="*/ 13 w 14"/>
                        <a:gd name="T3" fmla="*/ 4 h 5"/>
                        <a:gd name="T4" fmla="*/ 9 w 14"/>
                        <a:gd name="T5" fmla="*/ 5 h 5"/>
                        <a:gd name="T6" fmla="*/ 7 w 14"/>
                        <a:gd name="T7" fmla="*/ 4 h 5"/>
                        <a:gd name="T8" fmla="*/ 5 w 14"/>
                        <a:gd name="T9" fmla="*/ 5 h 5"/>
                        <a:gd name="T10" fmla="*/ 2 w 14"/>
                        <a:gd name="T11" fmla="*/ 4 h 5"/>
                        <a:gd name="T12" fmla="*/ 0 w 14"/>
                        <a:gd name="T13" fmla="*/ 4 h 5"/>
                        <a:gd name="T14" fmla="*/ 2 w 14"/>
                        <a:gd name="T15" fmla="*/ 3 h 5"/>
                        <a:gd name="T16" fmla="*/ 2 w 14"/>
                        <a:gd name="T17" fmla="*/ 1 h 5"/>
                        <a:gd name="T18" fmla="*/ 5 w 14"/>
                        <a:gd name="T19" fmla="*/ 3 h 5"/>
                        <a:gd name="T20" fmla="*/ 7 w 14"/>
                        <a:gd name="T21" fmla="*/ 0 h 5"/>
                        <a:gd name="T22" fmla="*/ 9 w 14"/>
                        <a:gd name="T23" fmla="*/ 1 h 5"/>
                        <a:gd name="T24" fmla="*/ 14 w 14"/>
                        <a:gd name="T25" fmla="*/ 1 h 5"/>
                        <a:gd name="T26" fmla="*/ 14 w 14"/>
                        <a:gd name="T27" fmla="*/ 1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4" h="5">
                          <a:moveTo>
                            <a:pt x="14" y="1"/>
                          </a:moveTo>
                          <a:lnTo>
                            <a:pt x="13" y="4"/>
                          </a:lnTo>
                          <a:lnTo>
                            <a:pt x="9" y="5"/>
                          </a:lnTo>
                          <a:lnTo>
                            <a:pt x="7" y="4"/>
                          </a:lnTo>
                          <a:lnTo>
                            <a:pt x="5" y="5"/>
                          </a:lnTo>
                          <a:lnTo>
                            <a:pt x="2" y="4"/>
                          </a:lnTo>
                          <a:lnTo>
                            <a:pt x="0" y="4"/>
                          </a:lnTo>
                          <a:lnTo>
                            <a:pt x="2" y="3"/>
                          </a:lnTo>
                          <a:lnTo>
                            <a:pt x="2" y="1"/>
                          </a:lnTo>
                          <a:lnTo>
                            <a:pt x="5" y="3"/>
                          </a:lnTo>
                          <a:lnTo>
                            <a:pt x="7" y="0"/>
                          </a:lnTo>
                          <a:lnTo>
                            <a:pt x="9" y="1"/>
                          </a:lnTo>
                          <a:lnTo>
                            <a:pt x="14" y="1"/>
                          </a:lnTo>
                          <a:lnTo>
                            <a:pt x="14" y="1"/>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38" name="Freeform 94">
                      <a:extLst>
                        <a:ext uri="{FF2B5EF4-FFF2-40B4-BE49-F238E27FC236}">
                          <a16:creationId xmlns:a16="http://schemas.microsoft.com/office/drawing/2014/main" id="{349A86DD-CCE8-7C45-9761-92D258DBCBCB}"/>
                        </a:ext>
                      </a:extLst>
                    </p:cNvPr>
                    <p:cNvSpPr>
                      <a:spLocks/>
                    </p:cNvSpPr>
                    <p:nvPr/>
                  </p:nvSpPr>
                  <p:spPr bwMode="auto">
                    <a:xfrm>
                      <a:off x="6912798" y="1828550"/>
                      <a:ext cx="98077" cy="50418"/>
                    </a:xfrm>
                    <a:custGeom>
                      <a:avLst/>
                      <a:gdLst>
                        <a:gd name="T0" fmla="*/ 58 w 67"/>
                        <a:gd name="T1" fmla="*/ 19 h 25"/>
                        <a:gd name="T2" fmla="*/ 55 w 67"/>
                        <a:gd name="T3" fmla="*/ 19 h 25"/>
                        <a:gd name="T4" fmla="*/ 50 w 67"/>
                        <a:gd name="T5" fmla="*/ 20 h 25"/>
                        <a:gd name="T6" fmla="*/ 45 w 67"/>
                        <a:gd name="T7" fmla="*/ 20 h 25"/>
                        <a:gd name="T8" fmla="*/ 37 w 67"/>
                        <a:gd name="T9" fmla="*/ 22 h 25"/>
                        <a:gd name="T10" fmla="*/ 30 w 67"/>
                        <a:gd name="T11" fmla="*/ 23 h 25"/>
                        <a:gd name="T12" fmla="*/ 28 w 67"/>
                        <a:gd name="T13" fmla="*/ 23 h 25"/>
                        <a:gd name="T14" fmla="*/ 23 w 67"/>
                        <a:gd name="T15" fmla="*/ 22 h 25"/>
                        <a:gd name="T16" fmla="*/ 21 w 67"/>
                        <a:gd name="T17" fmla="*/ 24 h 25"/>
                        <a:gd name="T18" fmla="*/ 18 w 67"/>
                        <a:gd name="T19" fmla="*/ 25 h 25"/>
                        <a:gd name="T20" fmla="*/ 12 w 67"/>
                        <a:gd name="T21" fmla="*/ 23 h 25"/>
                        <a:gd name="T22" fmla="*/ 7 w 67"/>
                        <a:gd name="T23" fmla="*/ 25 h 25"/>
                        <a:gd name="T24" fmla="*/ 2 w 67"/>
                        <a:gd name="T25" fmla="*/ 22 h 25"/>
                        <a:gd name="T26" fmla="*/ 1 w 67"/>
                        <a:gd name="T27" fmla="*/ 20 h 25"/>
                        <a:gd name="T28" fmla="*/ 3 w 67"/>
                        <a:gd name="T29" fmla="*/ 19 h 25"/>
                        <a:gd name="T30" fmla="*/ 4 w 67"/>
                        <a:gd name="T31" fmla="*/ 18 h 25"/>
                        <a:gd name="T32" fmla="*/ 2 w 67"/>
                        <a:gd name="T33" fmla="*/ 15 h 25"/>
                        <a:gd name="T34" fmla="*/ 1 w 67"/>
                        <a:gd name="T35" fmla="*/ 12 h 25"/>
                        <a:gd name="T36" fmla="*/ 3 w 67"/>
                        <a:gd name="T37" fmla="*/ 11 h 25"/>
                        <a:gd name="T38" fmla="*/ 1 w 67"/>
                        <a:gd name="T39" fmla="*/ 9 h 25"/>
                        <a:gd name="T40" fmla="*/ 1 w 67"/>
                        <a:gd name="T41" fmla="*/ 4 h 25"/>
                        <a:gd name="T42" fmla="*/ 10 w 67"/>
                        <a:gd name="T43" fmla="*/ 6 h 25"/>
                        <a:gd name="T44" fmla="*/ 16 w 67"/>
                        <a:gd name="T45" fmla="*/ 5 h 25"/>
                        <a:gd name="T46" fmla="*/ 20 w 67"/>
                        <a:gd name="T47" fmla="*/ 0 h 25"/>
                        <a:gd name="T48" fmla="*/ 22 w 67"/>
                        <a:gd name="T49" fmla="*/ 8 h 25"/>
                        <a:gd name="T50" fmla="*/ 29 w 67"/>
                        <a:gd name="T51" fmla="*/ 8 h 25"/>
                        <a:gd name="T52" fmla="*/ 32 w 67"/>
                        <a:gd name="T53" fmla="*/ 8 h 25"/>
                        <a:gd name="T54" fmla="*/ 36 w 67"/>
                        <a:gd name="T55" fmla="*/ 6 h 25"/>
                        <a:gd name="T56" fmla="*/ 40 w 67"/>
                        <a:gd name="T57" fmla="*/ 10 h 25"/>
                        <a:gd name="T58" fmla="*/ 44 w 67"/>
                        <a:gd name="T59" fmla="*/ 10 h 25"/>
                        <a:gd name="T60" fmla="*/ 45 w 67"/>
                        <a:gd name="T61" fmla="*/ 10 h 25"/>
                        <a:gd name="T62" fmla="*/ 50 w 67"/>
                        <a:gd name="T63" fmla="*/ 11 h 25"/>
                        <a:gd name="T64" fmla="*/ 62 w 67"/>
                        <a:gd name="T65" fmla="*/ 11 h 25"/>
                        <a:gd name="T66" fmla="*/ 64 w 67"/>
                        <a:gd name="T67" fmla="*/ 13 h 25"/>
                        <a:gd name="T68" fmla="*/ 65 w 67"/>
                        <a:gd name="T69" fmla="*/ 17 h 25"/>
                        <a:gd name="T70" fmla="*/ 63 w 67"/>
                        <a:gd name="T71" fmla="*/ 19 h 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67" h="25">
                          <a:moveTo>
                            <a:pt x="63" y="19"/>
                          </a:moveTo>
                          <a:lnTo>
                            <a:pt x="58" y="19"/>
                          </a:lnTo>
                          <a:lnTo>
                            <a:pt x="57" y="19"/>
                          </a:lnTo>
                          <a:lnTo>
                            <a:pt x="55" y="19"/>
                          </a:lnTo>
                          <a:lnTo>
                            <a:pt x="52" y="19"/>
                          </a:lnTo>
                          <a:lnTo>
                            <a:pt x="50" y="20"/>
                          </a:lnTo>
                          <a:lnTo>
                            <a:pt x="48" y="19"/>
                          </a:lnTo>
                          <a:lnTo>
                            <a:pt x="45" y="20"/>
                          </a:lnTo>
                          <a:lnTo>
                            <a:pt x="42" y="22"/>
                          </a:lnTo>
                          <a:lnTo>
                            <a:pt x="37" y="22"/>
                          </a:lnTo>
                          <a:lnTo>
                            <a:pt x="32" y="22"/>
                          </a:lnTo>
                          <a:lnTo>
                            <a:pt x="30" y="23"/>
                          </a:lnTo>
                          <a:lnTo>
                            <a:pt x="30" y="23"/>
                          </a:lnTo>
                          <a:lnTo>
                            <a:pt x="28" y="23"/>
                          </a:lnTo>
                          <a:lnTo>
                            <a:pt x="27" y="22"/>
                          </a:lnTo>
                          <a:lnTo>
                            <a:pt x="23" y="22"/>
                          </a:lnTo>
                          <a:lnTo>
                            <a:pt x="22" y="23"/>
                          </a:lnTo>
                          <a:lnTo>
                            <a:pt x="21" y="24"/>
                          </a:lnTo>
                          <a:lnTo>
                            <a:pt x="22" y="24"/>
                          </a:lnTo>
                          <a:lnTo>
                            <a:pt x="18" y="25"/>
                          </a:lnTo>
                          <a:lnTo>
                            <a:pt x="16" y="25"/>
                          </a:lnTo>
                          <a:lnTo>
                            <a:pt x="12" y="23"/>
                          </a:lnTo>
                          <a:lnTo>
                            <a:pt x="9" y="25"/>
                          </a:lnTo>
                          <a:lnTo>
                            <a:pt x="7" y="25"/>
                          </a:lnTo>
                          <a:lnTo>
                            <a:pt x="4" y="24"/>
                          </a:lnTo>
                          <a:lnTo>
                            <a:pt x="2" y="22"/>
                          </a:lnTo>
                          <a:lnTo>
                            <a:pt x="0" y="19"/>
                          </a:lnTo>
                          <a:lnTo>
                            <a:pt x="1" y="20"/>
                          </a:lnTo>
                          <a:lnTo>
                            <a:pt x="2" y="19"/>
                          </a:lnTo>
                          <a:lnTo>
                            <a:pt x="3" y="19"/>
                          </a:lnTo>
                          <a:lnTo>
                            <a:pt x="4" y="19"/>
                          </a:lnTo>
                          <a:lnTo>
                            <a:pt x="4" y="18"/>
                          </a:lnTo>
                          <a:lnTo>
                            <a:pt x="2" y="16"/>
                          </a:lnTo>
                          <a:lnTo>
                            <a:pt x="2" y="15"/>
                          </a:lnTo>
                          <a:lnTo>
                            <a:pt x="1" y="13"/>
                          </a:lnTo>
                          <a:lnTo>
                            <a:pt x="1" y="12"/>
                          </a:lnTo>
                          <a:lnTo>
                            <a:pt x="1" y="11"/>
                          </a:lnTo>
                          <a:lnTo>
                            <a:pt x="3" y="11"/>
                          </a:lnTo>
                          <a:lnTo>
                            <a:pt x="7" y="10"/>
                          </a:lnTo>
                          <a:lnTo>
                            <a:pt x="1" y="9"/>
                          </a:lnTo>
                          <a:lnTo>
                            <a:pt x="3" y="8"/>
                          </a:lnTo>
                          <a:lnTo>
                            <a:pt x="1" y="4"/>
                          </a:lnTo>
                          <a:lnTo>
                            <a:pt x="8" y="3"/>
                          </a:lnTo>
                          <a:lnTo>
                            <a:pt x="10" y="6"/>
                          </a:lnTo>
                          <a:lnTo>
                            <a:pt x="14" y="8"/>
                          </a:lnTo>
                          <a:lnTo>
                            <a:pt x="16" y="5"/>
                          </a:lnTo>
                          <a:lnTo>
                            <a:pt x="16" y="2"/>
                          </a:lnTo>
                          <a:lnTo>
                            <a:pt x="20" y="0"/>
                          </a:lnTo>
                          <a:lnTo>
                            <a:pt x="21" y="4"/>
                          </a:lnTo>
                          <a:lnTo>
                            <a:pt x="22" y="8"/>
                          </a:lnTo>
                          <a:lnTo>
                            <a:pt x="25" y="9"/>
                          </a:lnTo>
                          <a:lnTo>
                            <a:pt x="29" y="8"/>
                          </a:lnTo>
                          <a:lnTo>
                            <a:pt x="31" y="6"/>
                          </a:lnTo>
                          <a:lnTo>
                            <a:pt x="32" y="8"/>
                          </a:lnTo>
                          <a:lnTo>
                            <a:pt x="32" y="8"/>
                          </a:lnTo>
                          <a:lnTo>
                            <a:pt x="36" y="6"/>
                          </a:lnTo>
                          <a:lnTo>
                            <a:pt x="37" y="9"/>
                          </a:lnTo>
                          <a:lnTo>
                            <a:pt x="40" y="10"/>
                          </a:lnTo>
                          <a:lnTo>
                            <a:pt x="43" y="12"/>
                          </a:lnTo>
                          <a:lnTo>
                            <a:pt x="44" y="10"/>
                          </a:lnTo>
                          <a:lnTo>
                            <a:pt x="47" y="10"/>
                          </a:lnTo>
                          <a:lnTo>
                            <a:pt x="45" y="10"/>
                          </a:lnTo>
                          <a:lnTo>
                            <a:pt x="48" y="9"/>
                          </a:lnTo>
                          <a:lnTo>
                            <a:pt x="50" y="11"/>
                          </a:lnTo>
                          <a:lnTo>
                            <a:pt x="54" y="11"/>
                          </a:lnTo>
                          <a:lnTo>
                            <a:pt x="62" y="11"/>
                          </a:lnTo>
                          <a:lnTo>
                            <a:pt x="63" y="13"/>
                          </a:lnTo>
                          <a:lnTo>
                            <a:pt x="64" y="13"/>
                          </a:lnTo>
                          <a:lnTo>
                            <a:pt x="67" y="15"/>
                          </a:lnTo>
                          <a:lnTo>
                            <a:pt x="65" y="17"/>
                          </a:lnTo>
                          <a:lnTo>
                            <a:pt x="63" y="19"/>
                          </a:lnTo>
                          <a:lnTo>
                            <a:pt x="63" y="19"/>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39" name="Freeform 95">
                      <a:extLst>
                        <a:ext uri="{FF2B5EF4-FFF2-40B4-BE49-F238E27FC236}">
                          <a16:creationId xmlns:a16="http://schemas.microsoft.com/office/drawing/2014/main" id="{AF856A9A-B3C1-8946-9C1F-D684F42C4389}"/>
                        </a:ext>
                      </a:extLst>
                    </p:cNvPr>
                    <p:cNvSpPr>
                      <a:spLocks/>
                    </p:cNvSpPr>
                    <p:nvPr/>
                  </p:nvSpPr>
                  <p:spPr bwMode="auto">
                    <a:xfrm>
                      <a:off x="6867782" y="1919162"/>
                      <a:ext cx="22509" cy="3215"/>
                    </a:xfrm>
                    <a:custGeom>
                      <a:avLst/>
                      <a:gdLst>
                        <a:gd name="T0" fmla="*/ 6 w 14"/>
                        <a:gd name="T1" fmla="*/ 0 h 2"/>
                        <a:gd name="T2" fmla="*/ 11 w 14"/>
                        <a:gd name="T3" fmla="*/ 0 h 2"/>
                        <a:gd name="T4" fmla="*/ 14 w 14"/>
                        <a:gd name="T5" fmla="*/ 1 h 2"/>
                        <a:gd name="T6" fmla="*/ 12 w 14"/>
                        <a:gd name="T7" fmla="*/ 2 h 2"/>
                        <a:gd name="T8" fmla="*/ 9 w 14"/>
                        <a:gd name="T9" fmla="*/ 2 h 2"/>
                        <a:gd name="T10" fmla="*/ 2 w 14"/>
                        <a:gd name="T11" fmla="*/ 1 h 2"/>
                        <a:gd name="T12" fmla="*/ 0 w 14"/>
                        <a:gd name="T13" fmla="*/ 1 h 2"/>
                        <a:gd name="T14" fmla="*/ 6 w 14"/>
                        <a:gd name="T15" fmla="*/ 0 h 2"/>
                        <a:gd name="T16" fmla="*/ 6 w 14"/>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2">
                          <a:moveTo>
                            <a:pt x="6" y="0"/>
                          </a:moveTo>
                          <a:lnTo>
                            <a:pt x="11" y="0"/>
                          </a:lnTo>
                          <a:lnTo>
                            <a:pt x="14" y="1"/>
                          </a:lnTo>
                          <a:lnTo>
                            <a:pt x="12" y="2"/>
                          </a:lnTo>
                          <a:lnTo>
                            <a:pt x="9" y="2"/>
                          </a:lnTo>
                          <a:lnTo>
                            <a:pt x="2" y="1"/>
                          </a:lnTo>
                          <a:lnTo>
                            <a:pt x="0" y="1"/>
                          </a:lnTo>
                          <a:lnTo>
                            <a:pt x="6" y="0"/>
                          </a:lnTo>
                          <a:lnTo>
                            <a:pt x="6" y="0"/>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40" name="Freeform 96">
                      <a:extLst>
                        <a:ext uri="{FF2B5EF4-FFF2-40B4-BE49-F238E27FC236}">
                          <a16:creationId xmlns:a16="http://schemas.microsoft.com/office/drawing/2014/main" id="{41891257-DEB0-734E-A012-A90D2D6D21B7}"/>
                        </a:ext>
                      </a:extLst>
                    </p:cNvPr>
                    <p:cNvSpPr>
                      <a:spLocks/>
                    </p:cNvSpPr>
                    <p:nvPr/>
                  </p:nvSpPr>
                  <p:spPr bwMode="auto">
                    <a:xfrm>
                      <a:off x="6689317" y="1827517"/>
                      <a:ext cx="46625" cy="9647"/>
                    </a:xfrm>
                    <a:custGeom>
                      <a:avLst/>
                      <a:gdLst>
                        <a:gd name="T0" fmla="*/ 2 w 29"/>
                        <a:gd name="T1" fmla="*/ 0 h 6"/>
                        <a:gd name="T2" fmla="*/ 14 w 29"/>
                        <a:gd name="T3" fmla="*/ 2 h 6"/>
                        <a:gd name="T4" fmla="*/ 29 w 29"/>
                        <a:gd name="T5" fmla="*/ 3 h 6"/>
                        <a:gd name="T6" fmla="*/ 24 w 29"/>
                        <a:gd name="T7" fmla="*/ 5 h 6"/>
                        <a:gd name="T8" fmla="*/ 13 w 29"/>
                        <a:gd name="T9" fmla="*/ 6 h 6"/>
                        <a:gd name="T10" fmla="*/ 10 w 29"/>
                        <a:gd name="T11" fmla="*/ 5 h 6"/>
                        <a:gd name="T12" fmla="*/ 15 w 29"/>
                        <a:gd name="T13" fmla="*/ 5 h 6"/>
                        <a:gd name="T14" fmla="*/ 1 w 29"/>
                        <a:gd name="T15" fmla="*/ 3 h 6"/>
                        <a:gd name="T16" fmla="*/ 1 w 29"/>
                        <a:gd name="T17" fmla="*/ 2 h 6"/>
                        <a:gd name="T18" fmla="*/ 1 w 29"/>
                        <a:gd name="T19" fmla="*/ 2 h 6"/>
                        <a:gd name="T20" fmla="*/ 0 w 29"/>
                        <a:gd name="T21" fmla="*/ 0 h 6"/>
                        <a:gd name="T22" fmla="*/ 2 w 29"/>
                        <a:gd name="T23" fmla="*/ 0 h 6"/>
                        <a:gd name="T24" fmla="*/ 2 w 29"/>
                        <a:gd name="T25"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29" h="6">
                          <a:moveTo>
                            <a:pt x="2" y="0"/>
                          </a:moveTo>
                          <a:lnTo>
                            <a:pt x="14" y="2"/>
                          </a:lnTo>
                          <a:lnTo>
                            <a:pt x="29" y="3"/>
                          </a:lnTo>
                          <a:lnTo>
                            <a:pt x="24" y="5"/>
                          </a:lnTo>
                          <a:lnTo>
                            <a:pt x="13" y="6"/>
                          </a:lnTo>
                          <a:lnTo>
                            <a:pt x="10" y="5"/>
                          </a:lnTo>
                          <a:lnTo>
                            <a:pt x="15" y="5"/>
                          </a:lnTo>
                          <a:lnTo>
                            <a:pt x="1" y="3"/>
                          </a:lnTo>
                          <a:lnTo>
                            <a:pt x="1" y="2"/>
                          </a:lnTo>
                          <a:lnTo>
                            <a:pt x="1" y="2"/>
                          </a:lnTo>
                          <a:lnTo>
                            <a:pt x="0" y="0"/>
                          </a:lnTo>
                          <a:lnTo>
                            <a:pt x="2" y="0"/>
                          </a:lnTo>
                          <a:lnTo>
                            <a:pt x="2" y="0"/>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41" name="Freeform 97">
                      <a:extLst>
                        <a:ext uri="{FF2B5EF4-FFF2-40B4-BE49-F238E27FC236}">
                          <a16:creationId xmlns:a16="http://schemas.microsoft.com/office/drawing/2014/main" id="{DA72A5A3-257D-7E4E-886D-C66CA4DA3022}"/>
                        </a:ext>
                      </a:extLst>
                    </p:cNvPr>
                    <p:cNvSpPr>
                      <a:spLocks/>
                    </p:cNvSpPr>
                    <p:nvPr/>
                  </p:nvSpPr>
                  <p:spPr bwMode="auto">
                    <a:xfrm>
                      <a:off x="6854920" y="1896653"/>
                      <a:ext cx="19294" cy="4823"/>
                    </a:xfrm>
                    <a:custGeom>
                      <a:avLst/>
                      <a:gdLst>
                        <a:gd name="T0" fmla="*/ 12 w 12"/>
                        <a:gd name="T1" fmla="*/ 2 h 3"/>
                        <a:gd name="T2" fmla="*/ 11 w 12"/>
                        <a:gd name="T3" fmla="*/ 2 h 3"/>
                        <a:gd name="T4" fmla="*/ 6 w 12"/>
                        <a:gd name="T5" fmla="*/ 3 h 3"/>
                        <a:gd name="T6" fmla="*/ 0 w 12"/>
                        <a:gd name="T7" fmla="*/ 3 h 3"/>
                        <a:gd name="T8" fmla="*/ 7 w 12"/>
                        <a:gd name="T9" fmla="*/ 0 h 3"/>
                        <a:gd name="T10" fmla="*/ 12 w 12"/>
                        <a:gd name="T11" fmla="*/ 2 h 3"/>
                        <a:gd name="T12" fmla="*/ 12 w 12"/>
                        <a:gd name="T13" fmla="*/ 2 h 3"/>
                      </a:gdLst>
                      <a:ahLst/>
                      <a:cxnLst>
                        <a:cxn ang="0">
                          <a:pos x="T0" y="T1"/>
                        </a:cxn>
                        <a:cxn ang="0">
                          <a:pos x="T2" y="T3"/>
                        </a:cxn>
                        <a:cxn ang="0">
                          <a:pos x="T4" y="T5"/>
                        </a:cxn>
                        <a:cxn ang="0">
                          <a:pos x="T6" y="T7"/>
                        </a:cxn>
                        <a:cxn ang="0">
                          <a:pos x="T8" y="T9"/>
                        </a:cxn>
                        <a:cxn ang="0">
                          <a:pos x="T10" y="T11"/>
                        </a:cxn>
                        <a:cxn ang="0">
                          <a:pos x="T12" y="T13"/>
                        </a:cxn>
                      </a:cxnLst>
                      <a:rect l="0" t="0" r="r" b="b"/>
                      <a:pathLst>
                        <a:path w="12" h="3">
                          <a:moveTo>
                            <a:pt x="12" y="2"/>
                          </a:moveTo>
                          <a:lnTo>
                            <a:pt x="11" y="2"/>
                          </a:lnTo>
                          <a:lnTo>
                            <a:pt x="6" y="3"/>
                          </a:lnTo>
                          <a:lnTo>
                            <a:pt x="0" y="3"/>
                          </a:lnTo>
                          <a:lnTo>
                            <a:pt x="7" y="0"/>
                          </a:lnTo>
                          <a:lnTo>
                            <a:pt x="12" y="2"/>
                          </a:lnTo>
                          <a:lnTo>
                            <a:pt x="12" y="2"/>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42" name="Freeform 98">
                      <a:extLst>
                        <a:ext uri="{FF2B5EF4-FFF2-40B4-BE49-F238E27FC236}">
                          <a16:creationId xmlns:a16="http://schemas.microsoft.com/office/drawing/2014/main" id="{791D45B8-495F-E54F-9F3A-7894F03CB9E0}"/>
                        </a:ext>
                      </a:extLst>
                    </p:cNvPr>
                    <p:cNvSpPr>
                      <a:spLocks/>
                    </p:cNvSpPr>
                    <p:nvPr/>
                  </p:nvSpPr>
                  <p:spPr bwMode="auto">
                    <a:xfrm>
                      <a:off x="6736588" y="1809256"/>
                      <a:ext cx="153703" cy="50418"/>
                    </a:xfrm>
                    <a:custGeom>
                      <a:avLst/>
                      <a:gdLst>
                        <a:gd name="T0" fmla="*/ 96 w 105"/>
                        <a:gd name="T1" fmla="*/ 12 h 22"/>
                        <a:gd name="T2" fmla="*/ 96 w 105"/>
                        <a:gd name="T3" fmla="*/ 14 h 22"/>
                        <a:gd name="T4" fmla="*/ 101 w 105"/>
                        <a:gd name="T5" fmla="*/ 15 h 22"/>
                        <a:gd name="T6" fmla="*/ 105 w 105"/>
                        <a:gd name="T7" fmla="*/ 19 h 22"/>
                        <a:gd name="T8" fmla="*/ 100 w 105"/>
                        <a:gd name="T9" fmla="*/ 22 h 22"/>
                        <a:gd name="T10" fmla="*/ 94 w 105"/>
                        <a:gd name="T11" fmla="*/ 22 h 22"/>
                        <a:gd name="T12" fmla="*/ 77 w 105"/>
                        <a:gd name="T13" fmla="*/ 21 h 22"/>
                        <a:gd name="T14" fmla="*/ 68 w 105"/>
                        <a:gd name="T15" fmla="*/ 18 h 22"/>
                        <a:gd name="T16" fmla="*/ 58 w 105"/>
                        <a:gd name="T17" fmla="*/ 20 h 22"/>
                        <a:gd name="T18" fmla="*/ 53 w 105"/>
                        <a:gd name="T19" fmla="*/ 17 h 22"/>
                        <a:gd name="T20" fmla="*/ 42 w 105"/>
                        <a:gd name="T21" fmla="*/ 18 h 22"/>
                        <a:gd name="T22" fmla="*/ 30 w 105"/>
                        <a:gd name="T23" fmla="*/ 15 h 22"/>
                        <a:gd name="T24" fmla="*/ 24 w 105"/>
                        <a:gd name="T25" fmla="*/ 12 h 22"/>
                        <a:gd name="T26" fmla="*/ 13 w 105"/>
                        <a:gd name="T27" fmla="*/ 9 h 22"/>
                        <a:gd name="T28" fmla="*/ 4 w 105"/>
                        <a:gd name="T29" fmla="*/ 14 h 22"/>
                        <a:gd name="T30" fmla="*/ 4 w 105"/>
                        <a:gd name="T31" fmla="*/ 11 h 22"/>
                        <a:gd name="T32" fmla="*/ 10 w 105"/>
                        <a:gd name="T33" fmla="*/ 4 h 22"/>
                        <a:gd name="T34" fmla="*/ 18 w 105"/>
                        <a:gd name="T35" fmla="*/ 4 h 22"/>
                        <a:gd name="T36" fmla="*/ 36 w 105"/>
                        <a:gd name="T37" fmla="*/ 1 h 22"/>
                        <a:gd name="T38" fmla="*/ 51 w 105"/>
                        <a:gd name="T39" fmla="*/ 1 h 22"/>
                        <a:gd name="T40" fmla="*/ 62 w 105"/>
                        <a:gd name="T41" fmla="*/ 1 h 22"/>
                        <a:gd name="T42" fmla="*/ 57 w 105"/>
                        <a:gd name="T43" fmla="*/ 6 h 22"/>
                        <a:gd name="T44" fmla="*/ 68 w 105"/>
                        <a:gd name="T45" fmla="*/ 5 h 22"/>
                        <a:gd name="T46" fmla="*/ 73 w 105"/>
                        <a:gd name="T47" fmla="*/ 6 h 22"/>
                        <a:gd name="T48" fmla="*/ 77 w 105"/>
                        <a:gd name="T49" fmla="*/ 7 h 22"/>
                        <a:gd name="T50" fmla="*/ 82 w 105"/>
                        <a:gd name="T51" fmla="*/ 2 h 22"/>
                        <a:gd name="T52" fmla="*/ 85 w 105"/>
                        <a:gd name="T53" fmla="*/ 2 h 22"/>
                        <a:gd name="T54" fmla="*/ 90 w 105"/>
                        <a:gd name="T55" fmla="*/ 2 h 22"/>
                        <a:gd name="T56" fmla="*/ 90 w 105"/>
                        <a:gd name="T57" fmla="*/ 5 h 22"/>
                        <a:gd name="T58" fmla="*/ 93 w 105"/>
                        <a:gd name="T59" fmla="*/ 7 h 22"/>
                        <a:gd name="T60" fmla="*/ 95 w 105"/>
                        <a:gd name="T61" fmla="*/ 6 h 22"/>
                        <a:gd name="T62" fmla="*/ 96 w 105"/>
                        <a:gd name="T63" fmla="*/ 7 h 22"/>
                        <a:gd name="T64" fmla="*/ 97 w 105"/>
                        <a:gd name="T65" fmla="*/ 9 h 22"/>
                        <a:gd name="T66" fmla="*/ 97 w 105"/>
                        <a:gd name="T67" fmla="*/ 11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05" h="22">
                          <a:moveTo>
                            <a:pt x="97" y="11"/>
                          </a:moveTo>
                          <a:lnTo>
                            <a:pt x="96" y="12"/>
                          </a:lnTo>
                          <a:lnTo>
                            <a:pt x="95" y="13"/>
                          </a:lnTo>
                          <a:lnTo>
                            <a:pt x="96" y="14"/>
                          </a:lnTo>
                          <a:lnTo>
                            <a:pt x="98" y="15"/>
                          </a:lnTo>
                          <a:lnTo>
                            <a:pt x="101" y="15"/>
                          </a:lnTo>
                          <a:lnTo>
                            <a:pt x="102" y="15"/>
                          </a:lnTo>
                          <a:lnTo>
                            <a:pt x="105" y="19"/>
                          </a:lnTo>
                          <a:lnTo>
                            <a:pt x="102" y="21"/>
                          </a:lnTo>
                          <a:lnTo>
                            <a:pt x="100" y="22"/>
                          </a:lnTo>
                          <a:lnTo>
                            <a:pt x="96" y="21"/>
                          </a:lnTo>
                          <a:lnTo>
                            <a:pt x="94" y="22"/>
                          </a:lnTo>
                          <a:lnTo>
                            <a:pt x="89" y="21"/>
                          </a:lnTo>
                          <a:lnTo>
                            <a:pt x="77" y="21"/>
                          </a:lnTo>
                          <a:lnTo>
                            <a:pt x="71" y="22"/>
                          </a:lnTo>
                          <a:lnTo>
                            <a:pt x="68" y="18"/>
                          </a:lnTo>
                          <a:lnTo>
                            <a:pt x="63" y="19"/>
                          </a:lnTo>
                          <a:lnTo>
                            <a:pt x="58" y="20"/>
                          </a:lnTo>
                          <a:lnTo>
                            <a:pt x="53" y="20"/>
                          </a:lnTo>
                          <a:lnTo>
                            <a:pt x="53" y="17"/>
                          </a:lnTo>
                          <a:lnTo>
                            <a:pt x="49" y="18"/>
                          </a:lnTo>
                          <a:lnTo>
                            <a:pt x="42" y="18"/>
                          </a:lnTo>
                          <a:lnTo>
                            <a:pt x="36" y="15"/>
                          </a:lnTo>
                          <a:lnTo>
                            <a:pt x="30" y="15"/>
                          </a:lnTo>
                          <a:lnTo>
                            <a:pt x="28" y="15"/>
                          </a:lnTo>
                          <a:lnTo>
                            <a:pt x="24" y="12"/>
                          </a:lnTo>
                          <a:lnTo>
                            <a:pt x="16" y="12"/>
                          </a:lnTo>
                          <a:lnTo>
                            <a:pt x="13" y="9"/>
                          </a:lnTo>
                          <a:lnTo>
                            <a:pt x="7" y="12"/>
                          </a:lnTo>
                          <a:lnTo>
                            <a:pt x="4" y="14"/>
                          </a:lnTo>
                          <a:lnTo>
                            <a:pt x="0" y="11"/>
                          </a:lnTo>
                          <a:lnTo>
                            <a:pt x="4" y="11"/>
                          </a:lnTo>
                          <a:lnTo>
                            <a:pt x="10" y="7"/>
                          </a:lnTo>
                          <a:lnTo>
                            <a:pt x="10" y="4"/>
                          </a:lnTo>
                          <a:lnTo>
                            <a:pt x="20" y="4"/>
                          </a:lnTo>
                          <a:lnTo>
                            <a:pt x="18" y="4"/>
                          </a:lnTo>
                          <a:lnTo>
                            <a:pt x="24" y="2"/>
                          </a:lnTo>
                          <a:lnTo>
                            <a:pt x="36" y="1"/>
                          </a:lnTo>
                          <a:lnTo>
                            <a:pt x="46" y="0"/>
                          </a:lnTo>
                          <a:lnTo>
                            <a:pt x="51" y="1"/>
                          </a:lnTo>
                          <a:lnTo>
                            <a:pt x="58" y="0"/>
                          </a:lnTo>
                          <a:lnTo>
                            <a:pt x="62" y="1"/>
                          </a:lnTo>
                          <a:lnTo>
                            <a:pt x="64" y="5"/>
                          </a:lnTo>
                          <a:lnTo>
                            <a:pt x="57" y="6"/>
                          </a:lnTo>
                          <a:lnTo>
                            <a:pt x="58" y="7"/>
                          </a:lnTo>
                          <a:lnTo>
                            <a:pt x="68" y="5"/>
                          </a:lnTo>
                          <a:lnTo>
                            <a:pt x="64" y="2"/>
                          </a:lnTo>
                          <a:lnTo>
                            <a:pt x="73" y="6"/>
                          </a:lnTo>
                          <a:lnTo>
                            <a:pt x="77" y="7"/>
                          </a:lnTo>
                          <a:lnTo>
                            <a:pt x="77" y="7"/>
                          </a:lnTo>
                          <a:lnTo>
                            <a:pt x="80" y="7"/>
                          </a:lnTo>
                          <a:lnTo>
                            <a:pt x="82" y="2"/>
                          </a:lnTo>
                          <a:lnTo>
                            <a:pt x="84" y="4"/>
                          </a:lnTo>
                          <a:lnTo>
                            <a:pt x="85" y="2"/>
                          </a:lnTo>
                          <a:lnTo>
                            <a:pt x="87" y="2"/>
                          </a:lnTo>
                          <a:lnTo>
                            <a:pt x="90" y="2"/>
                          </a:lnTo>
                          <a:lnTo>
                            <a:pt x="90" y="4"/>
                          </a:lnTo>
                          <a:lnTo>
                            <a:pt x="90" y="5"/>
                          </a:lnTo>
                          <a:lnTo>
                            <a:pt x="91" y="6"/>
                          </a:lnTo>
                          <a:lnTo>
                            <a:pt x="93" y="7"/>
                          </a:lnTo>
                          <a:lnTo>
                            <a:pt x="95" y="7"/>
                          </a:lnTo>
                          <a:lnTo>
                            <a:pt x="95" y="6"/>
                          </a:lnTo>
                          <a:lnTo>
                            <a:pt x="95" y="7"/>
                          </a:lnTo>
                          <a:lnTo>
                            <a:pt x="96" y="7"/>
                          </a:lnTo>
                          <a:lnTo>
                            <a:pt x="97" y="7"/>
                          </a:lnTo>
                          <a:lnTo>
                            <a:pt x="97" y="9"/>
                          </a:lnTo>
                          <a:lnTo>
                            <a:pt x="97" y="11"/>
                          </a:lnTo>
                          <a:lnTo>
                            <a:pt x="97" y="11"/>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43" name="Freeform 99">
                      <a:extLst>
                        <a:ext uri="{FF2B5EF4-FFF2-40B4-BE49-F238E27FC236}">
                          <a16:creationId xmlns:a16="http://schemas.microsoft.com/office/drawing/2014/main" id="{97C41600-95E7-6C48-BC00-29F7D7F1A024}"/>
                        </a:ext>
                      </a:extLst>
                    </p:cNvPr>
                    <p:cNvSpPr>
                      <a:spLocks/>
                    </p:cNvSpPr>
                    <p:nvPr/>
                  </p:nvSpPr>
                  <p:spPr bwMode="auto">
                    <a:xfrm>
                      <a:off x="6704218" y="1775492"/>
                      <a:ext cx="102468" cy="50418"/>
                    </a:xfrm>
                    <a:custGeom>
                      <a:avLst/>
                      <a:gdLst>
                        <a:gd name="T0" fmla="*/ 43 w 70"/>
                        <a:gd name="T1" fmla="*/ 2 h 15"/>
                        <a:gd name="T2" fmla="*/ 43 w 70"/>
                        <a:gd name="T3" fmla="*/ 5 h 15"/>
                        <a:gd name="T4" fmla="*/ 47 w 70"/>
                        <a:gd name="T5" fmla="*/ 1 h 15"/>
                        <a:gd name="T6" fmla="*/ 54 w 70"/>
                        <a:gd name="T7" fmla="*/ 5 h 15"/>
                        <a:gd name="T8" fmla="*/ 64 w 70"/>
                        <a:gd name="T9" fmla="*/ 7 h 15"/>
                        <a:gd name="T10" fmla="*/ 65 w 70"/>
                        <a:gd name="T11" fmla="*/ 8 h 15"/>
                        <a:gd name="T12" fmla="*/ 65 w 70"/>
                        <a:gd name="T13" fmla="*/ 11 h 15"/>
                        <a:gd name="T14" fmla="*/ 70 w 70"/>
                        <a:gd name="T15" fmla="*/ 13 h 15"/>
                        <a:gd name="T16" fmla="*/ 54 w 70"/>
                        <a:gd name="T17" fmla="*/ 13 h 15"/>
                        <a:gd name="T18" fmla="*/ 39 w 70"/>
                        <a:gd name="T19" fmla="*/ 15 h 15"/>
                        <a:gd name="T20" fmla="*/ 24 w 70"/>
                        <a:gd name="T21" fmla="*/ 15 h 15"/>
                        <a:gd name="T22" fmla="*/ 11 w 70"/>
                        <a:gd name="T23" fmla="*/ 13 h 15"/>
                        <a:gd name="T24" fmla="*/ 0 w 70"/>
                        <a:gd name="T25" fmla="*/ 12 h 15"/>
                        <a:gd name="T26" fmla="*/ 3 w 70"/>
                        <a:gd name="T27" fmla="*/ 9 h 15"/>
                        <a:gd name="T28" fmla="*/ 11 w 70"/>
                        <a:gd name="T29" fmla="*/ 8 h 15"/>
                        <a:gd name="T30" fmla="*/ 7 w 70"/>
                        <a:gd name="T31" fmla="*/ 6 h 15"/>
                        <a:gd name="T32" fmla="*/ 13 w 70"/>
                        <a:gd name="T33" fmla="*/ 3 h 15"/>
                        <a:gd name="T34" fmla="*/ 26 w 70"/>
                        <a:gd name="T35" fmla="*/ 2 h 15"/>
                        <a:gd name="T36" fmla="*/ 26 w 70"/>
                        <a:gd name="T37" fmla="*/ 1 h 15"/>
                        <a:gd name="T38" fmla="*/ 31 w 70"/>
                        <a:gd name="T39" fmla="*/ 0 h 15"/>
                        <a:gd name="T40" fmla="*/ 35 w 70"/>
                        <a:gd name="T41" fmla="*/ 2 h 15"/>
                        <a:gd name="T42" fmla="*/ 43 w 70"/>
                        <a:gd name="T43" fmla="*/ 2 h 15"/>
                        <a:gd name="T44" fmla="*/ 43 w 70"/>
                        <a:gd name="T45" fmla="*/ 2 h 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70" h="15">
                          <a:moveTo>
                            <a:pt x="43" y="2"/>
                          </a:moveTo>
                          <a:lnTo>
                            <a:pt x="43" y="5"/>
                          </a:lnTo>
                          <a:lnTo>
                            <a:pt x="47" y="1"/>
                          </a:lnTo>
                          <a:lnTo>
                            <a:pt x="54" y="5"/>
                          </a:lnTo>
                          <a:lnTo>
                            <a:pt x="64" y="7"/>
                          </a:lnTo>
                          <a:lnTo>
                            <a:pt x="65" y="8"/>
                          </a:lnTo>
                          <a:lnTo>
                            <a:pt x="65" y="11"/>
                          </a:lnTo>
                          <a:lnTo>
                            <a:pt x="70" y="13"/>
                          </a:lnTo>
                          <a:lnTo>
                            <a:pt x="54" y="13"/>
                          </a:lnTo>
                          <a:lnTo>
                            <a:pt x="39" y="15"/>
                          </a:lnTo>
                          <a:lnTo>
                            <a:pt x="24" y="15"/>
                          </a:lnTo>
                          <a:lnTo>
                            <a:pt x="11" y="13"/>
                          </a:lnTo>
                          <a:lnTo>
                            <a:pt x="0" y="12"/>
                          </a:lnTo>
                          <a:lnTo>
                            <a:pt x="3" y="9"/>
                          </a:lnTo>
                          <a:lnTo>
                            <a:pt x="11" y="8"/>
                          </a:lnTo>
                          <a:lnTo>
                            <a:pt x="7" y="6"/>
                          </a:lnTo>
                          <a:lnTo>
                            <a:pt x="13" y="3"/>
                          </a:lnTo>
                          <a:lnTo>
                            <a:pt x="26" y="2"/>
                          </a:lnTo>
                          <a:lnTo>
                            <a:pt x="26" y="1"/>
                          </a:lnTo>
                          <a:lnTo>
                            <a:pt x="31" y="0"/>
                          </a:lnTo>
                          <a:lnTo>
                            <a:pt x="35" y="2"/>
                          </a:lnTo>
                          <a:lnTo>
                            <a:pt x="43" y="2"/>
                          </a:lnTo>
                          <a:lnTo>
                            <a:pt x="43" y="2"/>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44" name="Freeform 100">
                      <a:extLst>
                        <a:ext uri="{FF2B5EF4-FFF2-40B4-BE49-F238E27FC236}">
                          <a16:creationId xmlns:a16="http://schemas.microsoft.com/office/drawing/2014/main" id="{14C5D1C3-FC95-1A4E-B3F9-D1FA94EBEB60}"/>
                        </a:ext>
                      </a:extLst>
                    </p:cNvPr>
                    <p:cNvSpPr>
                      <a:spLocks/>
                    </p:cNvSpPr>
                    <p:nvPr/>
                  </p:nvSpPr>
                  <p:spPr bwMode="auto">
                    <a:xfrm>
                      <a:off x="6649123" y="1801793"/>
                      <a:ext cx="24117" cy="8039"/>
                    </a:xfrm>
                    <a:custGeom>
                      <a:avLst/>
                      <a:gdLst>
                        <a:gd name="T0" fmla="*/ 13 w 15"/>
                        <a:gd name="T1" fmla="*/ 3 h 5"/>
                        <a:gd name="T2" fmla="*/ 5 w 15"/>
                        <a:gd name="T3" fmla="*/ 5 h 5"/>
                        <a:gd name="T4" fmla="*/ 0 w 15"/>
                        <a:gd name="T5" fmla="*/ 2 h 5"/>
                        <a:gd name="T6" fmla="*/ 5 w 15"/>
                        <a:gd name="T7" fmla="*/ 0 h 5"/>
                        <a:gd name="T8" fmla="*/ 9 w 15"/>
                        <a:gd name="T9" fmla="*/ 1 h 5"/>
                        <a:gd name="T10" fmla="*/ 15 w 15"/>
                        <a:gd name="T11" fmla="*/ 2 h 5"/>
                        <a:gd name="T12" fmla="*/ 13 w 15"/>
                        <a:gd name="T13" fmla="*/ 3 h 5"/>
                        <a:gd name="T14" fmla="*/ 13 w 15"/>
                        <a:gd name="T15" fmla="*/ 3 h 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5" h="5">
                          <a:moveTo>
                            <a:pt x="13" y="3"/>
                          </a:moveTo>
                          <a:lnTo>
                            <a:pt x="5" y="5"/>
                          </a:lnTo>
                          <a:lnTo>
                            <a:pt x="0" y="2"/>
                          </a:lnTo>
                          <a:lnTo>
                            <a:pt x="5" y="0"/>
                          </a:lnTo>
                          <a:lnTo>
                            <a:pt x="9" y="1"/>
                          </a:lnTo>
                          <a:lnTo>
                            <a:pt x="15" y="2"/>
                          </a:lnTo>
                          <a:lnTo>
                            <a:pt x="13" y="3"/>
                          </a:lnTo>
                          <a:lnTo>
                            <a:pt x="13" y="3"/>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45" name="Freeform 101">
                      <a:extLst>
                        <a:ext uri="{FF2B5EF4-FFF2-40B4-BE49-F238E27FC236}">
                          <a16:creationId xmlns:a16="http://schemas.microsoft.com/office/drawing/2014/main" id="{FB847A0B-D856-9547-BB56-CA46EDBB69E0}"/>
                        </a:ext>
                      </a:extLst>
                    </p:cNvPr>
                    <p:cNvSpPr>
                      <a:spLocks/>
                    </p:cNvSpPr>
                    <p:nvPr/>
                  </p:nvSpPr>
                  <p:spPr bwMode="auto">
                    <a:xfrm>
                      <a:off x="6724689" y="1895044"/>
                      <a:ext cx="1608" cy="3215"/>
                    </a:xfrm>
                    <a:custGeom>
                      <a:avLst/>
                      <a:gdLst>
                        <a:gd name="T0" fmla="*/ 0 w 1"/>
                        <a:gd name="T1" fmla="*/ 0 h 2"/>
                        <a:gd name="T2" fmla="*/ 1 w 1"/>
                        <a:gd name="T3" fmla="*/ 2 h 2"/>
                        <a:gd name="T4" fmla="*/ 1 w 1"/>
                        <a:gd name="T5" fmla="*/ 0 h 2"/>
                        <a:gd name="T6" fmla="*/ 0 w 1"/>
                        <a:gd name="T7" fmla="*/ 0 h 2"/>
                        <a:gd name="T8" fmla="*/ 0 w 1"/>
                        <a:gd name="T9" fmla="*/ 0 h 2"/>
                      </a:gdLst>
                      <a:ahLst/>
                      <a:cxnLst>
                        <a:cxn ang="0">
                          <a:pos x="T0" y="T1"/>
                        </a:cxn>
                        <a:cxn ang="0">
                          <a:pos x="T2" y="T3"/>
                        </a:cxn>
                        <a:cxn ang="0">
                          <a:pos x="T4" y="T5"/>
                        </a:cxn>
                        <a:cxn ang="0">
                          <a:pos x="T6" y="T7"/>
                        </a:cxn>
                        <a:cxn ang="0">
                          <a:pos x="T8" y="T9"/>
                        </a:cxn>
                      </a:cxnLst>
                      <a:rect l="0" t="0" r="r" b="b"/>
                      <a:pathLst>
                        <a:path w="1" h="2">
                          <a:moveTo>
                            <a:pt x="0" y="0"/>
                          </a:moveTo>
                          <a:lnTo>
                            <a:pt x="1" y="2"/>
                          </a:lnTo>
                          <a:lnTo>
                            <a:pt x="1" y="0"/>
                          </a:lnTo>
                          <a:lnTo>
                            <a:pt x="0" y="0"/>
                          </a:lnTo>
                          <a:lnTo>
                            <a:pt x="0" y="0"/>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46" name="Freeform 102">
                      <a:extLst>
                        <a:ext uri="{FF2B5EF4-FFF2-40B4-BE49-F238E27FC236}">
                          <a16:creationId xmlns:a16="http://schemas.microsoft.com/office/drawing/2014/main" id="{21F2CAB8-D42A-FF47-A59E-38CD2537B9AB}"/>
                        </a:ext>
                      </a:extLst>
                    </p:cNvPr>
                    <p:cNvSpPr>
                      <a:spLocks/>
                    </p:cNvSpPr>
                    <p:nvPr/>
                  </p:nvSpPr>
                  <p:spPr bwMode="auto">
                    <a:xfrm>
                      <a:off x="6592850" y="2014020"/>
                      <a:ext cx="25724" cy="11254"/>
                    </a:xfrm>
                    <a:custGeom>
                      <a:avLst/>
                      <a:gdLst>
                        <a:gd name="T0" fmla="*/ 16 w 16"/>
                        <a:gd name="T1" fmla="*/ 7 h 7"/>
                        <a:gd name="T2" fmla="*/ 7 w 16"/>
                        <a:gd name="T3" fmla="*/ 4 h 7"/>
                        <a:gd name="T4" fmla="*/ 3 w 16"/>
                        <a:gd name="T5" fmla="*/ 4 h 7"/>
                        <a:gd name="T6" fmla="*/ 1 w 16"/>
                        <a:gd name="T7" fmla="*/ 3 h 7"/>
                        <a:gd name="T8" fmla="*/ 0 w 16"/>
                        <a:gd name="T9" fmla="*/ 2 h 7"/>
                        <a:gd name="T10" fmla="*/ 1 w 16"/>
                        <a:gd name="T11" fmla="*/ 1 h 7"/>
                        <a:gd name="T12" fmla="*/ 2 w 16"/>
                        <a:gd name="T13" fmla="*/ 0 h 7"/>
                        <a:gd name="T14" fmla="*/ 3 w 16"/>
                        <a:gd name="T15" fmla="*/ 1 h 7"/>
                        <a:gd name="T16" fmla="*/ 4 w 16"/>
                        <a:gd name="T17" fmla="*/ 1 h 7"/>
                        <a:gd name="T18" fmla="*/ 7 w 16"/>
                        <a:gd name="T19" fmla="*/ 1 h 7"/>
                        <a:gd name="T20" fmla="*/ 11 w 16"/>
                        <a:gd name="T21" fmla="*/ 1 h 7"/>
                        <a:gd name="T22" fmla="*/ 11 w 16"/>
                        <a:gd name="T23" fmla="*/ 3 h 7"/>
                        <a:gd name="T24" fmla="*/ 16 w 16"/>
                        <a:gd name="T25" fmla="*/ 7 h 7"/>
                        <a:gd name="T26" fmla="*/ 16 w 16"/>
                        <a:gd name="T27" fmla="*/ 7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6" h="7">
                          <a:moveTo>
                            <a:pt x="16" y="7"/>
                          </a:moveTo>
                          <a:lnTo>
                            <a:pt x="7" y="4"/>
                          </a:lnTo>
                          <a:lnTo>
                            <a:pt x="3" y="4"/>
                          </a:lnTo>
                          <a:lnTo>
                            <a:pt x="1" y="3"/>
                          </a:lnTo>
                          <a:lnTo>
                            <a:pt x="0" y="2"/>
                          </a:lnTo>
                          <a:lnTo>
                            <a:pt x="1" y="1"/>
                          </a:lnTo>
                          <a:lnTo>
                            <a:pt x="2" y="0"/>
                          </a:lnTo>
                          <a:lnTo>
                            <a:pt x="3" y="1"/>
                          </a:lnTo>
                          <a:lnTo>
                            <a:pt x="4" y="1"/>
                          </a:lnTo>
                          <a:lnTo>
                            <a:pt x="7" y="1"/>
                          </a:lnTo>
                          <a:lnTo>
                            <a:pt x="11" y="1"/>
                          </a:lnTo>
                          <a:lnTo>
                            <a:pt x="11" y="3"/>
                          </a:lnTo>
                          <a:lnTo>
                            <a:pt x="16" y="7"/>
                          </a:lnTo>
                          <a:lnTo>
                            <a:pt x="16" y="7"/>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47" name="Freeform 103">
                      <a:extLst>
                        <a:ext uri="{FF2B5EF4-FFF2-40B4-BE49-F238E27FC236}">
                          <a16:creationId xmlns:a16="http://schemas.microsoft.com/office/drawing/2014/main" id="{78CAB61A-1EA0-A24A-B7C5-4ED602BC7595}"/>
                        </a:ext>
                      </a:extLst>
                    </p:cNvPr>
                    <p:cNvSpPr>
                      <a:spLocks/>
                    </p:cNvSpPr>
                    <p:nvPr/>
                  </p:nvSpPr>
                  <p:spPr bwMode="auto">
                    <a:xfrm>
                      <a:off x="6625006" y="1919162"/>
                      <a:ext cx="20901" cy="27333"/>
                    </a:xfrm>
                    <a:custGeom>
                      <a:avLst/>
                      <a:gdLst>
                        <a:gd name="T0" fmla="*/ 8 w 13"/>
                        <a:gd name="T1" fmla="*/ 9 h 17"/>
                        <a:gd name="T2" fmla="*/ 6 w 13"/>
                        <a:gd name="T3" fmla="*/ 13 h 17"/>
                        <a:gd name="T4" fmla="*/ 10 w 13"/>
                        <a:gd name="T5" fmla="*/ 14 h 17"/>
                        <a:gd name="T6" fmla="*/ 9 w 13"/>
                        <a:gd name="T7" fmla="*/ 16 h 17"/>
                        <a:gd name="T8" fmla="*/ 9 w 13"/>
                        <a:gd name="T9" fmla="*/ 17 h 17"/>
                        <a:gd name="T10" fmla="*/ 7 w 13"/>
                        <a:gd name="T11" fmla="*/ 17 h 17"/>
                        <a:gd name="T12" fmla="*/ 4 w 13"/>
                        <a:gd name="T13" fmla="*/ 17 h 17"/>
                        <a:gd name="T14" fmla="*/ 4 w 13"/>
                        <a:gd name="T15" fmla="*/ 14 h 17"/>
                        <a:gd name="T16" fmla="*/ 4 w 13"/>
                        <a:gd name="T17" fmla="*/ 14 h 17"/>
                        <a:gd name="T18" fmla="*/ 2 w 13"/>
                        <a:gd name="T19" fmla="*/ 15 h 17"/>
                        <a:gd name="T20" fmla="*/ 1 w 13"/>
                        <a:gd name="T21" fmla="*/ 14 h 17"/>
                        <a:gd name="T22" fmla="*/ 3 w 13"/>
                        <a:gd name="T23" fmla="*/ 13 h 17"/>
                        <a:gd name="T24" fmla="*/ 6 w 13"/>
                        <a:gd name="T25" fmla="*/ 12 h 17"/>
                        <a:gd name="T26" fmla="*/ 6 w 13"/>
                        <a:gd name="T27" fmla="*/ 9 h 17"/>
                        <a:gd name="T28" fmla="*/ 0 w 13"/>
                        <a:gd name="T29" fmla="*/ 7 h 17"/>
                        <a:gd name="T30" fmla="*/ 2 w 13"/>
                        <a:gd name="T31" fmla="*/ 6 h 17"/>
                        <a:gd name="T32" fmla="*/ 4 w 13"/>
                        <a:gd name="T33" fmla="*/ 5 h 17"/>
                        <a:gd name="T34" fmla="*/ 8 w 13"/>
                        <a:gd name="T35" fmla="*/ 0 h 17"/>
                        <a:gd name="T36" fmla="*/ 9 w 13"/>
                        <a:gd name="T37" fmla="*/ 5 h 17"/>
                        <a:gd name="T38" fmla="*/ 13 w 13"/>
                        <a:gd name="T39" fmla="*/ 6 h 17"/>
                        <a:gd name="T40" fmla="*/ 9 w 13"/>
                        <a:gd name="T41" fmla="*/ 7 h 17"/>
                        <a:gd name="T42" fmla="*/ 8 w 13"/>
                        <a:gd name="T43" fmla="*/ 9 h 17"/>
                        <a:gd name="T44" fmla="*/ 8 w 13"/>
                        <a:gd name="T45" fmla="*/ 9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3" h="17">
                          <a:moveTo>
                            <a:pt x="8" y="9"/>
                          </a:moveTo>
                          <a:lnTo>
                            <a:pt x="6" y="13"/>
                          </a:lnTo>
                          <a:lnTo>
                            <a:pt x="10" y="14"/>
                          </a:lnTo>
                          <a:lnTo>
                            <a:pt x="9" y="16"/>
                          </a:lnTo>
                          <a:lnTo>
                            <a:pt x="9" y="17"/>
                          </a:lnTo>
                          <a:lnTo>
                            <a:pt x="7" y="17"/>
                          </a:lnTo>
                          <a:lnTo>
                            <a:pt x="4" y="17"/>
                          </a:lnTo>
                          <a:lnTo>
                            <a:pt x="4" y="14"/>
                          </a:lnTo>
                          <a:lnTo>
                            <a:pt x="4" y="14"/>
                          </a:lnTo>
                          <a:lnTo>
                            <a:pt x="2" y="15"/>
                          </a:lnTo>
                          <a:lnTo>
                            <a:pt x="1" y="14"/>
                          </a:lnTo>
                          <a:lnTo>
                            <a:pt x="3" y="13"/>
                          </a:lnTo>
                          <a:lnTo>
                            <a:pt x="6" y="12"/>
                          </a:lnTo>
                          <a:lnTo>
                            <a:pt x="6" y="9"/>
                          </a:lnTo>
                          <a:lnTo>
                            <a:pt x="0" y="7"/>
                          </a:lnTo>
                          <a:lnTo>
                            <a:pt x="2" y="6"/>
                          </a:lnTo>
                          <a:lnTo>
                            <a:pt x="4" y="5"/>
                          </a:lnTo>
                          <a:lnTo>
                            <a:pt x="8" y="0"/>
                          </a:lnTo>
                          <a:lnTo>
                            <a:pt x="9" y="5"/>
                          </a:lnTo>
                          <a:lnTo>
                            <a:pt x="13" y="6"/>
                          </a:lnTo>
                          <a:lnTo>
                            <a:pt x="9" y="7"/>
                          </a:lnTo>
                          <a:lnTo>
                            <a:pt x="8" y="9"/>
                          </a:lnTo>
                          <a:lnTo>
                            <a:pt x="8" y="9"/>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48" name="Freeform 104">
                      <a:extLst>
                        <a:ext uri="{FF2B5EF4-FFF2-40B4-BE49-F238E27FC236}">
                          <a16:creationId xmlns:a16="http://schemas.microsoft.com/office/drawing/2014/main" id="{23C16917-4DA7-9D49-B887-D80B2312CEFD}"/>
                        </a:ext>
                      </a:extLst>
                    </p:cNvPr>
                    <p:cNvSpPr>
                      <a:spLocks/>
                    </p:cNvSpPr>
                    <p:nvPr/>
                  </p:nvSpPr>
                  <p:spPr bwMode="auto">
                    <a:xfrm>
                      <a:off x="6459404" y="1809832"/>
                      <a:ext cx="22509" cy="3215"/>
                    </a:xfrm>
                    <a:custGeom>
                      <a:avLst/>
                      <a:gdLst>
                        <a:gd name="T0" fmla="*/ 14 w 14"/>
                        <a:gd name="T1" fmla="*/ 1 h 2"/>
                        <a:gd name="T2" fmla="*/ 13 w 14"/>
                        <a:gd name="T3" fmla="*/ 2 h 2"/>
                        <a:gd name="T4" fmla="*/ 0 w 14"/>
                        <a:gd name="T5" fmla="*/ 1 h 2"/>
                        <a:gd name="T6" fmla="*/ 4 w 14"/>
                        <a:gd name="T7" fmla="*/ 0 h 2"/>
                        <a:gd name="T8" fmla="*/ 5 w 14"/>
                        <a:gd name="T9" fmla="*/ 0 h 2"/>
                        <a:gd name="T10" fmla="*/ 14 w 14"/>
                        <a:gd name="T11" fmla="*/ 1 h 2"/>
                        <a:gd name="T12" fmla="*/ 14 w 14"/>
                        <a:gd name="T13" fmla="*/ 1 h 2"/>
                      </a:gdLst>
                      <a:ahLst/>
                      <a:cxnLst>
                        <a:cxn ang="0">
                          <a:pos x="T0" y="T1"/>
                        </a:cxn>
                        <a:cxn ang="0">
                          <a:pos x="T2" y="T3"/>
                        </a:cxn>
                        <a:cxn ang="0">
                          <a:pos x="T4" y="T5"/>
                        </a:cxn>
                        <a:cxn ang="0">
                          <a:pos x="T6" y="T7"/>
                        </a:cxn>
                        <a:cxn ang="0">
                          <a:pos x="T8" y="T9"/>
                        </a:cxn>
                        <a:cxn ang="0">
                          <a:pos x="T10" y="T11"/>
                        </a:cxn>
                        <a:cxn ang="0">
                          <a:pos x="T12" y="T13"/>
                        </a:cxn>
                      </a:cxnLst>
                      <a:rect l="0" t="0" r="r" b="b"/>
                      <a:pathLst>
                        <a:path w="14" h="2">
                          <a:moveTo>
                            <a:pt x="14" y="1"/>
                          </a:moveTo>
                          <a:lnTo>
                            <a:pt x="13" y="2"/>
                          </a:lnTo>
                          <a:lnTo>
                            <a:pt x="0" y="1"/>
                          </a:lnTo>
                          <a:lnTo>
                            <a:pt x="4" y="0"/>
                          </a:lnTo>
                          <a:lnTo>
                            <a:pt x="5" y="0"/>
                          </a:lnTo>
                          <a:lnTo>
                            <a:pt x="14" y="1"/>
                          </a:lnTo>
                          <a:lnTo>
                            <a:pt x="14" y="1"/>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49" name="Freeform 105">
                      <a:extLst>
                        <a:ext uri="{FF2B5EF4-FFF2-40B4-BE49-F238E27FC236}">
                          <a16:creationId xmlns:a16="http://schemas.microsoft.com/office/drawing/2014/main" id="{986DDC60-D3B9-6B48-9A28-749ED586CE29}"/>
                        </a:ext>
                      </a:extLst>
                    </p:cNvPr>
                    <p:cNvSpPr>
                      <a:spLocks/>
                    </p:cNvSpPr>
                    <p:nvPr/>
                  </p:nvSpPr>
                  <p:spPr bwMode="auto">
                    <a:xfrm>
                      <a:off x="6625006" y="2004375"/>
                      <a:ext cx="11254" cy="9647"/>
                    </a:xfrm>
                    <a:custGeom>
                      <a:avLst/>
                      <a:gdLst>
                        <a:gd name="T0" fmla="*/ 7 w 7"/>
                        <a:gd name="T1" fmla="*/ 6 h 6"/>
                        <a:gd name="T2" fmla="*/ 6 w 7"/>
                        <a:gd name="T3" fmla="*/ 2 h 6"/>
                        <a:gd name="T4" fmla="*/ 1 w 7"/>
                        <a:gd name="T5" fmla="*/ 0 h 6"/>
                        <a:gd name="T6" fmla="*/ 0 w 7"/>
                        <a:gd name="T7" fmla="*/ 2 h 6"/>
                        <a:gd name="T8" fmla="*/ 2 w 7"/>
                        <a:gd name="T9" fmla="*/ 4 h 6"/>
                        <a:gd name="T10" fmla="*/ 7 w 7"/>
                        <a:gd name="T11" fmla="*/ 6 h 6"/>
                        <a:gd name="T12" fmla="*/ 7 w 7"/>
                        <a:gd name="T13" fmla="*/ 6 h 6"/>
                      </a:gdLst>
                      <a:ahLst/>
                      <a:cxnLst>
                        <a:cxn ang="0">
                          <a:pos x="T0" y="T1"/>
                        </a:cxn>
                        <a:cxn ang="0">
                          <a:pos x="T2" y="T3"/>
                        </a:cxn>
                        <a:cxn ang="0">
                          <a:pos x="T4" y="T5"/>
                        </a:cxn>
                        <a:cxn ang="0">
                          <a:pos x="T6" y="T7"/>
                        </a:cxn>
                        <a:cxn ang="0">
                          <a:pos x="T8" y="T9"/>
                        </a:cxn>
                        <a:cxn ang="0">
                          <a:pos x="T10" y="T11"/>
                        </a:cxn>
                        <a:cxn ang="0">
                          <a:pos x="T12" y="T13"/>
                        </a:cxn>
                      </a:cxnLst>
                      <a:rect l="0" t="0" r="r" b="b"/>
                      <a:pathLst>
                        <a:path w="7" h="6">
                          <a:moveTo>
                            <a:pt x="7" y="6"/>
                          </a:moveTo>
                          <a:lnTo>
                            <a:pt x="6" y="2"/>
                          </a:lnTo>
                          <a:lnTo>
                            <a:pt x="1" y="0"/>
                          </a:lnTo>
                          <a:lnTo>
                            <a:pt x="0" y="2"/>
                          </a:lnTo>
                          <a:lnTo>
                            <a:pt x="2" y="4"/>
                          </a:lnTo>
                          <a:lnTo>
                            <a:pt x="7" y="6"/>
                          </a:lnTo>
                          <a:lnTo>
                            <a:pt x="7" y="6"/>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50" name="Freeform 106">
                      <a:extLst>
                        <a:ext uri="{FF2B5EF4-FFF2-40B4-BE49-F238E27FC236}">
                          <a16:creationId xmlns:a16="http://schemas.microsoft.com/office/drawing/2014/main" id="{27425BBF-572E-E947-B148-900F1BD1E84A}"/>
                        </a:ext>
                      </a:extLst>
                    </p:cNvPr>
                    <p:cNvSpPr>
                      <a:spLocks/>
                    </p:cNvSpPr>
                    <p:nvPr/>
                  </p:nvSpPr>
                  <p:spPr bwMode="auto">
                    <a:xfrm>
                      <a:off x="6436895" y="1991511"/>
                      <a:ext cx="32156" cy="12862"/>
                    </a:xfrm>
                    <a:custGeom>
                      <a:avLst/>
                      <a:gdLst>
                        <a:gd name="T0" fmla="*/ 20 w 20"/>
                        <a:gd name="T1" fmla="*/ 0 h 8"/>
                        <a:gd name="T2" fmla="*/ 18 w 20"/>
                        <a:gd name="T3" fmla="*/ 4 h 8"/>
                        <a:gd name="T4" fmla="*/ 6 w 20"/>
                        <a:gd name="T5" fmla="*/ 8 h 8"/>
                        <a:gd name="T6" fmla="*/ 1 w 20"/>
                        <a:gd name="T7" fmla="*/ 4 h 8"/>
                        <a:gd name="T8" fmla="*/ 0 w 20"/>
                        <a:gd name="T9" fmla="*/ 0 h 8"/>
                        <a:gd name="T10" fmla="*/ 6 w 20"/>
                        <a:gd name="T11" fmla="*/ 1 h 8"/>
                        <a:gd name="T12" fmla="*/ 20 w 20"/>
                        <a:gd name="T13" fmla="*/ 0 h 8"/>
                        <a:gd name="T14" fmla="*/ 20 w 20"/>
                        <a:gd name="T15" fmla="*/ 0 h 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0" h="8">
                          <a:moveTo>
                            <a:pt x="20" y="0"/>
                          </a:moveTo>
                          <a:lnTo>
                            <a:pt x="18" y="4"/>
                          </a:lnTo>
                          <a:lnTo>
                            <a:pt x="6" y="8"/>
                          </a:lnTo>
                          <a:lnTo>
                            <a:pt x="1" y="4"/>
                          </a:lnTo>
                          <a:lnTo>
                            <a:pt x="0" y="0"/>
                          </a:lnTo>
                          <a:lnTo>
                            <a:pt x="6" y="1"/>
                          </a:lnTo>
                          <a:lnTo>
                            <a:pt x="20" y="0"/>
                          </a:lnTo>
                          <a:lnTo>
                            <a:pt x="20" y="0"/>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51" name="Freeform 107">
                      <a:extLst>
                        <a:ext uri="{FF2B5EF4-FFF2-40B4-BE49-F238E27FC236}">
                          <a16:creationId xmlns:a16="http://schemas.microsoft.com/office/drawing/2014/main" id="{9600C4D0-4445-404E-9DE1-30CDD502B829}"/>
                        </a:ext>
                      </a:extLst>
                    </p:cNvPr>
                    <p:cNvSpPr>
                      <a:spLocks/>
                    </p:cNvSpPr>
                    <p:nvPr/>
                  </p:nvSpPr>
                  <p:spPr bwMode="auto">
                    <a:xfrm>
                      <a:off x="5846837" y="1813048"/>
                      <a:ext cx="80389" cy="8039"/>
                    </a:xfrm>
                    <a:custGeom>
                      <a:avLst/>
                      <a:gdLst>
                        <a:gd name="T0" fmla="*/ 21 w 50"/>
                        <a:gd name="T1" fmla="*/ 5 h 5"/>
                        <a:gd name="T2" fmla="*/ 18 w 50"/>
                        <a:gd name="T3" fmla="*/ 5 h 5"/>
                        <a:gd name="T4" fmla="*/ 13 w 50"/>
                        <a:gd name="T5" fmla="*/ 5 h 5"/>
                        <a:gd name="T6" fmla="*/ 11 w 50"/>
                        <a:gd name="T7" fmla="*/ 5 h 5"/>
                        <a:gd name="T8" fmla="*/ 4 w 50"/>
                        <a:gd name="T9" fmla="*/ 5 h 5"/>
                        <a:gd name="T10" fmla="*/ 1 w 50"/>
                        <a:gd name="T11" fmla="*/ 4 h 5"/>
                        <a:gd name="T12" fmla="*/ 0 w 50"/>
                        <a:gd name="T13" fmla="*/ 2 h 5"/>
                        <a:gd name="T14" fmla="*/ 3 w 50"/>
                        <a:gd name="T15" fmla="*/ 2 h 5"/>
                        <a:gd name="T16" fmla="*/ 6 w 50"/>
                        <a:gd name="T17" fmla="*/ 1 h 5"/>
                        <a:gd name="T18" fmla="*/ 12 w 50"/>
                        <a:gd name="T19" fmla="*/ 1 h 5"/>
                        <a:gd name="T20" fmla="*/ 16 w 50"/>
                        <a:gd name="T21" fmla="*/ 1 h 5"/>
                        <a:gd name="T22" fmla="*/ 24 w 50"/>
                        <a:gd name="T23" fmla="*/ 0 h 5"/>
                        <a:gd name="T24" fmla="*/ 30 w 50"/>
                        <a:gd name="T25" fmla="*/ 0 h 5"/>
                        <a:gd name="T26" fmla="*/ 33 w 50"/>
                        <a:gd name="T27" fmla="*/ 0 h 5"/>
                        <a:gd name="T28" fmla="*/ 47 w 50"/>
                        <a:gd name="T29" fmla="*/ 1 h 5"/>
                        <a:gd name="T30" fmla="*/ 50 w 50"/>
                        <a:gd name="T31" fmla="*/ 2 h 5"/>
                        <a:gd name="T32" fmla="*/ 44 w 50"/>
                        <a:gd name="T33" fmla="*/ 2 h 5"/>
                        <a:gd name="T34" fmla="*/ 39 w 50"/>
                        <a:gd name="T35" fmla="*/ 1 h 5"/>
                        <a:gd name="T36" fmla="*/ 28 w 50"/>
                        <a:gd name="T37" fmla="*/ 1 h 5"/>
                        <a:gd name="T38" fmla="*/ 24 w 50"/>
                        <a:gd name="T39" fmla="*/ 1 h 5"/>
                        <a:gd name="T40" fmla="*/ 21 w 50"/>
                        <a:gd name="T41" fmla="*/ 2 h 5"/>
                        <a:gd name="T42" fmla="*/ 20 w 50"/>
                        <a:gd name="T43" fmla="*/ 4 h 5"/>
                        <a:gd name="T44" fmla="*/ 24 w 50"/>
                        <a:gd name="T45" fmla="*/ 5 h 5"/>
                        <a:gd name="T46" fmla="*/ 21 w 50"/>
                        <a:gd name="T47" fmla="*/ 5 h 5"/>
                        <a:gd name="T48" fmla="*/ 21 w 50"/>
                        <a:gd name="T49" fmla="*/ 5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50" h="5">
                          <a:moveTo>
                            <a:pt x="21" y="5"/>
                          </a:moveTo>
                          <a:lnTo>
                            <a:pt x="18" y="5"/>
                          </a:lnTo>
                          <a:lnTo>
                            <a:pt x="13" y="5"/>
                          </a:lnTo>
                          <a:lnTo>
                            <a:pt x="11" y="5"/>
                          </a:lnTo>
                          <a:lnTo>
                            <a:pt x="4" y="5"/>
                          </a:lnTo>
                          <a:lnTo>
                            <a:pt x="1" y="4"/>
                          </a:lnTo>
                          <a:lnTo>
                            <a:pt x="0" y="2"/>
                          </a:lnTo>
                          <a:lnTo>
                            <a:pt x="3" y="2"/>
                          </a:lnTo>
                          <a:lnTo>
                            <a:pt x="6" y="1"/>
                          </a:lnTo>
                          <a:lnTo>
                            <a:pt x="12" y="1"/>
                          </a:lnTo>
                          <a:lnTo>
                            <a:pt x="16" y="1"/>
                          </a:lnTo>
                          <a:lnTo>
                            <a:pt x="24" y="0"/>
                          </a:lnTo>
                          <a:lnTo>
                            <a:pt x="30" y="0"/>
                          </a:lnTo>
                          <a:lnTo>
                            <a:pt x="33" y="0"/>
                          </a:lnTo>
                          <a:lnTo>
                            <a:pt x="47" y="1"/>
                          </a:lnTo>
                          <a:lnTo>
                            <a:pt x="50" y="2"/>
                          </a:lnTo>
                          <a:lnTo>
                            <a:pt x="44" y="2"/>
                          </a:lnTo>
                          <a:lnTo>
                            <a:pt x="39" y="1"/>
                          </a:lnTo>
                          <a:lnTo>
                            <a:pt x="28" y="1"/>
                          </a:lnTo>
                          <a:lnTo>
                            <a:pt x="24" y="1"/>
                          </a:lnTo>
                          <a:lnTo>
                            <a:pt x="21" y="2"/>
                          </a:lnTo>
                          <a:lnTo>
                            <a:pt x="20" y="4"/>
                          </a:lnTo>
                          <a:lnTo>
                            <a:pt x="24" y="5"/>
                          </a:lnTo>
                          <a:lnTo>
                            <a:pt x="21" y="5"/>
                          </a:lnTo>
                          <a:lnTo>
                            <a:pt x="21" y="5"/>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52" name="Freeform 108">
                      <a:extLst>
                        <a:ext uri="{FF2B5EF4-FFF2-40B4-BE49-F238E27FC236}">
                          <a16:creationId xmlns:a16="http://schemas.microsoft.com/office/drawing/2014/main" id="{45FA510D-E011-B844-A8DA-D34D6441AD89}"/>
                        </a:ext>
                      </a:extLst>
                    </p:cNvPr>
                    <p:cNvSpPr>
                      <a:spLocks/>
                    </p:cNvSpPr>
                    <p:nvPr/>
                  </p:nvSpPr>
                  <p:spPr bwMode="auto">
                    <a:xfrm>
                      <a:off x="5901502" y="1814655"/>
                      <a:ext cx="86821" cy="19294"/>
                    </a:xfrm>
                    <a:custGeom>
                      <a:avLst/>
                      <a:gdLst>
                        <a:gd name="T0" fmla="*/ 53 w 54"/>
                        <a:gd name="T1" fmla="*/ 4 h 12"/>
                        <a:gd name="T2" fmla="*/ 49 w 54"/>
                        <a:gd name="T3" fmla="*/ 5 h 12"/>
                        <a:gd name="T4" fmla="*/ 42 w 54"/>
                        <a:gd name="T5" fmla="*/ 4 h 12"/>
                        <a:gd name="T6" fmla="*/ 38 w 54"/>
                        <a:gd name="T7" fmla="*/ 5 h 12"/>
                        <a:gd name="T8" fmla="*/ 42 w 54"/>
                        <a:gd name="T9" fmla="*/ 5 h 12"/>
                        <a:gd name="T10" fmla="*/ 42 w 54"/>
                        <a:gd name="T11" fmla="*/ 6 h 12"/>
                        <a:gd name="T12" fmla="*/ 38 w 54"/>
                        <a:gd name="T13" fmla="*/ 7 h 12"/>
                        <a:gd name="T14" fmla="*/ 34 w 54"/>
                        <a:gd name="T15" fmla="*/ 6 h 12"/>
                        <a:gd name="T16" fmla="*/ 30 w 54"/>
                        <a:gd name="T17" fmla="*/ 6 h 12"/>
                        <a:gd name="T18" fmla="*/ 24 w 54"/>
                        <a:gd name="T19" fmla="*/ 6 h 12"/>
                        <a:gd name="T20" fmla="*/ 29 w 54"/>
                        <a:gd name="T21" fmla="*/ 7 h 12"/>
                        <a:gd name="T22" fmla="*/ 30 w 54"/>
                        <a:gd name="T23" fmla="*/ 8 h 12"/>
                        <a:gd name="T24" fmla="*/ 27 w 54"/>
                        <a:gd name="T25" fmla="*/ 8 h 12"/>
                        <a:gd name="T26" fmla="*/ 25 w 54"/>
                        <a:gd name="T27" fmla="*/ 11 h 12"/>
                        <a:gd name="T28" fmla="*/ 24 w 54"/>
                        <a:gd name="T29" fmla="*/ 11 h 12"/>
                        <a:gd name="T30" fmla="*/ 20 w 54"/>
                        <a:gd name="T31" fmla="*/ 11 h 12"/>
                        <a:gd name="T32" fmla="*/ 18 w 54"/>
                        <a:gd name="T33" fmla="*/ 12 h 12"/>
                        <a:gd name="T34" fmla="*/ 17 w 54"/>
                        <a:gd name="T35" fmla="*/ 11 h 12"/>
                        <a:gd name="T36" fmla="*/ 16 w 54"/>
                        <a:gd name="T37" fmla="*/ 10 h 12"/>
                        <a:gd name="T38" fmla="*/ 13 w 54"/>
                        <a:gd name="T39" fmla="*/ 8 h 12"/>
                        <a:gd name="T40" fmla="*/ 9 w 54"/>
                        <a:gd name="T41" fmla="*/ 10 h 12"/>
                        <a:gd name="T42" fmla="*/ 6 w 54"/>
                        <a:gd name="T43" fmla="*/ 8 h 12"/>
                        <a:gd name="T44" fmla="*/ 3 w 54"/>
                        <a:gd name="T45" fmla="*/ 8 h 12"/>
                        <a:gd name="T46" fmla="*/ 5 w 54"/>
                        <a:gd name="T47" fmla="*/ 7 h 12"/>
                        <a:gd name="T48" fmla="*/ 7 w 54"/>
                        <a:gd name="T49" fmla="*/ 6 h 12"/>
                        <a:gd name="T50" fmla="*/ 11 w 54"/>
                        <a:gd name="T51" fmla="*/ 6 h 12"/>
                        <a:gd name="T52" fmla="*/ 11 w 54"/>
                        <a:gd name="T53" fmla="*/ 5 h 12"/>
                        <a:gd name="T54" fmla="*/ 7 w 54"/>
                        <a:gd name="T55" fmla="*/ 5 h 12"/>
                        <a:gd name="T56" fmla="*/ 2 w 54"/>
                        <a:gd name="T57" fmla="*/ 5 h 12"/>
                        <a:gd name="T58" fmla="*/ 0 w 54"/>
                        <a:gd name="T59" fmla="*/ 4 h 12"/>
                        <a:gd name="T60" fmla="*/ 4 w 54"/>
                        <a:gd name="T61" fmla="*/ 3 h 12"/>
                        <a:gd name="T62" fmla="*/ 10 w 54"/>
                        <a:gd name="T63" fmla="*/ 3 h 12"/>
                        <a:gd name="T64" fmla="*/ 14 w 54"/>
                        <a:gd name="T65" fmla="*/ 3 h 12"/>
                        <a:gd name="T66" fmla="*/ 19 w 54"/>
                        <a:gd name="T67" fmla="*/ 4 h 12"/>
                        <a:gd name="T68" fmla="*/ 24 w 54"/>
                        <a:gd name="T69" fmla="*/ 3 h 12"/>
                        <a:gd name="T70" fmla="*/ 29 w 54"/>
                        <a:gd name="T71" fmla="*/ 3 h 12"/>
                        <a:gd name="T72" fmla="*/ 30 w 54"/>
                        <a:gd name="T73" fmla="*/ 3 h 12"/>
                        <a:gd name="T74" fmla="*/ 31 w 54"/>
                        <a:gd name="T75" fmla="*/ 1 h 12"/>
                        <a:gd name="T76" fmla="*/ 37 w 54"/>
                        <a:gd name="T77" fmla="*/ 1 h 12"/>
                        <a:gd name="T78" fmla="*/ 32 w 54"/>
                        <a:gd name="T79" fmla="*/ 0 h 12"/>
                        <a:gd name="T80" fmla="*/ 31 w 54"/>
                        <a:gd name="T81" fmla="*/ 0 h 12"/>
                        <a:gd name="T82" fmla="*/ 36 w 54"/>
                        <a:gd name="T83" fmla="*/ 0 h 12"/>
                        <a:gd name="T84" fmla="*/ 39 w 54"/>
                        <a:gd name="T85" fmla="*/ 0 h 12"/>
                        <a:gd name="T86" fmla="*/ 44 w 54"/>
                        <a:gd name="T87" fmla="*/ 0 h 12"/>
                        <a:gd name="T88" fmla="*/ 45 w 54"/>
                        <a:gd name="T89" fmla="*/ 0 h 12"/>
                        <a:gd name="T90" fmla="*/ 43 w 54"/>
                        <a:gd name="T91" fmla="*/ 0 h 12"/>
                        <a:gd name="T92" fmla="*/ 39 w 54"/>
                        <a:gd name="T93" fmla="*/ 1 h 12"/>
                        <a:gd name="T94" fmla="*/ 45 w 54"/>
                        <a:gd name="T95" fmla="*/ 1 h 12"/>
                        <a:gd name="T96" fmla="*/ 52 w 54"/>
                        <a:gd name="T97" fmla="*/ 1 h 12"/>
                        <a:gd name="T98" fmla="*/ 54 w 54"/>
                        <a:gd name="T99" fmla="*/ 3 h 12"/>
                        <a:gd name="T100" fmla="*/ 53 w 54"/>
                        <a:gd name="T101" fmla="*/ 4 h 12"/>
                        <a:gd name="T102" fmla="*/ 53 w 54"/>
                        <a:gd name="T103" fmla="*/ 4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54" h="12">
                          <a:moveTo>
                            <a:pt x="53" y="4"/>
                          </a:moveTo>
                          <a:lnTo>
                            <a:pt x="49" y="5"/>
                          </a:lnTo>
                          <a:lnTo>
                            <a:pt x="42" y="4"/>
                          </a:lnTo>
                          <a:lnTo>
                            <a:pt x="38" y="5"/>
                          </a:lnTo>
                          <a:lnTo>
                            <a:pt x="42" y="5"/>
                          </a:lnTo>
                          <a:lnTo>
                            <a:pt x="42" y="6"/>
                          </a:lnTo>
                          <a:lnTo>
                            <a:pt x="38" y="7"/>
                          </a:lnTo>
                          <a:lnTo>
                            <a:pt x="34" y="6"/>
                          </a:lnTo>
                          <a:lnTo>
                            <a:pt x="30" y="6"/>
                          </a:lnTo>
                          <a:lnTo>
                            <a:pt x="24" y="6"/>
                          </a:lnTo>
                          <a:lnTo>
                            <a:pt x="29" y="7"/>
                          </a:lnTo>
                          <a:lnTo>
                            <a:pt x="30" y="8"/>
                          </a:lnTo>
                          <a:lnTo>
                            <a:pt x="27" y="8"/>
                          </a:lnTo>
                          <a:lnTo>
                            <a:pt x="25" y="11"/>
                          </a:lnTo>
                          <a:lnTo>
                            <a:pt x="24" y="11"/>
                          </a:lnTo>
                          <a:lnTo>
                            <a:pt x="20" y="11"/>
                          </a:lnTo>
                          <a:lnTo>
                            <a:pt x="18" y="12"/>
                          </a:lnTo>
                          <a:lnTo>
                            <a:pt x="17" y="11"/>
                          </a:lnTo>
                          <a:lnTo>
                            <a:pt x="16" y="10"/>
                          </a:lnTo>
                          <a:lnTo>
                            <a:pt x="13" y="8"/>
                          </a:lnTo>
                          <a:lnTo>
                            <a:pt x="9" y="10"/>
                          </a:lnTo>
                          <a:lnTo>
                            <a:pt x="6" y="8"/>
                          </a:lnTo>
                          <a:lnTo>
                            <a:pt x="3" y="8"/>
                          </a:lnTo>
                          <a:lnTo>
                            <a:pt x="5" y="7"/>
                          </a:lnTo>
                          <a:lnTo>
                            <a:pt x="7" y="6"/>
                          </a:lnTo>
                          <a:lnTo>
                            <a:pt x="11" y="6"/>
                          </a:lnTo>
                          <a:lnTo>
                            <a:pt x="11" y="5"/>
                          </a:lnTo>
                          <a:lnTo>
                            <a:pt x="7" y="5"/>
                          </a:lnTo>
                          <a:lnTo>
                            <a:pt x="2" y="5"/>
                          </a:lnTo>
                          <a:lnTo>
                            <a:pt x="0" y="4"/>
                          </a:lnTo>
                          <a:lnTo>
                            <a:pt x="4" y="3"/>
                          </a:lnTo>
                          <a:lnTo>
                            <a:pt x="10" y="3"/>
                          </a:lnTo>
                          <a:lnTo>
                            <a:pt x="14" y="3"/>
                          </a:lnTo>
                          <a:lnTo>
                            <a:pt x="19" y="4"/>
                          </a:lnTo>
                          <a:lnTo>
                            <a:pt x="24" y="3"/>
                          </a:lnTo>
                          <a:lnTo>
                            <a:pt x="29" y="3"/>
                          </a:lnTo>
                          <a:lnTo>
                            <a:pt x="30" y="3"/>
                          </a:lnTo>
                          <a:lnTo>
                            <a:pt x="31" y="1"/>
                          </a:lnTo>
                          <a:lnTo>
                            <a:pt x="37" y="1"/>
                          </a:lnTo>
                          <a:lnTo>
                            <a:pt x="32" y="0"/>
                          </a:lnTo>
                          <a:lnTo>
                            <a:pt x="31" y="0"/>
                          </a:lnTo>
                          <a:lnTo>
                            <a:pt x="36" y="0"/>
                          </a:lnTo>
                          <a:lnTo>
                            <a:pt x="39" y="0"/>
                          </a:lnTo>
                          <a:lnTo>
                            <a:pt x="44" y="0"/>
                          </a:lnTo>
                          <a:lnTo>
                            <a:pt x="45" y="0"/>
                          </a:lnTo>
                          <a:lnTo>
                            <a:pt x="43" y="0"/>
                          </a:lnTo>
                          <a:lnTo>
                            <a:pt x="39" y="1"/>
                          </a:lnTo>
                          <a:lnTo>
                            <a:pt x="45" y="1"/>
                          </a:lnTo>
                          <a:lnTo>
                            <a:pt x="52" y="1"/>
                          </a:lnTo>
                          <a:lnTo>
                            <a:pt x="54" y="3"/>
                          </a:lnTo>
                          <a:lnTo>
                            <a:pt x="53" y="4"/>
                          </a:lnTo>
                          <a:lnTo>
                            <a:pt x="53" y="4"/>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53" name="Freeform 109">
                      <a:extLst>
                        <a:ext uri="{FF2B5EF4-FFF2-40B4-BE49-F238E27FC236}">
                          <a16:creationId xmlns:a16="http://schemas.microsoft.com/office/drawing/2014/main" id="{1ACE917B-A6C5-EB4F-B3B2-8509C53C16EC}"/>
                        </a:ext>
                      </a:extLst>
                    </p:cNvPr>
                    <p:cNvSpPr>
                      <a:spLocks/>
                    </p:cNvSpPr>
                    <p:nvPr/>
                  </p:nvSpPr>
                  <p:spPr bwMode="auto">
                    <a:xfrm>
                      <a:off x="6002792" y="1821087"/>
                      <a:ext cx="24117" cy="6432"/>
                    </a:xfrm>
                    <a:custGeom>
                      <a:avLst/>
                      <a:gdLst>
                        <a:gd name="T0" fmla="*/ 11 w 15"/>
                        <a:gd name="T1" fmla="*/ 1 h 4"/>
                        <a:gd name="T2" fmla="*/ 15 w 15"/>
                        <a:gd name="T3" fmla="*/ 3 h 4"/>
                        <a:gd name="T4" fmla="*/ 13 w 15"/>
                        <a:gd name="T5" fmla="*/ 4 h 4"/>
                        <a:gd name="T6" fmla="*/ 8 w 15"/>
                        <a:gd name="T7" fmla="*/ 4 h 4"/>
                        <a:gd name="T8" fmla="*/ 3 w 15"/>
                        <a:gd name="T9" fmla="*/ 3 h 4"/>
                        <a:gd name="T10" fmla="*/ 0 w 15"/>
                        <a:gd name="T11" fmla="*/ 3 h 4"/>
                        <a:gd name="T12" fmla="*/ 4 w 15"/>
                        <a:gd name="T13" fmla="*/ 1 h 4"/>
                        <a:gd name="T14" fmla="*/ 4 w 15"/>
                        <a:gd name="T15" fmla="*/ 1 h 4"/>
                        <a:gd name="T16" fmla="*/ 6 w 15"/>
                        <a:gd name="T17" fmla="*/ 0 h 4"/>
                        <a:gd name="T18" fmla="*/ 7 w 15"/>
                        <a:gd name="T19" fmla="*/ 0 h 4"/>
                        <a:gd name="T20" fmla="*/ 11 w 15"/>
                        <a:gd name="T21" fmla="*/ 1 h 4"/>
                        <a:gd name="T22" fmla="*/ 11 w 15"/>
                        <a:gd name="T23" fmla="*/ 1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5" h="4">
                          <a:moveTo>
                            <a:pt x="11" y="1"/>
                          </a:moveTo>
                          <a:lnTo>
                            <a:pt x="15" y="3"/>
                          </a:lnTo>
                          <a:lnTo>
                            <a:pt x="13" y="4"/>
                          </a:lnTo>
                          <a:lnTo>
                            <a:pt x="8" y="4"/>
                          </a:lnTo>
                          <a:lnTo>
                            <a:pt x="3" y="3"/>
                          </a:lnTo>
                          <a:lnTo>
                            <a:pt x="0" y="3"/>
                          </a:lnTo>
                          <a:lnTo>
                            <a:pt x="4" y="1"/>
                          </a:lnTo>
                          <a:lnTo>
                            <a:pt x="4" y="1"/>
                          </a:lnTo>
                          <a:lnTo>
                            <a:pt x="6" y="0"/>
                          </a:lnTo>
                          <a:lnTo>
                            <a:pt x="7" y="0"/>
                          </a:lnTo>
                          <a:lnTo>
                            <a:pt x="11" y="1"/>
                          </a:lnTo>
                          <a:lnTo>
                            <a:pt x="11" y="1"/>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54" name="Freeform 110">
                      <a:extLst>
                        <a:ext uri="{FF2B5EF4-FFF2-40B4-BE49-F238E27FC236}">
                          <a16:creationId xmlns:a16="http://schemas.microsoft.com/office/drawing/2014/main" id="{F5A9819F-E133-BD4C-AD79-21FB46FFEEDF}"/>
                        </a:ext>
                      </a:extLst>
                    </p:cNvPr>
                    <p:cNvSpPr>
                      <a:spLocks/>
                    </p:cNvSpPr>
                    <p:nvPr/>
                  </p:nvSpPr>
                  <p:spPr bwMode="auto">
                    <a:xfrm>
                      <a:off x="6033340" y="1806616"/>
                      <a:ext cx="57880" cy="9647"/>
                    </a:xfrm>
                    <a:custGeom>
                      <a:avLst/>
                      <a:gdLst>
                        <a:gd name="T0" fmla="*/ 2 w 36"/>
                        <a:gd name="T1" fmla="*/ 0 h 6"/>
                        <a:gd name="T2" fmla="*/ 10 w 36"/>
                        <a:gd name="T3" fmla="*/ 2 h 6"/>
                        <a:gd name="T4" fmla="*/ 14 w 36"/>
                        <a:gd name="T5" fmla="*/ 2 h 6"/>
                        <a:gd name="T6" fmla="*/ 20 w 36"/>
                        <a:gd name="T7" fmla="*/ 2 h 6"/>
                        <a:gd name="T8" fmla="*/ 25 w 36"/>
                        <a:gd name="T9" fmla="*/ 3 h 6"/>
                        <a:gd name="T10" fmla="*/ 34 w 36"/>
                        <a:gd name="T11" fmla="*/ 4 h 6"/>
                        <a:gd name="T12" fmla="*/ 36 w 36"/>
                        <a:gd name="T13" fmla="*/ 5 h 6"/>
                        <a:gd name="T14" fmla="*/ 30 w 36"/>
                        <a:gd name="T15" fmla="*/ 6 h 6"/>
                        <a:gd name="T16" fmla="*/ 27 w 36"/>
                        <a:gd name="T17" fmla="*/ 5 h 6"/>
                        <a:gd name="T18" fmla="*/ 23 w 36"/>
                        <a:gd name="T19" fmla="*/ 5 h 6"/>
                        <a:gd name="T20" fmla="*/ 14 w 36"/>
                        <a:gd name="T21" fmla="*/ 3 h 6"/>
                        <a:gd name="T22" fmla="*/ 10 w 36"/>
                        <a:gd name="T23" fmla="*/ 2 h 6"/>
                        <a:gd name="T24" fmla="*/ 3 w 36"/>
                        <a:gd name="T25" fmla="*/ 2 h 6"/>
                        <a:gd name="T26" fmla="*/ 0 w 36"/>
                        <a:gd name="T27" fmla="*/ 2 h 6"/>
                        <a:gd name="T28" fmla="*/ 2 w 36"/>
                        <a:gd name="T29" fmla="*/ 0 h 6"/>
                        <a:gd name="T30" fmla="*/ 2 w 36"/>
                        <a:gd name="T3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6" h="6">
                          <a:moveTo>
                            <a:pt x="2" y="0"/>
                          </a:moveTo>
                          <a:lnTo>
                            <a:pt x="10" y="2"/>
                          </a:lnTo>
                          <a:lnTo>
                            <a:pt x="14" y="2"/>
                          </a:lnTo>
                          <a:lnTo>
                            <a:pt x="20" y="2"/>
                          </a:lnTo>
                          <a:lnTo>
                            <a:pt x="25" y="3"/>
                          </a:lnTo>
                          <a:lnTo>
                            <a:pt x="34" y="4"/>
                          </a:lnTo>
                          <a:lnTo>
                            <a:pt x="36" y="5"/>
                          </a:lnTo>
                          <a:lnTo>
                            <a:pt x="30" y="6"/>
                          </a:lnTo>
                          <a:lnTo>
                            <a:pt x="27" y="5"/>
                          </a:lnTo>
                          <a:lnTo>
                            <a:pt x="23" y="5"/>
                          </a:lnTo>
                          <a:lnTo>
                            <a:pt x="14" y="3"/>
                          </a:lnTo>
                          <a:lnTo>
                            <a:pt x="10" y="2"/>
                          </a:lnTo>
                          <a:lnTo>
                            <a:pt x="3" y="2"/>
                          </a:lnTo>
                          <a:lnTo>
                            <a:pt x="0" y="2"/>
                          </a:lnTo>
                          <a:lnTo>
                            <a:pt x="2" y="0"/>
                          </a:lnTo>
                          <a:lnTo>
                            <a:pt x="2" y="0"/>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55" name="Freeform 111">
                      <a:extLst>
                        <a:ext uri="{FF2B5EF4-FFF2-40B4-BE49-F238E27FC236}">
                          <a16:creationId xmlns:a16="http://schemas.microsoft.com/office/drawing/2014/main" id="{D7D26FDF-FD90-B248-A905-3DE56FAAE27D}"/>
                        </a:ext>
                      </a:extLst>
                    </p:cNvPr>
                    <p:cNvSpPr>
                      <a:spLocks/>
                    </p:cNvSpPr>
                    <p:nvPr/>
                  </p:nvSpPr>
                  <p:spPr bwMode="auto">
                    <a:xfrm>
                      <a:off x="6028518" y="1811440"/>
                      <a:ext cx="28941" cy="3215"/>
                    </a:xfrm>
                    <a:custGeom>
                      <a:avLst/>
                      <a:gdLst>
                        <a:gd name="T0" fmla="*/ 3 w 18"/>
                        <a:gd name="T1" fmla="*/ 0 h 2"/>
                        <a:gd name="T2" fmla="*/ 5 w 18"/>
                        <a:gd name="T3" fmla="*/ 0 h 2"/>
                        <a:gd name="T4" fmla="*/ 8 w 18"/>
                        <a:gd name="T5" fmla="*/ 1 h 2"/>
                        <a:gd name="T6" fmla="*/ 14 w 18"/>
                        <a:gd name="T7" fmla="*/ 1 h 2"/>
                        <a:gd name="T8" fmla="*/ 18 w 18"/>
                        <a:gd name="T9" fmla="*/ 1 h 2"/>
                        <a:gd name="T10" fmla="*/ 14 w 18"/>
                        <a:gd name="T11" fmla="*/ 2 h 2"/>
                        <a:gd name="T12" fmla="*/ 10 w 18"/>
                        <a:gd name="T13" fmla="*/ 2 h 2"/>
                        <a:gd name="T14" fmla="*/ 5 w 18"/>
                        <a:gd name="T15" fmla="*/ 2 h 2"/>
                        <a:gd name="T16" fmla="*/ 0 w 18"/>
                        <a:gd name="T17" fmla="*/ 2 h 2"/>
                        <a:gd name="T18" fmla="*/ 3 w 18"/>
                        <a:gd name="T19" fmla="*/ 0 h 2"/>
                        <a:gd name="T20" fmla="*/ 3 w 18"/>
                        <a:gd name="T21"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8" h="2">
                          <a:moveTo>
                            <a:pt x="3" y="0"/>
                          </a:moveTo>
                          <a:lnTo>
                            <a:pt x="5" y="0"/>
                          </a:lnTo>
                          <a:lnTo>
                            <a:pt x="8" y="1"/>
                          </a:lnTo>
                          <a:lnTo>
                            <a:pt x="14" y="1"/>
                          </a:lnTo>
                          <a:lnTo>
                            <a:pt x="18" y="1"/>
                          </a:lnTo>
                          <a:lnTo>
                            <a:pt x="14" y="2"/>
                          </a:lnTo>
                          <a:lnTo>
                            <a:pt x="10" y="2"/>
                          </a:lnTo>
                          <a:lnTo>
                            <a:pt x="5" y="2"/>
                          </a:lnTo>
                          <a:lnTo>
                            <a:pt x="0" y="2"/>
                          </a:lnTo>
                          <a:lnTo>
                            <a:pt x="3" y="0"/>
                          </a:lnTo>
                          <a:lnTo>
                            <a:pt x="3" y="0"/>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56" name="Freeform 112">
                      <a:extLst>
                        <a:ext uri="{FF2B5EF4-FFF2-40B4-BE49-F238E27FC236}">
                          <a16:creationId xmlns:a16="http://schemas.microsoft.com/office/drawing/2014/main" id="{7823DE4F-3717-4D4B-B9FD-8F021DF50BCF}"/>
                        </a:ext>
                      </a:extLst>
                    </p:cNvPr>
                    <p:cNvSpPr>
                      <a:spLocks/>
                    </p:cNvSpPr>
                    <p:nvPr/>
                  </p:nvSpPr>
                  <p:spPr bwMode="auto">
                    <a:xfrm>
                      <a:off x="6057457" y="1814655"/>
                      <a:ext cx="22509" cy="1608"/>
                    </a:xfrm>
                    <a:custGeom>
                      <a:avLst/>
                      <a:gdLst>
                        <a:gd name="T0" fmla="*/ 9 w 14"/>
                        <a:gd name="T1" fmla="*/ 1 h 1"/>
                        <a:gd name="T2" fmla="*/ 2 w 14"/>
                        <a:gd name="T3" fmla="*/ 1 h 1"/>
                        <a:gd name="T4" fmla="*/ 0 w 14"/>
                        <a:gd name="T5" fmla="*/ 1 h 1"/>
                        <a:gd name="T6" fmla="*/ 1 w 14"/>
                        <a:gd name="T7" fmla="*/ 0 h 1"/>
                        <a:gd name="T8" fmla="*/ 5 w 14"/>
                        <a:gd name="T9" fmla="*/ 0 h 1"/>
                        <a:gd name="T10" fmla="*/ 7 w 14"/>
                        <a:gd name="T11" fmla="*/ 0 h 1"/>
                        <a:gd name="T12" fmla="*/ 13 w 14"/>
                        <a:gd name="T13" fmla="*/ 0 h 1"/>
                        <a:gd name="T14" fmla="*/ 14 w 14"/>
                        <a:gd name="T15" fmla="*/ 1 h 1"/>
                        <a:gd name="T16" fmla="*/ 9 w 14"/>
                        <a:gd name="T17" fmla="*/ 1 h 1"/>
                        <a:gd name="T18" fmla="*/ 9 w 14"/>
                        <a:gd name="T19" fmla="*/ 1 h 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4" h="1">
                          <a:moveTo>
                            <a:pt x="9" y="1"/>
                          </a:moveTo>
                          <a:lnTo>
                            <a:pt x="2" y="1"/>
                          </a:lnTo>
                          <a:lnTo>
                            <a:pt x="0" y="1"/>
                          </a:lnTo>
                          <a:lnTo>
                            <a:pt x="1" y="0"/>
                          </a:lnTo>
                          <a:lnTo>
                            <a:pt x="5" y="0"/>
                          </a:lnTo>
                          <a:lnTo>
                            <a:pt x="7" y="0"/>
                          </a:lnTo>
                          <a:lnTo>
                            <a:pt x="13" y="0"/>
                          </a:lnTo>
                          <a:lnTo>
                            <a:pt x="14" y="1"/>
                          </a:lnTo>
                          <a:lnTo>
                            <a:pt x="9" y="1"/>
                          </a:lnTo>
                          <a:lnTo>
                            <a:pt x="9" y="1"/>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57" name="Freeform 113">
                      <a:extLst>
                        <a:ext uri="{FF2B5EF4-FFF2-40B4-BE49-F238E27FC236}">
                          <a16:creationId xmlns:a16="http://schemas.microsoft.com/office/drawing/2014/main" id="{51CC2A3E-ABB4-BC42-B4BF-A961962D56A3}"/>
                        </a:ext>
                      </a:extLst>
                    </p:cNvPr>
                    <p:cNvSpPr>
                      <a:spLocks/>
                    </p:cNvSpPr>
                    <p:nvPr/>
                  </p:nvSpPr>
                  <p:spPr bwMode="auto">
                    <a:xfrm>
                      <a:off x="6092828" y="1811440"/>
                      <a:ext cx="19294" cy="3215"/>
                    </a:xfrm>
                    <a:custGeom>
                      <a:avLst/>
                      <a:gdLst>
                        <a:gd name="T0" fmla="*/ 12 w 12"/>
                        <a:gd name="T1" fmla="*/ 2 h 2"/>
                        <a:gd name="T2" fmla="*/ 7 w 12"/>
                        <a:gd name="T3" fmla="*/ 2 h 2"/>
                        <a:gd name="T4" fmla="*/ 0 w 12"/>
                        <a:gd name="T5" fmla="*/ 2 h 2"/>
                        <a:gd name="T6" fmla="*/ 6 w 12"/>
                        <a:gd name="T7" fmla="*/ 1 h 2"/>
                        <a:gd name="T8" fmla="*/ 11 w 12"/>
                        <a:gd name="T9" fmla="*/ 0 h 2"/>
                        <a:gd name="T10" fmla="*/ 12 w 12"/>
                        <a:gd name="T11" fmla="*/ 2 h 2"/>
                        <a:gd name="T12" fmla="*/ 12 w 12"/>
                        <a:gd name="T13" fmla="*/ 2 h 2"/>
                      </a:gdLst>
                      <a:ahLst/>
                      <a:cxnLst>
                        <a:cxn ang="0">
                          <a:pos x="T0" y="T1"/>
                        </a:cxn>
                        <a:cxn ang="0">
                          <a:pos x="T2" y="T3"/>
                        </a:cxn>
                        <a:cxn ang="0">
                          <a:pos x="T4" y="T5"/>
                        </a:cxn>
                        <a:cxn ang="0">
                          <a:pos x="T6" y="T7"/>
                        </a:cxn>
                        <a:cxn ang="0">
                          <a:pos x="T8" y="T9"/>
                        </a:cxn>
                        <a:cxn ang="0">
                          <a:pos x="T10" y="T11"/>
                        </a:cxn>
                        <a:cxn ang="0">
                          <a:pos x="T12" y="T13"/>
                        </a:cxn>
                      </a:cxnLst>
                      <a:rect l="0" t="0" r="r" b="b"/>
                      <a:pathLst>
                        <a:path w="12" h="2">
                          <a:moveTo>
                            <a:pt x="12" y="2"/>
                          </a:moveTo>
                          <a:lnTo>
                            <a:pt x="7" y="2"/>
                          </a:lnTo>
                          <a:lnTo>
                            <a:pt x="0" y="2"/>
                          </a:lnTo>
                          <a:lnTo>
                            <a:pt x="6" y="1"/>
                          </a:lnTo>
                          <a:lnTo>
                            <a:pt x="11" y="0"/>
                          </a:lnTo>
                          <a:lnTo>
                            <a:pt x="12" y="2"/>
                          </a:lnTo>
                          <a:lnTo>
                            <a:pt x="12" y="2"/>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58" name="Freeform 114">
                      <a:extLst>
                        <a:ext uri="{FF2B5EF4-FFF2-40B4-BE49-F238E27FC236}">
                          <a16:creationId xmlns:a16="http://schemas.microsoft.com/office/drawing/2014/main" id="{1227CB46-9044-404A-9931-39C9A3C8F8EC}"/>
                        </a:ext>
                      </a:extLst>
                    </p:cNvPr>
                    <p:cNvSpPr>
                      <a:spLocks/>
                    </p:cNvSpPr>
                    <p:nvPr/>
                  </p:nvSpPr>
                  <p:spPr bwMode="auto">
                    <a:xfrm>
                      <a:off x="6065496" y="1806616"/>
                      <a:ext cx="30548" cy="6432"/>
                    </a:xfrm>
                    <a:custGeom>
                      <a:avLst/>
                      <a:gdLst>
                        <a:gd name="T0" fmla="*/ 19 w 19"/>
                        <a:gd name="T1" fmla="*/ 4 h 4"/>
                        <a:gd name="T2" fmla="*/ 15 w 19"/>
                        <a:gd name="T3" fmla="*/ 4 h 4"/>
                        <a:gd name="T4" fmla="*/ 7 w 19"/>
                        <a:gd name="T5" fmla="*/ 2 h 4"/>
                        <a:gd name="T6" fmla="*/ 0 w 19"/>
                        <a:gd name="T7" fmla="*/ 2 h 4"/>
                        <a:gd name="T8" fmla="*/ 0 w 19"/>
                        <a:gd name="T9" fmla="*/ 0 h 4"/>
                        <a:gd name="T10" fmla="*/ 4 w 19"/>
                        <a:gd name="T11" fmla="*/ 0 h 4"/>
                        <a:gd name="T12" fmla="*/ 10 w 19"/>
                        <a:gd name="T13" fmla="*/ 2 h 4"/>
                        <a:gd name="T14" fmla="*/ 18 w 19"/>
                        <a:gd name="T15" fmla="*/ 3 h 4"/>
                        <a:gd name="T16" fmla="*/ 19 w 19"/>
                        <a:gd name="T17" fmla="*/ 4 h 4"/>
                        <a:gd name="T18" fmla="*/ 19 w 19"/>
                        <a:gd name="T19" fmla="*/ 4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9" h="4">
                          <a:moveTo>
                            <a:pt x="19" y="4"/>
                          </a:moveTo>
                          <a:lnTo>
                            <a:pt x="15" y="4"/>
                          </a:lnTo>
                          <a:lnTo>
                            <a:pt x="7" y="2"/>
                          </a:lnTo>
                          <a:lnTo>
                            <a:pt x="0" y="2"/>
                          </a:lnTo>
                          <a:lnTo>
                            <a:pt x="0" y="0"/>
                          </a:lnTo>
                          <a:lnTo>
                            <a:pt x="4" y="0"/>
                          </a:lnTo>
                          <a:lnTo>
                            <a:pt x="10" y="2"/>
                          </a:lnTo>
                          <a:lnTo>
                            <a:pt x="18" y="3"/>
                          </a:lnTo>
                          <a:lnTo>
                            <a:pt x="19" y="4"/>
                          </a:lnTo>
                          <a:lnTo>
                            <a:pt x="19" y="4"/>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59" name="Freeform 115">
                      <a:extLst>
                        <a:ext uri="{FF2B5EF4-FFF2-40B4-BE49-F238E27FC236}">
                          <a16:creationId xmlns:a16="http://schemas.microsoft.com/office/drawing/2014/main" id="{898C8E77-CBA5-5545-BFDF-19A654AB51E3}"/>
                        </a:ext>
                      </a:extLst>
                    </p:cNvPr>
                    <p:cNvSpPr>
                      <a:spLocks/>
                    </p:cNvSpPr>
                    <p:nvPr/>
                  </p:nvSpPr>
                  <p:spPr bwMode="auto">
                    <a:xfrm>
                      <a:off x="6046202" y="1801793"/>
                      <a:ext cx="36979" cy="3215"/>
                    </a:xfrm>
                    <a:custGeom>
                      <a:avLst/>
                      <a:gdLst>
                        <a:gd name="T0" fmla="*/ 9 w 23"/>
                        <a:gd name="T1" fmla="*/ 0 h 2"/>
                        <a:gd name="T2" fmla="*/ 19 w 23"/>
                        <a:gd name="T3" fmla="*/ 0 h 2"/>
                        <a:gd name="T4" fmla="*/ 23 w 23"/>
                        <a:gd name="T5" fmla="*/ 0 h 2"/>
                        <a:gd name="T6" fmla="*/ 23 w 23"/>
                        <a:gd name="T7" fmla="*/ 1 h 2"/>
                        <a:gd name="T8" fmla="*/ 17 w 23"/>
                        <a:gd name="T9" fmla="*/ 2 h 2"/>
                        <a:gd name="T10" fmla="*/ 12 w 23"/>
                        <a:gd name="T11" fmla="*/ 2 h 2"/>
                        <a:gd name="T12" fmla="*/ 2 w 23"/>
                        <a:gd name="T13" fmla="*/ 2 h 2"/>
                        <a:gd name="T14" fmla="*/ 0 w 23"/>
                        <a:gd name="T15" fmla="*/ 1 h 2"/>
                        <a:gd name="T16" fmla="*/ 3 w 23"/>
                        <a:gd name="T17" fmla="*/ 1 h 2"/>
                        <a:gd name="T18" fmla="*/ 8 w 23"/>
                        <a:gd name="T19" fmla="*/ 1 h 2"/>
                        <a:gd name="T20" fmla="*/ 9 w 23"/>
                        <a:gd name="T21" fmla="*/ 1 h 2"/>
                        <a:gd name="T22" fmla="*/ 9 w 23"/>
                        <a:gd name="T23" fmla="*/ 0 h 2"/>
                        <a:gd name="T24" fmla="*/ 9 w 23"/>
                        <a:gd name="T25" fmla="*/ 0 h 2"/>
                        <a:gd name="T26" fmla="*/ 9 w 23"/>
                        <a:gd name="T2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 h="2">
                          <a:moveTo>
                            <a:pt x="9" y="0"/>
                          </a:moveTo>
                          <a:lnTo>
                            <a:pt x="19" y="0"/>
                          </a:lnTo>
                          <a:lnTo>
                            <a:pt x="23" y="0"/>
                          </a:lnTo>
                          <a:lnTo>
                            <a:pt x="23" y="1"/>
                          </a:lnTo>
                          <a:lnTo>
                            <a:pt x="17" y="2"/>
                          </a:lnTo>
                          <a:lnTo>
                            <a:pt x="12" y="2"/>
                          </a:lnTo>
                          <a:lnTo>
                            <a:pt x="2" y="2"/>
                          </a:lnTo>
                          <a:lnTo>
                            <a:pt x="0" y="1"/>
                          </a:lnTo>
                          <a:lnTo>
                            <a:pt x="3" y="1"/>
                          </a:lnTo>
                          <a:lnTo>
                            <a:pt x="8" y="1"/>
                          </a:lnTo>
                          <a:lnTo>
                            <a:pt x="9" y="1"/>
                          </a:lnTo>
                          <a:lnTo>
                            <a:pt x="9" y="0"/>
                          </a:lnTo>
                          <a:lnTo>
                            <a:pt x="9" y="0"/>
                          </a:lnTo>
                          <a:lnTo>
                            <a:pt x="9" y="0"/>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60" name="Freeform 116">
                      <a:extLst>
                        <a:ext uri="{FF2B5EF4-FFF2-40B4-BE49-F238E27FC236}">
                          <a16:creationId xmlns:a16="http://schemas.microsoft.com/office/drawing/2014/main" id="{0EAEAC89-DF07-504A-88B9-D2940B9ED5B5}"/>
                        </a:ext>
                      </a:extLst>
                    </p:cNvPr>
                    <p:cNvSpPr>
                      <a:spLocks/>
                    </p:cNvSpPr>
                    <p:nvPr/>
                  </p:nvSpPr>
                  <p:spPr bwMode="auto">
                    <a:xfrm>
                      <a:off x="6065496" y="1798578"/>
                      <a:ext cx="27333" cy="3215"/>
                    </a:xfrm>
                    <a:custGeom>
                      <a:avLst/>
                      <a:gdLst>
                        <a:gd name="T0" fmla="*/ 4 w 17"/>
                        <a:gd name="T1" fmla="*/ 0 h 2"/>
                        <a:gd name="T2" fmla="*/ 9 w 17"/>
                        <a:gd name="T3" fmla="*/ 0 h 2"/>
                        <a:gd name="T4" fmla="*/ 14 w 17"/>
                        <a:gd name="T5" fmla="*/ 1 h 2"/>
                        <a:gd name="T6" fmla="*/ 17 w 17"/>
                        <a:gd name="T7" fmla="*/ 2 h 2"/>
                        <a:gd name="T8" fmla="*/ 12 w 17"/>
                        <a:gd name="T9" fmla="*/ 2 h 2"/>
                        <a:gd name="T10" fmla="*/ 9 w 17"/>
                        <a:gd name="T11" fmla="*/ 2 h 2"/>
                        <a:gd name="T12" fmla="*/ 3 w 17"/>
                        <a:gd name="T13" fmla="*/ 2 h 2"/>
                        <a:gd name="T14" fmla="*/ 0 w 17"/>
                        <a:gd name="T15" fmla="*/ 1 h 2"/>
                        <a:gd name="T16" fmla="*/ 4 w 17"/>
                        <a:gd name="T17" fmla="*/ 0 h 2"/>
                        <a:gd name="T18" fmla="*/ 4 w 17"/>
                        <a:gd name="T19"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7" h="2">
                          <a:moveTo>
                            <a:pt x="4" y="0"/>
                          </a:moveTo>
                          <a:lnTo>
                            <a:pt x="9" y="0"/>
                          </a:lnTo>
                          <a:lnTo>
                            <a:pt x="14" y="1"/>
                          </a:lnTo>
                          <a:lnTo>
                            <a:pt x="17" y="2"/>
                          </a:lnTo>
                          <a:lnTo>
                            <a:pt x="12" y="2"/>
                          </a:lnTo>
                          <a:lnTo>
                            <a:pt x="9" y="2"/>
                          </a:lnTo>
                          <a:lnTo>
                            <a:pt x="3" y="2"/>
                          </a:lnTo>
                          <a:lnTo>
                            <a:pt x="0" y="1"/>
                          </a:lnTo>
                          <a:lnTo>
                            <a:pt x="4" y="0"/>
                          </a:lnTo>
                          <a:lnTo>
                            <a:pt x="4" y="0"/>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61" name="Freeform 117">
                      <a:extLst>
                        <a:ext uri="{FF2B5EF4-FFF2-40B4-BE49-F238E27FC236}">
                          <a16:creationId xmlns:a16="http://schemas.microsoft.com/office/drawing/2014/main" id="{82F7B9AE-FC9A-8948-85D8-5B07E55EDD7C}"/>
                        </a:ext>
                      </a:extLst>
                    </p:cNvPr>
                    <p:cNvSpPr>
                      <a:spLocks/>
                    </p:cNvSpPr>
                    <p:nvPr/>
                  </p:nvSpPr>
                  <p:spPr bwMode="auto">
                    <a:xfrm>
                      <a:off x="6081573" y="1792146"/>
                      <a:ext cx="19294" cy="1608"/>
                    </a:xfrm>
                    <a:custGeom>
                      <a:avLst/>
                      <a:gdLst>
                        <a:gd name="T0" fmla="*/ 5 w 12"/>
                        <a:gd name="T1" fmla="*/ 0 h 1"/>
                        <a:gd name="T2" fmla="*/ 5 w 12"/>
                        <a:gd name="T3" fmla="*/ 0 h 1"/>
                        <a:gd name="T4" fmla="*/ 12 w 12"/>
                        <a:gd name="T5" fmla="*/ 0 h 1"/>
                        <a:gd name="T6" fmla="*/ 8 w 12"/>
                        <a:gd name="T7" fmla="*/ 1 h 1"/>
                        <a:gd name="T8" fmla="*/ 2 w 12"/>
                        <a:gd name="T9" fmla="*/ 1 h 1"/>
                        <a:gd name="T10" fmla="*/ 0 w 12"/>
                        <a:gd name="T11" fmla="*/ 0 h 1"/>
                        <a:gd name="T12" fmla="*/ 5 w 12"/>
                        <a:gd name="T13" fmla="*/ 0 h 1"/>
                        <a:gd name="T14" fmla="*/ 5 w 12"/>
                        <a:gd name="T15" fmla="*/ 0 h 1"/>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2" h="1">
                          <a:moveTo>
                            <a:pt x="5" y="0"/>
                          </a:moveTo>
                          <a:lnTo>
                            <a:pt x="5" y="0"/>
                          </a:lnTo>
                          <a:lnTo>
                            <a:pt x="12" y="0"/>
                          </a:lnTo>
                          <a:lnTo>
                            <a:pt x="8" y="1"/>
                          </a:lnTo>
                          <a:lnTo>
                            <a:pt x="2" y="1"/>
                          </a:lnTo>
                          <a:lnTo>
                            <a:pt x="0" y="0"/>
                          </a:lnTo>
                          <a:lnTo>
                            <a:pt x="5" y="0"/>
                          </a:lnTo>
                          <a:lnTo>
                            <a:pt x="5" y="0"/>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62" name="Freeform 118">
                      <a:extLst>
                        <a:ext uri="{FF2B5EF4-FFF2-40B4-BE49-F238E27FC236}">
                          <a16:creationId xmlns:a16="http://schemas.microsoft.com/office/drawing/2014/main" id="{4EA31F1E-6541-804D-ADAB-CB01FB4F2629}"/>
                        </a:ext>
                      </a:extLst>
                    </p:cNvPr>
                    <p:cNvSpPr>
                      <a:spLocks/>
                    </p:cNvSpPr>
                    <p:nvPr/>
                  </p:nvSpPr>
                  <p:spPr bwMode="auto">
                    <a:xfrm>
                      <a:off x="6068711" y="1822694"/>
                      <a:ext cx="20901" cy="4823"/>
                    </a:xfrm>
                    <a:custGeom>
                      <a:avLst/>
                      <a:gdLst>
                        <a:gd name="T0" fmla="*/ 13 w 13"/>
                        <a:gd name="T1" fmla="*/ 1 h 3"/>
                        <a:gd name="T2" fmla="*/ 13 w 13"/>
                        <a:gd name="T3" fmla="*/ 2 h 3"/>
                        <a:gd name="T4" fmla="*/ 13 w 13"/>
                        <a:gd name="T5" fmla="*/ 3 h 3"/>
                        <a:gd name="T6" fmla="*/ 8 w 13"/>
                        <a:gd name="T7" fmla="*/ 3 h 3"/>
                        <a:gd name="T8" fmla="*/ 3 w 13"/>
                        <a:gd name="T9" fmla="*/ 3 h 3"/>
                        <a:gd name="T10" fmla="*/ 1 w 13"/>
                        <a:gd name="T11" fmla="*/ 2 h 3"/>
                        <a:gd name="T12" fmla="*/ 0 w 13"/>
                        <a:gd name="T13" fmla="*/ 0 h 3"/>
                        <a:gd name="T14" fmla="*/ 6 w 13"/>
                        <a:gd name="T15" fmla="*/ 0 h 3"/>
                        <a:gd name="T16" fmla="*/ 9 w 13"/>
                        <a:gd name="T17" fmla="*/ 0 h 3"/>
                        <a:gd name="T18" fmla="*/ 10 w 13"/>
                        <a:gd name="T19" fmla="*/ 0 h 3"/>
                        <a:gd name="T20" fmla="*/ 13 w 13"/>
                        <a:gd name="T21" fmla="*/ 0 h 3"/>
                        <a:gd name="T22" fmla="*/ 13 w 13"/>
                        <a:gd name="T23" fmla="*/ 1 h 3"/>
                        <a:gd name="T24" fmla="*/ 13 w 13"/>
                        <a:gd name="T25" fmla="*/ 1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3" h="3">
                          <a:moveTo>
                            <a:pt x="13" y="1"/>
                          </a:moveTo>
                          <a:lnTo>
                            <a:pt x="13" y="2"/>
                          </a:lnTo>
                          <a:lnTo>
                            <a:pt x="13" y="3"/>
                          </a:lnTo>
                          <a:lnTo>
                            <a:pt x="8" y="3"/>
                          </a:lnTo>
                          <a:lnTo>
                            <a:pt x="3" y="3"/>
                          </a:lnTo>
                          <a:lnTo>
                            <a:pt x="1" y="2"/>
                          </a:lnTo>
                          <a:lnTo>
                            <a:pt x="0" y="0"/>
                          </a:lnTo>
                          <a:lnTo>
                            <a:pt x="6" y="0"/>
                          </a:lnTo>
                          <a:lnTo>
                            <a:pt x="9" y="0"/>
                          </a:lnTo>
                          <a:lnTo>
                            <a:pt x="10" y="0"/>
                          </a:lnTo>
                          <a:lnTo>
                            <a:pt x="13" y="0"/>
                          </a:lnTo>
                          <a:lnTo>
                            <a:pt x="13" y="1"/>
                          </a:lnTo>
                          <a:lnTo>
                            <a:pt x="13" y="1"/>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63" name="Freeform 119">
                      <a:extLst>
                        <a:ext uri="{FF2B5EF4-FFF2-40B4-BE49-F238E27FC236}">
                          <a16:creationId xmlns:a16="http://schemas.microsoft.com/office/drawing/2014/main" id="{30B8D952-2CFF-2A44-95FB-85B7211B2533}"/>
                        </a:ext>
                      </a:extLst>
                    </p:cNvPr>
                    <p:cNvSpPr>
                      <a:spLocks/>
                    </p:cNvSpPr>
                    <p:nvPr/>
                  </p:nvSpPr>
                  <p:spPr bwMode="auto">
                    <a:xfrm>
                      <a:off x="6089613" y="1821087"/>
                      <a:ext cx="33763" cy="6432"/>
                    </a:xfrm>
                    <a:custGeom>
                      <a:avLst/>
                      <a:gdLst>
                        <a:gd name="T0" fmla="*/ 6 w 21"/>
                        <a:gd name="T1" fmla="*/ 0 h 4"/>
                        <a:gd name="T2" fmla="*/ 9 w 21"/>
                        <a:gd name="T3" fmla="*/ 0 h 4"/>
                        <a:gd name="T4" fmla="*/ 10 w 21"/>
                        <a:gd name="T5" fmla="*/ 0 h 4"/>
                        <a:gd name="T6" fmla="*/ 13 w 21"/>
                        <a:gd name="T7" fmla="*/ 0 h 4"/>
                        <a:gd name="T8" fmla="*/ 21 w 21"/>
                        <a:gd name="T9" fmla="*/ 1 h 4"/>
                        <a:gd name="T10" fmla="*/ 21 w 21"/>
                        <a:gd name="T11" fmla="*/ 2 h 4"/>
                        <a:gd name="T12" fmla="*/ 14 w 21"/>
                        <a:gd name="T13" fmla="*/ 2 h 4"/>
                        <a:gd name="T14" fmla="*/ 8 w 21"/>
                        <a:gd name="T15" fmla="*/ 3 h 4"/>
                        <a:gd name="T16" fmla="*/ 10 w 21"/>
                        <a:gd name="T17" fmla="*/ 4 h 4"/>
                        <a:gd name="T18" fmla="*/ 6 w 21"/>
                        <a:gd name="T19" fmla="*/ 4 h 4"/>
                        <a:gd name="T20" fmla="*/ 3 w 21"/>
                        <a:gd name="T21" fmla="*/ 3 h 4"/>
                        <a:gd name="T22" fmla="*/ 2 w 21"/>
                        <a:gd name="T23" fmla="*/ 2 h 4"/>
                        <a:gd name="T24" fmla="*/ 1 w 21"/>
                        <a:gd name="T25" fmla="*/ 1 h 4"/>
                        <a:gd name="T26" fmla="*/ 0 w 21"/>
                        <a:gd name="T27" fmla="*/ 0 h 4"/>
                        <a:gd name="T28" fmla="*/ 6 w 21"/>
                        <a:gd name="T29" fmla="*/ 0 h 4"/>
                        <a:gd name="T30" fmla="*/ 6 w 21"/>
                        <a:gd name="T31"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1" h="4">
                          <a:moveTo>
                            <a:pt x="6" y="0"/>
                          </a:moveTo>
                          <a:lnTo>
                            <a:pt x="9" y="0"/>
                          </a:lnTo>
                          <a:lnTo>
                            <a:pt x="10" y="0"/>
                          </a:lnTo>
                          <a:lnTo>
                            <a:pt x="13" y="0"/>
                          </a:lnTo>
                          <a:lnTo>
                            <a:pt x="21" y="1"/>
                          </a:lnTo>
                          <a:lnTo>
                            <a:pt x="21" y="2"/>
                          </a:lnTo>
                          <a:lnTo>
                            <a:pt x="14" y="2"/>
                          </a:lnTo>
                          <a:lnTo>
                            <a:pt x="8" y="3"/>
                          </a:lnTo>
                          <a:lnTo>
                            <a:pt x="10" y="4"/>
                          </a:lnTo>
                          <a:lnTo>
                            <a:pt x="6" y="4"/>
                          </a:lnTo>
                          <a:lnTo>
                            <a:pt x="3" y="3"/>
                          </a:lnTo>
                          <a:lnTo>
                            <a:pt x="2" y="2"/>
                          </a:lnTo>
                          <a:lnTo>
                            <a:pt x="1" y="1"/>
                          </a:lnTo>
                          <a:lnTo>
                            <a:pt x="0" y="0"/>
                          </a:lnTo>
                          <a:lnTo>
                            <a:pt x="6" y="0"/>
                          </a:lnTo>
                          <a:lnTo>
                            <a:pt x="6" y="0"/>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64" name="Freeform 120">
                      <a:extLst>
                        <a:ext uri="{FF2B5EF4-FFF2-40B4-BE49-F238E27FC236}">
                          <a16:creationId xmlns:a16="http://schemas.microsoft.com/office/drawing/2014/main" id="{3029F771-4099-2C4B-B3DF-1458D687FF7E}"/>
                        </a:ext>
                      </a:extLst>
                    </p:cNvPr>
                    <p:cNvSpPr>
                      <a:spLocks/>
                    </p:cNvSpPr>
                    <p:nvPr/>
                  </p:nvSpPr>
                  <p:spPr bwMode="auto">
                    <a:xfrm>
                      <a:off x="6174826" y="1805008"/>
                      <a:ext cx="49842" cy="14470"/>
                    </a:xfrm>
                    <a:custGeom>
                      <a:avLst/>
                      <a:gdLst>
                        <a:gd name="T0" fmla="*/ 8 w 31"/>
                        <a:gd name="T1" fmla="*/ 3 h 9"/>
                        <a:gd name="T2" fmla="*/ 13 w 31"/>
                        <a:gd name="T3" fmla="*/ 3 h 9"/>
                        <a:gd name="T4" fmla="*/ 20 w 31"/>
                        <a:gd name="T5" fmla="*/ 0 h 9"/>
                        <a:gd name="T6" fmla="*/ 27 w 31"/>
                        <a:gd name="T7" fmla="*/ 0 h 9"/>
                        <a:gd name="T8" fmla="*/ 27 w 31"/>
                        <a:gd name="T9" fmla="*/ 3 h 9"/>
                        <a:gd name="T10" fmla="*/ 31 w 31"/>
                        <a:gd name="T11" fmla="*/ 6 h 9"/>
                        <a:gd name="T12" fmla="*/ 23 w 31"/>
                        <a:gd name="T13" fmla="*/ 6 h 9"/>
                        <a:gd name="T14" fmla="*/ 16 w 31"/>
                        <a:gd name="T15" fmla="*/ 6 h 9"/>
                        <a:gd name="T16" fmla="*/ 10 w 31"/>
                        <a:gd name="T17" fmla="*/ 9 h 9"/>
                        <a:gd name="T18" fmla="*/ 2 w 31"/>
                        <a:gd name="T19" fmla="*/ 7 h 9"/>
                        <a:gd name="T20" fmla="*/ 2 w 31"/>
                        <a:gd name="T21" fmla="*/ 5 h 9"/>
                        <a:gd name="T22" fmla="*/ 0 w 31"/>
                        <a:gd name="T23" fmla="*/ 4 h 9"/>
                        <a:gd name="T24" fmla="*/ 8 w 31"/>
                        <a:gd name="T25" fmla="*/ 3 h 9"/>
                        <a:gd name="T26" fmla="*/ 8 w 31"/>
                        <a:gd name="T27" fmla="*/ 3 h 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31" h="9">
                          <a:moveTo>
                            <a:pt x="8" y="3"/>
                          </a:moveTo>
                          <a:lnTo>
                            <a:pt x="13" y="3"/>
                          </a:lnTo>
                          <a:lnTo>
                            <a:pt x="20" y="0"/>
                          </a:lnTo>
                          <a:lnTo>
                            <a:pt x="27" y="0"/>
                          </a:lnTo>
                          <a:lnTo>
                            <a:pt x="27" y="3"/>
                          </a:lnTo>
                          <a:lnTo>
                            <a:pt x="31" y="6"/>
                          </a:lnTo>
                          <a:lnTo>
                            <a:pt x="23" y="6"/>
                          </a:lnTo>
                          <a:lnTo>
                            <a:pt x="16" y="6"/>
                          </a:lnTo>
                          <a:lnTo>
                            <a:pt x="10" y="9"/>
                          </a:lnTo>
                          <a:lnTo>
                            <a:pt x="2" y="7"/>
                          </a:lnTo>
                          <a:lnTo>
                            <a:pt x="2" y="5"/>
                          </a:lnTo>
                          <a:lnTo>
                            <a:pt x="0" y="4"/>
                          </a:lnTo>
                          <a:lnTo>
                            <a:pt x="8" y="3"/>
                          </a:lnTo>
                          <a:lnTo>
                            <a:pt x="8" y="3"/>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65" name="Freeform 121">
                      <a:extLst>
                        <a:ext uri="{FF2B5EF4-FFF2-40B4-BE49-F238E27FC236}">
                          <a16:creationId xmlns:a16="http://schemas.microsoft.com/office/drawing/2014/main" id="{AD9E88FE-F1D4-F54A-B3D9-1763F99C171A}"/>
                        </a:ext>
                      </a:extLst>
                    </p:cNvPr>
                    <p:cNvSpPr>
                      <a:spLocks/>
                    </p:cNvSpPr>
                    <p:nvPr/>
                  </p:nvSpPr>
                  <p:spPr bwMode="auto">
                    <a:xfrm>
                      <a:off x="6155532" y="1795361"/>
                      <a:ext cx="20901" cy="3215"/>
                    </a:xfrm>
                    <a:custGeom>
                      <a:avLst/>
                      <a:gdLst>
                        <a:gd name="T0" fmla="*/ 5 w 13"/>
                        <a:gd name="T1" fmla="*/ 0 h 2"/>
                        <a:gd name="T2" fmla="*/ 9 w 13"/>
                        <a:gd name="T3" fmla="*/ 0 h 2"/>
                        <a:gd name="T4" fmla="*/ 12 w 13"/>
                        <a:gd name="T5" fmla="*/ 0 h 2"/>
                        <a:gd name="T6" fmla="*/ 13 w 13"/>
                        <a:gd name="T7" fmla="*/ 2 h 2"/>
                        <a:gd name="T8" fmla="*/ 3 w 13"/>
                        <a:gd name="T9" fmla="*/ 0 h 2"/>
                        <a:gd name="T10" fmla="*/ 0 w 13"/>
                        <a:gd name="T11" fmla="*/ 0 h 2"/>
                        <a:gd name="T12" fmla="*/ 1 w 13"/>
                        <a:gd name="T13" fmla="*/ 0 h 2"/>
                        <a:gd name="T14" fmla="*/ 5 w 13"/>
                        <a:gd name="T15" fmla="*/ 0 h 2"/>
                        <a:gd name="T16" fmla="*/ 5 w 13"/>
                        <a:gd name="T1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2">
                          <a:moveTo>
                            <a:pt x="5" y="0"/>
                          </a:moveTo>
                          <a:lnTo>
                            <a:pt x="9" y="0"/>
                          </a:lnTo>
                          <a:lnTo>
                            <a:pt x="12" y="0"/>
                          </a:lnTo>
                          <a:lnTo>
                            <a:pt x="13" y="2"/>
                          </a:lnTo>
                          <a:lnTo>
                            <a:pt x="3" y="0"/>
                          </a:lnTo>
                          <a:lnTo>
                            <a:pt x="0" y="0"/>
                          </a:lnTo>
                          <a:lnTo>
                            <a:pt x="1" y="0"/>
                          </a:lnTo>
                          <a:lnTo>
                            <a:pt x="5" y="0"/>
                          </a:lnTo>
                          <a:lnTo>
                            <a:pt x="5" y="0"/>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66" name="Freeform 122">
                      <a:extLst>
                        <a:ext uri="{FF2B5EF4-FFF2-40B4-BE49-F238E27FC236}">
                          <a16:creationId xmlns:a16="http://schemas.microsoft.com/office/drawing/2014/main" id="{5D017CE5-BAC4-5E49-A8FD-E9AC57D3B2F8}"/>
                        </a:ext>
                      </a:extLst>
                    </p:cNvPr>
                    <p:cNvSpPr>
                      <a:spLocks/>
                    </p:cNvSpPr>
                    <p:nvPr/>
                  </p:nvSpPr>
                  <p:spPr bwMode="auto">
                    <a:xfrm>
                      <a:off x="6134631" y="1806616"/>
                      <a:ext cx="22509" cy="4823"/>
                    </a:xfrm>
                    <a:custGeom>
                      <a:avLst/>
                      <a:gdLst>
                        <a:gd name="T0" fmla="*/ 13 w 14"/>
                        <a:gd name="T1" fmla="*/ 2 h 3"/>
                        <a:gd name="T2" fmla="*/ 14 w 14"/>
                        <a:gd name="T3" fmla="*/ 2 h 3"/>
                        <a:gd name="T4" fmla="*/ 8 w 14"/>
                        <a:gd name="T5" fmla="*/ 3 h 3"/>
                        <a:gd name="T6" fmla="*/ 0 w 14"/>
                        <a:gd name="T7" fmla="*/ 2 h 3"/>
                        <a:gd name="T8" fmla="*/ 4 w 14"/>
                        <a:gd name="T9" fmla="*/ 2 h 3"/>
                        <a:gd name="T10" fmla="*/ 7 w 14"/>
                        <a:gd name="T11" fmla="*/ 0 h 3"/>
                        <a:gd name="T12" fmla="*/ 13 w 14"/>
                        <a:gd name="T13" fmla="*/ 2 h 3"/>
                        <a:gd name="T14" fmla="*/ 13 w 14"/>
                        <a:gd name="T15" fmla="*/ 2 h 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4" h="3">
                          <a:moveTo>
                            <a:pt x="13" y="2"/>
                          </a:moveTo>
                          <a:lnTo>
                            <a:pt x="14" y="2"/>
                          </a:lnTo>
                          <a:lnTo>
                            <a:pt x="8" y="3"/>
                          </a:lnTo>
                          <a:lnTo>
                            <a:pt x="0" y="2"/>
                          </a:lnTo>
                          <a:lnTo>
                            <a:pt x="4" y="2"/>
                          </a:lnTo>
                          <a:lnTo>
                            <a:pt x="7" y="0"/>
                          </a:lnTo>
                          <a:lnTo>
                            <a:pt x="13" y="2"/>
                          </a:lnTo>
                          <a:lnTo>
                            <a:pt x="13" y="2"/>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67" name="Freeform 123">
                      <a:extLst>
                        <a:ext uri="{FF2B5EF4-FFF2-40B4-BE49-F238E27FC236}">
                          <a16:creationId xmlns:a16="http://schemas.microsoft.com/office/drawing/2014/main" id="{FF6BFAED-EAFB-5E4A-8620-9FAA5127FD55}"/>
                        </a:ext>
                      </a:extLst>
                    </p:cNvPr>
                    <p:cNvSpPr>
                      <a:spLocks/>
                    </p:cNvSpPr>
                    <p:nvPr/>
                  </p:nvSpPr>
                  <p:spPr bwMode="auto">
                    <a:xfrm>
                      <a:off x="6123376" y="1811440"/>
                      <a:ext cx="51450" cy="11254"/>
                    </a:xfrm>
                    <a:custGeom>
                      <a:avLst/>
                      <a:gdLst>
                        <a:gd name="T0" fmla="*/ 2 w 32"/>
                        <a:gd name="T1" fmla="*/ 2 h 7"/>
                        <a:gd name="T2" fmla="*/ 5 w 32"/>
                        <a:gd name="T3" fmla="*/ 1 h 7"/>
                        <a:gd name="T4" fmla="*/ 11 w 32"/>
                        <a:gd name="T5" fmla="*/ 1 h 7"/>
                        <a:gd name="T6" fmla="*/ 12 w 32"/>
                        <a:gd name="T7" fmla="*/ 1 h 7"/>
                        <a:gd name="T8" fmla="*/ 15 w 32"/>
                        <a:gd name="T9" fmla="*/ 1 h 7"/>
                        <a:gd name="T10" fmla="*/ 20 w 32"/>
                        <a:gd name="T11" fmla="*/ 1 h 7"/>
                        <a:gd name="T12" fmla="*/ 25 w 32"/>
                        <a:gd name="T13" fmla="*/ 0 h 7"/>
                        <a:gd name="T14" fmla="*/ 29 w 32"/>
                        <a:gd name="T15" fmla="*/ 1 h 7"/>
                        <a:gd name="T16" fmla="*/ 32 w 32"/>
                        <a:gd name="T17" fmla="*/ 2 h 7"/>
                        <a:gd name="T18" fmla="*/ 31 w 32"/>
                        <a:gd name="T19" fmla="*/ 3 h 7"/>
                        <a:gd name="T20" fmla="*/ 21 w 32"/>
                        <a:gd name="T21" fmla="*/ 3 h 7"/>
                        <a:gd name="T22" fmla="*/ 25 w 32"/>
                        <a:gd name="T23" fmla="*/ 5 h 7"/>
                        <a:gd name="T24" fmla="*/ 27 w 32"/>
                        <a:gd name="T25" fmla="*/ 6 h 7"/>
                        <a:gd name="T26" fmla="*/ 23 w 32"/>
                        <a:gd name="T27" fmla="*/ 7 h 7"/>
                        <a:gd name="T28" fmla="*/ 18 w 32"/>
                        <a:gd name="T29" fmla="*/ 7 h 7"/>
                        <a:gd name="T30" fmla="*/ 13 w 32"/>
                        <a:gd name="T31" fmla="*/ 7 h 7"/>
                        <a:gd name="T32" fmla="*/ 9 w 32"/>
                        <a:gd name="T33" fmla="*/ 7 h 7"/>
                        <a:gd name="T34" fmla="*/ 5 w 32"/>
                        <a:gd name="T35" fmla="*/ 6 h 7"/>
                        <a:gd name="T36" fmla="*/ 0 w 32"/>
                        <a:gd name="T37" fmla="*/ 5 h 7"/>
                        <a:gd name="T38" fmla="*/ 2 w 32"/>
                        <a:gd name="T39" fmla="*/ 2 h 7"/>
                        <a:gd name="T40" fmla="*/ 2 w 32"/>
                        <a:gd name="T41"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32" h="7">
                          <a:moveTo>
                            <a:pt x="2" y="2"/>
                          </a:moveTo>
                          <a:lnTo>
                            <a:pt x="5" y="1"/>
                          </a:lnTo>
                          <a:lnTo>
                            <a:pt x="11" y="1"/>
                          </a:lnTo>
                          <a:lnTo>
                            <a:pt x="12" y="1"/>
                          </a:lnTo>
                          <a:lnTo>
                            <a:pt x="15" y="1"/>
                          </a:lnTo>
                          <a:lnTo>
                            <a:pt x="20" y="1"/>
                          </a:lnTo>
                          <a:lnTo>
                            <a:pt x="25" y="0"/>
                          </a:lnTo>
                          <a:lnTo>
                            <a:pt x="29" y="1"/>
                          </a:lnTo>
                          <a:lnTo>
                            <a:pt x="32" y="2"/>
                          </a:lnTo>
                          <a:lnTo>
                            <a:pt x="31" y="3"/>
                          </a:lnTo>
                          <a:lnTo>
                            <a:pt x="21" y="3"/>
                          </a:lnTo>
                          <a:lnTo>
                            <a:pt x="25" y="5"/>
                          </a:lnTo>
                          <a:lnTo>
                            <a:pt x="27" y="6"/>
                          </a:lnTo>
                          <a:lnTo>
                            <a:pt x="23" y="7"/>
                          </a:lnTo>
                          <a:lnTo>
                            <a:pt x="18" y="7"/>
                          </a:lnTo>
                          <a:lnTo>
                            <a:pt x="13" y="7"/>
                          </a:lnTo>
                          <a:lnTo>
                            <a:pt x="9" y="7"/>
                          </a:lnTo>
                          <a:lnTo>
                            <a:pt x="5" y="6"/>
                          </a:lnTo>
                          <a:lnTo>
                            <a:pt x="0" y="5"/>
                          </a:lnTo>
                          <a:lnTo>
                            <a:pt x="2" y="2"/>
                          </a:lnTo>
                          <a:lnTo>
                            <a:pt x="2" y="2"/>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68" name="Freeform 124">
                      <a:extLst>
                        <a:ext uri="{FF2B5EF4-FFF2-40B4-BE49-F238E27FC236}">
                          <a16:creationId xmlns:a16="http://schemas.microsoft.com/office/drawing/2014/main" id="{B14A1C7E-9905-5748-BF61-7E4C9EB7CD95}"/>
                        </a:ext>
                      </a:extLst>
                    </p:cNvPr>
                    <p:cNvSpPr>
                      <a:spLocks/>
                    </p:cNvSpPr>
                    <p:nvPr/>
                  </p:nvSpPr>
                  <p:spPr bwMode="auto">
                    <a:xfrm>
                      <a:off x="6123376" y="1827517"/>
                      <a:ext cx="20901" cy="6432"/>
                    </a:xfrm>
                    <a:custGeom>
                      <a:avLst/>
                      <a:gdLst>
                        <a:gd name="T0" fmla="*/ 13 w 13"/>
                        <a:gd name="T1" fmla="*/ 3 h 4"/>
                        <a:gd name="T2" fmla="*/ 11 w 13"/>
                        <a:gd name="T3" fmla="*/ 4 h 4"/>
                        <a:gd name="T4" fmla="*/ 6 w 13"/>
                        <a:gd name="T5" fmla="*/ 4 h 4"/>
                        <a:gd name="T6" fmla="*/ 1 w 13"/>
                        <a:gd name="T7" fmla="*/ 3 h 4"/>
                        <a:gd name="T8" fmla="*/ 0 w 13"/>
                        <a:gd name="T9" fmla="*/ 2 h 4"/>
                        <a:gd name="T10" fmla="*/ 6 w 13"/>
                        <a:gd name="T11" fmla="*/ 0 h 4"/>
                        <a:gd name="T12" fmla="*/ 6 w 13"/>
                        <a:gd name="T13" fmla="*/ 0 h 4"/>
                        <a:gd name="T14" fmla="*/ 8 w 13"/>
                        <a:gd name="T15" fmla="*/ 2 h 4"/>
                        <a:gd name="T16" fmla="*/ 13 w 13"/>
                        <a:gd name="T17" fmla="*/ 3 h 4"/>
                        <a:gd name="T18" fmla="*/ 13 w 13"/>
                        <a:gd name="T19" fmla="*/ 3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4">
                          <a:moveTo>
                            <a:pt x="13" y="3"/>
                          </a:moveTo>
                          <a:lnTo>
                            <a:pt x="11" y="4"/>
                          </a:lnTo>
                          <a:lnTo>
                            <a:pt x="6" y="4"/>
                          </a:lnTo>
                          <a:lnTo>
                            <a:pt x="1" y="3"/>
                          </a:lnTo>
                          <a:lnTo>
                            <a:pt x="0" y="2"/>
                          </a:lnTo>
                          <a:lnTo>
                            <a:pt x="6" y="0"/>
                          </a:lnTo>
                          <a:lnTo>
                            <a:pt x="6" y="0"/>
                          </a:lnTo>
                          <a:lnTo>
                            <a:pt x="8" y="2"/>
                          </a:lnTo>
                          <a:lnTo>
                            <a:pt x="13" y="3"/>
                          </a:lnTo>
                          <a:lnTo>
                            <a:pt x="13" y="3"/>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69" name="Freeform 125">
                      <a:extLst>
                        <a:ext uri="{FF2B5EF4-FFF2-40B4-BE49-F238E27FC236}">
                          <a16:creationId xmlns:a16="http://schemas.microsoft.com/office/drawing/2014/main" id="{637A4B97-241C-784C-BA0B-BA36058A4D2F}"/>
                        </a:ext>
                      </a:extLst>
                    </p:cNvPr>
                    <p:cNvSpPr>
                      <a:spLocks/>
                    </p:cNvSpPr>
                    <p:nvPr/>
                  </p:nvSpPr>
                  <p:spPr bwMode="auto">
                    <a:xfrm>
                      <a:off x="6100528" y="2017302"/>
                      <a:ext cx="127354" cy="56207"/>
                    </a:xfrm>
                    <a:custGeom>
                      <a:avLst/>
                      <a:gdLst>
                        <a:gd name="T0" fmla="*/ 67 w 87"/>
                        <a:gd name="T1" fmla="*/ 36 h 46"/>
                        <a:gd name="T2" fmla="*/ 73 w 87"/>
                        <a:gd name="T3" fmla="*/ 36 h 46"/>
                        <a:gd name="T4" fmla="*/ 74 w 87"/>
                        <a:gd name="T5" fmla="*/ 35 h 46"/>
                        <a:gd name="T6" fmla="*/ 78 w 87"/>
                        <a:gd name="T7" fmla="*/ 38 h 46"/>
                        <a:gd name="T8" fmla="*/ 82 w 87"/>
                        <a:gd name="T9" fmla="*/ 42 h 46"/>
                        <a:gd name="T10" fmla="*/ 85 w 87"/>
                        <a:gd name="T11" fmla="*/ 42 h 46"/>
                        <a:gd name="T12" fmla="*/ 85 w 87"/>
                        <a:gd name="T13" fmla="*/ 45 h 46"/>
                        <a:gd name="T14" fmla="*/ 80 w 87"/>
                        <a:gd name="T15" fmla="*/ 45 h 46"/>
                        <a:gd name="T16" fmla="*/ 65 w 87"/>
                        <a:gd name="T17" fmla="*/ 44 h 46"/>
                        <a:gd name="T18" fmla="*/ 55 w 87"/>
                        <a:gd name="T19" fmla="*/ 44 h 46"/>
                        <a:gd name="T20" fmla="*/ 53 w 87"/>
                        <a:gd name="T21" fmla="*/ 44 h 46"/>
                        <a:gd name="T22" fmla="*/ 53 w 87"/>
                        <a:gd name="T23" fmla="*/ 40 h 46"/>
                        <a:gd name="T24" fmla="*/ 41 w 87"/>
                        <a:gd name="T25" fmla="*/ 42 h 46"/>
                        <a:gd name="T26" fmla="*/ 40 w 87"/>
                        <a:gd name="T27" fmla="*/ 36 h 46"/>
                        <a:gd name="T28" fmla="*/ 31 w 87"/>
                        <a:gd name="T29" fmla="*/ 33 h 46"/>
                        <a:gd name="T30" fmla="*/ 20 w 87"/>
                        <a:gd name="T31" fmla="*/ 29 h 46"/>
                        <a:gd name="T32" fmla="*/ 3 w 87"/>
                        <a:gd name="T33" fmla="*/ 29 h 46"/>
                        <a:gd name="T34" fmla="*/ 0 w 87"/>
                        <a:gd name="T35" fmla="*/ 20 h 46"/>
                        <a:gd name="T36" fmla="*/ 2 w 87"/>
                        <a:gd name="T37" fmla="*/ 18 h 46"/>
                        <a:gd name="T38" fmla="*/ 5 w 87"/>
                        <a:gd name="T39" fmla="*/ 17 h 46"/>
                        <a:gd name="T40" fmla="*/ 9 w 87"/>
                        <a:gd name="T41" fmla="*/ 20 h 46"/>
                        <a:gd name="T42" fmla="*/ 13 w 87"/>
                        <a:gd name="T43" fmla="*/ 12 h 46"/>
                        <a:gd name="T44" fmla="*/ 3 w 87"/>
                        <a:gd name="T45" fmla="*/ 9 h 46"/>
                        <a:gd name="T46" fmla="*/ 15 w 87"/>
                        <a:gd name="T47" fmla="*/ 6 h 46"/>
                        <a:gd name="T48" fmla="*/ 13 w 87"/>
                        <a:gd name="T49" fmla="*/ 0 h 46"/>
                        <a:gd name="T50" fmla="*/ 22 w 87"/>
                        <a:gd name="T51" fmla="*/ 0 h 46"/>
                        <a:gd name="T52" fmla="*/ 34 w 87"/>
                        <a:gd name="T53" fmla="*/ 0 h 46"/>
                        <a:gd name="T54" fmla="*/ 43 w 87"/>
                        <a:gd name="T55" fmla="*/ 2 h 46"/>
                        <a:gd name="T56" fmla="*/ 49 w 87"/>
                        <a:gd name="T57" fmla="*/ 2 h 46"/>
                        <a:gd name="T58" fmla="*/ 47 w 87"/>
                        <a:gd name="T59" fmla="*/ 6 h 46"/>
                        <a:gd name="T60" fmla="*/ 48 w 87"/>
                        <a:gd name="T61" fmla="*/ 11 h 46"/>
                        <a:gd name="T62" fmla="*/ 50 w 87"/>
                        <a:gd name="T63" fmla="*/ 19 h 46"/>
                        <a:gd name="T64" fmla="*/ 50 w 87"/>
                        <a:gd name="T65" fmla="*/ 23 h 46"/>
                        <a:gd name="T66" fmla="*/ 61 w 87"/>
                        <a:gd name="T67" fmla="*/ 27 h 46"/>
                        <a:gd name="T68" fmla="*/ 64 w 87"/>
                        <a:gd name="T69" fmla="*/ 32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87" h="46">
                          <a:moveTo>
                            <a:pt x="64" y="32"/>
                          </a:moveTo>
                          <a:lnTo>
                            <a:pt x="67" y="36"/>
                          </a:lnTo>
                          <a:lnTo>
                            <a:pt x="68" y="35"/>
                          </a:lnTo>
                          <a:lnTo>
                            <a:pt x="73" y="36"/>
                          </a:lnTo>
                          <a:lnTo>
                            <a:pt x="71" y="38"/>
                          </a:lnTo>
                          <a:lnTo>
                            <a:pt x="74" y="35"/>
                          </a:lnTo>
                          <a:lnTo>
                            <a:pt x="75" y="38"/>
                          </a:lnTo>
                          <a:lnTo>
                            <a:pt x="78" y="38"/>
                          </a:lnTo>
                          <a:lnTo>
                            <a:pt x="82" y="39"/>
                          </a:lnTo>
                          <a:lnTo>
                            <a:pt x="82" y="42"/>
                          </a:lnTo>
                          <a:lnTo>
                            <a:pt x="85" y="40"/>
                          </a:lnTo>
                          <a:lnTo>
                            <a:pt x="85" y="42"/>
                          </a:lnTo>
                          <a:lnTo>
                            <a:pt x="87" y="43"/>
                          </a:lnTo>
                          <a:lnTo>
                            <a:pt x="85" y="45"/>
                          </a:lnTo>
                          <a:lnTo>
                            <a:pt x="84" y="46"/>
                          </a:lnTo>
                          <a:lnTo>
                            <a:pt x="80" y="45"/>
                          </a:lnTo>
                          <a:lnTo>
                            <a:pt x="75" y="45"/>
                          </a:lnTo>
                          <a:lnTo>
                            <a:pt x="65" y="44"/>
                          </a:lnTo>
                          <a:lnTo>
                            <a:pt x="60" y="44"/>
                          </a:lnTo>
                          <a:lnTo>
                            <a:pt x="55" y="44"/>
                          </a:lnTo>
                          <a:lnTo>
                            <a:pt x="55" y="44"/>
                          </a:lnTo>
                          <a:lnTo>
                            <a:pt x="53" y="44"/>
                          </a:lnTo>
                          <a:lnTo>
                            <a:pt x="55" y="42"/>
                          </a:lnTo>
                          <a:lnTo>
                            <a:pt x="53" y="40"/>
                          </a:lnTo>
                          <a:lnTo>
                            <a:pt x="48" y="42"/>
                          </a:lnTo>
                          <a:lnTo>
                            <a:pt x="41" y="42"/>
                          </a:lnTo>
                          <a:lnTo>
                            <a:pt x="35" y="38"/>
                          </a:lnTo>
                          <a:lnTo>
                            <a:pt x="40" y="36"/>
                          </a:lnTo>
                          <a:lnTo>
                            <a:pt x="36" y="33"/>
                          </a:lnTo>
                          <a:lnTo>
                            <a:pt x="31" y="33"/>
                          </a:lnTo>
                          <a:lnTo>
                            <a:pt x="25" y="30"/>
                          </a:lnTo>
                          <a:lnTo>
                            <a:pt x="20" y="29"/>
                          </a:lnTo>
                          <a:lnTo>
                            <a:pt x="14" y="30"/>
                          </a:lnTo>
                          <a:lnTo>
                            <a:pt x="3" y="29"/>
                          </a:lnTo>
                          <a:lnTo>
                            <a:pt x="1" y="24"/>
                          </a:lnTo>
                          <a:lnTo>
                            <a:pt x="0" y="20"/>
                          </a:lnTo>
                          <a:lnTo>
                            <a:pt x="0" y="17"/>
                          </a:lnTo>
                          <a:lnTo>
                            <a:pt x="2" y="18"/>
                          </a:lnTo>
                          <a:lnTo>
                            <a:pt x="3" y="17"/>
                          </a:lnTo>
                          <a:lnTo>
                            <a:pt x="5" y="17"/>
                          </a:lnTo>
                          <a:lnTo>
                            <a:pt x="7" y="17"/>
                          </a:lnTo>
                          <a:lnTo>
                            <a:pt x="9" y="20"/>
                          </a:lnTo>
                          <a:lnTo>
                            <a:pt x="10" y="16"/>
                          </a:lnTo>
                          <a:lnTo>
                            <a:pt x="13" y="12"/>
                          </a:lnTo>
                          <a:lnTo>
                            <a:pt x="7" y="11"/>
                          </a:lnTo>
                          <a:lnTo>
                            <a:pt x="3" y="9"/>
                          </a:lnTo>
                          <a:lnTo>
                            <a:pt x="7" y="6"/>
                          </a:lnTo>
                          <a:lnTo>
                            <a:pt x="15" y="6"/>
                          </a:lnTo>
                          <a:lnTo>
                            <a:pt x="10" y="3"/>
                          </a:lnTo>
                          <a:lnTo>
                            <a:pt x="13" y="0"/>
                          </a:lnTo>
                          <a:lnTo>
                            <a:pt x="16" y="0"/>
                          </a:lnTo>
                          <a:lnTo>
                            <a:pt x="22" y="0"/>
                          </a:lnTo>
                          <a:lnTo>
                            <a:pt x="31" y="3"/>
                          </a:lnTo>
                          <a:lnTo>
                            <a:pt x="34" y="0"/>
                          </a:lnTo>
                          <a:lnTo>
                            <a:pt x="38" y="3"/>
                          </a:lnTo>
                          <a:lnTo>
                            <a:pt x="43" y="2"/>
                          </a:lnTo>
                          <a:lnTo>
                            <a:pt x="47" y="3"/>
                          </a:lnTo>
                          <a:lnTo>
                            <a:pt x="49" y="2"/>
                          </a:lnTo>
                          <a:lnTo>
                            <a:pt x="48" y="5"/>
                          </a:lnTo>
                          <a:lnTo>
                            <a:pt x="47" y="6"/>
                          </a:lnTo>
                          <a:lnTo>
                            <a:pt x="44" y="9"/>
                          </a:lnTo>
                          <a:lnTo>
                            <a:pt x="48" y="11"/>
                          </a:lnTo>
                          <a:lnTo>
                            <a:pt x="45" y="16"/>
                          </a:lnTo>
                          <a:lnTo>
                            <a:pt x="50" y="19"/>
                          </a:lnTo>
                          <a:lnTo>
                            <a:pt x="51" y="22"/>
                          </a:lnTo>
                          <a:lnTo>
                            <a:pt x="50" y="23"/>
                          </a:lnTo>
                          <a:lnTo>
                            <a:pt x="57" y="27"/>
                          </a:lnTo>
                          <a:lnTo>
                            <a:pt x="61" y="27"/>
                          </a:lnTo>
                          <a:lnTo>
                            <a:pt x="62" y="31"/>
                          </a:lnTo>
                          <a:lnTo>
                            <a:pt x="64" y="32"/>
                          </a:lnTo>
                          <a:lnTo>
                            <a:pt x="64" y="32"/>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70" name="Freeform 126">
                      <a:extLst>
                        <a:ext uri="{FF2B5EF4-FFF2-40B4-BE49-F238E27FC236}">
                          <a16:creationId xmlns:a16="http://schemas.microsoft.com/office/drawing/2014/main" id="{E238B07A-1BC7-4248-9096-48AA0F934FD0}"/>
                        </a:ext>
                      </a:extLst>
                    </p:cNvPr>
                    <p:cNvSpPr>
                      <a:spLocks/>
                    </p:cNvSpPr>
                    <p:nvPr/>
                  </p:nvSpPr>
                  <p:spPr bwMode="auto">
                    <a:xfrm>
                      <a:off x="6565518" y="2179623"/>
                      <a:ext cx="22509" cy="8039"/>
                    </a:xfrm>
                    <a:custGeom>
                      <a:avLst/>
                      <a:gdLst>
                        <a:gd name="T0" fmla="*/ 3 w 14"/>
                        <a:gd name="T1" fmla="*/ 0 h 5"/>
                        <a:gd name="T2" fmla="*/ 14 w 14"/>
                        <a:gd name="T3" fmla="*/ 1 h 5"/>
                        <a:gd name="T4" fmla="*/ 8 w 14"/>
                        <a:gd name="T5" fmla="*/ 2 h 5"/>
                        <a:gd name="T6" fmla="*/ 4 w 14"/>
                        <a:gd name="T7" fmla="*/ 5 h 5"/>
                        <a:gd name="T8" fmla="*/ 0 w 14"/>
                        <a:gd name="T9" fmla="*/ 2 h 5"/>
                        <a:gd name="T10" fmla="*/ 3 w 14"/>
                        <a:gd name="T11" fmla="*/ 0 h 5"/>
                        <a:gd name="T12" fmla="*/ 3 w 14"/>
                        <a:gd name="T13" fmla="*/ 0 h 5"/>
                      </a:gdLst>
                      <a:ahLst/>
                      <a:cxnLst>
                        <a:cxn ang="0">
                          <a:pos x="T0" y="T1"/>
                        </a:cxn>
                        <a:cxn ang="0">
                          <a:pos x="T2" y="T3"/>
                        </a:cxn>
                        <a:cxn ang="0">
                          <a:pos x="T4" y="T5"/>
                        </a:cxn>
                        <a:cxn ang="0">
                          <a:pos x="T6" y="T7"/>
                        </a:cxn>
                        <a:cxn ang="0">
                          <a:pos x="T8" y="T9"/>
                        </a:cxn>
                        <a:cxn ang="0">
                          <a:pos x="T10" y="T11"/>
                        </a:cxn>
                        <a:cxn ang="0">
                          <a:pos x="T12" y="T13"/>
                        </a:cxn>
                      </a:cxnLst>
                      <a:rect l="0" t="0" r="r" b="b"/>
                      <a:pathLst>
                        <a:path w="14" h="5">
                          <a:moveTo>
                            <a:pt x="3" y="0"/>
                          </a:moveTo>
                          <a:lnTo>
                            <a:pt x="14" y="1"/>
                          </a:lnTo>
                          <a:lnTo>
                            <a:pt x="8" y="2"/>
                          </a:lnTo>
                          <a:lnTo>
                            <a:pt x="4" y="5"/>
                          </a:lnTo>
                          <a:lnTo>
                            <a:pt x="0" y="2"/>
                          </a:lnTo>
                          <a:lnTo>
                            <a:pt x="3" y="0"/>
                          </a:lnTo>
                          <a:lnTo>
                            <a:pt x="3" y="0"/>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71" name="Freeform 127">
                      <a:extLst>
                        <a:ext uri="{FF2B5EF4-FFF2-40B4-BE49-F238E27FC236}">
                          <a16:creationId xmlns:a16="http://schemas.microsoft.com/office/drawing/2014/main" id="{586F66CB-E1C1-8345-83C8-D030D8917145}"/>
                        </a:ext>
                      </a:extLst>
                    </p:cNvPr>
                    <p:cNvSpPr>
                      <a:spLocks/>
                    </p:cNvSpPr>
                    <p:nvPr/>
                  </p:nvSpPr>
                  <p:spPr bwMode="auto">
                    <a:xfrm>
                      <a:off x="6045626" y="2074540"/>
                      <a:ext cx="50418" cy="50418"/>
                    </a:xfrm>
                    <a:custGeom>
                      <a:avLst/>
                      <a:gdLst>
                        <a:gd name="T0" fmla="*/ 12 w 27"/>
                        <a:gd name="T1" fmla="*/ 1 h 16"/>
                        <a:gd name="T2" fmla="*/ 15 w 27"/>
                        <a:gd name="T3" fmla="*/ 3 h 16"/>
                        <a:gd name="T4" fmla="*/ 15 w 27"/>
                        <a:gd name="T5" fmla="*/ 2 h 16"/>
                        <a:gd name="T6" fmla="*/ 18 w 27"/>
                        <a:gd name="T7" fmla="*/ 4 h 16"/>
                        <a:gd name="T8" fmla="*/ 18 w 27"/>
                        <a:gd name="T9" fmla="*/ 7 h 16"/>
                        <a:gd name="T10" fmla="*/ 22 w 27"/>
                        <a:gd name="T11" fmla="*/ 4 h 16"/>
                        <a:gd name="T12" fmla="*/ 23 w 27"/>
                        <a:gd name="T13" fmla="*/ 4 h 16"/>
                        <a:gd name="T14" fmla="*/ 24 w 27"/>
                        <a:gd name="T15" fmla="*/ 4 h 16"/>
                        <a:gd name="T16" fmla="*/ 25 w 27"/>
                        <a:gd name="T17" fmla="*/ 7 h 16"/>
                        <a:gd name="T18" fmla="*/ 26 w 27"/>
                        <a:gd name="T19" fmla="*/ 8 h 16"/>
                        <a:gd name="T20" fmla="*/ 27 w 27"/>
                        <a:gd name="T21" fmla="*/ 9 h 16"/>
                        <a:gd name="T22" fmla="*/ 24 w 27"/>
                        <a:gd name="T23" fmla="*/ 9 h 16"/>
                        <a:gd name="T24" fmla="*/ 23 w 27"/>
                        <a:gd name="T25" fmla="*/ 12 h 16"/>
                        <a:gd name="T26" fmla="*/ 20 w 27"/>
                        <a:gd name="T27" fmla="*/ 14 h 16"/>
                        <a:gd name="T28" fmla="*/ 18 w 27"/>
                        <a:gd name="T29" fmla="*/ 14 h 16"/>
                        <a:gd name="T30" fmla="*/ 16 w 27"/>
                        <a:gd name="T31" fmla="*/ 15 h 16"/>
                        <a:gd name="T32" fmla="*/ 16 w 27"/>
                        <a:gd name="T33" fmla="*/ 16 h 16"/>
                        <a:gd name="T34" fmla="*/ 13 w 27"/>
                        <a:gd name="T35" fmla="*/ 14 h 16"/>
                        <a:gd name="T36" fmla="*/ 11 w 27"/>
                        <a:gd name="T37" fmla="*/ 15 h 16"/>
                        <a:gd name="T38" fmla="*/ 9 w 27"/>
                        <a:gd name="T39" fmla="*/ 15 h 16"/>
                        <a:gd name="T40" fmla="*/ 6 w 27"/>
                        <a:gd name="T41" fmla="*/ 14 h 16"/>
                        <a:gd name="T42" fmla="*/ 5 w 27"/>
                        <a:gd name="T43" fmla="*/ 14 h 16"/>
                        <a:gd name="T44" fmla="*/ 5 w 27"/>
                        <a:gd name="T45" fmla="*/ 12 h 16"/>
                        <a:gd name="T46" fmla="*/ 6 w 27"/>
                        <a:gd name="T47" fmla="*/ 10 h 16"/>
                        <a:gd name="T48" fmla="*/ 3 w 27"/>
                        <a:gd name="T49" fmla="*/ 10 h 16"/>
                        <a:gd name="T50" fmla="*/ 3 w 27"/>
                        <a:gd name="T51" fmla="*/ 11 h 16"/>
                        <a:gd name="T52" fmla="*/ 2 w 27"/>
                        <a:gd name="T53" fmla="*/ 10 h 16"/>
                        <a:gd name="T54" fmla="*/ 2 w 27"/>
                        <a:gd name="T55" fmla="*/ 8 h 16"/>
                        <a:gd name="T56" fmla="*/ 0 w 27"/>
                        <a:gd name="T57" fmla="*/ 5 h 16"/>
                        <a:gd name="T58" fmla="*/ 3 w 27"/>
                        <a:gd name="T59" fmla="*/ 3 h 16"/>
                        <a:gd name="T60" fmla="*/ 3 w 27"/>
                        <a:gd name="T61" fmla="*/ 1 h 16"/>
                        <a:gd name="T62" fmla="*/ 6 w 27"/>
                        <a:gd name="T63" fmla="*/ 2 h 16"/>
                        <a:gd name="T64" fmla="*/ 9 w 27"/>
                        <a:gd name="T65" fmla="*/ 0 h 16"/>
                        <a:gd name="T66" fmla="*/ 12 w 27"/>
                        <a:gd name="T67" fmla="*/ 1 h 16"/>
                        <a:gd name="T68" fmla="*/ 12 w 27"/>
                        <a:gd name="T69" fmla="*/ 1 h 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27" h="16">
                          <a:moveTo>
                            <a:pt x="12" y="1"/>
                          </a:moveTo>
                          <a:lnTo>
                            <a:pt x="15" y="3"/>
                          </a:lnTo>
                          <a:lnTo>
                            <a:pt x="15" y="2"/>
                          </a:lnTo>
                          <a:lnTo>
                            <a:pt x="18" y="4"/>
                          </a:lnTo>
                          <a:lnTo>
                            <a:pt x="18" y="7"/>
                          </a:lnTo>
                          <a:lnTo>
                            <a:pt x="22" y="4"/>
                          </a:lnTo>
                          <a:lnTo>
                            <a:pt x="23" y="4"/>
                          </a:lnTo>
                          <a:lnTo>
                            <a:pt x="24" y="4"/>
                          </a:lnTo>
                          <a:lnTo>
                            <a:pt x="25" y="7"/>
                          </a:lnTo>
                          <a:lnTo>
                            <a:pt x="26" y="8"/>
                          </a:lnTo>
                          <a:lnTo>
                            <a:pt x="27" y="9"/>
                          </a:lnTo>
                          <a:lnTo>
                            <a:pt x="24" y="9"/>
                          </a:lnTo>
                          <a:lnTo>
                            <a:pt x="23" y="12"/>
                          </a:lnTo>
                          <a:lnTo>
                            <a:pt x="20" y="14"/>
                          </a:lnTo>
                          <a:lnTo>
                            <a:pt x="18" y="14"/>
                          </a:lnTo>
                          <a:lnTo>
                            <a:pt x="16" y="15"/>
                          </a:lnTo>
                          <a:lnTo>
                            <a:pt x="16" y="16"/>
                          </a:lnTo>
                          <a:lnTo>
                            <a:pt x="13" y="14"/>
                          </a:lnTo>
                          <a:lnTo>
                            <a:pt x="11" y="15"/>
                          </a:lnTo>
                          <a:lnTo>
                            <a:pt x="9" y="15"/>
                          </a:lnTo>
                          <a:lnTo>
                            <a:pt x="6" y="14"/>
                          </a:lnTo>
                          <a:lnTo>
                            <a:pt x="5" y="14"/>
                          </a:lnTo>
                          <a:lnTo>
                            <a:pt x="5" y="12"/>
                          </a:lnTo>
                          <a:lnTo>
                            <a:pt x="6" y="10"/>
                          </a:lnTo>
                          <a:lnTo>
                            <a:pt x="3" y="10"/>
                          </a:lnTo>
                          <a:lnTo>
                            <a:pt x="3" y="11"/>
                          </a:lnTo>
                          <a:lnTo>
                            <a:pt x="2" y="10"/>
                          </a:lnTo>
                          <a:lnTo>
                            <a:pt x="2" y="8"/>
                          </a:lnTo>
                          <a:lnTo>
                            <a:pt x="0" y="5"/>
                          </a:lnTo>
                          <a:lnTo>
                            <a:pt x="3" y="3"/>
                          </a:lnTo>
                          <a:lnTo>
                            <a:pt x="3" y="1"/>
                          </a:lnTo>
                          <a:lnTo>
                            <a:pt x="6" y="2"/>
                          </a:lnTo>
                          <a:lnTo>
                            <a:pt x="9" y="0"/>
                          </a:lnTo>
                          <a:lnTo>
                            <a:pt x="12" y="1"/>
                          </a:lnTo>
                          <a:lnTo>
                            <a:pt x="12" y="1"/>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72" name="Freeform 128">
                      <a:extLst>
                        <a:ext uri="{FF2B5EF4-FFF2-40B4-BE49-F238E27FC236}">
                          <a16:creationId xmlns:a16="http://schemas.microsoft.com/office/drawing/2014/main" id="{B730925D-6C9B-CD47-8323-ACFD49E28D32}"/>
                        </a:ext>
                      </a:extLst>
                    </p:cNvPr>
                    <p:cNvSpPr>
                      <a:spLocks/>
                    </p:cNvSpPr>
                    <p:nvPr/>
                  </p:nvSpPr>
                  <p:spPr bwMode="auto">
                    <a:xfrm>
                      <a:off x="6113729" y="2046176"/>
                      <a:ext cx="22509" cy="12862"/>
                    </a:xfrm>
                    <a:custGeom>
                      <a:avLst/>
                      <a:gdLst>
                        <a:gd name="T0" fmla="*/ 0 w 14"/>
                        <a:gd name="T1" fmla="*/ 1 h 8"/>
                        <a:gd name="T2" fmla="*/ 2 w 14"/>
                        <a:gd name="T3" fmla="*/ 0 h 8"/>
                        <a:gd name="T4" fmla="*/ 7 w 14"/>
                        <a:gd name="T5" fmla="*/ 1 h 8"/>
                        <a:gd name="T6" fmla="*/ 8 w 14"/>
                        <a:gd name="T7" fmla="*/ 3 h 8"/>
                        <a:gd name="T8" fmla="*/ 14 w 14"/>
                        <a:gd name="T9" fmla="*/ 8 h 8"/>
                        <a:gd name="T10" fmla="*/ 9 w 14"/>
                        <a:gd name="T11" fmla="*/ 8 h 8"/>
                        <a:gd name="T12" fmla="*/ 5 w 14"/>
                        <a:gd name="T13" fmla="*/ 4 h 8"/>
                        <a:gd name="T14" fmla="*/ 0 w 14"/>
                        <a:gd name="T15" fmla="*/ 1 h 8"/>
                        <a:gd name="T16" fmla="*/ 0 w 14"/>
                        <a:gd name="T17" fmla="*/ 1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4" h="8">
                          <a:moveTo>
                            <a:pt x="0" y="1"/>
                          </a:moveTo>
                          <a:lnTo>
                            <a:pt x="2" y="0"/>
                          </a:lnTo>
                          <a:lnTo>
                            <a:pt x="7" y="1"/>
                          </a:lnTo>
                          <a:lnTo>
                            <a:pt x="8" y="3"/>
                          </a:lnTo>
                          <a:lnTo>
                            <a:pt x="14" y="8"/>
                          </a:lnTo>
                          <a:lnTo>
                            <a:pt x="9" y="8"/>
                          </a:lnTo>
                          <a:lnTo>
                            <a:pt x="5" y="4"/>
                          </a:lnTo>
                          <a:lnTo>
                            <a:pt x="0" y="1"/>
                          </a:lnTo>
                          <a:lnTo>
                            <a:pt x="0" y="1"/>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73" name="Freeform 129">
                      <a:extLst>
                        <a:ext uri="{FF2B5EF4-FFF2-40B4-BE49-F238E27FC236}">
                          <a16:creationId xmlns:a16="http://schemas.microsoft.com/office/drawing/2014/main" id="{53001EC9-1A90-6444-BDE3-D06709D11964}"/>
                        </a:ext>
                      </a:extLst>
                    </p:cNvPr>
                    <p:cNvSpPr>
                      <a:spLocks/>
                    </p:cNvSpPr>
                    <p:nvPr/>
                  </p:nvSpPr>
                  <p:spPr bwMode="auto">
                    <a:xfrm>
                      <a:off x="6246599" y="2043992"/>
                      <a:ext cx="50418" cy="50418"/>
                    </a:xfrm>
                    <a:custGeom>
                      <a:avLst/>
                      <a:gdLst>
                        <a:gd name="T0" fmla="*/ 20 w 27"/>
                        <a:gd name="T1" fmla="*/ 7 h 13"/>
                        <a:gd name="T2" fmla="*/ 25 w 27"/>
                        <a:gd name="T3" fmla="*/ 10 h 13"/>
                        <a:gd name="T4" fmla="*/ 27 w 27"/>
                        <a:gd name="T5" fmla="*/ 13 h 13"/>
                        <a:gd name="T6" fmla="*/ 21 w 27"/>
                        <a:gd name="T7" fmla="*/ 13 h 13"/>
                        <a:gd name="T8" fmla="*/ 13 w 27"/>
                        <a:gd name="T9" fmla="*/ 12 h 13"/>
                        <a:gd name="T10" fmla="*/ 7 w 27"/>
                        <a:gd name="T11" fmla="*/ 10 h 13"/>
                        <a:gd name="T12" fmla="*/ 6 w 27"/>
                        <a:gd name="T13" fmla="*/ 10 h 13"/>
                        <a:gd name="T14" fmla="*/ 0 w 27"/>
                        <a:gd name="T15" fmla="*/ 5 h 13"/>
                        <a:gd name="T16" fmla="*/ 2 w 27"/>
                        <a:gd name="T17" fmla="*/ 4 h 13"/>
                        <a:gd name="T18" fmla="*/ 1 w 27"/>
                        <a:gd name="T19" fmla="*/ 1 h 13"/>
                        <a:gd name="T20" fmla="*/ 6 w 27"/>
                        <a:gd name="T21" fmla="*/ 0 h 13"/>
                        <a:gd name="T22" fmla="*/ 8 w 27"/>
                        <a:gd name="T23" fmla="*/ 3 h 13"/>
                        <a:gd name="T24" fmla="*/ 13 w 27"/>
                        <a:gd name="T25" fmla="*/ 3 h 13"/>
                        <a:gd name="T26" fmla="*/ 14 w 27"/>
                        <a:gd name="T27" fmla="*/ 4 h 13"/>
                        <a:gd name="T28" fmla="*/ 11 w 27"/>
                        <a:gd name="T29" fmla="*/ 4 h 13"/>
                        <a:gd name="T30" fmla="*/ 14 w 27"/>
                        <a:gd name="T31" fmla="*/ 6 h 13"/>
                        <a:gd name="T32" fmla="*/ 20 w 27"/>
                        <a:gd name="T33" fmla="*/ 7 h 13"/>
                        <a:gd name="T34" fmla="*/ 20 w 27"/>
                        <a:gd name="T35" fmla="*/ 7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27" h="13">
                          <a:moveTo>
                            <a:pt x="20" y="7"/>
                          </a:moveTo>
                          <a:lnTo>
                            <a:pt x="25" y="10"/>
                          </a:lnTo>
                          <a:lnTo>
                            <a:pt x="27" y="13"/>
                          </a:lnTo>
                          <a:lnTo>
                            <a:pt x="21" y="13"/>
                          </a:lnTo>
                          <a:lnTo>
                            <a:pt x="13" y="12"/>
                          </a:lnTo>
                          <a:lnTo>
                            <a:pt x="7" y="10"/>
                          </a:lnTo>
                          <a:lnTo>
                            <a:pt x="6" y="10"/>
                          </a:lnTo>
                          <a:lnTo>
                            <a:pt x="0" y="5"/>
                          </a:lnTo>
                          <a:lnTo>
                            <a:pt x="2" y="4"/>
                          </a:lnTo>
                          <a:lnTo>
                            <a:pt x="1" y="1"/>
                          </a:lnTo>
                          <a:lnTo>
                            <a:pt x="6" y="0"/>
                          </a:lnTo>
                          <a:lnTo>
                            <a:pt x="8" y="3"/>
                          </a:lnTo>
                          <a:lnTo>
                            <a:pt x="13" y="3"/>
                          </a:lnTo>
                          <a:lnTo>
                            <a:pt x="14" y="4"/>
                          </a:lnTo>
                          <a:lnTo>
                            <a:pt x="11" y="4"/>
                          </a:lnTo>
                          <a:lnTo>
                            <a:pt x="14" y="6"/>
                          </a:lnTo>
                          <a:lnTo>
                            <a:pt x="20" y="7"/>
                          </a:lnTo>
                          <a:lnTo>
                            <a:pt x="20" y="7"/>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74" name="Freeform 130">
                      <a:extLst>
                        <a:ext uri="{FF2B5EF4-FFF2-40B4-BE49-F238E27FC236}">
                          <a16:creationId xmlns:a16="http://schemas.microsoft.com/office/drawing/2014/main" id="{7C5E9A3D-A3CB-E44F-9294-A8D72C25B6AE}"/>
                        </a:ext>
                      </a:extLst>
                    </p:cNvPr>
                    <p:cNvSpPr>
                      <a:spLocks/>
                    </p:cNvSpPr>
                    <p:nvPr/>
                  </p:nvSpPr>
                  <p:spPr bwMode="auto">
                    <a:xfrm>
                      <a:off x="6129299" y="1924564"/>
                      <a:ext cx="240069" cy="78201"/>
                    </a:xfrm>
                    <a:custGeom>
                      <a:avLst/>
                      <a:gdLst>
                        <a:gd name="T0" fmla="*/ 76 w 164"/>
                        <a:gd name="T1" fmla="*/ 13 h 64"/>
                        <a:gd name="T2" fmla="*/ 71 w 164"/>
                        <a:gd name="T3" fmla="*/ 11 h 64"/>
                        <a:gd name="T4" fmla="*/ 65 w 164"/>
                        <a:gd name="T5" fmla="*/ 13 h 64"/>
                        <a:gd name="T6" fmla="*/ 58 w 164"/>
                        <a:gd name="T7" fmla="*/ 14 h 64"/>
                        <a:gd name="T8" fmla="*/ 47 w 164"/>
                        <a:gd name="T9" fmla="*/ 18 h 64"/>
                        <a:gd name="T10" fmla="*/ 44 w 164"/>
                        <a:gd name="T11" fmla="*/ 24 h 64"/>
                        <a:gd name="T12" fmla="*/ 33 w 164"/>
                        <a:gd name="T13" fmla="*/ 25 h 64"/>
                        <a:gd name="T14" fmla="*/ 29 w 164"/>
                        <a:gd name="T15" fmla="*/ 29 h 64"/>
                        <a:gd name="T16" fmla="*/ 25 w 164"/>
                        <a:gd name="T17" fmla="*/ 31 h 64"/>
                        <a:gd name="T18" fmla="*/ 14 w 164"/>
                        <a:gd name="T19" fmla="*/ 29 h 64"/>
                        <a:gd name="T20" fmla="*/ 16 w 164"/>
                        <a:gd name="T21" fmla="*/ 32 h 64"/>
                        <a:gd name="T22" fmla="*/ 18 w 164"/>
                        <a:gd name="T23" fmla="*/ 34 h 64"/>
                        <a:gd name="T24" fmla="*/ 22 w 164"/>
                        <a:gd name="T25" fmla="*/ 37 h 64"/>
                        <a:gd name="T26" fmla="*/ 19 w 164"/>
                        <a:gd name="T27" fmla="*/ 41 h 64"/>
                        <a:gd name="T28" fmla="*/ 17 w 164"/>
                        <a:gd name="T29" fmla="*/ 46 h 64"/>
                        <a:gd name="T30" fmla="*/ 14 w 164"/>
                        <a:gd name="T31" fmla="*/ 48 h 64"/>
                        <a:gd name="T32" fmla="*/ 11 w 164"/>
                        <a:gd name="T33" fmla="*/ 51 h 64"/>
                        <a:gd name="T34" fmla="*/ 2 w 164"/>
                        <a:gd name="T35" fmla="*/ 52 h 64"/>
                        <a:gd name="T36" fmla="*/ 2 w 164"/>
                        <a:gd name="T37" fmla="*/ 55 h 64"/>
                        <a:gd name="T38" fmla="*/ 14 w 164"/>
                        <a:gd name="T39" fmla="*/ 57 h 64"/>
                        <a:gd name="T40" fmla="*/ 9 w 164"/>
                        <a:gd name="T41" fmla="*/ 61 h 64"/>
                        <a:gd name="T42" fmla="*/ 20 w 164"/>
                        <a:gd name="T43" fmla="*/ 64 h 64"/>
                        <a:gd name="T44" fmla="*/ 24 w 164"/>
                        <a:gd name="T45" fmla="*/ 62 h 64"/>
                        <a:gd name="T46" fmla="*/ 32 w 164"/>
                        <a:gd name="T47" fmla="*/ 62 h 64"/>
                        <a:gd name="T48" fmla="*/ 38 w 164"/>
                        <a:gd name="T49" fmla="*/ 62 h 64"/>
                        <a:gd name="T50" fmla="*/ 44 w 164"/>
                        <a:gd name="T51" fmla="*/ 60 h 64"/>
                        <a:gd name="T52" fmla="*/ 50 w 164"/>
                        <a:gd name="T53" fmla="*/ 59 h 64"/>
                        <a:gd name="T54" fmla="*/ 50 w 164"/>
                        <a:gd name="T55" fmla="*/ 57 h 64"/>
                        <a:gd name="T56" fmla="*/ 51 w 164"/>
                        <a:gd name="T57" fmla="*/ 53 h 64"/>
                        <a:gd name="T58" fmla="*/ 53 w 164"/>
                        <a:gd name="T59" fmla="*/ 51 h 64"/>
                        <a:gd name="T60" fmla="*/ 57 w 164"/>
                        <a:gd name="T61" fmla="*/ 48 h 64"/>
                        <a:gd name="T62" fmla="*/ 58 w 164"/>
                        <a:gd name="T63" fmla="*/ 44 h 64"/>
                        <a:gd name="T64" fmla="*/ 63 w 164"/>
                        <a:gd name="T65" fmla="*/ 41 h 64"/>
                        <a:gd name="T66" fmla="*/ 71 w 164"/>
                        <a:gd name="T67" fmla="*/ 39 h 64"/>
                        <a:gd name="T68" fmla="*/ 77 w 164"/>
                        <a:gd name="T69" fmla="*/ 37 h 64"/>
                        <a:gd name="T70" fmla="*/ 79 w 164"/>
                        <a:gd name="T71" fmla="*/ 31 h 64"/>
                        <a:gd name="T72" fmla="*/ 86 w 164"/>
                        <a:gd name="T73" fmla="*/ 29 h 64"/>
                        <a:gd name="T74" fmla="*/ 94 w 164"/>
                        <a:gd name="T75" fmla="*/ 28 h 64"/>
                        <a:gd name="T76" fmla="*/ 104 w 164"/>
                        <a:gd name="T77" fmla="*/ 25 h 64"/>
                        <a:gd name="T78" fmla="*/ 113 w 164"/>
                        <a:gd name="T79" fmla="*/ 22 h 64"/>
                        <a:gd name="T80" fmla="*/ 124 w 164"/>
                        <a:gd name="T81" fmla="*/ 19 h 64"/>
                        <a:gd name="T82" fmla="*/ 133 w 164"/>
                        <a:gd name="T83" fmla="*/ 20 h 64"/>
                        <a:gd name="T84" fmla="*/ 143 w 164"/>
                        <a:gd name="T85" fmla="*/ 15 h 64"/>
                        <a:gd name="T86" fmla="*/ 149 w 164"/>
                        <a:gd name="T87" fmla="*/ 17 h 64"/>
                        <a:gd name="T88" fmla="*/ 153 w 164"/>
                        <a:gd name="T89" fmla="*/ 14 h 64"/>
                        <a:gd name="T90" fmla="*/ 159 w 164"/>
                        <a:gd name="T91" fmla="*/ 13 h 64"/>
                        <a:gd name="T92" fmla="*/ 164 w 164"/>
                        <a:gd name="T93" fmla="*/ 12 h 64"/>
                        <a:gd name="T94" fmla="*/ 162 w 164"/>
                        <a:gd name="T95" fmla="*/ 6 h 64"/>
                        <a:gd name="T96" fmla="*/ 158 w 164"/>
                        <a:gd name="T97" fmla="*/ 6 h 64"/>
                        <a:gd name="T98" fmla="*/ 157 w 164"/>
                        <a:gd name="T99" fmla="*/ 1 h 64"/>
                        <a:gd name="T100" fmla="*/ 151 w 164"/>
                        <a:gd name="T101" fmla="*/ 0 h 64"/>
                        <a:gd name="T102" fmla="*/ 144 w 164"/>
                        <a:gd name="T103" fmla="*/ 1 h 64"/>
                        <a:gd name="T104" fmla="*/ 140 w 164"/>
                        <a:gd name="T105" fmla="*/ 2 h 64"/>
                        <a:gd name="T106" fmla="*/ 136 w 164"/>
                        <a:gd name="T107" fmla="*/ 4 h 64"/>
                        <a:gd name="T108" fmla="*/ 127 w 164"/>
                        <a:gd name="T109" fmla="*/ 4 h 64"/>
                        <a:gd name="T110" fmla="*/ 117 w 164"/>
                        <a:gd name="T111" fmla="*/ 9 h 64"/>
                        <a:gd name="T112" fmla="*/ 109 w 164"/>
                        <a:gd name="T113" fmla="*/ 11 h 64"/>
                        <a:gd name="T114" fmla="*/ 102 w 164"/>
                        <a:gd name="T115" fmla="*/ 13 h 64"/>
                        <a:gd name="T116" fmla="*/ 92 w 164"/>
                        <a:gd name="T117" fmla="*/ 14 h 64"/>
                        <a:gd name="T118" fmla="*/ 84 w 164"/>
                        <a:gd name="T119" fmla="*/ 13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64" h="64">
                          <a:moveTo>
                            <a:pt x="84" y="13"/>
                          </a:moveTo>
                          <a:lnTo>
                            <a:pt x="76" y="13"/>
                          </a:lnTo>
                          <a:lnTo>
                            <a:pt x="76" y="11"/>
                          </a:lnTo>
                          <a:lnTo>
                            <a:pt x="71" y="11"/>
                          </a:lnTo>
                          <a:lnTo>
                            <a:pt x="69" y="15"/>
                          </a:lnTo>
                          <a:lnTo>
                            <a:pt x="65" y="13"/>
                          </a:lnTo>
                          <a:lnTo>
                            <a:pt x="60" y="14"/>
                          </a:lnTo>
                          <a:lnTo>
                            <a:pt x="58" y="14"/>
                          </a:lnTo>
                          <a:lnTo>
                            <a:pt x="54" y="17"/>
                          </a:lnTo>
                          <a:lnTo>
                            <a:pt x="47" y="18"/>
                          </a:lnTo>
                          <a:lnTo>
                            <a:pt x="47" y="21"/>
                          </a:lnTo>
                          <a:lnTo>
                            <a:pt x="44" y="24"/>
                          </a:lnTo>
                          <a:lnTo>
                            <a:pt x="36" y="24"/>
                          </a:lnTo>
                          <a:lnTo>
                            <a:pt x="33" y="25"/>
                          </a:lnTo>
                          <a:lnTo>
                            <a:pt x="31" y="29"/>
                          </a:lnTo>
                          <a:lnTo>
                            <a:pt x="29" y="29"/>
                          </a:lnTo>
                          <a:lnTo>
                            <a:pt x="27" y="26"/>
                          </a:lnTo>
                          <a:lnTo>
                            <a:pt x="25" y="31"/>
                          </a:lnTo>
                          <a:lnTo>
                            <a:pt x="18" y="29"/>
                          </a:lnTo>
                          <a:lnTo>
                            <a:pt x="14" y="29"/>
                          </a:lnTo>
                          <a:lnTo>
                            <a:pt x="17" y="31"/>
                          </a:lnTo>
                          <a:lnTo>
                            <a:pt x="16" y="32"/>
                          </a:lnTo>
                          <a:lnTo>
                            <a:pt x="16" y="34"/>
                          </a:lnTo>
                          <a:lnTo>
                            <a:pt x="18" y="34"/>
                          </a:lnTo>
                          <a:lnTo>
                            <a:pt x="22" y="35"/>
                          </a:lnTo>
                          <a:lnTo>
                            <a:pt x="22" y="37"/>
                          </a:lnTo>
                          <a:lnTo>
                            <a:pt x="19" y="38"/>
                          </a:lnTo>
                          <a:lnTo>
                            <a:pt x="19" y="41"/>
                          </a:lnTo>
                          <a:lnTo>
                            <a:pt x="17" y="45"/>
                          </a:lnTo>
                          <a:lnTo>
                            <a:pt x="17" y="46"/>
                          </a:lnTo>
                          <a:lnTo>
                            <a:pt x="14" y="46"/>
                          </a:lnTo>
                          <a:lnTo>
                            <a:pt x="14" y="48"/>
                          </a:lnTo>
                          <a:lnTo>
                            <a:pt x="12" y="49"/>
                          </a:lnTo>
                          <a:lnTo>
                            <a:pt x="11" y="51"/>
                          </a:lnTo>
                          <a:lnTo>
                            <a:pt x="5" y="52"/>
                          </a:lnTo>
                          <a:lnTo>
                            <a:pt x="2" y="52"/>
                          </a:lnTo>
                          <a:lnTo>
                            <a:pt x="0" y="53"/>
                          </a:lnTo>
                          <a:lnTo>
                            <a:pt x="2" y="55"/>
                          </a:lnTo>
                          <a:lnTo>
                            <a:pt x="6" y="55"/>
                          </a:lnTo>
                          <a:lnTo>
                            <a:pt x="14" y="57"/>
                          </a:lnTo>
                          <a:lnTo>
                            <a:pt x="9" y="60"/>
                          </a:lnTo>
                          <a:lnTo>
                            <a:pt x="9" y="61"/>
                          </a:lnTo>
                          <a:lnTo>
                            <a:pt x="19" y="64"/>
                          </a:lnTo>
                          <a:lnTo>
                            <a:pt x="20" y="64"/>
                          </a:lnTo>
                          <a:lnTo>
                            <a:pt x="23" y="62"/>
                          </a:lnTo>
                          <a:lnTo>
                            <a:pt x="24" y="62"/>
                          </a:lnTo>
                          <a:lnTo>
                            <a:pt x="29" y="64"/>
                          </a:lnTo>
                          <a:lnTo>
                            <a:pt x="32" y="62"/>
                          </a:lnTo>
                          <a:lnTo>
                            <a:pt x="36" y="64"/>
                          </a:lnTo>
                          <a:lnTo>
                            <a:pt x="38" y="62"/>
                          </a:lnTo>
                          <a:lnTo>
                            <a:pt x="44" y="62"/>
                          </a:lnTo>
                          <a:lnTo>
                            <a:pt x="44" y="60"/>
                          </a:lnTo>
                          <a:lnTo>
                            <a:pt x="47" y="60"/>
                          </a:lnTo>
                          <a:lnTo>
                            <a:pt x="50" y="59"/>
                          </a:lnTo>
                          <a:lnTo>
                            <a:pt x="50" y="58"/>
                          </a:lnTo>
                          <a:lnTo>
                            <a:pt x="50" y="57"/>
                          </a:lnTo>
                          <a:lnTo>
                            <a:pt x="52" y="55"/>
                          </a:lnTo>
                          <a:lnTo>
                            <a:pt x="51" y="53"/>
                          </a:lnTo>
                          <a:lnTo>
                            <a:pt x="52" y="52"/>
                          </a:lnTo>
                          <a:lnTo>
                            <a:pt x="53" y="51"/>
                          </a:lnTo>
                          <a:lnTo>
                            <a:pt x="52" y="49"/>
                          </a:lnTo>
                          <a:lnTo>
                            <a:pt x="57" y="48"/>
                          </a:lnTo>
                          <a:lnTo>
                            <a:pt x="58" y="46"/>
                          </a:lnTo>
                          <a:lnTo>
                            <a:pt x="58" y="44"/>
                          </a:lnTo>
                          <a:lnTo>
                            <a:pt x="60" y="44"/>
                          </a:lnTo>
                          <a:lnTo>
                            <a:pt x="63" y="41"/>
                          </a:lnTo>
                          <a:lnTo>
                            <a:pt x="69" y="41"/>
                          </a:lnTo>
                          <a:lnTo>
                            <a:pt x="71" y="39"/>
                          </a:lnTo>
                          <a:lnTo>
                            <a:pt x="73" y="38"/>
                          </a:lnTo>
                          <a:lnTo>
                            <a:pt x="77" y="37"/>
                          </a:lnTo>
                          <a:lnTo>
                            <a:pt x="78" y="34"/>
                          </a:lnTo>
                          <a:lnTo>
                            <a:pt x="79" y="31"/>
                          </a:lnTo>
                          <a:lnTo>
                            <a:pt x="83" y="29"/>
                          </a:lnTo>
                          <a:lnTo>
                            <a:pt x="86" y="29"/>
                          </a:lnTo>
                          <a:lnTo>
                            <a:pt x="89" y="27"/>
                          </a:lnTo>
                          <a:lnTo>
                            <a:pt x="94" y="28"/>
                          </a:lnTo>
                          <a:lnTo>
                            <a:pt x="97" y="26"/>
                          </a:lnTo>
                          <a:lnTo>
                            <a:pt x="104" y="25"/>
                          </a:lnTo>
                          <a:lnTo>
                            <a:pt x="109" y="22"/>
                          </a:lnTo>
                          <a:lnTo>
                            <a:pt x="113" y="22"/>
                          </a:lnTo>
                          <a:lnTo>
                            <a:pt x="122" y="22"/>
                          </a:lnTo>
                          <a:lnTo>
                            <a:pt x="124" y="19"/>
                          </a:lnTo>
                          <a:lnTo>
                            <a:pt x="127" y="21"/>
                          </a:lnTo>
                          <a:lnTo>
                            <a:pt x="133" y="20"/>
                          </a:lnTo>
                          <a:lnTo>
                            <a:pt x="138" y="18"/>
                          </a:lnTo>
                          <a:lnTo>
                            <a:pt x="143" y="15"/>
                          </a:lnTo>
                          <a:lnTo>
                            <a:pt x="144" y="17"/>
                          </a:lnTo>
                          <a:lnTo>
                            <a:pt x="149" y="17"/>
                          </a:lnTo>
                          <a:lnTo>
                            <a:pt x="151" y="14"/>
                          </a:lnTo>
                          <a:lnTo>
                            <a:pt x="153" y="14"/>
                          </a:lnTo>
                          <a:lnTo>
                            <a:pt x="154" y="13"/>
                          </a:lnTo>
                          <a:lnTo>
                            <a:pt x="159" y="13"/>
                          </a:lnTo>
                          <a:lnTo>
                            <a:pt x="159" y="11"/>
                          </a:lnTo>
                          <a:lnTo>
                            <a:pt x="164" y="12"/>
                          </a:lnTo>
                          <a:lnTo>
                            <a:pt x="162" y="9"/>
                          </a:lnTo>
                          <a:lnTo>
                            <a:pt x="162" y="6"/>
                          </a:lnTo>
                          <a:lnTo>
                            <a:pt x="158" y="8"/>
                          </a:lnTo>
                          <a:lnTo>
                            <a:pt x="158" y="6"/>
                          </a:lnTo>
                          <a:lnTo>
                            <a:pt x="157" y="4"/>
                          </a:lnTo>
                          <a:lnTo>
                            <a:pt x="157" y="1"/>
                          </a:lnTo>
                          <a:lnTo>
                            <a:pt x="152" y="1"/>
                          </a:lnTo>
                          <a:lnTo>
                            <a:pt x="151" y="0"/>
                          </a:lnTo>
                          <a:lnTo>
                            <a:pt x="149" y="1"/>
                          </a:lnTo>
                          <a:lnTo>
                            <a:pt x="144" y="1"/>
                          </a:lnTo>
                          <a:lnTo>
                            <a:pt x="142" y="1"/>
                          </a:lnTo>
                          <a:lnTo>
                            <a:pt x="140" y="2"/>
                          </a:lnTo>
                          <a:lnTo>
                            <a:pt x="138" y="4"/>
                          </a:lnTo>
                          <a:lnTo>
                            <a:pt x="136" y="4"/>
                          </a:lnTo>
                          <a:lnTo>
                            <a:pt x="132" y="4"/>
                          </a:lnTo>
                          <a:lnTo>
                            <a:pt x="127" y="4"/>
                          </a:lnTo>
                          <a:lnTo>
                            <a:pt x="122" y="7"/>
                          </a:lnTo>
                          <a:lnTo>
                            <a:pt x="117" y="9"/>
                          </a:lnTo>
                          <a:lnTo>
                            <a:pt x="113" y="11"/>
                          </a:lnTo>
                          <a:lnTo>
                            <a:pt x="109" y="11"/>
                          </a:lnTo>
                          <a:lnTo>
                            <a:pt x="105" y="12"/>
                          </a:lnTo>
                          <a:lnTo>
                            <a:pt x="102" y="13"/>
                          </a:lnTo>
                          <a:lnTo>
                            <a:pt x="97" y="13"/>
                          </a:lnTo>
                          <a:lnTo>
                            <a:pt x="92" y="14"/>
                          </a:lnTo>
                          <a:lnTo>
                            <a:pt x="84" y="13"/>
                          </a:lnTo>
                          <a:lnTo>
                            <a:pt x="84" y="13"/>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75" name="Freeform 131">
                      <a:extLst>
                        <a:ext uri="{FF2B5EF4-FFF2-40B4-BE49-F238E27FC236}">
                          <a16:creationId xmlns:a16="http://schemas.microsoft.com/office/drawing/2014/main" id="{55B5BC8D-6577-EE4B-8910-D74C2AD3AA9D}"/>
                        </a:ext>
                      </a:extLst>
                    </p:cNvPr>
                    <p:cNvSpPr>
                      <a:spLocks/>
                    </p:cNvSpPr>
                    <p:nvPr/>
                  </p:nvSpPr>
                  <p:spPr bwMode="auto">
                    <a:xfrm>
                      <a:off x="9107430" y="2531728"/>
                      <a:ext cx="24117" cy="9647"/>
                    </a:xfrm>
                    <a:custGeom>
                      <a:avLst/>
                      <a:gdLst>
                        <a:gd name="T0" fmla="*/ 0 w 15"/>
                        <a:gd name="T1" fmla="*/ 0 h 6"/>
                        <a:gd name="T2" fmla="*/ 8 w 15"/>
                        <a:gd name="T3" fmla="*/ 1 h 6"/>
                        <a:gd name="T4" fmla="*/ 9 w 15"/>
                        <a:gd name="T5" fmla="*/ 2 h 6"/>
                        <a:gd name="T6" fmla="*/ 15 w 15"/>
                        <a:gd name="T7" fmla="*/ 6 h 6"/>
                        <a:gd name="T8" fmla="*/ 11 w 15"/>
                        <a:gd name="T9" fmla="*/ 6 h 6"/>
                        <a:gd name="T10" fmla="*/ 8 w 15"/>
                        <a:gd name="T11" fmla="*/ 6 h 6"/>
                        <a:gd name="T12" fmla="*/ 3 w 15"/>
                        <a:gd name="T13" fmla="*/ 3 h 6"/>
                        <a:gd name="T14" fmla="*/ 1 w 15"/>
                        <a:gd name="T15" fmla="*/ 1 h 6"/>
                        <a:gd name="T16" fmla="*/ 1 w 15"/>
                        <a:gd name="T17" fmla="*/ 0 h 6"/>
                        <a:gd name="T18" fmla="*/ 0 w 15"/>
                        <a:gd name="T19" fmla="*/ 0 h 6"/>
                        <a:gd name="T20" fmla="*/ 0 w 15"/>
                        <a:gd name="T21" fmla="*/ 0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5" h="6">
                          <a:moveTo>
                            <a:pt x="0" y="0"/>
                          </a:moveTo>
                          <a:lnTo>
                            <a:pt x="8" y="1"/>
                          </a:lnTo>
                          <a:lnTo>
                            <a:pt x="9" y="2"/>
                          </a:lnTo>
                          <a:lnTo>
                            <a:pt x="15" y="6"/>
                          </a:lnTo>
                          <a:lnTo>
                            <a:pt x="11" y="6"/>
                          </a:lnTo>
                          <a:lnTo>
                            <a:pt x="8" y="6"/>
                          </a:lnTo>
                          <a:lnTo>
                            <a:pt x="3" y="3"/>
                          </a:lnTo>
                          <a:lnTo>
                            <a:pt x="1" y="1"/>
                          </a:lnTo>
                          <a:lnTo>
                            <a:pt x="1" y="0"/>
                          </a:lnTo>
                          <a:lnTo>
                            <a:pt x="0" y="0"/>
                          </a:lnTo>
                          <a:lnTo>
                            <a:pt x="0" y="0"/>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76" name="Freeform 132">
                      <a:extLst>
                        <a:ext uri="{FF2B5EF4-FFF2-40B4-BE49-F238E27FC236}">
                          <a16:creationId xmlns:a16="http://schemas.microsoft.com/office/drawing/2014/main" id="{4F9AFFB6-4470-0844-A5EC-E18013E89CC5}"/>
                        </a:ext>
                      </a:extLst>
                    </p:cNvPr>
                    <p:cNvSpPr>
                      <a:spLocks/>
                    </p:cNvSpPr>
                    <p:nvPr/>
                  </p:nvSpPr>
                  <p:spPr bwMode="auto">
                    <a:xfrm>
                      <a:off x="7866218" y="2042961"/>
                      <a:ext cx="19294" cy="4823"/>
                    </a:xfrm>
                    <a:custGeom>
                      <a:avLst/>
                      <a:gdLst>
                        <a:gd name="T0" fmla="*/ 5 w 12"/>
                        <a:gd name="T1" fmla="*/ 0 h 3"/>
                        <a:gd name="T2" fmla="*/ 12 w 12"/>
                        <a:gd name="T3" fmla="*/ 0 h 3"/>
                        <a:gd name="T4" fmla="*/ 9 w 12"/>
                        <a:gd name="T5" fmla="*/ 3 h 3"/>
                        <a:gd name="T6" fmla="*/ 2 w 12"/>
                        <a:gd name="T7" fmla="*/ 2 h 3"/>
                        <a:gd name="T8" fmla="*/ 0 w 12"/>
                        <a:gd name="T9" fmla="*/ 0 h 3"/>
                        <a:gd name="T10" fmla="*/ 5 w 12"/>
                        <a:gd name="T11" fmla="*/ 0 h 3"/>
                        <a:gd name="T12" fmla="*/ 5 w 12"/>
                        <a:gd name="T13" fmla="*/ 0 h 3"/>
                      </a:gdLst>
                      <a:ahLst/>
                      <a:cxnLst>
                        <a:cxn ang="0">
                          <a:pos x="T0" y="T1"/>
                        </a:cxn>
                        <a:cxn ang="0">
                          <a:pos x="T2" y="T3"/>
                        </a:cxn>
                        <a:cxn ang="0">
                          <a:pos x="T4" y="T5"/>
                        </a:cxn>
                        <a:cxn ang="0">
                          <a:pos x="T6" y="T7"/>
                        </a:cxn>
                        <a:cxn ang="0">
                          <a:pos x="T8" y="T9"/>
                        </a:cxn>
                        <a:cxn ang="0">
                          <a:pos x="T10" y="T11"/>
                        </a:cxn>
                        <a:cxn ang="0">
                          <a:pos x="T12" y="T13"/>
                        </a:cxn>
                      </a:cxnLst>
                      <a:rect l="0" t="0" r="r" b="b"/>
                      <a:pathLst>
                        <a:path w="12" h="3">
                          <a:moveTo>
                            <a:pt x="5" y="0"/>
                          </a:moveTo>
                          <a:lnTo>
                            <a:pt x="12" y="0"/>
                          </a:lnTo>
                          <a:lnTo>
                            <a:pt x="9" y="3"/>
                          </a:lnTo>
                          <a:lnTo>
                            <a:pt x="2" y="2"/>
                          </a:lnTo>
                          <a:lnTo>
                            <a:pt x="0" y="0"/>
                          </a:lnTo>
                          <a:lnTo>
                            <a:pt x="5" y="0"/>
                          </a:lnTo>
                          <a:lnTo>
                            <a:pt x="5" y="0"/>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77" name="Freeform 133">
                      <a:extLst>
                        <a:ext uri="{FF2B5EF4-FFF2-40B4-BE49-F238E27FC236}">
                          <a16:creationId xmlns:a16="http://schemas.microsoft.com/office/drawing/2014/main" id="{6667BB7F-84A7-D448-B18B-24958C9B5D93}"/>
                        </a:ext>
                      </a:extLst>
                    </p:cNvPr>
                    <p:cNvSpPr>
                      <a:spLocks/>
                    </p:cNvSpPr>
                    <p:nvPr/>
                  </p:nvSpPr>
                  <p:spPr bwMode="auto">
                    <a:xfrm>
                      <a:off x="7842101" y="2039746"/>
                      <a:ext cx="20901" cy="6432"/>
                    </a:xfrm>
                    <a:custGeom>
                      <a:avLst/>
                      <a:gdLst>
                        <a:gd name="T0" fmla="*/ 0 w 13"/>
                        <a:gd name="T1" fmla="*/ 0 h 4"/>
                        <a:gd name="T2" fmla="*/ 4 w 13"/>
                        <a:gd name="T3" fmla="*/ 1 h 4"/>
                        <a:gd name="T4" fmla="*/ 6 w 13"/>
                        <a:gd name="T5" fmla="*/ 0 h 4"/>
                        <a:gd name="T6" fmla="*/ 8 w 13"/>
                        <a:gd name="T7" fmla="*/ 0 h 4"/>
                        <a:gd name="T8" fmla="*/ 10 w 13"/>
                        <a:gd name="T9" fmla="*/ 1 h 4"/>
                        <a:gd name="T10" fmla="*/ 13 w 13"/>
                        <a:gd name="T11" fmla="*/ 1 h 4"/>
                        <a:gd name="T12" fmla="*/ 6 w 13"/>
                        <a:gd name="T13" fmla="*/ 4 h 4"/>
                        <a:gd name="T14" fmla="*/ 1 w 13"/>
                        <a:gd name="T15" fmla="*/ 1 h 4"/>
                        <a:gd name="T16" fmla="*/ 0 w 13"/>
                        <a:gd name="T17" fmla="*/ 0 h 4"/>
                        <a:gd name="T18" fmla="*/ 0 w 13"/>
                        <a:gd name="T19" fmla="*/ 0 h 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 h="4">
                          <a:moveTo>
                            <a:pt x="0" y="0"/>
                          </a:moveTo>
                          <a:lnTo>
                            <a:pt x="4" y="1"/>
                          </a:lnTo>
                          <a:lnTo>
                            <a:pt x="6" y="0"/>
                          </a:lnTo>
                          <a:lnTo>
                            <a:pt x="8" y="0"/>
                          </a:lnTo>
                          <a:lnTo>
                            <a:pt x="10" y="1"/>
                          </a:lnTo>
                          <a:lnTo>
                            <a:pt x="13" y="1"/>
                          </a:lnTo>
                          <a:lnTo>
                            <a:pt x="6" y="4"/>
                          </a:lnTo>
                          <a:lnTo>
                            <a:pt x="1" y="1"/>
                          </a:lnTo>
                          <a:lnTo>
                            <a:pt x="0" y="0"/>
                          </a:lnTo>
                          <a:lnTo>
                            <a:pt x="0" y="0"/>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78" name="Freeform 134">
                      <a:extLst>
                        <a:ext uri="{FF2B5EF4-FFF2-40B4-BE49-F238E27FC236}">
                          <a16:creationId xmlns:a16="http://schemas.microsoft.com/office/drawing/2014/main" id="{02D4DEB0-077E-F04D-BC09-A4711DF997D6}"/>
                        </a:ext>
                      </a:extLst>
                    </p:cNvPr>
                    <p:cNvSpPr>
                      <a:spLocks/>
                    </p:cNvSpPr>
                    <p:nvPr/>
                  </p:nvSpPr>
                  <p:spPr bwMode="auto">
                    <a:xfrm>
                      <a:off x="7874256" y="2017237"/>
                      <a:ext cx="12862" cy="8039"/>
                    </a:xfrm>
                    <a:custGeom>
                      <a:avLst/>
                      <a:gdLst>
                        <a:gd name="T0" fmla="*/ 8 w 8"/>
                        <a:gd name="T1" fmla="*/ 2 h 5"/>
                        <a:gd name="T2" fmla="*/ 8 w 8"/>
                        <a:gd name="T3" fmla="*/ 5 h 5"/>
                        <a:gd name="T4" fmla="*/ 2 w 8"/>
                        <a:gd name="T5" fmla="*/ 4 h 5"/>
                        <a:gd name="T6" fmla="*/ 0 w 8"/>
                        <a:gd name="T7" fmla="*/ 4 h 5"/>
                        <a:gd name="T8" fmla="*/ 0 w 8"/>
                        <a:gd name="T9" fmla="*/ 1 h 5"/>
                        <a:gd name="T10" fmla="*/ 2 w 8"/>
                        <a:gd name="T11" fmla="*/ 2 h 5"/>
                        <a:gd name="T12" fmla="*/ 4 w 8"/>
                        <a:gd name="T13" fmla="*/ 1 h 5"/>
                        <a:gd name="T14" fmla="*/ 5 w 8"/>
                        <a:gd name="T15" fmla="*/ 0 h 5"/>
                        <a:gd name="T16" fmla="*/ 6 w 8"/>
                        <a:gd name="T17" fmla="*/ 2 h 5"/>
                        <a:gd name="T18" fmla="*/ 8 w 8"/>
                        <a:gd name="T19" fmla="*/ 2 h 5"/>
                        <a:gd name="T20" fmla="*/ 8 w 8"/>
                        <a:gd name="T2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 h="5">
                          <a:moveTo>
                            <a:pt x="8" y="2"/>
                          </a:moveTo>
                          <a:lnTo>
                            <a:pt x="8" y="5"/>
                          </a:lnTo>
                          <a:lnTo>
                            <a:pt x="2" y="4"/>
                          </a:lnTo>
                          <a:lnTo>
                            <a:pt x="0" y="4"/>
                          </a:lnTo>
                          <a:lnTo>
                            <a:pt x="0" y="1"/>
                          </a:lnTo>
                          <a:lnTo>
                            <a:pt x="2" y="2"/>
                          </a:lnTo>
                          <a:lnTo>
                            <a:pt x="4" y="1"/>
                          </a:lnTo>
                          <a:lnTo>
                            <a:pt x="5" y="0"/>
                          </a:lnTo>
                          <a:lnTo>
                            <a:pt x="6" y="2"/>
                          </a:lnTo>
                          <a:lnTo>
                            <a:pt x="8" y="2"/>
                          </a:lnTo>
                          <a:lnTo>
                            <a:pt x="8" y="2"/>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79" name="Freeform 135">
                      <a:extLst>
                        <a:ext uri="{FF2B5EF4-FFF2-40B4-BE49-F238E27FC236}">
                          <a16:creationId xmlns:a16="http://schemas.microsoft.com/office/drawing/2014/main" id="{013DC897-7440-E443-BB90-DB97BF7588D5}"/>
                        </a:ext>
                      </a:extLst>
                    </p:cNvPr>
                    <p:cNvSpPr>
                      <a:spLocks/>
                    </p:cNvSpPr>
                    <p:nvPr>
                      <p:custDataLst>
                        <p:tags r:id="rId11"/>
                      </p:custDataLst>
                    </p:nvPr>
                  </p:nvSpPr>
                  <p:spPr bwMode="auto">
                    <a:xfrm>
                      <a:off x="5637825" y="1880574"/>
                      <a:ext cx="3588581" cy="1088472"/>
                    </a:xfrm>
                    <a:custGeom>
                      <a:avLst/>
                      <a:gdLst>
                        <a:gd name="T0" fmla="*/ 1583 w 2232"/>
                        <a:gd name="T1" fmla="*/ 461 h 677"/>
                        <a:gd name="T2" fmla="*/ 1810 w 2232"/>
                        <a:gd name="T3" fmla="*/ 649 h 677"/>
                        <a:gd name="T4" fmla="*/ 1850 w 2232"/>
                        <a:gd name="T5" fmla="*/ 571 h 677"/>
                        <a:gd name="T6" fmla="*/ 1830 w 2232"/>
                        <a:gd name="T7" fmla="*/ 492 h 677"/>
                        <a:gd name="T8" fmla="*/ 1786 w 2232"/>
                        <a:gd name="T9" fmla="*/ 440 h 677"/>
                        <a:gd name="T10" fmla="*/ 1735 w 2232"/>
                        <a:gd name="T11" fmla="*/ 421 h 677"/>
                        <a:gd name="T12" fmla="*/ 1704 w 2232"/>
                        <a:gd name="T13" fmla="*/ 419 h 677"/>
                        <a:gd name="T14" fmla="*/ 1698 w 2232"/>
                        <a:gd name="T15" fmla="*/ 344 h 677"/>
                        <a:gd name="T16" fmla="*/ 1771 w 2232"/>
                        <a:gd name="T17" fmla="*/ 327 h 677"/>
                        <a:gd name="T18" fmla="*/ 1846 w 2232"/>
                        <a:gd name="T19" fmla="*/ 335 h 677"/>
                        <a:gd name="T20" fmla="*/ 1877 w 2232"/>
                        <a:gd name="T21" fmla="*/ 278 h 677"/>
                        <a:gd name="T22" fmla="*/ 1946 w 2232"/>
                        <a:gd name="T23" fmla="*/ 277 h 677"/>
                        <a:gd name="T24" fmla="*/ 1959 w 2232"/>
                        <a:gd name="T25" fmla="*/ 320 h 677"/>
                        <a:gd name="T26" fmla="*/ 1971 w 2232"/>
                        <a:gd name="T27" fmla="*/ 399 h 677"/>
                        <a:gd name="T28" fmla="*/ 2073 w 2232"/>
                        <a:gd name="T29" fmla="*/ 454 h 677"/>
                        <a:gd name="T30" fmla="*/ 2013 w 2232"/>
                        <a:gd name="T31" fmla="*/ 350 h 677"/>
                        <a:gd name="T32" fmla="*/ 2079 w 2232"/>
                        <a:gd name="T33" fmla="*/ 307 h 677"/>
                        <a:gd name="T34" fmla="*/ 2164 w 2232"/>
                        <a:gd name="T35" fmla="*/ 267 h 677"/>
                        <a:gd name="T36" fmla="*/ 2111 w 2232"/>
                        <a:gd name="T37" fmla="*/ 217 h 677"/>
                        <a:gd name="T38" fmla="*/ 2173 w 2232"/>
                        <a:gd name="T39" fmla="*/ 223 h 677"/>
                        <a:gd name="T40" fmla="*/ 2203 w 2232"/>
                        <a:gd name="T41" fmla="*/ 194 h 677"/>
                        <a:gd name="T42" fmla="*/ 2129 w 2232"/>
                        <a:gd name="T43" fmla="*/ 183 h 677"/>
                        <a:gd name="T44" fmla="*/ 1947 w 2232"/>
                        <a:gd name="T45" fmla="*/ 134 h 677"/>
                        <a:gd name="T46" fmla="*/ 1883 w 2232"/>
                        <a:gd name="T47" fmla="*/ 146 h 677"/>
                        <a:gd name="T48" fmla="*/ 1771 w 2232"/>
                        <a:gd name="T49" fmla="*/ 132 h 677"/>
                        <a:gd name="T50" fmla="*/ 1656 w 2232"/>
                        <a:gd name="T51" fmla="*/ 109 h 677"/>
                        <a:gd name="T52" fmla="*/ 1550 w 2232"/>
                        <a:gd name="T53" fmla="*/ 99 h 677"/>
                        <a:gd name="T54" fmla="*/ 1444 w 2232"/>
                        <a:gd name="T55" fmla="*/ 83 h 677"/>
                        <a:gd name="T56" fmla="*/ 1401 w 2232"/>
                        <a:gd name="T57" fmla="*/ 105 h 677"/>
                        <a:gd name="T58" fmla="*/ 1306 w 2232"/>
                        <a:gd name="T59" fmla="*/ 112 h 677"/>
                        <a:gd name="T60" fmla="*/ 1202 w 2232"/>
                        <a:gd name="T61" fmla="*/ 67 h 677"/>
                        <a:gd name="T62" fmla="*/ 1121 w 2232"/>
                        <a:gd name="T63" fmla="*/ 73 h 677"/>
                        <a:gd name="T64" fmla="*/ 1043 w 2232"/>
                        <a:gd name="T65" fmla="*/ 69 h 677"/>
                        <a:gd name="T66" fmla="*/ 968 w 2232"/>
                        <a:gd name="T67" fmla="*/ 76 h 677"/>
                        <a:gd name="T68" fmla="*/ 1006 w 2232"/>
                        <a:gd name="T69" fmla="*/ 34 h 677"/>
                        <a:gd name="T70" fmla="*/ 915 w 2232"/>
                        <a:gd name="T71" fmla="*/ 17 h 677"/>
                        <a:gd name="T72" fmla="*/ 836 w 2232"/>
                        <a:gd name="T73" fmla="*/ 4 h 677"/>
                        <a:gd name="T74" fmla="*/ 743 w 2232"/>
                        <a:gd name="T75" fmla="*/ 31 h 677"/>
                        <a:gd name="T76" fmla="*/ 687 w 2232"/>
                        <a:gd name="T77" fmla="*/ 59 h 677"/>
                        <a:gd name="T78" fmla="*/ 665 w 2232"/>
                        <a:gd name="T79" fmla="*/ 100 h 677"/>
                        <a:gd name="T80" fmla="*/ 588 w 2232"/>
                        <a:gd name="T81" fmla="*/ 100 h 677"/>
                        <a:gd name="T82" fmla="*/ 607 w 2232"/>
                        <a:gd name="T83" fmla="*/ 145 h 677"/>
                        <a:gd name="T84" fmla="*/ 612 w 2232"/>
                        <a:gd name="T85" fmla="*/ 154 h 677"/>
                        <a:gd name="T86" fmla="*/ 571 w 2232"/>
                        <a:gd name="T87" fmla="*/ 181 h 677"/>
                        <a:gd name="T88" fmla="*/ 549 w 2232"/>
                        <a:gd name="T89" fmla="*/ 106 h 677"/>
                        <a:gd name="T90" fmla="*/ 503 w 2232"/>
                        <a:gd name="T91" fmla="*/ 137 h 677"/>
                        <a:gd name="T92" fmla="*/ 478 w 2232"/>
                        <a:gd name="T93" fmla="*/ 141 h 677"/>
                        <a:gd name="T94" fmla="*/ 407 w 2232"/>
                        <a:gd name="T95" fmla="*/ 151 h 677"/>
                        <a:gd name="T96" fmla="*/ 334 w 2232"/>
                        <a:gd name="T97" fmla="*/ 145 h 677"/>
                        <a:gd name="T98" fmla="*/ 266 w 2232"/>
                        <a:gd name="T99" fmla="*/ 178 h 677"/>
                        <a:gd name="T100" fmla="*/ 209 w 2232"/>
                        <a:gd name="T101" fmla="*/ 153 h 677"/>
                        <a:gd name="T102" fmla="*/ 175 w 2232"/>
                        <a:gd name="T103" fmla="*/ 204 h 677"/>
                        <a:gd name="T104" fmla="*/ 123 w 2232"/>
                        <a:gd name="T105" fmla="*/ 231 h 677"/>
                        <a:gd name="T106" fmla="*/ 103 w 2232"/>
                        <a:gd name="T107" fmla="*/ 191 h 677"/>
                        <a:gd name="T108" fmla="*/ 120 w 2232"/>
                        <a:gd name="T109" fmla="*/ 152 h 677"/>
                        <a:gd name="T110" fmla="*/ 7 w 2232"/>
                        <a:gd name="T111" fmla="*/ 158 h 677"/>
                        <a:gd name="T112" fmla="*/ 29 w 2232"/>
                        <a:gd name="T113" fmla="*/ 298 h 677"/>
                        <a:gd name="T114" fmla="*/ 104 w 2232"/>
                        <a:gd name="T115" fmla="*/ 446 h 677"/>
                        <a:gd name="T116" fmla="*/ 241 w 2232"/>
                        <a:gd name="T117" fmla="*/ 578 h 677"/>
                        <a:gd name="T118" fmla="*/ 375 w 2232"/>
                        <a:gd name="T119" fmla="*/ 655 h 677"/>
                        <a:gd name="T120" fmla="*/ 362 w 2232"/>
                        <a:gd name="T121" fmla="*/ 521 h 677"/>
                        <a:gd name="T122" fmla="*/ 568 w 2232"/>
                        <a:gd name="T123" fmla="*/ 435 h 677"/>
                        <a:gd name="T124" fmla="*/ 956 w 2232"/>
                        <a:gd name="T125" fmla="*/ 492 h 67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232" h="677">
                          <a:moveTo>
                            <a:pt x="1014" y="521"/>
                          </a:moveTo>
                          <a:lnTo>
                            <a:pt x="1015" y="513"/>
                          </a:lnTo>
                          <a:lnTo>
                            <a:pt x="1024" y="512"/>
                          </a:lnTo>
                          <a:lnTo>
                            <a:pt x="1035" y="511"/>
                          </a:lnTo>
                          <a:lnTo>
                            <a:pt x="1036" y="505"/>
                          </a:lnTo>
                          <a:lnTo>
                            <a:pt x="1044" y="499"/>
                          </a:lnTo>
                          <a:lnTo>
                            <a:pt x="1051" y="494"/>
                          </a:lnTo>
                          <a:lnTo>
                            <a:pt x="1056" y="491"/>
                          </a:lnTo>
                          <a:lnTo>
                            <a:pt x="1063" y="494"/>
                          </a:lnTo>
                          <a:lnTo>
                            <a:pt x="1072" y="493"/>
                          </a:lnTo>
                          <a:lnTo>
                            <a:pt x="1089" y="493"/>
                          </a:lnTo>
                          <a:lnTo>
                            <a:pt x="1094" y="498"/>
                          </a:lnTo>
                          <a:lnTo>
                            <a:pt x="1106" y="499"/>
                          </a:lnTo>
                          <a:lnTo>
                            <a:pt x="1121" y="505"/>
                          </a:lnTo>
                          <a:lnTo>
                            <a:pt x="1129" y="505"/>
                          </a:lnTo>
                          <a:lnTo>
                            <a:pt x="1143" y="504"/>
                          </a:lnTo>
                          <a:lnTo>
                            <a:pt x="1152" y="504"/>
                          </a:lnTo>
                          <a:lnTo>
                            <a:pt x="1158" y="507"/>
                          </a:lnTo>
                          <a:lnTo>
                            <a:pt x="1163" y="502"/>
                          </a:lnTo>
                          <a:lnTo>
                            <a:pt x="1165" y="498"/>
                          </a:lnTo>
                          <a:lnTo>
                            <a:pt x="1159" y="494"/>
                          </a:lnTo>
                          <a:lnTo>
                            <a:pt x="1161" y="486"/>
                          </a:lnTo>
                          <a:lnTo>
                            <a:pt x="1152" y="482"/>
                          </a:lnTo>
                          <a:lnTo>
                            <a:pt x="1152" y="482"/>
                          </a:lnTo>
                          <a:lnTo>
                            <a:pt x="1151" y="471"/>
                          </a:lnTo>
                          <a:lnTo>
                            <a:pt x="1150" y="462"/>
                          </a:lnTo>
                          <a:lnTo>
                            <a:pt x="1156" y="467"/>
                          </a:lnTo>
                          <a:lnTo>
                            <a:pt x="1162" y="471"/>
                          </a:lnTo>
                          <a:lnTo>
                            <a:pt x="1177" y="468"/>
                          </a:lnTo>
                          <a:lnTo>
                            <a:pt x="1190" y="470"/>
                          </a:lnTo>
                          <a:lnTo>
                            <a:pt x="1205" y="473"/>
                          </a:lnTo>
                          <a:lnTo>
                            <a:pt x="1217" y="477"/>
                          </a:lnTo>
                          <a:lnTo>
                            <a:pt x="1219" y="484"/>
                          </a:lnTo>
                          <a:lnTo>
                            <a:pt x="1223" y="486"/>
                          </a:lnTo>
                          <a:lnTo>
                            <a:pt x="1226" y="492"/>
                          </a:lnTo>
                          <a:lnTo>
                            <a:pt x="1238" y="493"/>
                          </a:lnTo>
                          <a:lnTo>
                            <a:pt x="1246" y="497"/>
                          </a:lnTo>
                          <a:lnTo>
                            <a:pt x="1253" y="492"/>
                          </a:lnTo>
                          <a:lnTo>
                            <a:pt x="1266" y="492"/>
                          </a:lnTo>
                          <a:lnTo>
                            <a:pt x="1276" y="493"/>
                          </a:lnTo>
                          <a:lnTo>
                            <a:pt x="1297" y="497"/>
                          </a:lnTo>
                          <a:lnTo>
                            <a:pt x="1309" y="506"/>
                          </a:lnTo>
                          <a:lnTo>
                            <a:pt x="1326" y="510"/>
                          </a:lnTo>
                          <a:lnTo>
                            <a:pt x="1349" y="515"/>
                          </a:lnTo>
                          <a:lnTo>
                            <a:pt x="1362" y="520"/>
                          </a:lnTo>
                          <a:lnTo>
                            <a:pt x="1370" y="518"/>
                          </a:lnTo>
                          <a:lnTo>
                            <a:pt x="1385" y="515"/>
                          </a:lnTo>
                          <a:lnTo>
                            <a:pt x="1410" y="502"/>
                          </a:lnTo>
                          <a:lnTo>
                            <a:pt x="1428" y="501"/>
                          </a:lnTo>
                          <a:lnTo>
                            <a:pt x="1448" y="505"/>
                          </a:lnTo>
                          <a:lnTo>
                            <a:pt x="1452" y="502"/>
                          </a:lnTo>
                          <a:lnTo>
                            <a:pt x="1464" y="507"/>
                          </a:lnTo>
                          <a:lnTo>
                            <a:pt x="1488" y="513"/>
                          </a:lnTo>
                          <a:lnTo>
                            <a:pt x="1506" y="488"/>
                          </a:lnTo>
                          <a:lnTo>
                            <a:pt x="1492" y="477"/>
                          </a:lnTo>
                          <a:lnTo>
                            <a:pt x="1492" y="461"/>
                          </a:lnTo>
                          <a:lnTo>
                            <a:pt x="1480" y="455"/>
                          </a:lnTo>
                          <a:lnTo>
                            <a:pt x="1492" y="433"/>
                          </a:lnTo>
                          <a:lnTo>
                            <a:pt x="1522" y="440"/>
                          </a:lnTo>
                          <a:lnTo>
                            <a:pt x="1553" y="444"/>
                          </a:lnTo>
                          <a:lnTo>
                            <a:pt x="1583" y="461"/>
                          </a:lnTo>
                          <a:lnTo>
                            <a:pt x="1593" y="472"/>
                          </a:lnTo>
                          <a:lnTo>
                            <a:pt x="1593" y="472"/>
                          </a:lnTo>
                          <a:lnTo>
                            <a:pt x="1606" y="482"/>
                          </a:lnTo>
                          <a:lnTo>
                            <a:pt x="1628" y="500"/>
                          </a:lnTo>
                          <a:lnTo>
                            <a:pt x="1649" y="515"/>
                          </a:lnTo>
                          <a:lnTo>
                            <a:pt x="1677" y="520"/>
                          </a:lnTo>
                          <a:lnTo>
                            <a:pt x="1698" y="528"/>
                          </a:lnTo>
                          <a:lnTo>
                            <a:pt x="1710" y="542"/>
                          </a:lnTo>
                          <a:lnTo>
                            <a:pt x="1736" y="551"/>
                          </a:lnTo>
                          <a:lnTo>
                            <a:pt x="1744" y="544"/>
                          </a:lnTo>
                          <a:lnTo>
                            <a:pt x="1760" y="539"/>
                          </a:lnTo>
                          <a:lnTo>
                            <a:pt x="1770" y="537"/>
                          </a:lnTo>
                          <a:lnTo>
                            <a:pt x="1770" y="548"/>
                          </a:lnTo>
                          <a:lnTo>
                            <a:pt x="1767" y="561"/>
                          </a:lnTo>
                          <a:lnTo>
                            <a:pt x="1772" y="570"/>
                          </a:lnTo>
                          <a:lnTo>
                            <a:pt x="1775" y="580"/>
                          </a:lnTo>
                          <a:lnTo>
                            <a:pt x="1780" y="587"/>
                          </a:lnTo>
                          <a:lnTo>
                            <a:pt x="1783" y="595"/>
                          </a:lnTo>
                          <a:lnTo>
                            <a:pt x="1775" y="597"/>
                          </a:lnTo>
                          <a:lnTo>
                            <a:pt x="1766" y="600"/>
                          </a:lnTo>
                          <a:lnTo>
                            <a:pt x="1769" y="609"/>
                          </a:lnTo>
                          <a:lnTo>
                            <a:pt x="1766" y="620"/>
                          </a:lnTo>
                          <a:lnTo>
                            <a:pt x="1772" y="637"/>
                          </a:lnTo>
                          <a:lnTo>
                            <a:pt x="1770" y="648"/>
                          </a:lnTo>
                          <a:lnTo>
                            <a:pt x="1789" y="652"/>
                          </a:lnTo>
                          <a:lnTo>
                            <a:pt x="1790" y="652"/>
                          </a:lnTo>
                          <a:lnTo>
                            <a:pt x="1791" y="652"/>
                          </a:lnTo>
                          <a:lnTo>
                            <a:pt x="1791" y="652"/>
                          </a:lnTo>
                          <a:lnTo>
                            <a:pt x="1791" y="649"/>
                          </a:lnTo>
                          <a:lnTo>
                            <a:pt x="1791" y="648"/>
                          </a:lnTo>
                          <a:lnTo>
                            <a:pt x="1792" y="648"/>
                          </a:lnTo>
                          <a:lnTo>
                            <a:pt x="1792" y="649"/>
                          </a:lnTo>
                          <a:lnTo>
                            <a:pt x="1792" y="651"/>
                          </a:lnTo>
                          <a:lnTo>
                            <a:pt x="1793" y="651"/>
                          </a:lnTo>
                          <a:lnTo>
                            <a:pt x="1793" y="651"/>
                          </a:lnTo>
                          <a:lnTo>
                            <a:pt x="1793" y="651"/>
                          </a:lnTo>
                          <a:lnTo>
                            <a:pt x="1793" y="648"/>
                          </a:lnTo>
                          <a:lnTo>
                            <a:pt x="1793" y="648"/>
                          </a:lnTo>
                          <a:lnTo>
                            <a:pt x="1793" y="647"/>
                          </a:lnTo>
                          <a:lnTo>
                            <a:pt x="1795" y="646"/>
                          </a:lnTo>
                          <a:lnTo>
                            <a:pt x="1796" y="645"/>
                          </a:lnTo>
                          <a:lnTo>
                            <a:pt x="1797" y="645"/>
                          </a:lnTo>
                          <a:lnTo>
                            <a:pt x="1798" y="645"/>
                          </a:lnTo>
                          <a:lnTo>
                            <a:pt x="1799" y="646"/>
                          </a:lnTo>
                          <a:lnTo>
                            <a:pt x="1802" y="646"/>
                          </a:lnTo>
                          <a:lnTo>
                            <a:pt x="1800" y="647"/>
                          </a:lnTo>
                          <a:lnTo>
                            <a:pt x="1799" y="647"/>
                          </a:lnTo>
                          <a:lnTo>
                            <a:pt x="1798" y="647"/>
                          </a:lnTo>
                          <a:lnTo>
                            <a:pt x="1796" y="651"/>
                          </a:lnTo>
                          <a:lnTo>
                            <a:pt x="1796" y="652"/>
                          </a:lnTo>
                          <a:lnTo>
                            <a:pt x="1797" y="652"/>
                          </a:lnTo>
                          <a:lnTo>
                            <a:pt x="1798" y="651"/>
                          </a:lnTo>
                          <a:lnTo>
                            <a:pt x="1800" y="651"/>
                          </a:lnTo>
                          <a:lnTo>
                            <a:pt x="1802" y="649"/>
                          </a:lnTo>
                          <a:lnTo>
                            <a:pt x="1802" y="651"/>
                          </a:lnTo>
                          <a:lnTo>
                            <a:pt x="1804" y="651"/>
                          </a:lnTo>
                          <a:lnTo>
                            <a:pt x="1805" y="649"/>
                          </a:lnTo>
                          <a:lnTo>
                            <a:pt x="1807" y="649"/>
                          </a:lnTo>
                          <a:lnTo>
                            <a:pt x="1809" y="649"/>
                          </a:lnTo>
                          <a:lnTo>
                            <a:pt x="1810" y="649"/>
                          </a:lnTo>
                          <a:lnTo>
                            <a:pt x="1810" y="649"/>
                          </a:lnTo>
                          <a:lnTo>
                            <a:pt x="1812" y="649"/>
                          </a:lnTo>
                          <a:lnTo>
                            <a:pt x="1813" y="651"/>
                          </a:lnTo>
                          <a:lnTo>
                            <a:pt x="1812" y="652"/>
                          </a:lnTo>
                          <a:lnTo>
                            <a:pt x="1813" y="652"/>
                          </a:lnTo>
                          <a:lnTo>
                            <a:pt x="1816" y="652"/>
                          </a:lnTo>
                          <a:lnTo>
                            <a:pt x="1817" y="652"/>
                          </a:lnTo>
                          <a:lnTo>
                            <a:pt x="1818" y="652"/>
                          </a:lnTo>
                          <a:lnTo>
                            <a:pt x="1819" y="651"/>
                          </a:lnTo>
                          <a:lnTo>
                            <a:pt x="1822" y="651"/>
                          </a:lnTo>
                          <a:lnTo>
                            <a:pt x="1822" y="652"/>
                          </a:lnTo>
                          <a:lnTo>
                            <a:pt x="1824" y="652"/>
                          </a:lnTo>
                          <a:lnTo>
                            <a:pt x="1825" y="651"/>
                          </a:lnTo>
                          <a:lnTo>
                            <a:pt x="1826" y="649"/>
                          </a:lnTo>
                          <a:lnTo>
                            <a:pt x="1826" y="648"/>
                          </a:lnTo>
                          <a:lnTo>
                            <a:pt x="1827" y="647"/>
                          </a:lnTo>
                          <a:lnTo>
                            <a:pt x="1827" y="647"/>
                          </a:lnTo>
                          <a:lnTo>
                            <a:pt x="1831" y="647"/>
                          </a:lnTo>
                          <a:lnTo>
                            <a:pt x="1832" y="645"/>
                          </a:lnTo>
                          <a:lnTo>
                            <a:pt x="1833" y="645"/>
                          </a:lnTo>
                          <a:lnTo>
                            <a:pt x="1836" y="642"/>
                          </a:lnTo>
                          <a:lnTo>
                            <a:pt x="1837" y="641"/>
                          </a:lnTo>
                          <a:lnTo>
                            <a:pt x="1838" y="639"/>
                          </a:lnTo>
                          <a:lnTo>
                            <a:pt x="1839" y="638"/>
                          </a:lnTo>
                          <a:lnTo>
                            <a:pt x="1840" y="637"/>
                          </a:lnTo>
                          <a:lnTo>
                            <a:pt x="1840" y="635"/>
                          </a:lnTo>
                          <a:lnTo>
                            <a:pt x="1840" y="632"/>
                          </a:lnTo>
                          <a:lnTo>
                            <a:pt x="1843" y="629"/>
                          </a:lnTo>
                          <a:lnTo>
                            <a:pt x="1843" y="628"/>
                          </a:lnTo>
                          <a:lnTo>
                            <a:pt x="1842" y="628"/>
                          </a:lnTo>
                          <a:lnTo>
                            <a:pt x="1842" y="626"/>
                          </a:lnTo>
                          <a:lnTo>
                            <a:pt x="1840" y="627"/>
                          </a:lnTo>
                          <a:lnTo>
                            <a:pt x="1840" y="624"/>
                          </a:lnTo>
                          <a:lnTo>
                            <a:pt x="1843" y="624"/>
                          </a:lnTo>
                          <a:lnTo>
                            <a:pt x="1844" y="622"/>
                          </a:lnTo>
                          <a:lnTo>
                            <a:pt x="1843" y="620"/>
                          </a:lnTo>
                          <a:lnTo>
                            <a:pt x="1843" y="618"/>
                          </a:lnTo>
                          <a:lnTo>
                            <a:pt x="1843" y="614"/>
                          </a:lnTo>
                          <a:lnTo>
                            <a:pt x="1845" y="615"/>
                          </a:lnTo>
                          <a:lnTo>
                            <a:pt x="1845" y="612"/>
                          </a:lnTo>
                          <a:lnTo>
                            <a:pt x="1846" y="609"/>
                          </a:lnTo>
                          <a:lnTo>
                            <a:pt x="1846" y="607"/>
                          </a:lnTo>
                          <a:lnTo>
                            <a:pt x="1845" y="605"/>
                          </a:lnTo>
                          <a:lnTo>
                            <a:pt x="1847" y="604"/>
                          </a:lnTo>
                          <a:lnTo>
                            <a:pt x="1847" y="601"/>
                          </a:lnTo>
                          <a:lnTo>
                            <a:pt x="1847" y="597"/>
                          </a:lnTo>
                          <a:lnTo>
                            <a:pt x="1849" y="595"/>
                          </a:lnTo>
                          <a:lnTo>
                            <a:pt x="1850" y="594"/>
                          </a:lnTo>
                          <a:lnTo>
                            <a:pt x="1851" y="593"/>
                          </a:lnTo>
                          <a:lnTo>
                            <a:pt x="1850" y="591"/>
                          </a:lnTo>
                          <a:lnTo>
                            <a:pt x="1849" y="588"/>
                          </a:lnTo>
                          <a:lnTo>
                            <a:pt x="1851" y="587"/>
                          </a:lnTo>
                          <a:lnTo>
                            <a:pt x="1852" y="585"/>
                          </a:lnTo>
                          <a:lnTo>
                            <a:pt x="1851" y="584"/>
                          </a:lnTo>
                          <a:lnTo>
                            <a:pt x="1850" y="581"/>
                          </a:lnTo>
                          <a:lnTo>
                            <a:pt x="1853" y="584"/>
                          </a:lnTo>
                          <a:lnTo>
                            <a:pt x="1852" y="580"/>
                          </a:lnTo>
                          <a:lnTo>
                            <a:pt x="1850" y="579"/>
                          </a:lnTo>
                          <a:lnTo>
                            <a:pt x="1850" y="577"/>
                          </a:lnTo>
                          <a:lnTo>
                            <a:pt x="1850" y="574"/>
                          </a:lnTo>
                          <a:lnTo>
                            <a:pt x="1851" y="572"/>
                          </a:lnTo>
                          <a:lnTo>
                            <a:pt x="1850" y="571"/>
                          </a:lnTo>
                          <a:lnTo>
                            <a:pt x="1849" y="570"/>
                          </a:lnTo>
                          <a:lnTo>
                            <a:pt x="1847" y="570"/>
                          </a:lnTo>
                          <a:lnTo>
                            <a:pt x="1852" y="568"/>
                          </a:lnTo>
                          <a:lnTo>
                            <a:pt x="1850" y="565"/>
                          </a:lnTo>
                          <a:lnTo>
                            <a:pt x="1847" y="564"/>
                          </a:lnTo>
                          <a:lnTo>
                            <a:pt x="1849" y="562"/>
                          </a:lnTo>
                          <a:lnTo>
                            <a:pt x="1851" y="562"/>
                          </a:lnTo>
                          <a:lnTo>
                            <a:pt x="1847" y="562"/>
                          </a:lnTo>
                          <a:lnTo>
                            <a:pt x="1849" y="560"/>
                          </a:lnTo>
                          <a:lnTo>
                            <a:pt x="1849" y="559"/>
                          </a:lnTo>
                          <a:lnTo>
                            <a:pt x="1849" y="557"/>
                          </a:lnTo>
                          <a:lnTo>
                            <a:pt x="1849" y="555"/>
                          </a:lnTo>
                          <a:lnTo>
                            <a:pt x="1850" y="554"/>
                          </a:lnTo>
                          <a:lnTo>
                            <a:pt x="1850" y="553"/>
                          </a:lnTo>
                          <a:lnTo>
                            <a:pt x="1849" y="554"/>
                          </a:lnTo>
                          <a:lnTo>
                            <a:pt x="1847" y="553"/>
                          </a:lnTo>
                          <a:lnTo>
                            <a:pt x="1845" y="554"/>
                          </a:lnTo>
                          <a:lnTo>
                            <a:pt x="1843" y="554"/>
                          </a:lnTo>
                          <a:lnTo>
                            <a:pt x="1842" y="557"/>
                          </a:lnTo>
                          <a:lnTo>
                            <a:pt x="1840" y="555"/>
                          </a:lnTo>
                          <a:lnTo>
                            <a:pt x="1838" y="555"/>
                          </a:lnTo>
                          <a:lnTo>
                            <a:pt x="1840" y="554"/>
                          </a:lnTo>
                          <a:lnTo>
                            <a:pt x="1844" y="553"/>
                          </a:lnTo>
                          <a:lnTo>
                            <a:pt x="1851" y="551"/>
                          </a:lnTo>
                          <a:lnTo>
                            <a:pt x="1850" y="550"/>
                          </a:lnTo>
                          <a:lnTo>
                            <a:pt x="1849" y="548"/>
                          </a:lnTo>
                          <a:lnTo>
                            <a:pt x="1852" y="548"/>
                          </a:lnTo>
                          <a:lnTo>
                            <a:pt x="1852" y="546"/>
                          </a:lnTo>
                          <a:lnTo>
                            <a:pt x="1851" y="544"/>
                          </a:lnTo>
                          <a:lnTo>
                            <a:pt x="1851" y="541"/>
                          </a:lnTo>
                          <a:lnTo>
                            <a:pt x="1852" y="540"/>
                          </a:lnTo>
                          <a:lnTo>
                            <a:pt x="1852" y="537"/>
                          </a:lnTo>
                          <a:lnTo>
                            <a:pt x="1852" y="535"/>
                          </a:lnTo>
                          <a:lnTo>
                            <a:pt x="1853" y="534"/>
                          </a:lnTo>
                          <a:lnTo>
                            <a:pt x="1852" y="532"/>
                          </a:lnTo>
                          <a:lnTo>
                            <a:pt x="1850" y="532"/>
                          </a:lnTo>
                          <a:lnTo>
                            <a:pt x="1849" y="530"/>
                          </a:lnTo>
                          <a:lnTo>
                            <a:pt x="1846" y="528"/>
                          </a:lnTo>
                          <a:lnTo>
                            <a:pt x="1846" y="526"/>
                          </a:lnTo>
                          <a:lnTo>
                            <a:pt x="1847" y="525"/>
                          </a:lnTo>
                          <a:lnTo>
                            <a:pt x="1846" y="524"/>
                          </a:lnTo>
                          <a:lnTo>
                            <a:pt x="1846" y="521"/>
                          </a:lnTo>
                          <a:lnTo>
                            <a:pt x="1844" y="519"/>
                          </a:lnTo>
                          <a:lnTo>
                            <a:pt x="1840" y="514"/>
                          </a:lnTo>
                          <a:lnTo>
                            <a:pt x="1839" y="514"/>
                          </a:lnTo>
                          <a:lnTo>
                            <a:pt x="1838" y="511"/>
                          </a:lnTo>
                          <a:lnTo>
                            <a:pt x="1837" y="508"/>
                          </a:lnTo>
                          <a:lnTo>
                            <a:pt x="1836" y="507"/>
                          </a:lnTo>
                          <a:lnTo>
                            <a:pt x="1835" y="506"/>
                          </a:lnTo>
                          <a:lnTo>
                            <a:pt x="1835" y="502"/>
                          </a:lnTo>
                          <a:lnTo>
                            <a:pt x="1832" y="505"/>
                          </a:lnTo>
                          <a:lnTo>
                            <a:pt x="1832" y="501"/>
                          </a:lnTo>
                          <a:lnTo>
                            <a:pt x="1831" y="500"/>
                          </a:lnTo>
                          <a:lnTo>
                            <a:pt x="1827" y="500"/>
                          </a:lnTo>
                          <a:lnTo>
                            <a:pt x="1826" y="498"/>
                          </a:lnTo>
                          <a:lnTo>
                            <a:pt x="1827" y="495"/>
                          </a:lnTo>
                          <a:lnTo>
                            <a:pt x="1830" y="494"/>
                          </a:lnTo>
                          <a:lnTo>
                            <a:pt x="1832" y="493"/>
                          </a:lnTo>
                          <a:lnTo>
                            <a:pt x="1831" y="490"/>
                          </a:lnTo>
                          <a:lnTo>
                            <a:pt x="1830" y="490"/>
                          </a:lnTo>
                          <a:lnTo>
                            <a:pt x="1830" y="492"/>
                          </a:lnTo>
                          <a:lnTo>
                            <a:pt x="1829" y="494"/>
                          </a:lnTo>
                          <a:lnTo>
                            <a:pt x="1827" y="494"/>
                          </a:lnTo>
                          <a:lnTo>
                            <a:pt x="1825" y="493"/>
                          </a:lnTo>
                          <a:lnTo>
                            <a:pt x="1823" y="492"/>
                          </a:lnTo>
                          <a:lnTo>
                            <a:pt x="1822" y="488"/>
                          </a:lnTo>
                          <a:lnTo>
                            <a:pt x="1822" y="486"/>
                          </a:lnTo>
                          <a:lnTo>
                            <a:pt x="1820" y="485"/>
                          </a:lnTo>
                          <a:lnTo>
                            <a:pt x="1819" y="482"/>
                          </a:lnTo>
                          <a:lnTo>
                            <a:pt x="1819" y="481"/>
                          </a:lnTo>
                          <a:lnTo>
                            <a:pt x="1818" y="479"/>
                          </a:lnTo>
                          <a:lnTo>
                            <a:pt x="1817" y="478"/>
                          </a:lnTo>
                          <a:lnTo>
                            <a:pt x="1817" y="474"/>
                          </a:lnTo>
                          <a:lnTo>
                            <a:pt x="1816" y="473"/>
                          </a:lnTo>
                          <a:lnTo>
                            <a:pt x="1818" y="471"/>
                          </a:lnTo>
                          <a:lnTo>
                            <a:pt x="1818" y="470"/>
                          </a:lnTo>
                          <a:lnTo>
                            <a:pt x="1818" y="467"/>
                          </a:lnTo>
                          <a:lnTo>
                            <a:pt x="1816" y="462"/>
                          </a:lnTo>
                          <a:lnTo>
                            <a:pt x="1815" y="461"/>
                          </a:lnTo>
                          <a:lnTo>
                            <a:pt x="1813" y="460"/>
                          </a:lnTo>
                          <a:lnTo>
                            <a:pt x="1812" y="461"/>
                          </a:lnTo>
                          <a:lnTo>
                            <a:pt x="1811" y="461"/>
                          </a:lnTo>
                          <a:lnTo>
                            <a:pt x="1810" y="462"/>
                          </a:lnTo>
                          <a:lnTo>
                            <a:pt x="1809" y="461"/>
                          </a:lnTo>
                          <a:lnTo>
                            <a:pt x="1809" y="460"/>
                          </a:lnTo>
                          <a:lnTo>
                            <a:pt x="1807" y="460"/>
                          </a:lnTo>
                          <a:lnTo>
                            <a:pt x="1805" y="460"/>
                          </a:lnTo>
                          <a:lnTo>
                            <a:pt x="1805" y="459"/>
                          </a:lnTo>
                          <a:lnTo>
                            <a:pt x="1805" y="457"/>
                          </a:lnTo>
                          <a:lnTo>
                            <a:pt x="1805" y="455"/>
                          </a:lnTo>
                          <a:lnTo>
                            <a:pt x="1805" y="454"/>
                          </a:lnTo>
                          <a:lnTo>
                            <a:pt x="1805" y="453"/>
                          </a:lnTo>
                          <a:lnTo>
                            <a:pt x="1805" y="453"/>
                          </a:lnTo>
                          <a:lnTo>
                            <a:pt x="1803" y="453"/>
                          </a:lnTo>
                          <a:lnTo>
                            <a:pt x="1803" y="452"/>
                          </a:lnTo>
                          <a:lnTo>
                            <a:pt x="1803" y="451"/>
                          </a:lnTo>
                          <a:lnTo>
                            <a:pt x="1800" y="451"/>
                          </a:lnTo>
                          <a:lnTo>
                            <a:pt x="1799" y="451"/>
                          </a:lnTo>
                          <a:lnTo>
                            <a:pt x="1798" y="450"/>
                          </a:lnTo>
                          <a:lnTo>
                            <a:pt x="1798" y="450"/>
                          </a:lnTo>
                          <a:lnTo>
                            <a:pt x="1798" y="448"/>
                          </a:lnTo>
                          <a:lnTo>
                            <a:pt x="1798" y="447"/>
                          </a:lnTo>
                          <a:lnTo>
                            <a:pt x="1798" y="446"/>
                          </a:lnTo>
                          <a:lnTo>
                            <a:pt x="1798" y="445"/>
                          </a:lnTo>
                          <a:lnTo>
                            <a:pt x="1798" y="445"/>
                          </a:lnTo>
                          <a:lnTo>
                            <a:pt x="1798" y="444"/>
                          </a:lnTo>
                          <a:lnTo>
                            <a:pt x="1798" y="444"/>
                          </a:lnTo>
                          <a:lnTo>
                            <a:pt x="1797" y="444"/>
                          </a:lnTo>
                          <a:lnTo>
                            <a:pt x="1797" y="444"/>
                          </a:lnTo>
                          <a:lnTo>
                            <a:pt x="1796" y="442"/>
                          </a:lnTo>
                          <a:lnTo>
                            <a:pt x="1796" y="441"/>
                          </a:lnTo>
                          <a:lnTo>
                            <a:pt x="1795" y="441"/>
                          </a:lnTo>
                          <a:lnTo>
                            <a:pt x="1791" y="441"/>
                          </a:lnTo>
                          <a:lnTo>
                            <a:pt x="1790" y="441"/>
                          </a:lnTo>
                          <a:lnTo>
                            <a:pt x="1789" y="440"/>
                          </a:lnTo>
                          <a:lnTo>
                            <a:pt x="1789" y="440"/>
                          </a:lnTo>
                          <a:lnTo>
                            <a:pt x="1789" y="439"/>
                          </a:lnTo>
                          <a:lnTo>
                            <a:pt x="1789" y="438"/>
                          </a:lnTo>
                          <a:lnTo>
                            <a:pt x="1789" y="438"/>
                          </a:lnTo>
                          <a:lnTo>
                            <a:pt x="1787" y="439"/>
                          </a:lnTo>
                          <a:lnTo>
                            <a:pt x="1787" y="439"/>
                          </a:lnTo>
                          <a:lnTo>
                            <a:pt x="1786" y="440"/>
                          </a:lnTo>
                          <a:lnTo>
                            <a:pt x="1786" y="442"/>
                          </a:lnTo>
                          <a:lnTo>
                            <a:pt x="1785" y="441"/>
                          </a:lnTo>
                          <a:lnTo>
                            <a:pt x="1785" y="440"/>
                          </a:lnTo>
                          <a:lnTo>
                            <a:pt x="1784" y="439"/>
                          </a:lnTo>
                          <a:lnTo>
                            <a:pt x="1784" y="437"/>
                          </a:lnTo>
                          <a:lnTo>
                            <a:pt x="1785" y="435"/>
                          </a:lnTo>
                          <a:lnTo>
                            <a:pt x="1786" y="435"/>
                          </a:lnTo>
                          <a:lnTo>
                            <a:pt x="1785" y="434"/>
                          </a:lnTo>
                          <a:lnTo>
                            <a:pt x="1785" y="433"/>
                          </a:lnTo>
                          <a:lnTo>
                            <a:pt x="1784" y="434"/>
                          </a:lnTo>
                          <a:lnTo>
                            <a:pt x="1784" y="434"/>
                          </a:lnTo>
                          <a:lnTo>
                            <a:pt x="1783" y="435"/>
                          </a:lnTo>
                          <a:lnTo>
                            <a:pt x="1783" y="437"/>
                          </a:lnTo>
                          <a:lnTo>
                            <a:pt x="1782" y="437"/>
                          </a:lnTo>
                          <a:lnTo>
                            <a:pt x="1778" y="437"/>
                          </a:lnTo>
                          <a:lnTo>
                            <a:pt x="1778" y="437"/>
                          </a:lnTo>
                          <a:lnTo>
                            <a:pt x="1777" y="435"/>
                          </a:lnTo>
                          <a:lnTo>
                            <a:pt x="1777" y="434"/>
                          </a:lnTo>
                          <a:lnTo>
                            <a:pt x="1777" y="434"/>
                          </a:lnTo>
                          <a:lnTo>
                            <a:pt x="1775" y="433"/>
                          </a:lnTo>
                          <a:lnTo>
                            <a:pt x="1773" y="433"/>
                          </a:lnTo>
                          <a:lnTo>
                            <a:pt x="1773" y="432"/>
                          </a:lnTo>
                          <a:lnTo>
                            <a:pt x="1772" y="431"/>
                          </a:lnTo>
                          <a:lnTo>
                            <a:pt x="1771" y="431"/>
                          </a:lnTo>
                          <a:lnTo>
                            <a:pt x="1770" y="431"/>
                          </a:lnTo>
                          <a:lnTo>
                            <a:pt x="1770" y="431"/>
                          </a:lnTo>
                          <a:lnTo>
                            <a:pt x="1769" y="431"/>
                          </a:lnTo>
                          <a:lnTo>
                            <a:pt x="1769" y="430"/>
                          </a:lnTo>
                          <a:lnTo>
                            <a:pt x="1767" y="431"/>
                          </a:lnTo>
                          <a:lnTo>
                            <a:pt x="1766" y="431"/>
                          </a:lnTo>
                          <a:lnTo>
                            <a:pt x="1766" y="430"/>
                          </a:lnTo>
                          <a:lnTo>
                            <a:pt x="1766" y="428"/>
                          </a:lnTo>
                          <a:lnTo>
                            <a:pt x="1765" y="427"/>
                          </a:lnTo>
                          <a:lnTo>
                            <a:pt x="1764" y="428"/>
                          </a:lnTo>
                          <a:lnTo>
                            <a:pt x="1763" y="430"/>
                          </a:lnTo>
                          <a:lnTo>
                            <a:pt x="1763" y="427"/>
                          </a:lnTo>
                          <a:lnTo>
                            <a:pt x="1762" y="427"/>
                          </a:lnTo>
                          <a:lnTo>
                            <a:pt x="1759" y="427"/>
                          </a:lnTo>
                          <a:lnTo>
                            <a:pt x="1759" y="426"/>
                          </a:lnTo>
                          <a:lnTo>
                            <a:pt x="1757" y="424"/>
                          </a:lnTo>
                          <a:lnTo>
                            <a:pt x="1756" y="424"/>
                          </a:lnTo>
                          <a:lnTo>
                            <a:pt x="1753" y="424"/>
                          </a:lnTo>
                          <a:lnTo>
                            <a:pt x="1751" y="424"/>
                          </a:lnTo>
                          <a:lnTo>
                            <a:pt x="1750" y="424"/>
                          </a:lnTo>
                          <a:lnTo>
                            <a:pt x="1749" y="425"/>
                          </a:lnTo>
                          <a:lnTo>
                            <a:pt x="1747" y="424"/>
                          </a:lnTo>
                          <a:lnTo>
                            <a:pt x="1749" y="423"/>
                          </a:lnTo>
                          <a:lnTo>
                            <a:pt x="1749" y="423"/>
                          </a:lnTo>
                          <a:lnTo>
                            <a:pt x="1749" y="421"/>
                          </a:lnTo>
                          <a:lnTo>
                            <a:pt x="1747" y="421"/>
                          </a:lnTo>
                          <a:lnTo>
                            <a:pt x="1747" y="421"/>
                          </a:lnTo>
                          <a:lnTo>
                            <a:pt x="1746" y="423"/>
                          </a:lnTo>
                          <a:lnTo>
                            <a:pt x="1746" y="424"/>
                          </a:lnTo>
                          <a:lnTo>
                            <a:pt x="1745" y="424"/>
                          </a:lnTo>
                          <a:lnTo>
                            <a:pt x="1743" y="425"/>
                          </a:lnTo>
                          <a:lnTo>
                            <a:pt x="1743" y="424"/>
                          </a:lnTo>
                          <a:lnTo>
                            <a:pt x="1740" y="424"/>
                          </a:lnTo>
                          <a:lnTo>
                            <a:pt x="1739" y="423"/>
                          </a:lnTo>
                          <a:lnTo>
                            <a:pt x="1737" y="424"/>
                          </a:lnTo>
                          <a:lnTo>
                            <a:pt x="1736" y="423"/>
                          </a:lnTo>
                          <a:lnTo>
                            <a:pt x="1735" y="421"/>
                          </a:lnTo>
                          <a:lnTo>
                            <a:pt x="1735" y="423"/>
                          </a:lnTo>
                          <a:lnTo>
                            <a:pt x="1735" y="423"/>
                          </a:lnTo>
                          <a:lnTo>
                            <a:pt x="1735" y="424"/>
                          </a:lnTo>
                          <a:lnTo>
                            <a:pt x="1735" y="425"/>
                          </a:lnTo>
                          <a:lnTo>
                            <a:pt x="1736" y="426"/>
                          </a:lnTo>
                          <a:lnTo>
                            <a:pt x="1737" y="427"/>
                          </a:lnTo>
                          <a:lnTo>
                            <a:pt x="1737" y="431"/>
                          </a:lnTo>
                          <a:lnTo>
                            <a:pt x="1737" y="433"/>
                          </a:lnTo>
                          <a:lnTo>
                            <a:pt x="1736" y="434"/>
                          </a:lnTo>
                          <a:lnTo>
                            <a:pt x="1737" y="435"/>
                          </a:lnTo>
                          <a:lnTo>
                            <a:pt x="1736" y="437"/>
                          </a:lnTo>
                          <a:lnTo>
                            <a:pt x="1733" y="435"/>
                          </a:lnTo>
                          <a:lnTo>
                            <a:pt x="1730" y="435"/>
                          </a:lnTo>
                          <a:lnTo>
                            <a:pt x="1729" y="435"/>
                          </a:lnTo>
                          <a:lnTo>
                            <a:pt x="1726" y="433"/>
                          </a:lnTo>
                          <a:lnTo>
                            <a:pt x="1729" y="433"/>
                          </a:lnTo>
                          <a:lnTo>
                            <a:pt x="1730" y="432"/>
                          </a:lnTo>
                          <a:lnTo>
                            <a:pt x="1729" y="431"/>
                          </a:lnTo>
                          <a:lnTo>
                            <a:pt x="1729" y="430"/>
                          </a:lnTo>
                          <a:lnTo>
                            <a:pt x="1727" y="430"/>
                          </a:lnTo>
                          <a:lnTo>
                            <a:pt x="1725" y="428"/>
                          </a:lnTo>
                          <a:lnTo>
                            <a:pt x="1723" y="428"/>
                          </a:lnTo>
                          <a:lnTo>
                            <a:pt x="1722" y="427"/>
                          </a:lnTo>
                          <a:lnTo>
                            <a:pt x="1723" y="424"/>
                          </a:lnTo>
                          <a:lnTo>
                            <a:pt x="1722" y="420"/>
                          </a:lnTo>
                          <a:lnTo>
                            <a:pt x="1719" y="419"/>
                          </a:lnTo>
                          <a:lnTo>
                            <a:pt x="1719" y="424"/>
                          </a:lnTo>
                          <a:lnTo>
                            <a:pt x="1719" y="427"/>
                          </a:lnTo>
                          <a:lnTo>
                            <a:pt x="1718" y="426"/>
                          </a:lnTo>
                          <a:lnTo>
                            <a:pt x="1718" y="424"/>
                          </a:lnTo>
                          <a:lnTo>
                            <a:pt x="1718" y="420"/>
                          </a:lnTo>
                          <a:lnTo>
                            <a:pt x="1716" y="419"/>
                          </a:lnTo>
                          <a:lnTo>
                            <a:pt x="1716" y="418"/>
                          </a:lnTo>
                          <a:lnTo>
                            <a:pt x="1716" y="415"/>
                          </a:lnTo>
                          <a:lnTo>
                            <a:pt x="1716" y="413"/>
                          </a:lnTo>
                          <a:lnTo>
                            <a:pt x="1717" y="412"/>
                          </a:lnTo>
                          <a:lnTo>
                            <a:pt x="1715" y="411"/>
                          </a:lnTo>
                          <a:lnTo>
                            <a:pt x="1716" y="410"/>
                          </a:lnTo>
                          <a:lnTo>
                            <a:pt x="1712" y="412"/>
                          </a:lnTo>
                          <a:lnTo>
                            <a:pt x="1711" y="413"/>
                          </a:lnTo>
                          <a:lnTo>
                            <a:pt x="1709" y="413"/>
                          </a:lnTo>
                          <a:lnTo>
                            <a:pt x="1711" y="415"/>
                          </a:lnTo>
                          <a:lnTo>
                            <a:pt x="1712" y="417"/>
                          </a:lnTo>
                          <a:lnTo>
                            <a:pt x="1713" y="420"/>
                          </a:lnTo>
                          <a:lnTo>
                            <a:pt x="1713" y="421"/>
                          </a:lnTo>
                          <a:lnTo>
                            <a:pt x="1712" y="423"/>
                          </a:lnTo>
                          <a:lnTo>
                            <a:pt x="1712" y="426"/>
                          </a:lnTo>
                          <a:lnTo>
                            <a:pt x="1713" y="426"/>
                          </a:lnTo>
                          <a:lnTo>
                            <a:pt x="1713" y="428"/>
                          </a:lnTo>
                          <a:lnTo>
                            <a:pt x="1712" y="430"/>
                          </a:lnTo>
                          <a:lnTo>
                            <a:pt x="1711" y="430"/>
                          </a:lnTo>
                          <a:lnTo>
                            <a:pt x="1710" y="428"/>
                          </a:lnTo>
                          <a:lnTo>
                            <a:pt x="1710" y="426"/>
                          </a:lnTo>
                          <a:lnTo>
                            <a:pt x="1710" y="424"/>
                          </a:lnTo>
                          <a:lnTo>
                            <a:pt x="1709" y="423"/>
                          </a:lnTo>
                          <a:lnTo>
                            <a:pt x="1706" y="421"/>
                          </a:lnTo>
                          <a:lnTo>
                            <a:pt x="1706" y="420"/>
                          </a:lnTo>
                          <a:lnTo>
                            <a:pt x="1705" y="419"/>
                          </a:lnTo>
                          <a:lnTo>
                            <a:pt x="1705" y="419"/>
                          </a:lnTo>
                          <a:lnTo>
                            <a:pt x="1699" y="425"/>
                          </a:lnTo>
                          <a:lnTo>
                            <a:pt x="1704" y="419"/>
                          </a:lnTo>
                          <a:lnTo>
                            <a:pt x="1703" y="417"/>
                          </a:lnTo>
                          <a:lnTo>
                            <a:pt x="1700" y="415"/>
                          </a:lnTo>
                          <a:lnTo>
                            <a:pt x="1700" y="412"/>
                          </a:lnTo>
                          <a:lnTo>
                            <a:pt x="1699" y="414"/>
                          </a:lnTo>
                          <a:lnTo>
                            <a:pt x="1698" y="414"/>
                          </a:lnTo>
                          <a:lnTo>
                            <a:pt x="1696" y="415"/>
                          </a:lnTo>
                          <a:lnTo>
                            <a:pt x="1695" y="414"/>
                          </a:lnTo>
                          <a:lnTo>
                            <a:pt x="1690" y="414"/>
                          </a:lnTo>
                          <a:lnTo>
                            <a:pt x="1689" y="415"/>
                          </a:lnTo>
                          <a:lnTo>
                            <a:pt x="1686" y="414"/>
                          </a:lnTo>
                          <a:lnTo>
                            <a:pt x="1686" y="412"/>
                          </a:lnTo>
                          <a:lnTo>
                            <a:pt x="1684" y="413"/>
                          </a:lnTo>
                          <a:lnTo>
                            <a:pt x="1684" y="414"/>
                          </a:lnTo>
                          <a:lnTo>
                            <a:pt x="1682" y="415"/>
                          </a:lnTo>
                          <a:lnTo>
                            <a:pt x="1678" y="414"/>
                          </a:lnTo>
                          <a:lnTo>
                            <a:pt x="1676" y="415"/>
                          </a:lnTo>
                          <a:lnTo>
                            <a:pt x="1675" y="414"/>
                          </a:lnTo>
                          <a:lnTo>
                            <a:pt x="1672" y="412"/>
                          </a:lnTo>
                          <a:lnTo>
                            <a:pt x="1672" y="411"/>
                          </a:lnTo>
                          <a:lnTo>
                            <a:pt x="1672" y="410"/>
                          </a:lnTo>
                          <a:lnTo>
                            <a:pt x="1672" y="408"/>
                          </a:lnTo>
                          <a:lnTo>
                            <a:pt x="1672" y="408"/>
                          </a:lnTo>
                          <a:lnTo>
                            <a:pt x="1675" y="407"/>
                          </a:lnTo>
                          <a:lnTo>
                            <a:pt x="1677" y="407"/>
                          </a:lnTo>
                          <a:lnTo>
                            <a:pt x="1678" y="405"/>
                          </a:lnTo>
                          <a:lnTo>
                            <a:pt x="1680" y="404"/>
                          </a:lnTo>
                          <a:lnTo>
                            <a:pt x="1683" y="404"/>
                          </a:lnTo>
                          <a:lnTo>
                            <a:pt x="1684" y="403"/>
                          </a:lnTo>
                          <a:lnTo>
                            <a:pt x="1683" y="400"/>
                          </a:lnTo>
                          <a:lnTo>
                            <a:pt x="1684" y="399"/>
                          </a:lnTo>
                          <a:lnTo>
                            <a:pt x="1684" y="397"/>
                          </a:lnTo>
                          <a:lnTo>
                            <a:pt x="1685" y="394"/>
                          </a:lnTo>
                          <a:lnTo>
                            <a:pt x="1687" y="394"/>
                          </a:lnTo>
                          <a:lnTo>
                            <a:pt x="1686" y="391"/>
                          </a:lnTo>
                          <a:lnTo>
                            <a:pt x="1689" y="391"/>
                          </a:lnTo>
                          <a:lnTo>
                            <a:pt x="1689" y="390"/>
                          </a:lnTo>
                          <a:lnTo>
                            <a:pt x="1689" y="387"/>
                          </a:lnTo>
                          <a:lnTo>
                            <a:pt x="1691" y="386"/>
                          </a:lnTo>
                          <a:lnTo>
                            <a:pt x="1692" y="384"/>
                          </a:lnTo>
                          <a:lnTo>
                            <a:pt x="1691" y="380"/>
                          </a:lnTo>
                          <a:lnTo>
                            <a:pt x="1692" y="377"/>
                          </a:lnTo>
                          <a:lnTo>
                            <a:pt x="1689" y="372"/>
                          </a:lnTo>
                          <a:lnTo>
                            <a:pt x="1687" y="371"/>
                          </a:lnTo>
                          <a:lnTo>
                            <a:pt x="1690" y="371"/>
                          </a:lnTo>
                          <a:lnTo>
                            <a:pt x="1691" y="368"/>
                          </a:lnTo>
                          <a:lnTo>
                            <a:pt x="1691" y="367"/>
                          </a:lnTo>
                          <a:lnTo>
                            <a:pt x="1695" y="367"/>
                          </a:lnTo>
                          <a:lnTo>
                            <a:pt x="1695" y="366"/>
                          </a:lnTo>
                          <a:lnTo>
                            <a:pt x="1698" y="361"/>
                          </a:lnTo>
                          <a:lnTo>
                            <a:pt x="1698" y="359"/>
                          </a:lnTo>
                          <a:lnTo>
                            <a:pt x="1700" y="357"/>
                          </a:lnTo>
                          <a:lnTo>
                            <a:pt x="1700" y="355"/>
                          </a:lnTo>
                          <a:lnTo>
                            <a:pt x="1702" y="354"/>
                          </a:lnTo>
                          <a:lnTo>
                            <a:pt x="1700" y="352"/>
                          </a:lnTo>
                          <a:lnTo>
                            <a:pt x="1702" y="351"/>
                          </a:lnTo>
                          <a:lnTo>
                            <a:pt x="1700" y="350"/>
                          </a:lnTo>
                          <a:lnTo>
                            <a:pt x="1698" y="350"/>
                          </a:lnTo>
                          <a:lnTo>
                            <a:pt x="1698" y="348"/>
                          </a:lnTo>
                          <a:lnTo>
                            <a:pt x="1698" y="346"/>
                          </a:lnTo>
                          <a:lnTo>
                            <a:pt x="1698" y="345"/>
                          </a:lnTo>
                          <a:lnTo>
                            <a:pt x="1698" y="344"/>
                          </a:lnTo>
                          <a:lnTo>
                            <a:pt x="1698" y="341"/>
                          </a:lnTo>
                          <a:lnTo>
                            <a:pt x="1700" y="341"/>
                          </a:lnTo>
                          <a:lnTo>
                            <a:pt x="1702" y="340"/>
                          </a:lnTo>
                          <a:lnTo>
                            <a:pt x="1702" y="338"/>
                          </a:lnTo>
                          <a:lnTo>
                            <a:pt x="1705" y="339"/>
                          </a:lnTo>
                          <a:lnTo>
                            <a:pt x="1707" y="339"/>
                          </a:lnTo>
                          <a:lnTo>
                            <a:pt x="1709" y="338"/>
                          </a:lnTo>
                          <a:lnTo>
                            <a:pt x="1706" y="337"/>
                          </a:lnTo>
                          <a:lnTo>
                            <a:pt x="1704" y="337"/>
                          </a:lnTo>
                          <a:lnTo>
                            <a:pt x="1703" y="335"/>
                          </a:lnTo>
                          <a:lnTo>
                            <a:pt x="1703" y="333"/>
                          </a:lnTo>
                          <a:lnTo>
                            <a:pt x="1703" y="332"/>
                          </a:lnTo>
                          <a:lnTo>
                            <a:pt x="1703" y="331"/>
                          </a:lnTo>
                          <a:lnTo>
                            <a:pt x="1704" y="330"/>
                          </a:lnTo>
                          <a:lnTo>
                            <a:pt x="1705" y="328"/>
                          </a:lnTo>
                          <a:lnTo>
                            <a:pt x="1705" y="326"/>
                          </a:lnTo>
                          <a:lnTo>
                            <a:pt x="1706" y="325"/>
                          </a:lnTo>
                          <a:lnTo>
                            <a:pt x="1707" y="325"/>
                          </a:lnTo>
                          <a:lnTo>
                            <a:pt x="1709" y="325"/>
                          </a:lnTo>
                          <a:lnTo>
                            <a:pt x="1710" y="321"/>
                          </a:lnTo>
                          <a:lnTo>
                            <a:pt x="1711" y="324"/>
                          </a:lnTo>
                          <a:lnTo>
                            <a:pt x="1713" y="324"/>
                          </a:lnTo>
                          <a:lnTo>
                            <a:pt x="1713" y="326"/>
                          </a:lnTo>
                          <a:lnTo>
                            <a:pt x="1715" y="326"/>
                          </a:lnTo>
                          <a:lnTo>
                            <a:pt x="1716" y="327"/>
                          </a:lnTo>
                          <a:lnTo>
                            <a:pt x="1718" y="327"/>
                          </a:lnTo>
                          <a:lnTo>
                            <a:pt x="1718" y="326"/>
                          </a:lnTo>
                          <a:lnTo>
                            <a:pt x="1720" y="326"/>
                          </a:lnTo>
                          <a:lnTo>
                            <a:pt x="1722" y="326"/>
                          </a:lnTo>
                          <a:lnTo>
                            <a:pt x="1722" y="325"/>
                          </a:lnTo>
                          <a:lnTo>
                            <a:pt x="1725" y="325"/>
                          </a:lnTo>
                          <a:lnTo>
                            <a:pt x="1725" y="323"/>
                          </a:lnTo>
                          <a:lnTo>
                            <a:pt x="1727" y="324"/>
                          </a:lnTo>
                          <a:lnTo>
                            <a:pt x="1730" y="324"/>
                          </a:lnTo>
                          <a:lnTo>
                            <a:pt x="1732" y="325"/>
                          </a:lnTo>
                          <a:lnTo>
                            <a:pt x="1733" y="326"/>
                          </a:lnTo>
                          <a:lnTo>
                            <a:pt x="1733" y="325"/>
                          </a:lnTo>
                          <a:lnTo>
                            <a:pt x="1736" y="324"/>
                          </a:lnTo>
                          <a:lnTo>
                            <a:pt x="1739" y="324"/>
                          </a:lnTo>
                          <a:lnTo>
                            <a:pt x="1742" y="324"/>
                          </a:lnTo>
                          <a:lnTo>
                            <a:pt x="1746" y="324"/>
                          </a:lnTo>
                          <a:lnTo>
                            <a:pt x="1749" y="324"/>
                          </a:lnTo>
                          <a:lnTo>
                            <a:pt x="1750" y="326"/>
                          </a:lnTo>
                          <a:lnTo>
                            <a:pt x="1750" y="327"/>
                          </a:lnTo>
                          <a:lnTo>
                            <a:pt x="1752" y="327"/>
                          </a:lnTo>
                          <a:lnTo>
                            <a:pt x="1752" y="328"/>
                          </a:lnTo>
                          <a:lnTo>
                            <a:pt x="1752" y="330"/>
                          </a:lnTo>
                          <a:lnTo>
                            <a:pt x="1755" y="330"/>
                          </a:lnTo>
                          <a:lnTo>
                            <a:pt x="1755" y="328"/>
                          </a:lnTo>
                          <a:lnTo>
                            <a:pt x="1757" y="330"/>
                          </a:lnTo>
                          <a:lnTo>
                            <a:pt x="1759" y="330"/>
                          </a:lnTo>
                          <a:lnTo>
                            <a:pt x="1759" y="330"/>
                          </a:lnTo>
                          <a:lnTo>
                            <a:pt x="1756" y="328"/>
                          </a:lnTo>
                          <a:lnTo>
                            <a:pt x="1758" y="327"/>
                          </a:lnTo>
                          <a:lnTo>
                            <a:pt x="1760" y="326"/>
                          </a:lnTo>
                          <a:lnTo>
                            <a:pt x="1760" y="327"/>
                          </a:lnTo>
                          <a:lnTo>
                            <a:pt x="1763" y="326"/>
                          </a:lnTo>
                          <a:lnTo>
                            <a:pt x="1767" y="326"/>
                          </a:lnTo>
                          <a:lnTo>
                            <a:pt x="1769" y="327"/>
                          </a:lnTo>
                          <a:lnTo>
                            <a:pt x="1769" y="330"/>
                          </a:lnTo>
                          <a:lnTo>
                            <a:pt x="1771" y="327"/>
                          </a:lnTo>
                          <a:lnTo>
                            <a:pt x="1771" y="326"/>
                          </a:lnTo>
                          <a:lnTo>
                            <a:pt x="1775" y="327"/>
                          </a:lnTo>
                          <a:lnTo>
                            <a:pt x="1778" y="327"/>
                          </a:lnTo>
                          <a:lnTo>
                            <a:pt x="1780" y="327"/>
                          </a:lnTo>
                          <a:lnTo>
                            <a:pt x="1782" y="327"/>
                          </a:lnTo>
                          <a:lnTo>
                            <a:pt x="1783" y="326"/>
                          </a:lnTo>
                          <a:lnTo>
                            <a:pt x="1783" y="325"/>
                          </a:lnTo>
                          <a:lnTo>
                            <a:pt x="1784" y="326"/>
                          </a:lnTo>
                          <a:lnTo>
                            <a:pt x="1786" y="327"/>
                          </a:lnTo>
                          <a:lnTo>
                            <a:pt x="1789" y="327"/>
                          </a:lnTo>
                          <a:lnTo>
                            <a:pt x="1791" y="326"/>
                          </a:lnTo>
                          <a:lnTo>
                            <a:pt x="1793" y="326"/>
                          </a:lnTo>
                          <a:lnTo>
                            <a:pt x="1796" y="326"/>
                          </a:lnTo>
                          <a:lnTo>
                            <a:pt x="1798" y="326"/>
                          </a:lnTo>
                          <a:lnTo>
                            <a:pt x="1798" y="325"/>
                          </a:lnTo>
                          <a:lnTo>
                            <a:pt x="1798" y="324"/>
                          </a:lnTo>
                          <a:lnTo>
                            <a:pt x="1797" y="323"/>
                          </a:lnTo>
                          <a:lnTo>
                            <a:pt x="1796" y="319"/>
                          </a:lnTo>
                          <a:lnTo>
                            <a:pt x="1796" y="318"/>
                          </a:lnTo>
                          <a:lnTo>
                            <a:pt x="1799" y="320"/>
                          </a:lnTo>
                          <a:lnTo>
                            <a:pt x="1803" y="319"/>
                          </a:lnTo>
                          <a:lnTo>
                            <a:pt x="1803" y="319"/>
                          </a:lnTo>
                          <a:lnTo>
                            <a:pt x="1803" y="320"/>
                          </a:lnTo>
                          <a:lnTo>
                            <a:pt x="1804" y="324"/>
                          </a:lnTo>
                          <a:lnTo>
                            <a:pt x="1806" y="325"/>
                          </a:lnTo>
                          <a:lnTo>
                            <a:pt x="1807" y="325"/>
                          </a:lnTo>
                          <a:lnTo>
                            <a:pt x="1807" y="324"/>
                          </a:lnTo>
                          <a:lnTo>
                            <a:pt x="1809" y="321"/>
                          </a:lnTo>
                          <a:lnTo>
                            <a:pt x="1813" y="323"/>
                          </a:lnTo>
                          <a:lnTo>
                            <a:pt x="1816" y="321"/>
                          </a:lnTo>
                          <a:lnTo>
                            <a:pt x="1817" y="321"/>
                          </a:lnTo>
                          <a:lnTo>
                            <a:pt x="1818" y="324"/>
                          </a:lnTo>
                          <a:lnTo>
                            <a:pt x="1819" y="324"/>
                          </a:lnTo>
                          <a:lnTo>
                            <a:pt x="1819" y="321"/>
                          </a:lnTo>
                          <a:lnTo>
                            <a:pt x="1820" y="321"/>
                          </a:lnTo>
                          <a:lnTo>
                            <a:pt x="1824" y="323"/>
                          </a:lnTo>
                          <a:lnTo>
                            <a:pt x="1826" y="321"/>
                          </a:lnTo>
                          <a:lnTo>
                            <a:pt x="1829" y="323"/>
                          </a:lnTo>
                          <a:lnTo>
                            <a:pt x="1830" y="319"/>
                          </a:lnTo>
                          <a:lnTo>
                            <a:pt x="1831" y="324"/>
                          </a:lnTo>
                          <a:lnTo>
                            <a:pt x="1832" y="324"/>
                          </a:lnTo>
                          <a:lnTo>
                            <a:pt x="1835" y="324"/>
                          </a:lnTo>
                          <a:lnTo>
                            <a:pt x="1835" y="326"/>
                          </a:lnTo>
                          <a:lnTo>
                            <a:pt x="1833" y="327"/>
                          </a:lnTo>
                          <a:lnTo>
                            <a:pt x="1832" y="328"/>
                          </a:lnTo>
                          <a:lnTo>
                            <a:pt x="1830" y="330"/>
                          </a:lnTo>
                          <a:lnTo>
                            <a:pt x="1829" y="330"/>
                          </a:lnTo>
                          <a:lnTo>
                            <a:pt x="1826" y="331"/>
                          </a:lnTo>
                          <a:lnTo>
                            <a:pt x="1823" y="330"/>
                          </a:lnTo>
                          <a:lnTo>
                            <a:pt x="1823" y="331"/>
                          </a:lnTo>
                          <a:lnTo>
                            <a:pt x="1829" y="331"/>
                          </a:lnTo>
                          <a:lnTo>
                            <a:pt x="1832" y="331"/>
                          </a:lnTo>
                          <a:lnTo>
                            <a:pt x="1833" y="332"/>
                          </a:lnTo>
                          <a:lnTo>
                            <a:pt x="1835" y="333"/>
                          </a:lnTo>
                          <a:lnTo>
                            <a:pt x="1837" y="333"/>
                          </a:lnTo>
                          <a:lnTo>
                            <a:pt x="1839" y="333"/>
                          </a:lnTo>
                          <a:lnTo>
                            <a:pt x="1840" y="334"/>
                          </a:lnTo>
                          <a:lnTo>
                            <a:pt x="1840" y="335"/>
                          </a:lnTo>
                          <a:lnTo>
                            <a:pt x="1843" y="335"/>
                          </a:lnTo>
                          <a:lnTo>
                            <a:pt x="1844" y="333"/>
                          </a:lnTo>
                          <a:lnTo>
                            <a:pt x="1846" y="335"/>
                          </a:lnTo>
                          <a:lnTo>
                            <a:pt x="1850" y="333"/>
                          </a:lnTo>
                          <a:lnTo>
                            <a:pt x="1853" y="333"/>
                          </a:lnTo>
                          <a:lnTo>
                            <a:pt x="1858" y="333"/>
                          </a:lnTo>
                          <a:lnTo>
                            <a:pt x="1859" y="335"/>
                          </a:lnTo>
                          <a:lnTo>
                            <a:pt x="1862" y="333"/>
                          </a:lnTo>
                          <a:lnTo>
                            <a:pt x="1862" y="332"/>
                          </a:lnTo>
                          <a:lnTo>
                            <a:pt x="1863" y="330"/>
                          </a:lnTo>
                          <a:lnTo>
                            <a:pt x="1864" y="328"/>
                          </a:lnTo>
                          <a:lnTo>
                            <a:pt x="1867" y="328"/>
                          </a:lnTo>
                          <a:lnTo>
                            <a:pt x="1867" y="330"/>
                          </a:lnTo>
                          <a:lnTo>
                            <a:pt x="1869" y="332"/>
                          </a:lnTo>
                          <a:lnTo>
                            <a:pt x="1873" y="332"/>
                          </a:lnTo>
                          <a:lnTo>
                            <a:pt x="1878" y="331"/>
                          </a:lnTo>
                          <a:lnTo>
                            <a:pt x="1878" y="328"/>
                          </a:lnTo>
                          <a:lnTo>
                            <a:pt x="1880" y="330"/>
                          </a:lnTo>
                          <a:lnTo>
                            <a:pt x="1885" y="328"/>
                          </a:lnTo>
                          <a:lnTo>
                            <a:pt x="1891" y="330"/>
                          </a:lnTo>
                          <a:lnTo>
                            <a:pt x="1892" y="330"/>
                          </a:lnTo>
                          <a:lnTo>
                            <a:pt x="1891" y="327"/>
                          </a:lnTo>
                          <a:lnTo>
                            <a:pt x="1890" y="326"/>
                          </a:lnTo>
                          <a:lnTo>
                            <a:pt x="1889" y="321"/>
                          </a:lnTo>
                          <a:lnTo>
                            <a:pt x="1887" y="323"/>
                          </a:lnTo>
                          <a:lnTo>
                            <a:pt x="1885" y="321"/>
                          </a:lnTo>
                          <a:lnTo>
                            <a:pt x="1882" y="321"/>
                          </a:lnTo>
                          <a:lnTo>
                            <a:pt x="1876" y="321"/>
                          </a:lnTo>
                          <a:lnTo>
                            <a:pt x="1874" y="319"/>
                          </a:lnTo>
                          <a:lnTo>
                            <a:pt x="1872" y="319"/>
                          </a:lnTo>
                          <a:lnTo>
                            <a:pt x="1873" y="321"/>
                          </a:lnTo>
                          <a:lnTo>
                            <a:pt x="1870" y="321"/>
                          </a:lnTo>
                          <a:lnTo>
                            <a:pt x="1870" y="319"/>
                          </a:lnTo>
                          <a:lnTo>
                            <a:pt x="1876" y="317"/>
                          </a:lnTo>
                          <a:lnTo>
                            <a:pt x="1869" y="318"/>
                          </a:lnTo>
                          <a:lnTo>
                            <a:pt x="1865" y="317"/>
                          </a:lnTo>
                          <a:lnTo>
                            <a:pt x="1865" y="314"/>
                          </a:lnTo>
                          <a:lnTo>
                            <a:pt x="1864" y="312"/>
                          </a:lnTo>
                          <a:lnTo>
                            <a:pt x="1864" y="310"/>
                          </a:lnTo>
                          <a:lnTo>
                            <a:pt x="1864" y="308"/>
                          </a:lnTo>
                          <a:lnTo>
                            <a:pt x="1867" y="308"/>
                          </a:lnTo>
                          <a:lnTo>
                            <a:pt x="1870" y="312"/>
                          </a:lnTo>
                          <a:lnTo>
                            <a:pt x="1870" y="314"/>
                          </a:lnTo>
                          <a:lnTo>
                            <a:pt x="1872" y="311"/>
                          </a:lnTo>
                          <a:lnTo>
                            <a:pt x="1870" y="308"/>
                          </a:lnTo>
                          <a:lnTo>
                            <a:pt x="1870" y="307"/>
                          </a:lnTo>
                          <a:lnTo>
                            <a:pt x="1869" y="307"/>
                          </a:lnTo>
                          <a:lnTo>
                            <a:pt x="1866" y="307"/>
                          </a:lnTo>
                          <a:lnTo>
                            <a:pt x="1864" y="305"/>
                          </a:lnTo>
                          <a:lnTo>
                            <a:pt x="1867" y="303"/>
                          </a:lnTo>
                          <a:lnTo>
                            <a:pt x="1867" y="299"/>
                          </a:lnTo>
                          <a:lnTo>
                            <a:pt x="1867" y="297"/>
                          </a:lnTo>
                          <a:lnTo>
                            <a:pt x="1869" y="295"/>
                          </a:lnTo>
                          <a:lnTo>
                            <a:pt x="1866" y="293"/>
                          </a:lnTo>
                          <a:lnTo>
                            <a:pt x="1870" y="288"/>
                          </a:lnTo>
                          <a:lnTo>
                            <a:pt x="1869" y="288"/>
                          </a:lnTo>
                          <a:lnTo>
                            <a:pt x="1866" y="285"/>
                          </a:lnTo>
                          <a:lnTo>
                            <a:pt x="1866" y="284"/>
                          </a:lnTo>
                          <a:lnTo>
                            <a:pt x="1866" y="280"/>
                          </a:lnTo>
                          <a:lnTo>
                            <a:pt x="1869" y="280"/>
                          </a:lnTo>
                          <a:lnTo>
                            <a:pt x="1871" y="280"/>
                          </a:lnTo>
                          <a:lnTo>
                            <a:pt x="1872" y="278"/>
                          </a:lnTo>
                          <a:lnTo>
                            <a:pt x="1874" y="278"/>
                          </a:lnTo>
                          <a:lnTo>
                            <a:pt x="1877" y="278"/>
                          </a:lnTo>
                          <a:lnTo>
                            <a:pt x="1878" y="281"/>
                          </a:lnTo>
                          <a:lnTo>
                            <a:pt x="1882" y="279"/>
                          </a:lnTo>
                          <a:lnTo>
                            <a:pt x="1885" y="279"/>
                          </a:lnTo>
                          <a:lnTo>
                            <a:pt x="1887" y="278"/>
                          </a:lnTo>
                          <a:lnTo>
                            <a:pt x="1889" y="277"/>
                          </a:lnTo>
                          <a:lnTo>
                            <a:pt x="1893" y="278"/>
                          </a:lnTo>
                          <a:lnTo>
                            <a:pt x="1894" y="279"/>
                          </a:lnTo>
                          <a:lnTo>
                            <a:pt x="1898" y="279"/>
                          </a:lnTo>
                          <a:lnTo>
                            <a:pt x="1899" y="281"/>
                          </a:lnTo>
                          <a:lnTo>
                            <a:pt x="1902" y="280"/>
                          </a:lnTo>
                          <a:lnTo>
                            <a:pt x="1903" y="279"/>
                          </a:lnTo>
                          <a:lnTo>
                            <a:pt x="1904" y="278"/>
                          </a:lnTo>
                          <a:lnTo>
                            <a:pt x="1902" y="281"/>
                          </a:lnTo>
                          <a:lnTo>
                            <a:pt x="1904" y="283"/>
                          </a:lnTo>
                          <a:lnTo>
                            <a:pt x="1906" y="279"/>
                          </a:lnTo>
                          <a:lnTo>
                            <a:pt x="1909" y="279"/>
                          </a:lnTo>
                          <a:lnTo>
                            <a:pt x="1909" y="278"/>
                          </a:lnTo>
                          <a:lnTo>
                            <a:pt x="1910" y="280"/>
                          </a:lnTo>
                          <a:lnTo>
                            <a:pt x="1910" y="285"/>
                          </a:lnTo>
                          <a:lnTo>
                            <a:pt x="1912" y="287"/>
                          </a:lnTo>
                          <a:lnTo>
                            <a:pt x="1916" y="291"/>
                          </a:lnTo>
                          <a:lnTo>
                            <a:pt x="1917" y="292"/>
                          </a:lnTo>
                          <a:lnTo>
                            <a:pt x="1918" y="293"/>
                          </a:lnTo>
                          <a:lnTo>
                            <a:pt x="1920" y="294"/>
                          </a:lnTo>
                          <a:lnTo>
                            <a:pt x="1920" y="295"/>
                          </a:lnTo>
                          <a:lnTo>
                            <a:pt x="1923" y="295"/>
                          </a:lnTo>
                          <a:lnTo>
                            <a:pt x="1924" y="293"/>
                          </a:lnTo>
                          <a:lnTo>
                            <a:pt x="1926" y="294"/>
                          </a:lnTo>
                          <a:lnTo>
                            <a:pt x="1926" y="295"/>
                          </a:lnTo>
                          <a:lnTo>
                            <a:pt x="1926" y="299"/>
                          </a:lnTo>
                          <a:lnTo>
                            <a:pt x="1930" y="300"/>
                          </a:lnTo>
                          <a:lnTo>
                            <a:pt x="1933" y="303"/>
                          </a:lnTo>
                          <a:lnTo>
                            <a:pt x="1933" y="301"/>
                          </a:lnTo>
                          <a:lnTo>
                            <a:pt x="1933" y="298"/>
                          </a:lnTo>
                          <a:lnTo>
                            <a:pt x="1936" y="300"/>
                          </a:lnTo>
                          <a:lnTo>
                            <a:pt x="1937" y="299"/>
                          </a:lnTo>
                          <a:lnTo>
                            <a:pt x="1939" y="303"/>
                          </a:lnTo>
                          <a:lnTo>
                            <a:pt x="1940" y="300"/>
                          </a:lnTo>
                          <a:lnTo>
                            <a:pt x="1939" y="299"/>
                          </a:lnTo>
                          <a:lnTo>
                            <a:pt x="1938" y="298"/>
                          </a:lnTo>
                          <a:lnTo>
                            <a:pt x="1939" y="298"/>
                          </a:lnTo>
                          <a:lnTo>
                            <a:pt x="1940" y="295"/>
                          </a:lnTo>
                          <a:lnTo>
                            <a:pt x="1942" y="292"/>
                          </a:lnTo>
                          <a:lnTo>
                            <a:pt x="1940" y="291"/>
                          </a:lnTo>
                          <a:lnTo>
                            <a:pt x="1943" y="291"/>
                          </a:lnTo>
                          <a:lnTo>
                            <a:pt x="1943" y="288"/>
                          </a:lnTo>
                          <a:lnTo>
                            <a:pt x="1943" y="286"/>
                          </a:lnTo>
                          <a:lnTo>
                            <a:pt x="1945" y="285"/>
                          </a:lnTo>
                          <a:lnTo>
                            <a:pt x="1947" y="284"/>
                          </a:lnTo>
                          <a:lnTo>
                            <a:pt x="1947" y="283"/>
                          </a:lnTo>
                          <a:lnTo>
                            <a:pt x="1950" y="285"/>
                          </a:lnTo>
                          <a:lnTo>
                            <a:pt x="1950" y="281"/>
                          </a:lnTo>
                          <a:lnTo>
                            <a:pt x="1952" y="284"/>
                          </a:lnTo>
                          <a:lnTo>
                            <a:pt x="1954" y="284"/>
                          </a:lnTo>
                          <a:lnTo>
                            <a:pt x="1956" y="281"/>
                          </a:lnTo>
                          <a:lnTo>
                            <a:pt x="1953" y="281"/>
                          </a:lnTo>
                          <a:lnTo>
                            <a:pt x="1953" y="280"/>
                          </a:lnTo>
                          <a:lnTo>
                            <a:pt x="1951" y="279"/>
                          </a:lnTo>
                          <a:lnTo>
                            <a:pt x="1949" y="279"/>
                          </a:lnTo>
                          <a:lnTo>
                            <a:pt x="1950" y="278"/>
                          </a:lnTo>
                          <a:lnTo>
                            <a:pt x="1946" y="277"/>
                          </a:lnTo>
                          <a:lnTo>
                            <a:pt x="1947" y="274"/>
                          </a:lnTo>
                          <a:lnTo>
                            <a:pt x="1945" y="272"/>
                          </a:lnTo>
                          <a:lnTo>
                            <a:pt x="1944" y="273"/>
                          </a:lnTo>
                          <a:lnTo>
                            <a:pt x="1942" y="272"/>
                          </a:lnTo>
                          <a:lnTo>
                            <a:pt x="1943" y="271"/>
                          </a:lnTo>
                          <a:lnTo>
                            <a:pt x="1943" y="270"/>
                          </a:lnTo>
                          <a:lnTo>
                            <a:pt x="1942" y="270"/>
                          </a:lnTo>
                          <a:lnTo>
                            <a:pt x="1940" y="267"/>
                          </a:lnTo>
                          <a:lnTo>
                            <a:pt x="1942" y="267"/>
                          </a:lnTo>
                          <a:lnTo>
                            <a:pt x="1939" y="266"/>
                          </a:lnTo>
                          <a:lnTo>
                            <a:pt x="1940" y="265"/>
                          </a:lnTo>
                          <a:lnTo>
                            <a:pt x="1940" y="264"/>
                          </a:lnTo>
                          <a:lnTo>
                            <a:pt x="1942" y="263"/>
                          </a:lnTo>
                          <a:lnTo>
                            <a:pt x="1944" y="263"/>
                          </a:lnTo>
                          <a:lnTo>
                            <a:pt x="1945" y="264"/>
                          </a:lnTo>
                          <a:lnTo>
                            <a:pt x="1946" y="264"/>
                          </a:lnTo>
                          <a:lnTo>
                            <a:pt x="1949" y="261"/>
                          </a:lnTo>
                          <a:lnTo>
                            <a:pt x="1951" y="263"/>
                          </a:lnTo>
                          <a:lnTo>
                            <a:pt x="1951" y="265"/>
                          </a:lnTo>
                          <a:lnTo>
                            <a:pt x="1952" y="264"/>
                          </a:lnTo>
                          <a:lnTo>
                            <a:pt x="1952" y="265"/>
                          </a:lnTo>
                          <a:lnTo>
                            <a:pt x="1953" y="268"/>
                          </a:lnTo>
                          <a:lnTo>
                            <a:pt x="1953" y="271"/>
                          </a:lnTo>
                          <a:lnTo>
                            <a:pt x="1954" y="272"/>
                          </a:lnTo>
                          <a:lnTo>
                            <a:pt x="1954" y="271"/>
                          </a:lnTo>
                          <a:lnTo>
                            <a:pt x="1957" y="273"/>
                          </a:lnTo>
                          <a:lnTo>
                            <a:pt x="1956" y="274"/>
                          </a:lnTo>
                          <a:lnTo>
                            <a:pt x="1958" y="276"/>
                          </a:lnTo>
                          <a:lnTo>
                            <a:pt x="1958" y="277"/>
                          </a:lnTo>
                          <a:lnTo>
                            <a:pt x="1958" y="279"/>
                          </a:lnTo>
                          <a:lnTo>
                            <a:pt x="1960" y="278"/>
                          </a:lnTo>
                          <a:lnTo>
                            <a:pt x="1960" y="280"/>
                          </a:lnTo>
                          <a:lnTo>
                            <a:pt x="1963" y="281"/>
                          </a:lnTo>
                          <a:lnTo>
                            <a:pt x="1963" y="284"/>
                          </a:lnTo>
                          <a:lnTo>
                            <a:pt x="1964" y="285"/>
                          </a:lnTo>
                          <a:lnTo>
                            <a:pt x="1965" y="285"/>
                          </a:lnTo>
                          <a:lnTo>
                            <a:pt x="1965" y="286"/>
                          </a:lnTo>
                          <a:lnTo>
                            <a:pt x="1967" y="287"/>
                          </a:lnTo>
                          <a:lnTo>
                            <a:pt x="1971" y="287"/>
                          </a:lnTo>
                          <a:lnTo>
                            <a:pt x="1970" y="290"/>
                          </a:lnTo>
                          <a:lnTo>
                            <a:pt x="1970" y="291"/>
                          </a:lnTo>
                          <a:lnTo>
                            <a:pt x="1972" y="293"/>
                          </a:lnTo>
                          <a:lnTo>
                            <a:pt x="1971" y="294"/>
                          </a:lnTo>
                          <a:lnTo>
                            <a:pt x="1970" y="294"/>
                          </a:lnTo>
                          <a:lnTo>
                            <a:pt x="1970" y="297"/>
                          </a:lnTo>
                          <a:lnTo>
                            <a:pt x="1969" y="297"/>
                          </a:lnTo>
                          <a:lnTo>
                            <a:pt x="1967" y="298"/>
                          </a:lnTo>
                          <a:lnTo>
                            <a:pt x="1965" y="299"/>
                          </a:lnTo>
                          <a:lnTo>
                            <a:pt x="1963" y="298"/>
                          </a:lnTo>
                          <a:lnTo>
                            <a:pt x="1963" y="300"/>
                          </a:lnTo>
                          <a:lnTo>
                            <a:pt x="1962" y="300"/>
                          </a:lnTo>
                          <a:lnTo>
                            <a:pt x="1960" y="301"/>
                          </a:lnTo>
                          <a:lnTo>
                            <a:pt x="1960" y="304"/>
                          </a:lnTo>
                          <a:lnTo>
                            <a:pt x="1958" y="305"/>
                          </a:lnTo>
                          <a:lnTo>
                            <a:pt x="1959" y="307"/>
                          </a:lnTo>
                          <a:lnTo>
                            <a:pt x="1964" y="308"/>
                          </a:lnTo>
                          <a:lnTo>
                            <a:pt x="1964" y="311"/>
                          </a:lnTo>
                          <a:lnTo>
                            <a:pt x="1963" y="312"/>
                          </a:lnTo>
                          <a:lnTo>
                            <a:pt x="1963" y="315"/>
                          </a:lnTo>
                          <a:lnTo>
                            <a:pt x="1962" y="319"/>
                          </a:lnTo>
                          <a:lnTo>
                            <a:pt x="1959" y="320"/>
                          </a:lnTo>
                          <a:lnTo>
                            <a:pt x="1960" y="323"/>
                          </a:lnTo>
                          <a:lnTo>
                            <a:pt x="1962" y="327"/>
                          </a:lnTo>
                          <a:lnTo>
                            <a:pt x="1960" y="330"/>
                          </a:lnTo>
                          <a:lnTo>
                            <a:pt x="1960" y="332"/>
                          </a:lnTo>
                          <a:lnTo>
                            <a:pt x="1964" y="333"/>
                          </a:lnTo>
                          <a:lnTo>
                            <a:pt x="1962" y="337"/>
                          </a:lnTo>
                          <a:lnTo>
                            <a:pt x="1962" y="339"/>
                          </a:lnTo>
                          <a:lnTo>
                            <a:pt x="1962" y="341"/>
                          </a:lnTo>
                          <a:lnTo>
                            <a:pt x="1962" y="344"/>
                          </a:lnTo>
                          <a:lnTo>
                            <a:pt x="1960" y="344"/>
                          </a:lnTo>
                          <a:lnTo>
                            <a:pt x="1959" y="345"/>
                          </a:lnTo>
                          <a:lnTo>
                            <a:pt x="1957" y="343"/>
                          </a:lnTo>
                          <a:lnTo>
                            <a:pt x="1954" y="341"/>
                          </a:lnTo>
                          <a:lnTo>
                            <a:pt x="1954" y="337"/>
                          </a:lnTo>
                          <a:lnTo>
                            <a:pt x="1953" y="335"/>
                          </a:lnTo>
                          <a:lnTo>
                            <a:pt x="1952" y="331"/>
                          </a:lnTo>
                          <a:lnTo>
                            <a:pt x="1949" y="327"/>
                          </a:lnTo>
                          <a:lnTo>
                            <a:pt x="1956" y="347"/>
                          </a:lnTo>
                          <a:lnTo>
                            <a:pt x="1957" y="346"/>
                          </a:lnTo>
                          <a:lnTo>
                            <a:pt x="1958" y="347"/>
                          </a:lnTo>
                          <a:lnTo>
                            <a:pt x="1957" y="350"/>
                          </a:lnTo>
                          <a:lnTo>
                            <a:pt x="1954" y="350"/>
                          </a:lnTo>
                          <a:lnTo>
                            <a:pt x="1951" y="351"/>
                          </a:lnTo>
                          <a:lnTo>
                            <a:pt x="1952" y="352"/>
                          </a:lnTo>
                          <a:lnTo>
                            <a:pt x="1950" y="353"/>
                          </a:lnTo>
                          <a:lnTo>
                            <a:pt x="1949" y="353"/>
                          </a:lnTo>
                          <a:lnTo>
                            <a:pt x="1947" y="353"/>
                          </a:lnTo>
                          <a:lnTo>
                            <a:pt x="1943" y="353"/>
                          </a:lnTo>
                          <a:lnTo>
                            <a:pt x="1945" y="355"/>
                          </a:lnTo>
                          <a:lnTo>
                            <a:pt x="1946" y="357"/>
                          </a:lnTo>
                          <a:lnTo>
                            <a:pt x="1946" y="358"/>
                          </a:lnTo>
                          <a:lnTo>
                            <a:pt x="1951" y="358"/>
                          </a:lnTo>
                          <a:lnTo>
                            <a:pt x="1951" y="360"/>
                          </a:lnTo>
                          <a:lnTo>
                            <a:pt x="1951" y="363"/>
                          </a:lnTo>
                          <a:lnTo>
                            <a:pt x="1952" y="363"/>
                          </a:lnTo>
                          <a:lnTo>
                            <a:pt x="1952" y="366"/>
                          </a:lnTo>
                          <a:lnTo>
                            <a:pt x="1953" y="368"/>
                          </a:lnTo>
                          <a:lnTo>
                            <a:pt x="1954" y="367"/>
                          </a:lnTo>
                          <a:lnTo>
                            <a:pt x="1958" y="364"/>
                          </a:lnTo>
                          <a:lnTo>
                            <a:pt x="1953" y="371"/>
                          </a:lnTo>
                          <a:lnTo>
                            <a:pt x="1953" y="373"/>
                          </a:lnTo>
                          <a:lnTo>
                            <a:pt x="1952" y="374"/>
                          </a:lnTo>
                          <a:lnTo>
                            <a:pt x="1952" y="375"/>
                          </a:lnTo>
                          <a:lnTo>
                            <a:pt x="1954" y="377"/>
                          </a:lnTo>
                          <a:lnTo>
                            <a:pt x="1954" y="378"/>
                          </a:lnTo>
                          <a:lnTo>
                            <a:pt x="1956" y="380"/>
                          </a:lnTo>
                          <a:lnTo>
                            <a:pt x="1956" y="383"/>
                          </a:lnTo>
                          <a:lnTo>
                            <a:pt x="1957" y="384"/>
                          </a:lnTo>
                          <a:lnTo>
                            <a:pt x="1958" y="384"/>
                          </a:lnTo>
                          <a:lnTo>
                            <a:pt x="1959" y="387"/>
                          </a:lnTo>
                          <a:lnTo>
                            <a:pt x="1960" y="386"/>
                          </a:lnTo>
                          <a:lnTo>
                            <a:pt x="1963" y="388"/>
                          </a:lnTo>
                          <a:lnTo>
                            <a:pt x="1964" y="391"/>
                          </a:lnTo>
                          <a:lnTo>
                            <a:pt x="1965" y="392"/>
                          </a:lnTo>
                          <a:lnTo>
                            <a:pt x="1966" y="394"/>
                          </a:lnTo>
                          <a:lnTo>
                            <a:pt x="1969" y="388"/>
                          </a:lnTo>
                          <a:lnTo>
                            <a:pt x="1966" y="395"/>
                          </a:lnTo>
                          <a:lnTo>
                            <a:pt x="1967" y="398"/>
                          </a:lnTo>
                          <a:lnTo>
                            <a:pt x="1969" y="397"/>
                          </a:lnTo>
                          <a:lnTo>
                            <a:pt x="1970" y="399"/>
                          </a:lnTo>
                          <a:lnTo>
                            <a:pt x="1971" y="399"/>
                          </a:lnTo>
                          <a:lnTo>
                            <a:pt x="1972" y="400"/>
                          </a:lnTo>
                          <a:lnTo>
                            <a:pt x="1973" y="403"/>
                          </a:lnTo>
                          <a:lnTo>
                            <a:pt x="1974" y="404"/>
                          </a:lnTo>
                          <a:lnTo>
                            <a:pt x="1974" y="405"/>
                          </a:lnTo>
                          <a:lnTo>
                            <a:pt x="1976" y="405"/>
                          </a:lnTo>
                          <a:lnTo>
                            <a:pt x="1977" y="407"/>
                          </a:lnTo>
                          <a:lnTo>
                            <a:pt x="1979" y="408"/>
                          </a:lnTo>
                          <a:lnTo>
                            <a:pt x="1980" y="411"/>
                          </a:lnTo>
                          <a:lnTo>
                            <a:pt x="1983" y="411"/>
                          </a:lnTo>
                          <a:lnTo>
                            <a:pt x="1983" y="412"/>
                          </a:lnTo>
                          <a:lnTo>
                            <a:pt x="1986" y="412"/>
                          </a:lnTo>
                          <a:lnTo>
                            <a:pt x="1987" y="414"/>
                          </a:lnTo>
                          <a:lnTo>
                            <a:pt x="1991" y="413"/>
                          </a:lnTo>
                          <a:lnTo>
                            <a:pt x="1992" y="418"/>
                          </a:lnTo>
                          <a:lnTo>
                            <a:pt x="1991" y="420"/>
                          </a:lnTo>
                          <a:lnTo>
                            <a:pt x="1994" y="419"/>
                          </a:lnTo>
                          <a:lnTo>
                            <a:pt x="1996" y="421"/>
                          </a:lnTo>
                          <a:lnTo>
                            <a:pt x="1998" y="421"/>
                          </a:lnTo>
                          <a:lnTo>
                            <a:pt x="1998" y="426"/>
                          </a:lnTo>
                          <a:lnTo>
                            <a:pt x="2003" y="426"/>
                          </a:lnTo>
                          <a:lnTo>
                            <a:pt x="2006" y="430"/>
                          </a:lnTo>
                          <a:lnTo>
                            <a:pt x="2005" y="431"/>
                          </a:lnTo>
                          <a:lnTo>
                            <a:pt x="2011" y="433"/>
                          </a:lnTo>
                          <a:lnTo>
                            <a:pt x="2017" y="439"/>
                          </a:lnTo>
                          <a:lnTo>
                            <a:pt x="2019" y="442"/>
                          </a:lnTo>
                          <a:lnTo>
                            <a:pt x="2024" y="444"/>
                          </a:lnTo>
                          <a:lnTo>
                            <a:pt x="2027" y="447"/>
                          </a:lnTo>
                          <a:lnTo>
                            <a:pt x="2026" y="451"/>
                          </a:lnTo>
                          <a:lnTo>
                            <a:pt x="2033" y="454"/>
                          </a:lnTo>
                          <a:lnTo>
                            <a:pt x="2038" y="455"/>
                          </a:lnTo>
                          <a:lnTo>
                            <a:pt x="2040" y="459"/>
                          </a:lnTo>
                          <a:lnTo>
                            <a:pt x="2042" y="461"/>
                          </a:lnTo>
                          <a:lnTo>
                            <a:pt x="2039" y="464"/>
                          </a:lnTo>
                          <a:lnTo>
                            <a:pt x="2047" y="464"/>
                          </a:lnTo>
                          <a:lnTo>
                            <a:pt x="2054" y="471"/>
                          </a:lnTo>
                          <a:lnTo>
                            <a:pt x="2059" y="473"/>
                          </a:lnTo>
                          <a:lnTo>
                            <a:pt x="2059" y="479"/>
                          </a:lnTo>
                          <a:lnTo>
                            <a:pt x="2063" y="479"/>
                          </a:lnTo>
                          <a:lnTo>
                            <a:pt x="2065" y="477"/>
                          </a:lnTo>
                          <a:lnTo>
                            <a:pt x="2067" y="479"/>
                          </a:lnTo>
                          <a:lnTo>
                            <a:pt x="2069" y="484"/>
                          </a:lnTo>
                          <a:lnTo>
                            <a:pt x="2072" y="484"/>
                          </a:lnTo>
                          <a:lnTo>
                            <a:pt x="2073" y="487"/>
                          </a:lnTo>
                          <a:lnTo>
                            <a:pt x="2076" y="490"/>
                          </a:lnTo>
                          <a:lnTo>
                            <a:pt x="2077" y="488"/>
                          </a:lnTo>
                          <a:lnTo>
                            <a:pt x="2078" y="487"/>
                          </a:lnTo>
                          <a:lnTo>
                            <a:pt x="2079" y="482"/>
                          </a:lnTo>
                          <a:lnTo>
                            <a:pt x="2078" y="480"/>
                          </a:lnTo>
                          <a:lnTo>
                            <a:pt x="2080" y="480"/>
                          </a:lnTo>
                          <a:lnTo>
                            <a:pt x="2082" y="482"/>
                          </a:lnTo>
                          <a:lnTo>
                            <a:pt x="2080" y="479"/>
                          </a:lnTo>
                          <a:lnTo>
                            <a:pt x="2083" y="478"/>
                          </a:lnTo>
                          <a:lnTo>
                            <a:pt x="2083" y="477"/>
                          </a:lnTo>
                          <a:lnTo>
                            <a:pt x="2084" y="474"/>
                          </a:lnTo>
                          <a:lnTo>
                            <a:pt x="2085" y="470"/>
                          </a:lnTo>
                          <a:lnTo>
                            <a:pt x="2080" y="465"/>
                          </a:lnTo>
                          <a:lnTo>
                            <a:pt x="2079" y="462"/>
                          </a:lnTo>
                          <a:lnTo>
                            <a:pt x="2077" y="464"/>
                          </a:lnTo>
                          <a:lnTo>
                            <a:pt x="2078" y="459"/>
                          </a:lnTo>
                          <a:lnTo>
                            <a:pt x="2072" y="457"/>
                          </a:lnTo>
                          <a:lnTo>
                            <a:pt x="2073" y="454"/>
                          </a:lnTo>
                          <a:lnTo>
                            <a:pt x="2072" y="453"/>
                          </a:lnTo>
                          <a:lnTo>
                            <a:pt x="2069" y="453"/>
                          </a:lnTo>
                          <a:lnTo>
                            <a:pt x="2069" y="448"/>
                          </a:lnTo>
                          <a:lnTo>
                            <a:pt x="2071" y="450"/>
                          </a:lnTo>
                          <a:lnTo>
                            <a:pt x="2073" y="447"/>
                          </a:lnTo>
                          <a:lnTo>
                            <a:pt x="2077" y="446"/>
                          </a:lnTo>
                          <a:lnTo>
                            <a:pt x="2074" y="442"/>
                          </a:lnTo>
                          <a:lnTo>
                            <a:pt x="2077" y="442"/>
                          </a:lnTo>
                          <a:lnTo>
                            <a:pt x="2076" y="437"/>
                          </a:lnTo>
                          <a:lnTo>
                            <a:pt x="2078" y="437"/>
                          </a:lnTo>
                          <a:lnTo>
                            <a:pt x="2074" y="434"/>
                          </a:lnTo>
                          <a:lnTo>
                            <a:pt x="2071" y="432"/>
                          </a:lnTo>
                          <a:lnTo>
                            <a:pt x="2067" y="426"/>
                          </a:lnTo>
                          <a:lnTo>
                            <a:pt x="2066" y="419"/>
                          </a:lnTo>
                          <a:lnTo>
                            <a:pt x="2072" y="417"/>
                          </a:lnTo>
                          <a:lnTo>
                            <a:pt x="2078" y="419"/>
                          </a:lnTo>
                          <a:lnTo>
                            <a:pt x="2083" y="420"/>
                          </a:lnTo>
                          <a:lnTo>
                            <a:pt x="2086" y="418"/>
                          </a:lnTo>
                          <a:lnTo>
                            <a:pt x="2086" y="412"/>
                          </a:lnTo>
                          <a:lnTo>
                            <a:pt x="2084" y="410"/>
                          </a:lnTo>
                          <a:lnTo>
                            <a:pt x="2082" y="408"/>
                          </a:lnTo>
                          <a:lnTo>
                            <a:pt x="2079" y="406"/>
                          </a:lnTo>
                          <a:lnTo>
                            <a:pt x="2078" y="405"/>
                          </a:lnTo>
                          <a:lnTo>
                            <a:pt x="2074" y="403"/>
                          </a:lnTo>
                          <a:lnTo>
                            <a:pt x="2070" y="401"/>
                          </a:lnTo>
                          <a:lnTo>
                            <a:pt x="2067" y="399"/>
                          </a:lnTo>
                          <a:lnTo>
                            <a:pt x="2064" y="398"/>
                          </a:lnTo>
                          <a:lnTo>
                            <a:pt x="2062" y="393"/>
                          </a:lnTo>
                          <a:lnTo>
                            <a:pt x="2062" y="393"/>
                          </a:lnTo>
                          <a:lnTo>
                            <a:pt x="2060" y="388"/>
                          </a:lnTo>
                          <a:lnTo>
                            <a:pt x="2062" y="385"/>
                          </a:lnTo>
                          <a:lnTo>
                            <a:pt x="2062" y="381"/>
                          </a:lnTo>
                          <a:lnTo>
                            <a:pt x="2066" y="383"/>
                          </a:lnTo>
                          <a:lnTo>
                            <a:pt x="2069" y="385"/>
                          </a:lnTo>
                          <a:lnTo>
                            <a:pt x="2071" y="386"/>
                          </a:lnTo>
                          <a:lnTo>
                            <a:pt x="2072" y="386"/>
                          </a:lnTo>
                          <a:lnTo>
                            <a:pt x="2071" y="385"/>
                          </a:lnTo>
                          <a:lnTo>
                            <a:pt x="2072" y="383"/>
                          </a:lnTo>
                          <a:lnTo>
                            <a:pt x="2069" y="379"/>
                          </a:lnTo>
                          <a:lnTo>
                            <a:pt x="2066" y="374"/>
                          </a:lnTo>
                          <a:lnTo>
                            <a:pt x="2065" y="374"/>
                          </a:lnTo>
                          <a:lnTo>
                            <a:pt x="2062" y="374"/>
                          </a:lnTo>
                          <a:lnTo>
                            <a:pt x="2056" y="373"/>
                          </a:lnTo>
                          <a:lnTo>
                            <a:pt x="2052" y="370"/>
                          </a:lnTo>
                          <a:lnTo>
                            <a:pt x="2052" y="370"/>
                          </a:lnTo>
                          <a:lnTo>
                            <a:pt x="2052" y="367"/>
                          </a:lnTo>
                          <a:lnTo>
                            <a:pt x="2049" y="366"/>
                          </a:lnTo>
                          <a:lnTo>
                            <a:pt x="2046" y="364"/>
                          </a:lnTo>
                          <a:lnTo>
                            <a:pt x="2045" y="361"/>
                          </a:lnTo>
                          <a:lnTo>
                            <a:pt x="2044" y="360"/>
                          </a:lnTo>
                          <a:lnTo>
                            <a:pt x="2039" y="359"/>
                          </a:lnTo>
                          <a:lnTo>
                            <a:pt x="2042" y="357"/>
                          </a:lnTo>
                          <a:lnTo>
                            <a:pt x="2040" y="354"/>
                          </a:lnTo>
                          <a:lnTo>
                            <a:pt x="2036" y="354"/>
                          </a:lnTo>
                          <a:lnTo>
                            <a:pt x="2036" y="351"/>
                          </a:lnTo>
                          <a:lnTo>
                            <a:pt x="2032" y="352"/>
                          </a:lnTo>
                          <a:lnTo>
                            <a:pt x="2026" y="353"/>
                          </a:lnTo>
                          <a:lnTo>
                            <a:pt x="2025" y="351"/>
                          </a:lnTo>
                          <a:lnTo>
                            <a:pt x="2020" y="352"/>
                          </a:lnTo>
                          <a:lnTo>
                            <a:pt x="2017" y="351"/>
                          </a:lnTo>
                          <a:lnTo>
                            <a:pt x="2013" y="350"/>
                          </a:lnTo>
                          <a:lnTo>
                            <a:pt x="2012" y="345"/>
                          </a:lnTo>
                          <a:lnTo>
                            <a:pt x="2010" y="338"/>
                          </a:lnTo>
                          <a:lnTo>
                            <a:pt x="2010" y="334"/>
                          </a:lnTo>
                          <a:lnTo>
                            <a:pt x="2010" y="331"/>
                          </a:lnTo>
                          <a:lnTo>
                            <a:pt x="2009" y="330"/>
                          </a:lnTo>
                          <a:lnTo>
                            <a:pt x="2011" y="328"/>
                          </a:lnTo>
                          <a:lnTo>
                            <a:pt x="2007" y="326"/>
                          </a:lnTo>
                          <a:lnTo>
                            <a:pt x="2003" y="323"/>
                          </a:lnTo>
                          <a:lnTo>
                            <a:pt x="2002" y="320"/>
                          </a:lnTo>
                          <a:lnTo>
                            <a:pt x="2003" y="317"/>
                          </a:lnTo>
                          <a:lnTo>
                            <a:pt x="2004" y="314"/>
                          </a:lnTo>
                          <a:lnTo>
                            <a:pt x="2007" y="314"/>
                          </a:lnTo>
                          <a:lnTo>
                            <a:pt x="2009" y="312"/>
                          </a:lnTo>
                          <a:lnTo>
                            <a:pt x="2010" y="314"/>
                          </a:lnTo>
                          <a:lnTo>
                            <a:pt x="2014" y="315"/>
                          </a:lnTo>
                          <a:lnTo>
                            <a:pt x="2016" y="317"/>
                          </a:lnTo>
                          <a:lnTo>
                            <a:pt x="2017" y="317"/>
                          </a:lnTo>
                          <a:lnTo>
                            <a:pt x="2018" y="318"/>
                          </a:lnTo>
                          <a:lnTo>
                            <a:pt x="2020" y="317"/>
                          </a:lnTo>
                          <a:lnTo>
                            <a:pt x="2020" y="314"/>
                          </a:lnTo>
                          <a:lnTo>
                            <a:pt x="2019" y="315"/>
                          </a:lnTo>
                          <a:lnTo>
                            <a:pt x="2022" y="313"/>
                          </a:lnTo>
                          <a:lnTo>
                            <a:pt x="2019" y="312"/>
                          </a:lnTo>
                          <a:lnTo>
                            <a:pt x="2020" y="310"/>
                          </a:lnTo>
                          <a:lnTo>
                            <a:pt x="2022" y="310"/>
                          </a:lnTo>
                          <a:lnTo>
                            <a:pt x="2022" y="307"/>
                          </a:lnTo>
                          <a:lnTo>
                            <a:pt x="2025" y="307"/>
                          </a:lnTo>
                          <a:lnTo>
                            <a:pt x="2026" y="307"/>
                          </a:lnTo>
                          <a:lnTo>
                            <a:pt x="2029" y="308"/>
                          </a:lnTo>
                          <a:lnTo>
                            <a:pt x="2030" y="310"/>
                          </a:lnTo>
                          <a:lnTo>
                            <a:pt x="2031" y="312"/>
                          </a:lnTo>
                          <a:lnTo>
                            <a:pt x="2033" y="312"/>
                          </a:lnTo>
                          <a:lnTo>
                            <a:pt x="2033" y="314"/>
                          </a:lnTo>
                          <a:lnTo>
                            <a:pt x="2036" y="315"/>
                          </a:lnTo>
                          <a:lnTo>
                            <a:pt x="2037" y="317"/>
                          </a:lnTo>
                          <a:lnTo>
                            <a:pt x="2039" y="315"/>
                          </a:lnTo>
                          <a:lnTo>
                            <a:pt x="2039" y="313"/>
                          </a:lnTo>
                          <a:lnTo>
                            <a:pt x="2038" y="312"/>
                          </a:lnTo>
                          <a:lnTo>
                            <a:pt x="2038" y="310"/>
                          </a:lnTo>
                          <a:lnTo>
                            <a:pt x="2039" y="307"/>
                          </a:lnTo>
                          <a:lnTo>
                            <a:pt x="2040" y="307"/>
                          </a:lnTo>
                          <a:lnTo>
                            <a:pt x="2044" y="307"/>
                          </a:lnTo>
                          <a:lnTo>
                            <a:pt x="2044" y="305"/>
                          </a:lnTo>
                          <a:lnTo>
                            <a:pt x="2046" y="305"/>
                          </a:lnTo>
                          <a:lnTo>
                            <a:pt x="2049" y="305"/>
                          </a:lnTo>
                          <a:lnTo>
                            <a:pt x="2047" y="303"/>
                          </a:lnTo>
                          <a:lnTo>
                            <a:pt x="2049" y="303"/>
                          </a:lnTo>
                          <a:lnTo>
                            <a:pt x="2052" y="301"/>
                          </a:lnTo>
                          <a:lnTo>
                            <a:pt x="2053" y="303"/>
                          </a:lnTo>
                          <a:lnTo>
                            <a:pt x="2056" y="304"/>
                          </a:lnTo>
                          <a:lnTo>
                            <a:pt x="2058" y="301"/>
                          </a:lnTo>
                          <a:lnTo>
                            <a:pt x="2059" y="303"/>
                          </a:lnTo>
                          <a:lnTo>
                            <a:pt x="2063" y="304"/>
                          </a:lnTo>
                          <a:lnTo>
                            <a:pt x="2066" y="303"/>
                          </a:lnTo>
                          <a:lnTo>
                            <a:pt x="2066" y="301"/>
                          </a:lnTo>
                          <a:lnTo>
                            <a:pt x="2070" y="303"/>
                          </a:lnTo>
                          <a:lnTo>
                            <a:pt x="2070" y="304"/>
                          </a:lnTo>
                          <a:lnTo>
                            <a:pt x="2072" y="305"/>
                          </a:lnTo>
                          <a:lnTo>
                            <a:pt x="2074" y="306"/>
                          </a:lnTo>
                          <a:lnTo>
                            <a:pt x="2077" y="306"/>
                          </a:lnTo>
                          <a:lnTo>
                            <a:pt x="2079" y="307"/>
                          </a:lnTo>
                          <a:lnTo>
                            <a:pt x="2080" y="308"/>
                          </a:lnTo>
                          <a:lnTo>
                            <a:pt x="2084" y="308"/>
                          </a:lnTo>
                          <a:lnTo>
                            <a:pt x="2087" y="312"/>
                          </a:lnTo>
                          <a:lnTo>
                            <a:pt x="2089" y="312"/>
                          </a:lnTo>
                          <a:lnTo>
                            <a:pt x="2091" y="313"/>
                          </a:lnTo>
                          <a:lnTo>
                            <a:pt x="2092" y="313"/>
                          </a:lnTo>
                          <a:lnTo>
                            <a:pt x="2096" y="314"/>
                          </a:lnTo>
                          <a:lnTo>
                            <a:pt x="2098" y="314"/>
                          </a:lnTo>
                          <a:lnTo>
                            <a:pt x="2096" y="312"/>
                          </a:lnTo>
                          <a:lnTo>
                            <a:pt x="2096" y="310"/>
                          </a:lnTo>
                          <a:lnTo>
                            <a:pt x="2093" y="311"/>
                          </a:lnTo>
                          <a:lnTo>
                            <a:pt x="2093" y="308"/>
                          </a:lnTo>
                          <a:lnTo>
                            <a:pt x="2092" y="306"/>
                          </a:lnTo>
                          <a:lnTo>
                            <a:pt x="2092" y="303"/>
                          </a:lnTo>
                          <a:lnTo>
                            <a:pt x="2096" y="303"/>
                          </a:lnTo>
                          <a:lnTo>
                            <a:pt x="2096" y="300"/>
                          </a:lnTo>
                          <a:lnTo>
                            <a:pt x="2094" y="299"/>
                          </a:lnTo>
                          <a:lnTo>
                            <a:pt x="2096" y="298"/>
                          </a:lnTo>
                          <a:lnTo>
                            <a:pt x="2098" y="297"/>
                          </a:lnTo>
                          <a:lnTo>
                            <a:pt x="2099" y="295"/>
                          </a:lnTo>
                          <a:lnTo>
                            <a:pt x="2100" y="293"/>
                          </a:lnTo>
                          <a:lnTo>
                            <a:pt x="2100" y="290"/>
                          </a:lnTo>
                          <a:lnTo>
                            <a:pt x="2101" y="288"/>
                          </a:lnTo>
                          <a:lnTo>
                            <a:pt x="2103" y="287"/>
                          </a:lnTo>
                          <a:lnTo>
                            <a:pt x="2101" y="285"/>
                          </a:lnTo>
                          <a:lnTo>
                            <a:pt x="2103" y="281"/>
                          </a:lnTo>
                          <a:lnTo>
                            <a:pt x="2104" y="281"/>
                          </a:lnTo>
                          <a:lnTo>
                            <a:pt x="2105" y="281"/>
                          </a:lnTo>
                          <a:lnTo>
                            <a:pt x="2107" y="279"/>
                          </a:lnTo>
                          <a:lnTo>
                            <a:pt x="2111" y="279"/>
                          </a:lnTo>
                          <a:lnTo>
                            <a:pt x="2111" y="280"/>
                          </a:lnTo>
                          <a:lnTo>
                            <a:pt x="2113" y="278"/>
                          </a:lnTo>
                          <a:lnTo>
                            <a:pt x="2116" y="276"/>
                          </a:lnTo>
                          <a:lnTo>
                            <a:pt x="2117" y="277"/>
                          </a:lnTo>
                          <a:lnTo>
                            <a:pt x="2119" y="276"/>
                          </a:lnTo>
                          <a:lnTo>
                            <a:pt x="2119" y="272"/>
                          </a:lnTo>
                          <a:lnTo>
                            <a:pt x="2120" y="272"/>
                          </a:lnTo>
                          <a:lnTo>
                            <a:pt x="2120" y="271"/>
                          </a:lnTo>
                          <a:lnTo>
                            <a:pt x="2123" y="270"/>
                          </a:lnTo>
                          <a:lnTo>
                            <a:pt x="2125" y="270"/>
                          </a:lnTo>
                          <a:lnTo>
                            <a:pt x="2127" y="266"/>
                          </a:lnTo>
                          <a:lnTo>
                            <a:pt x="2131" y="265"/>
                          </a:lnTo>
                          <a:lnTo>
                            <a:pt x="2131" y="263"/>
                          </a:lnTo>
                          <a:lnTo>
                            <a:pt x="2132" y="265"/>
                          </a:lnTo>
                          <a:lnTo>
                            <a:pt x="2136" y="265"/>
                          </a:lnTo>
                          <a:lnTo>
                            <a:pt x="2140" y="265"/>
                          </a:lnTo>
                          <a:lnTo>
                            <a:pt x="2143" y="266"/>
                          </a:lnTo>
                          <a:lnTo>
                            <a:pt x="2146" y="267"/>
                          </a:lnTo>
                          <a:lnTo>
                            <a:pt x="2149" y="266"/>
                          </a:lnTo>
                          <a:lnTo>
                            <a:pt x="2151" y="267"/>
                          </a:lnTo>
                          <a:lnTo>
                            <a:pt x="2156" y="266"/>
                          </a:lnTo>
                          <a:lnTo>
                            <a:pt x="2158" y="267"/>
                          </a:lnTo>
                          <a:lnTo>
                            <a:pt x="2158" y="268"/>
                          </a:lnTo>
                          <a:lnTo>
                            <a:pt x="2159" y="270"/>
                          </a:lnTo>
                          <a:lnTo>
                            <a:pt x="2163" y="270"/>
                          </a:lnTo>
                          <a:lnTo>
                            <a:pt x="2165" y="270"/>
                          </a:lnTo>
                          <a:lnTo>
                            <a:pt x="2167" y="268"/>
                          </a:lnTo>
                          <a:lnTo>
                            <a:pt x="2166" y="267"/>
                          </a:lnTo>
                          <a:lnTo>
                            <a:pt x="2165" y="266"/>
                          </a:lnTo>
                          <a:lnTo>
                            <a:pt x="2164" y="265"/>
                          </a:lnTo>
                          <a:lnTo>
                            <a:pt x="2164" y="267"/>
                          </a:lnTo>
                          <a:lnTo>
                            <a:pt x="2163" y="263"/>
                          </a:lnTo>
                          <a:lnTo>
                            <a:pt x="2164" y="261"/>
                          </a:lnTo>
                          <a:lnTo>
                            <a:pt x="2161" y="260"/>
                          </a:lnTo>
                          <a:lnTo>
                            <a:pt x="2160" y="263"/>
                          </a:lnTo>
                          <a:lnTo>
                            <a:pt x="2158" y="258"/>
                          </a:lnTo>
                          <a:lnTo>
                            <a:pt x="2157" y="259"/>
                          </a:lnTo>
                          <a:lnTo>
                            <a:pt x="2156" y="258"/>
                          </a:lnTo>
                          <a:lnTo>
                            <a:pt x="2153" y="257"/>
                          </a:lnTo>
                          <a:lnTo>
                            <a:pt x="2152" y="257"/>
                          </a:lnTo>
                          <a:lnTo>
                            <a:pt x="2150" y="254"/>
                          </a:lnTo>
                          <a:lnTo>
                            <a:pt x="2150" y="253"/>
                          </a:lnTo>
                          <a:lnTo>
                            <a:pt x="2147" y="253"/>
                          </a:lnTo>
                          <a:lnTo>
                            <a:pt x="2146" y="252"/>
                          </a:lnTo>
                          <a:lnTo>
                            <a:pt x="2145" y="252"/>
                          </a:lnTo>
                          <a:lnTo>
                            <a:pt x="2143" y="252"/>
                          </a:lnTo>
                          <a:lnTo>
                            <a:pt x="2143" y="251"/>
                          </a:lnTo>
                          <a:lnTo>
                            <a:pt x="2139" y="252"/>
                          </a:lnTo>
                          <a:lnTo>
                            <a:pt x="2137" y="250"/>
                          </a:lnTo>
                          <a:lnTo>
                            <a:pt x="2137" y="250"/>
                          </a:lnTo>
                          <a:lnTo>
                            <a:pt x="2138" y="248"/>
                          </a:lnTo>
                          <a:lnTo>
                            <a:pt x="2136" y="247"/>
                          </a:lnTo>
                          <a:lnTo>
                            <a:pt x="2134" y="246"/>
                          </a:lnTo>
                          <a:lnTo>
                            <a:pt x="2131" y="246"/>
                          </a:lnTo>
                          <a:lnTo>
                            <a:pt x="2130" y="244"/>
                          </a:lnTo>
                          <a:lnTo>
                            <a:pt x="2130" y="243"/>
                          </a:lnTo>
                          <a:lnTo>
                            <a:pt x="2127" y="240"/>
                          </a:lnTo>
                          <a:lnTo>
                            <a:pt x="2126" y="241"/>
                          </a:lnTo>
                          <a:lnTo>
                            <a:pt x="2125" y="241"/>
                          </a:lnTo>
                          <a:lnTo>
                            <a:pt x="2123" y="240"/>
                          </a:lnTo>
                          <a:lnTo>
                            <a:pt x="2123" y="239"/>
                          </a:lnTo>
                          <a:lnTo>
                            <a:pt x="2118" y="240"/>
                          </a:lnTo>
                          <a:lnTo>
                            <a:pt x="2117" y="238"/>
                          </a:lnTo>
                          <a:lnTo>
                            <a:pt x="2117" y="237"/>
                          </a:lnTo>
                          <a:lnTo>
                            <a:pt x="2112" y="236"/>
                          </a:lnTo>
                          <a:lnTo>
                            <a:pt x="2111" y="232"/>
                          </a:lnTo>
                          <a:lnTo>
                            <a:pt x="2110" y="232"/>
                          </a:lnTo>
                          <a:lnTo>
                            <a:pt x="2110" y="234"/>
                          </a:lnTo>
                          <a:lnTo>
                            <a:pt x="2107" y="233"/>
                          </a:lnTo>
                          <a:lnTo>
                            <a:pt x="2106" y="231"/>
                          </a:lnTo>
                          <a:lnTo>
                            <a:pt x="2104" y="232"/>
                          </a:lnTo>
                          <a:lnTo>
                            <a:pt x="2101" y="232"/>
                          </a:lnTo>
                          <a:lnTo>
                            <a:pt x="2100" y="232"/>
                          </a:lnTo>
                          <a:lnTo>
                            <a:pt x="2098" y="231"/>
                          </a:lnTo>
                          <a:lnTo>
                            <a:pt x="2094" y="231"/>
                          </a:lnTo>
                          <a:lnTo>
                            <a:pt x="2092" y="231"/>
                          </a:lnTo>
                          <a:lnTo>
                            <a:pt x="2091" y="228"/>
                          </a:lnTo>
                          <a:lnTo>
                            <a:pt x="2090" y="227"/>
                          </a:lnTo>
                          <a:lnTo>
                            <a:pt x="2090" y="226"/>
                          </a:lnTo>
                          <a:lnTo>
                            <a:pt x="2089" y="226"/>
                          </a:lnTo>
                          <a:lnTo>
                            <a:pt x="2090" y="225"/>
                          </a:lnTo>
                          <a:lnTo>
                            <a:pt x="2092" y="225"/>
                          </a:lnTo>
                          <a:lnTo>
                            <a:pt x="2092" y="225"/>
                          </a:lnTo>
                          <a:lnTo>
                            <a:pt x="2094" y="226"/>
                          </a:lnTo>
                          <a:lnTo>
                            <a:pt x="2097" y="226"/>
                          </a:lnTo>
                          <a:lnTo>
                            <a:pt x="2100" y="226"/>
                          </a:lnTo>
                          <a:lnTo>
                            <a:pt x="2103" y="225"/>
                          </a:lnTo>
                          <a:lnTo>
                            <a:pt x="2104" y="224"/>
                          </a:lnTo>
                          <a:lnTo>
                            <a:pt x="2106" y="224"/>
                          </a:lnTo>
                          <a:lnTo>
                            <a:pt x="2109" y="223"/>
                          </a:lnTo>
                          <a:lnTo>
                            <a:pt x="2109" y="219"/>
                          </a:lnTo>
                          <a:lnTo>
                            <a:pt x="2111" y="217"/>
                          </a:lnTo>
                          <a:lnTo>
                            <a:pt x="2111" y="214"/>
                          </a:lnTo>
                          <a:lnTo>
                            <a:pt x="2110" y="213"/>
                          </a:lnTo>
                          <a:lnTo>
                            <a:pt x="2106" y="212"/>
                          </a:lnTo>
                          <a:lnTo>
                            <a:pt x="2106" y="210"/>
                          </a:lnTo>
                          <a:lnTo>
                            <a:pt x="2104" y="208"/>
                          </a:lnTo>
                          <a:lnTo>
                            <a:pt x="2101" y="207"/>
                          </a:lnTo>
                          <a:lnTo>
                            <a:pt x="2099" y="206"/>
                          </a:lnTo>
                          <a:lnTo>
                            <a:pt x="2097" y="205"/>
                          </a:lnTo>
                          <a:lnTo>
                            <a:pt x="2096" y="204"/>
                          </a:lnTo>
                          <a:lnTo>
                            <a:pt x="2093" y="203"/>
                          </a:lnTo>
                          <a:lnTo>
                            <a:pt x="2090" y="201"/>
                          </a:lnTo>
                          <a:lnTo>
                            <a:pt x="2087" y="199"/>
                          </a:lnTo>
                          <a:lnTo>
                            <a:pt x="2090" y="198"/>
                          </a:lnTo>
                          <a:lnTo>
                            <a:pt x="2092" y="198"/>
                          </a:lnTo>
                          <a:lnTo>
                            <a:pt x="2094" y="198"/>
                          </a:lnTo>
                          <a:lnTo>
                            <a:pt x="2097" y="198"/>
                          </a:lnTo>
                          <a:lnTo>
                            <a:pt x="2100" y="198"/>
                          </a:lnTo>
                          <a:lnTo>
                            <a:pt x="2099" y="199"/>
                          </a:lnTo>
                          <a:lnTo>
                            <a:pt x="2100" y="200"/>
                          </a:lnTo>
                          <a:lnTo>
                            <a:pt x="2101" y="204"/>
                          </a:lnTo>
                          <a:lnTo>
                            <a:pt x="2101" y="203"/>
                          </a:lnTo>
                          <a:lnTo>
                            <a:pt x="2104" y="204"/>
                          </a:lnTo>
                          <a:lnTo>
                            <a:pt x="2106" y="205"/>
                          </a:lnTo>
                          <a:lnTo>
                            <a:pt x="2109" y="205"/>
                          </a:lnTo>
                          <a:lnTo>
                            <a:pt x="2111" y="206"/>
                          </a:lnTo>
                          <a:lnTo>
                            <a:pt x="2111" y="207"/>
                          </a:lnTo>
                          <a:lnTo>
                            <a:pt x="2113" y="208"/>
                          </a:lnTo>
                          <a:lnTo>
                            <a:pt x="2114" y="211"/>
                          </a:lnTo>
                          <a:lnTo>
                            <a:pt x="2117" y="211"/>
                          </a:lnTo>
                          <a:lnTo>
                            <a:pt x="2119" y="211"/>
                          </a:lnTo>
                          <a:lnTo>
                            <a:pt x="2120" y="213"/>
                          </a:lnTo>
                          <a:lnTo>
                            <a:pt x="2123" y="212"/>
                          </a:lnTo>
                          <a:lnTo>
                            <a:pt x="2125" y="211"/>
                          </a:lnTo>
                          <a:lnTo>
                            <a:pt x="2127" y="211"/>
                          </a:lnTo>
                          <a:lnTo>
                            <a:pt x="2129" y="213"/>
                          </a:lnTo>
                          <a:lnTo>
                            <a:pt x="2132" y="212"/>
                          </a:lnTo>
                          <a:lnTo>
                            <a:pt x="2131" y="211"/>
                          </a:lnTo>
                          <a:lnTo>
                            <a:pt x="2132" y="211"/>
                          </a:lnTo>
                          <a:lnTo>
                            <a:pt x="2133" y="210"/>
                          </a:lnTo>
                          <a:lnTo>
                            <a:pt x="2134" y="210"/>
                          </a:lnTo>
                          <a:lnTo>
                            <a:pt x="2136" y="211"/>
                          </a:lnTo>
                          <a:lnTo>
                            <a:pt x="2137" y="210"/>
                          </a:lnTo>
                          <a:lnTo>
                            <a:pt x="2138" y="210"/>
                          </a:lnTo>
                          <a:lnTo>
                            <a:pt x="2140" y="210"/>
                          </a:lnTo>
                          <a:lnTo>
                            <a:pt x="2144" y="210"/>
                          </a:lnTo>
                          <a:lnTo>
                            <a:pt x="2145" y="212"/>
                          </a:lnTo>
                          <a:lnTo>
                            <a:pt x="2146" y="213"/>
                          </a:lnTo>
                          <a:lnTo>
                            <a:pt x="2149" y="212"/>
                          </a:lnTo>
                          <a:lnTo>
                            <a:pt x="2149" y="212"/>
                          </a:lnTo>
                          <a:lnTo>
                            <a:pt x="2152" y="211"/>
                          </a:lnTo>
                          <a:lnTo>
                            <a:pt x="2154" y="212"/>
                          </a:lnTo>
                          <a:lnTo>
                            <a:pt x="2156" y="211"/>
                          </a:lnTo>
                          <a:lnTo>
                            <a:pt x="2157" y="213"/>
                          </a:lnTo>
                          <a:lnTo>
                            <a:pt x="2157" y="214"/>
                          </a:lnTo>
                          <a:lnTo>
                            <a:pt x="2157" y="217"/>
                          </a:lnTo>
                          <a:lnTo>
                            <a:pt x="2159" y="217"/>
                          </a:lnTo>
                          <a:lnTo>
                            <a:pt x="2160" y="217"/>
                          </a:lnTo>
                          <a:lnTo>
                            <a:pt x="2163" y="218"/>
                          </a:lnTo>
                          <a:lnTo>
                            <a:pt x="2167" y="221"/>
                          </a:lnTo>
                          <a:lnTo>
                            <a:pt x="2170" y="223"/>
                          </a:lnTo>
                          <a:lnTo>
                            <a:pt x="2173" y="223"/>
                          </a:lnTo>
                          <a:lnTo>
                            <a:pt x="2174" y="220"/>
                          </a:lnTo>
                          <a:lnTo>
                            <a:pt x="2177" y="221"/>
                          </a:lnTo>
                          <a:lnTo>
                            <a:pt x="2180" y="224"/>
                          </a:lnTo>
                          <a:lnTo>
                            <a:pt x="2183" y="225"/>
                          </a:lnTo>
                          <a:lnTo>
                            <a:pt x="2184" y="223"/>
                          </a:lnTo>
                          <a:lnTo>
                            <a:pt x="2187" y="224"/>
                          </a:lnTo>
                          <a:lnTo>
                            <a:pt x="2190" y="225"/>
                          </a:lnTo>
                          <a:lnTo>
                            <a:pt x="2192" y="225"/>
                          </a:lnTo>
                          <a:lnTo>
                            <a:pt x="2194" y="226"/>
                          </a:lnTo>
                          <a:lnTo>
                            <a:pt x="2197" y="226"/>
                          </a:lnTo>
                          <a:lnTo>
                            <a:pt x="2199" y="226"/>
                          </a:lnTo>
                          <a:lnTo>
                            <a:pt x="2201" y="228"/>
                          </a:lnTo>
                          <a:lnTo>
                            <a:pt x="2204" y="230"/>
                          </a:lnTo>
                          <a:lnTo>
                            <a:pt x="2209" y="228"/>
                          </a:lnTo>
                          <a:lnTo>
                            <a:pt x="2209" y="231"/>
                          </a:lnTo>
                          <a:lnTo>
                            <a:pt x="2212" y="232"/>
                          </a:lnTo>
                          <a:lnTo>
                            <a:pt x="2214" y="231"/>
                          </a:lnTo>
                          <a:lnTo>
                            <a:pt x="2216" y="233"/>
                          </a:lnTo>
                          <a:lnTo>
                            <a:pt x="2217" y="232"/>
                          </a:lnTo>
                          <a:lnTo>
                            <a:pt x="2220" y="232"/>
                          </a:lnTo>
                          <a:lnTo>
                            <a:pt x="2221" y="233"/>
                          </a:lnTo>
                          <a:lnTo>
                            <a:pt x="2223" y="233"/>
                          </a:lnTo>
                          <a:lnTo>
                            <a:pt x="2225" y="234"/>
                          </a:lnTo>
                          <a:lnTo>
                            <a:pt x="2227" y="232"/>
                          </a:lnTo>
                          <a:lnTo>
                            <a:pt x="2229" y="228"/>
                          </a:lnTo>
                          <a:lnTo>
                            <a:pt x="2229" y="227"/>
                          </a:lnTo>
                          <a:lnTo>
                            <a:pt x="2230" y="230"/>
                          </a:lnTo>
                          <a:lnTo>
                            <a:pt x="2230" y="231"/>
                          </a:lnTo>
                          <a:lnTo>
                            <a:pt x="2232" y="231"/>
                          </a:lnTo>
                          <a:lnTo>
                            <a:pt x="2230" y="226"/>
                          </a:lnTo>
                          <a:lnTo>
                            <a:pt x="2225" y="226"/>
                          </a:lnTo>
                          <a:lnTo>
                            <a:pt x="2225" y="225"/>
                          </a:lnTo>
                          <a:lnTo>
                            <a:pt x="2223" y="224"/>
                          </a:lnTo>
                          <a:lnTo>
                            <a:pt x="2221" y="223"/>
                          </a:lnTo>
                          <a:lnTo>
                            <a:pt x="2220" y="223"/>
                          </a:lnTo>
                          <a:lnTo>
                            <a:pt x="2219" y="221"/>
                          </a:lnTo>
                          <a:lnTo>
                            <a:pt x="2218" y="218"/>
                          </a:lnTo>
                          <a:lnTo>
                            <a:pt x="2217" y="217"/>
                          </a:lnTo>
                          <a:lnTo>
                            <a:pt x="2216" y="216"/>
                          </a:lnTo>
                          <a:lnTo>
                            <a:pt x="2213" y="216"/>
                          </a:lnTo>
                          <a:lnTo>
                            <a:pt x="2210" y="213"/>
                          </a:lnTo>
                          <a:lnTo>
                            <a:pt x="2211" y="211"/>
                          </a:lnTo>
                          <a:lnTo>
                            <a:pt x="2212" y="210"/>
                          </a:lnTo>
                          <a:lnTo>
                            <a:pt x="2214" y="212"/>
                          </a:lnTo>
                          <a:lnTo>
                            <a:pt x="2218" y="212"/>
                          </a:lnTo>
                          <a:lnTo>
                            <a:pt x="2220" y="212"/>
                          </a:lnTo>
                          <a:lnTo>
                            <a:pt x="2221" y="210"/>
                          </a:lnTo>
                          <a:lnTo>
                            <a:pt x="2224" y="210"/>
                          </a:lnTo>
                          <a:lnTo>
                            <a:pt x="2223" y="206"/>
                          </a:lnTo>
                          <a:lnTo>
                            <a:pt x="2220" y="206"/>
                          </a:lnTo>
                          <a:lnTo>
                            <a:pt x="2220" y="203"/>
                          </a:lnTo>
                          <a:lnTo>
                            <a:pt x="2220" y="199"/>
                          </a:lnTo>
                          <a:lnTo>
                            <a:pt x="2219" y="198"/>
                          </a:lnTo>
                          <a:lnTo>
                            <a:pt x="2216" y="197"/>
                          </a:lnTo>
                          <a:lnTo>
                            <a:pt x="2212" y="196"/>
                          </a:lnTo>
                          <a:lnTo>
                            <a:pt x="2210" y="196"/>
                          </a:lnTo>
                          <a:lnTo>
                            <a:pt x="2209" y="194"/>
                          </a:lnTo>
                          <a:lnTo>
                            <a:pt x="2209" y="196"/>
                          </a:lnTo>
                          <a:lnTo>
                            <a:pt x="2205" y="197"/>
                          </a:lnTo>
                          <a:lnTo>
                            <a:pt x="2203" y="194"/>
                          </a:lnTo>
                          <a:lnTo>
                            <a:pt x="2203" y="194"/>
                          </a:lnTo>
                          <a:lnTo>
                            <a:pt x="2200" y="194"/>
                          </a:lnTo>
                          <a:lnTo>
                            <a:pt x="2197" y="194"/>
                          </a:lnTo>
                          <a:lnTo>
                            <a:pt x="2192" y="193"/>
                          </a:lnTo>
                          <a:lnTo>
                            <a:pt x="2192" y="192"/>
                          </a:lnTo>
                          <a:lnTo>
                            <a:pt x="2189" y="192"/>
                          </a:lnTo>
                          <a:lnTo>
                            <a:pt x="2189" y="190"/>
                          </a:lnTo>
                          <a:lnTo>
                            <a:pt x="2189" y="188"/>
                          </a:lnTo>
                          <a:lnTo>
                            <a:pt x="2185" y="190"/>
                          </a:lnTo>
                          <a:lnTo>
                            <a:pt x="2183" y="187"/>
                          </a:lnTo>
                          <a:lnTo>
                            <a:pt x="2183" y="186"/>
                          </a:lnTo>
                          <a:lnTo>
                            <a:pt x="2179" y="187"/>
                          </a:lnTo>
                          <a:lnTo>
                            <a:pt x="2177" y="187"/>
                          </a:lnTo>
                          <a:lnTo>
                            <a:pt x="2176" y="185"/>
                          </a:lnTo>
                          <a:lnTo>
                            <a:pt x="2176" y="185"/>
                          </a:lnTo>
                          <a:lnTo>
                            <a:pt x="2171" y="184"/>
                          </a:lnTo>
                          <a:lnTo>
                            <a:pt x="2169" y="184"/>
                          </a:lnTo>
                          <a:lnTo>
                            <a:pt x="2169" y="183"/>
                          </a:lnTo>
                          <a:lnTo>
                            <a:pt x="2165" y="181"/>
                          </a:lnTo>
                          <a:lnTo>
                            <a:pt x="2160" y="181"/>
                          </a:lnTo>
                          <a:lnTo>
                            <a:pt x="2160" y="183"/>
                          </a:lnTo>
                          <a:lnTo>
                            <a:pt x="2158" y="181"/>
                          </a:lnTo>
                          <a:lnTo>
                            <a:pt x="2154" y="181"/>
                          </a:lnTo>
                          <a:lnTo>
                            <a:pt x="2153" y="184"/>
                          </a:lnTo>
                          <a:lnTo>
                            <a:pt x="2150" y="183"/>
                          </a:lnTo>
                          <a:lnTo>
                            <a:pt x="2149" y="181"/>
                          </a:lnTo>
                          <a:lnTo>
                            <a:pt x="2146" y="181"/>
                          </a:lnTo>
                          <a:lnTo>
                            <a:pt x="2144" y="183"/>
                          </a:lnTo>
                          <a:lnTo>
                            <a:pt x="2143" y="180"/>
                          </a:lnTo>
                          <a:lnTo>
                            <a:pt x="2141" y="180"/>
                          </a:lnTo>
                          <a:lnTo>
                            <a:pt x="2139" y="180"/>
                          </a:lnTo>
                          <a:lnTo>
                            <a:pt x="2136" y="179"/>
                          </a:lnTo>
                          <a:lnTo>
                            <a:pt x="2134" y="179"/>
                          </a:lnTo>
                          <a:lnTo>
                            <a:pt x="2132" y="178"/>
                          </a:lnTo>
                          <a:lnTo>
                            <a:pt x="2131" y="178"/>
                          </a:lnTo>
                          <a:lnTo>
                            <a:pt x="2129" y="178"/>
                          </a:lnTo>
                          <a:lnTo>
                            <a:pt x="2131" y="179"/>
                          </a:lnTo>
                          <a:lnTo>
                            <a:pt x="2132" y="180"/>
                          </a:lnTo>
                          <a:lnTo>
                            <a:pt x="2133" y="181"/>
                          </a:lnTo>
                          <a:lnTo>
                            <a:pt x="2133" y="181"/>
                          </a:lnTo>
                          <a:lnTo>
                            <a:pt x="2133" y="183"/>
                          </a:lnTo>
                          <a:lnTo>
                            <a:pt x="2136" y="184"/>
                          </a:lnTo>
                          <a:lnTo>
                            <a:pt x="2137" y="183"/>
                          </a:lnTo>
                          <a:lnTo>
                            <a:pt x="2138" y="183"/>
                          </a:lnTo>
                          <a:lnTo>
                            <a:pt x="2138" y="184"/>
                          </a:lnTo>
                          <a:lnTo>
                            <a:pt x="2140" y="184"/>
                          </a:lnTo>
                          <a:lnTo>
                            <a:pt x="2141" y="186"/>
                          </a:lnTo>
                          <a:lnTo>
                            <a:pt x="2143" y="187"/>
                          </a:lnTo>
                          <a:lnTo>
                            <a:pt x="2144" y="187"/>
                          </a:lnTo>
                          <a:lnTo>
                            <a:pt x="2145" y="188"/>
                          </a:lnTo>
                          <a:lnTo>
                            <a:pt x="2146" y="190"/>
                          </a:lnTo>
                          <a:lnTo>
                            <a:pt x="2145" y="191"/>
                          </a:lnTo>
                          <a:lnTo>
                            <a:pt x="2143" y="191"/>
                          </a:lnTo>
                          <a:lnTo>
                            <a:pt x="2143" y="191"/>
                          </a:lnTo>
                          <a:lnTo>
                            <a:pt x="2140" y="190"/>
                          </a:lnTo>
                          <a:lnTo>
                            <a:pt x="2139" y="191"/>
                          </a:lnTo>
                          <a:lnTo>
                            <a:pt x="2138" y="190"/>
                          </a:lnTo>
                          <a:lnTo>
                            <a:pt x="2137" y="187"/>
                          </a:lnTo>
                          <a:lnTo>
                            <a:pt x="2134" y="187"/>
                          </a:lnTo>
                          <a:lnTo>
                            <a:pt x="2131" y="186"/>
                          </a:lnTo>
                          <a:lnTo>
                            <a:pt x="2131" y="183"/>
                          </a:lnTo>
                          <a:lnTo>
                            <a:pt x="2129" y="183"/>
                          </a:lnTo>
                          <a:lnTo>
                            <a:pt x="2127" y="183"/>
                          </a:lnTo>
                          <a:lnTo>
                            <a:pt x="2125" y="181"/>
                          </a:lnTo>
                          <a:lnTo>
                            <a:pt x="2123" y="180"/>
                          </a:lnTo>
                          <a:lnTo>
                            <a:pt x="2123" y="178"/>
                          </a:lnTo>
                          <a:lnTo>
                            <a:pt x="2120" y="177"/>
                          </a:lnTo>
                          <a:lnTo>
                            <a:pt x="2116" y="177"/>
                          </a:lnTo>
                          <a:lnTo>
                            <a:pt x="2111" y="176"/>
                          </a:lnTo>
                          <a:lnTo>
                            <a:pt x="2098" y="168"/>
                          </a:lnTo>
                          <a:lnTo>
                            <a:pt x="2092" y="168"/>
                          </a:lnTo>
                          <a:lnTo>
                            <a:pt x="2091" y="167"/>
                          </a:lnTo>
                          <a:lnTo>
                            <a:pt x="2090" y="168"/>
                          </a:lnTo>
                          <a:lnTo>
                            <a:pt x="2083" y="167"/>
                          </a:lnTo>
                          <a:lnTo>
                            <a:pt x="2082" y="166"/>
                          </a:lnTo>
                          <a:lnTo>
                            <a:pt x="2080" y="166"/>
                          </a:lnTo>
                          <a:lnTo>
                            <a:pt x="2079" y="164"/>
                          </a:lnTo>
                          <a:lnTo>
                            <a:pt x="2079" y="165"/>
                          </a:lnTo>
                          <a:lnTo>
                            <a:pt x="2077" y="165"/>
                          </a:lnTo>
                          <a:lnTo>
                            <a:pt x="2076" y="164"/>
                          </a:lnTo>
                          <a:lnTo>
                            <a:pt x="2076" y="163"/>
                          </a:lnTo>
                          <a:lnTo>
                            <a:pt x="2073" y="163"/>
                          </a:lnTo>
                          <a:lnTo>
                            <a:pt x="2070" y="160"/>
                          </a:lnTo>
                          <a:lnTo>
                            <a:pt x="2066" y="161"/>
                          </a:lnTo>
                          <a:lnTo>
                            <a:pt x="2063" y="161"/>
                          </a:lnTo>
                          <a:lnTo>
                            <a:pt x="2060" y="160"/>
                          </a:lnTo>
                          <a:lnTo>
                            <a:pt x="2059" y="159"/>
                          </a:lnTo>
                          <a:lnTo>
                            <a:pt x="2056" y="158"/>
                          </a:lnTo>
                          <a:lnTo>
                            <a:pt x="2054" y="157"/>
                          </a:lnTo>
                          <a:lnTo>
                            <a:pt x="2054" y="157"/>
                          </a:lnTo>
                          <a:lnTo>
                            <a:pt x="2050" y="156"/>
                          </a:lnTo>
                          <a:lnTo>
                            <a:pt x="2051" y="156"/>
                          </a:lnTo>
                          <a:lnTo>
                            <a:pt x="2049" y="157"/>
                          </a:lnTo>
                          <a:lnTo>
                            <a:pt x="2045" y="157"/>
                          </a:lnTo>
                          <a:lnTo>
                            <a:pt x="2038" y="156"/>
                          </a:lnTo>
                          <a:lnTo>
                            <a:pt x="2038" y="154"/>
                          </a:lnTo>
                          <a:lnTo>
                            <a:pt x="2038" y="153"/>
                          </a:lnTo>
                          <a:lnTo>
                            <a:pt x="2032" y="153"/>
                          </a:lnTo>
                          <a:lnTo>
                            <a:pt x="2031" y="152"/>
                          </a:lnTo>
                          <a:lnTo>
                            <a:pt x="2026" y="151"/>
                          </a:lnTo>
                          <a:lnTo>
                            <a:pt x="2023" y="148"/>
                          </a:lnTo>
                          <a:lnTo>
                            <a:pt x="2020" y="150"/>
                          </a:lnTo>
                          <a:lnTo>
                            <a:pt x="2013" y="147"/>
                          </a:lnTo>
                          <a:lnTo>
                            <a:pt x="2013" y="148"/>
                          </a:lnTo>
                          <a:lnTo>
                            <a:pt x="2009" y="146"/>
                          </a:lnTo>
                          <a:lnTo>
                            <a:pt x="2004" y="145"/>
                          </a:lnTo>
                          <a:lnTo>
                            <a:pt x="1998" y="145"/>
                          </a:lnTo>
                          <a:lnTo>
                            <a:pt x="1997" y="144"/>
                          </a:lnTo>
                          <a:lnTo>
                            <a:pt x="1998" y="143"/>
                          </a:lnTo>
                          <a:lnTo>
                            <a:pt x="1994" y="144"/>
                          </a:lnTo>
                          <a:lnTo>
                            <a:pt x="1994" y="143"/>
                          </a:lnTo>
                          <a:lnTo>
                            <a:pt x="1991" y="141"/>
                          </a:lnTo>
                          <a:lnTo>
                            <a:pt x="1986" y="141"/>
                          </a:lnTo>
                          <a:lnTo>
                            <a:pt x="1979" y="139"/>
                          </a:lnTo>
                          <a:lnTo>
                            <a:pt x="1976" y="138"/>
                          </a:lnTo>
                          <a:lnTo>
                            <a:pt x="1972" y="138"/>
                          </a:lnTo>
                          <a:lnTo>
                            <a:pt x="1965" y="138"/>
                          </a:lnTo>
                          <a:lnTo>
                            <a:pt x="1958" y="137"/>
                          </a:lnTo>
                          <a:lnTo>
                            <a:pt x="1952" y="139"/>
                          </a:lnTo>
                          <a:lnTo>
                            <a:pt x="1952" y="137"/>
                          </a:lnTo>
                          <a:lnTo>
                            <a:pt x="1958" y="136"/>
                          </a:lnTo>
                          <a:lnTo>
                            <a:pt x="1951" y="133"/>
                          </a:lnTo>
                          <a:lnTo>
                            <a:pt x="1947" y="134"/>
                          </a:lnTo>
                          <a:lnTo>
                            <a:pt x="1945" y="134"/>
                          </a:lnTo>
                          <a:lnTo>
                            <a:pt x="1943" y="132"/>
                          </a:lnTo>
                          <a:lnTo>
                            <a:pt x="1940" y="133"/>
                          </a:lnTo>
                          <a:lnTo>
                            <a:pt x="1938" y="132"/>
                          </a:lnTo>
                          <a:lnTo>
                            <a:pt x="1934" y="132"/>
                          </a:lnTo>
                          <a:lnTo>
                            <a:pt x="1931" y="132"/>
                          </a:lnTo>
                          <a:lnTo>
                            <a:pt x="1929" y="131"/>
                          </a:lnTo>
                          <a:lnTo>
                            <a:pt x="1929" y="130"/>
                          </a:lnTo>
                          <a:lnTo>
                            <a:pt x="1926" y="130"/>
                          </a:lnTo>
                          <a:lnTo>
                            <a:pt x="1925" y="130"/>
                          </a:lnTo>
                          <a:lnTo>
                            <a:pt x="1924" y="132"/>
                          </a:lnTo>
                          <a:lnTo>
                            <a:pt x="1922" y="134"/>
                          </a:lnTo>
                          <a:lnTo>
                            <a:pt x="1922" y="139"/>
                          </a:lnTo>
                          <a:lnTo>
                            <a:pt x="1919" y="136"/>
                          </a:lnTo>
                          <a:lnTo>
                            <a:pt x="1919" y="141"/>
                          </a:lnTo>
                          <a:lnTo>
                            <a:pt x="1918" y="141"/>
                          </a:lnTo>
                          <a:lnTo>
                            <a:pt x="1917" y="143"/>
                          </a:lnTo>
                          <a:lnTo>
                            <a:pt x="1918" y="145"/>
                          </a:lnTo>
                          <a:lnTo>
                            <a:pt x="1918" y="147"/>
                          </a:lnTo>
                          <a:lnTo>
                            <a:pt x="1920" y="151"/>
                          </a:lnTo>
                          <a:lnTo>
                            <a:pt x="1918" y="151"/>
                          </a:lnTo>
                          <a:lnTo>
                            <a:pt x="1914" y="148"/>
                          </a:lnTo>
                          <a:lnTo>
                            <a:pt x="1914" y="145"/>
                          </a:lnTo>
                          <a:lnTo>
                            <a:pt x="1914" y="137"/>
                          </a:lnTo>
                          <a:lnTo>
                            <a:pt x="1913" y="133"/>
                          </a:lnTo>
                          <a:lnTo>
                            <a:pt x="1910" y="131"/>
                          </a:lnTo>
                          <a:lnTo>
                            <a:pt x="1907" y="132"/>
                          </a:lnTo>
                          <a:lnTo>
                            <a:pt x="1906" y="132"/>
                          </a:lnTo>
                          <a:lnTo>
                            <a:pt x="1903" y="132"/>
                          </a:lnTo>
                          <a:lnTo>
                            <a:pt x="1900" y="130"/>
                          </a:lnTo>
                          <a:lnTo>
                            <a:pt x="1896" y="130"/>
                          </a:lnTo>
                          <a:lnTo>
                            <a:pt x="1893" y="129"/>
                          </a:lnTo>
                          <a:lnTo>
                            <a:pt x="1892" y="130"/>
                          </a:lnTo>
                          <a:lnTo>
                            <a:pt x="1886" y="130"/>
                          </a:lnTo>
                          <a:lnTo>
                            <a:pt x="1887" y="131"/>
                          </a:lnTo>
                          <a:lnTo>
                            <a:pt x="1883" y="130"/>
                          </a:lnTo>
                          <a:lnTo>
                            <a:pt x="1879" y="130"/>
                          </a:lnTo>
                          <a:lnTo>
                            <a:pt x="1878" y="127"/>
                          </a:lnTo>
                          <a:lnTo>
                            <a:pt x="1876" y="129"/>
                          </a:lnTo>
                          <a:lnTo>
                            <a:pt x="1873" y="129"/>
                          </a:lnTo>
                          <a:lnTo>
                            <a:pt x="1872" y="126"/>
                          </a:lnTo>
                          <a:lnTo>
                            <a:pt x="1869" y="127"/>
                          </a:lnTo>
                          <a:lnTo>
                            <a:pt x="1863" y="127"/>
                          </a:lnTo>
                          <a:lnTo>
                            <a:pt x="1859" y="127"/>
                          </a:lnTo>
                          <a:lnTo>
                            <a:pt x="1857" y="127"/>
                          </a:lnTo>
                          <a:lnTo>
                            <a:pt x="1853" y="126"/>
                          </a:lnTo>
                          <a:lnTo>
                            <a:pt x="1853" y="129"/>
                          </a:lnTo>
                          <a:lnTo>
                            <a:pt x="1856" y="130"/>
                          </a:lnTo>
                          <a:lnTo>
                            <a:pt x="1856" y="131"/>
                          </a:lnTo>
                          <a:lnTo>
                            <a:pt x="1857" y="132"/>
                          </a:lnTo>
                          <a:lnTo>
                            <a:pt x="1859" y="132"/>
                          </a:lnTo>
                          <a:lnTo>
                            <a:pt x="1860" y="133"/>
                          </a:lnTo>
                          <a:lnTo>
                            <a:pt x="1860" y="134"/>
                          </a:lnTo>
                          <a:lnTo>
                            <a:pt x="1860" y="138"/>
                          </a:lnTo>
                          <a:lnTo>
                            <a:pt x="1864" y="137"/>
                          </a:lnTo>
                          <a:lnTo>
                            <a:pt x="1866" y="137"/>
                          </a:lnTo>
                          <a:lnTo>
                            <a:pt x="1870" y="139"/>
                          </a:lnTo>
                          <a:lnTo>
                            <a:pt x="1872" y="139"/>
                          </a:lnTo>
                          <a:lnTo>
                            <a:pt x="1874" y="140"/>
                          </a:lnTo>
                          <a:lnTo>
                            <a:pt x="1879" y="143"/>
                          </a:lnTo>
                          <a:lnTo>
                            <a:pt x="1883" y="146"/>
                          </a:lnTo>
                          <a:lnTo>
                            <a:pt x="1884" y="148"/>
                          </a:lnTo>
                          <a:lnTo>
                            <a:pt x="1880" y="148"/>
                          </a:lnTo>
                          <a:lnTo>
                            <a:pt x="1873" y="148"/>
                          </a:lnTo>
                          <a:lnTo>
                            <a:pt x="1869" y="147"/>
                          </a:lnTo>
                          <a:lnTo>
                            <a:pt x="1866" y="145"/>
                          </a:lnTo>
                          <a:lnTo>
                            <a:pt x="1866" y="145"/>
                          </a:lnTo>
                          <a:lnTo>
                            <a:pt x="1858" y="146"/>
                          </a:lnTo>
                          <a:lnTo>
                            <a:pt x="1858" y="144"/>
                          </a:lnTo>
                          <a:lnTo>
                            <a:pt x="1857" y="143"/>
                          </a:lnTo>
                          <a:lnTo>
                            <a:pt x="1851" y="141"/>
                          </a:lnTo>
                          <a:lnTo>
                            <a:pt x="1842" y="143"/>
                          </a:lnTo>
                          <a:lnTo>
                            <a:pt x="1842" y="141"/>
                          </a:lnTo>
                          <a:lnTo>
                            <a:pt x="1842" y="140"/>
                          </a:lnTo>
                          <a:lnTo>
                            <a:pt x="1840" y="139"/>
                          </a:lnTo>
                          <a:lnTo>
                            <a:pt x="1836" y="140"/>
                          </a:lnTo>
                          <a:lnTo>
                            <a:pt x="1833" y="140"/>
                          </a:lnTo>
                          <a:lnTo>
                            <a:pt x="1830" y="140"/>
                          </a:lnTo>
                          <a:lnTo>
                            <a:pt x="1825" y="140"/>
                          </a:lnTo>
                          <a:lnTo>
                            <a:pt x="1824" y="139"/>
                          </a:lnTo>
                          <a:lnTo>
                            <a:pt x="1820" y="139"/>
                          </a:lnTo>
                          <a:lnTo>
                            <a:pt x="1818" y="141"/>
                          </a:lnTo>
                          <a:lnTo>
                            <a:pt x="1822" y="138"/>
                          </a:lnTo>
                          <a:lnTo>
                            <a:pt x="1822" y="137"/>
                          </a:lnTo>
                          <a:lnTo>
                            <a:pt x="1818" y="138"/>
                          </a:lnTo>
                          <a:lnTo>
                            <a:pt x="1817" y="138"/>
                          </a:lnTo>
                          <a:lnTo>
                            <a:pt x="1816" y="136"/>
                          </a:lnTo>
                          <a:lnTo>
                            <a:pt x="1816" y="137"/>
                          </a:lnTo>
                          <a:lnTo>
                            <a:pt x="1815" y="138"/>
                          </a:lnTo>
                          <a:lnTo>
                            <a:pt x="1813" y="137"/>
                          </a:lnTo>
                          <a:lnTo>
                            <a:pt x="1812" y="139"/>
                          </a:lnTo>
                          <a:lnTo>
                            <a:pt x="1812" y="141"/>
                          </a:lnTo>
                          <a:lnTo>
                            <a:pt x="1815" y="144"/>
                          </a:lnTo>
                          <a:lnTo>
                            <a:pt x="1812" y="144"/>
                          </a:lnTo>
                          <a:lnTo>
                            <a:pt x="1810" y="145"/>
                          </a:lnTo>
                          <a:lnTo>
                            <a:pt x="1809" y="144"/>
                          </a:lnTo>
                          <a:lnTo>
                            <a:pt x="1809" y="140"/>
                          </a:lnTo>
                          <a:lnTo>
                            <a:pt x="1806" y="140"/>
                          </a:lnTo>
                          <a:lnTo>
                            <a:pt x="1807" y="138"/>
                          </a:lnTo>
                          <a:lnTo>
                            <a:pt x="1809" y="136"/>
                          </a:lnTo>
                          <a:lnTo>
                            <a:pt x="1807" y="134"/>
                          </a:lnTo>
                          <a:lnTo>
                            <a:pt x="1809" y="134"/>
                          </a:lnTo>
                          <a:lnTo>
                            <a:pt x="1807" y="136"/>
                          </a:lnTo>
                          <a:lnTo>
                            <a:pt x="1804" y="136"/>
                          </a:lnTo>
                          <a:lnTo>
                            <a:pt x="1803" y="134"/>
                          </a:lnTo>
                          <a:lnTo>
                            <a:pt x="1802" y="137"/>
                          </a:lnTo>
                          <a:lnTo>
                            <a:pt x="1799" y="134"/>
                          </a:lnTo>
                          <a:lnTo>
                            <a:pt x="1797" y="134"/>
                          </a:lnTo>
                          <a:lnTo>
                            <a:pt x="1795" y="134"/>
                          </a:lnTo>
                          <a:lnTo>
                            <a:pt x="1795" y="136"/>
                          </a:lnTo>
                          <a:lnTo>
                            <a:pt x="1792" y="136"/>
                          </a:lnTo>
                          <a:lnTo>
                            <a:pt x="1789" y="137"/>
                          </a:lnTo>
                          <a:lnTo>
                            <a:pt x="1787" y="136"/>
                          </a:lnTo>
                          <a:lnTo>
                            <a:pt x="1785" y="134"/>
                          </a:lnTo>
                          <a:lnTo>
                            <a:pt x="1783" y="133"/>
                          </a:lnTo>
                          <a:lnTo>
                            <a:pt x="1783" y="133"/>
                          </a:lnTo>
                          <a:lnTo>
                            <a:pt x="1782" y="134"/>
                          </a:lnTo>
                          <a:lnTo>
                            <a:pt x="1778" y="132"/>
                          </a:lnTo>
                          <a:lnTo>
                            <a:pt x="1776" y="133"/>
                          </a:lnTo>
                          <a:lnTo>
                            <a:pt x="1776" y="133"/>
                          </a:lnTo>
                          <a:lnTo>
                            <a:pt x="1773" y="131"/>
                          </a:lnTo>
                          <a:lnTo>
                            <a:pt x="1771" y="132"/>
                          </a:lnTo>
                          <a:lnTo>
                            <a:pt x="1767" y="132"/>
                          </a:lnTo>
                          <a:lnTo>
                            <a:pt x="1766" y="132"/>
                          </a:lnTo>
                          <a:lnTo>
                            <a:pt x="1764" y="133"/>
                          </a:lnTo>
                          <a:lnTo>
                            <a:pt x="1762" y="132"/>
                          </a:lnTo>
                          <a:lnTo>
                            <a:pt x="1758" y="133"/>
                          </a:lnTo>
                          <a:lnTo>
                            <a:pt x="1757" y="132"/>
                          </a:lnTo>
                          <a:lnTo>
                            <a:pt x="1755" y="133"/>
                          </a:lnTo>
                          <a:lnTo>
                            <a:pt x="1753" y="132"/>
                          </a:lnTo>
                          <a:lnTo>
                            <a:pt x="1749" y="133"/>
                          </a:lnTo>
                          <a:lnTo>
                            <a:pt x="1746" y="133"/>
                          </a:lnTo>
                          <a:lnTo>
                            <a:pt x="1743" y="134"/>
                          </a:lnTo>
                          <a:lnTo>
                            <a:pt x="1737" y="133"/>
                          </a:lnTo>
                          <a:lnTo>
                            <a:pt x="1732" y="133"/>
                          </a:lnTo>
                          <a:lnTo>
                            <a:pt x="1729" y="133"/>
                          </a:lnTo>
                          <a:lnTo>
                            <a:pt x="1727" y="133"/>
                          </a:lnTo>
                          <a:lnTo>
                            <a:pt x="1725" y="131"/>
                          </a:lnTo>
                          <a:lnTo>
                            <a:pt x="1724" y="131"/>
                          </a:lnTo>
                          <a:lnTo>
                            <a:pt x="1722" y="131"/>
                          </a:lnTo>
                          <a:lnTo>
                            <a:pt x="1720" y="133"/>
                          </a:lnTo>
                          <a:lnTo>
                            <a:pt x="1720" y="138"/>
                          </a:lnTo>
                          <a:lnTo>
                            <a:pt x="1719" y="140"/>
                          </a:lnTo>
                          <a:lnTo>
                            <a:pt x="1717" y="139"/>
                          </a:lnTo>
                          <a:lnTo>
                            <a:pt x="1719" y="138"/>
                          </a:lnTo>
                          <a:lnTo>
                            <a:pt x="1718" y="136"/>
                          </a:lnTo>
                          <a:lnTo>
                            <a:pt x="1718" y="131"/>
                          </a:lnTo>
                          <a:lnTo>
                            <a:pt x="1717" y="131"/>
                          </a:lnTo>
                          <a:lnTo>
                            <a:pt x="1717" y="130"/>
                          </a:lnTo>
                          <a:lnTo>
                            <a:pt x="1716" y="129"/>
                          </a:lnTo>
                          <a:lnTo>
                            <a:pt x="1715" y="126"/>
                          </a:lnTo>
                          <a:lnTo>
                            <a:pt x="1715" y="125"/>
                          </a:lnTo>
                          <a:lnTo>
                            <a:pt x="1712" y="124"/>
                          </a:lnTo>
                          <a:lnTo>
                            <a:pt x="1710" y="121"/>
                          </a:lnTo>
                          <a:lnTo>
                            <a:pt x="1710" y="119"/>
                          </a:lnTo>
                          <a:lnTo>
                            <a:pt x="1709" y="116"/>
                          </a:lnTo>
                          <a:lnTo>
                            <a:pt x="1702" y="116"/>
                          </a:lnTo>
                          <a:lnTo>
                            <a:pt x="1697" y="118"/>
                          </a:lnTo>
                          <a:lnTo>
                            <a:pt x="1691" y="117"/>
                          </a:lnTo>
                          <a:lnTo>
                            <a:pt x="1691" y="114"/>
                          </a:lnTo>
                          <a:lnTo>
                            <a:pt x="1689" y="114"/>
                          </a:lnTo>
                          <a:lnTo>
                            <a:pt x="1686" y="113"/>
                          </a:lnTo>
                          <a:lnTo>
                            <a:pt x="1687" y="112"/>
                          </a:lnTo>
                          <a:lnTo>
                            <a:pt x="1689" y="111"/>
                          </a:lnTo>
                          <a:lnTo>
                            <a:pt x="1686" y="111"/>
                          </a:lnTo>
                          <a:lnTo>
                            <a:pt x="1682" y="111"/>
                          </a:lnTo>
                          <a:lnTo>
                            <a:pt x="1679" y="111"/>
                          </a:lnTo>
                          <a:lnTo>
                            <a:pt x="1678" y="110"/>
                          </a:lnTo>
                          <a:lnTo>
                            <a:pt x="1675" y="116"/>
                          </a:lnTo>
                          <a:lnTo>
                            <a:pt x="1672" y="118"/>
                          </a:lnTo>
                          <a:lnTo>
                            <a:pt x="1669" y="120"/>
                          </a:lnTo>
                          <a:lnTo>
                            <a:pt x="1666" y="118"/>
                          </a:lnTo>
                          <a:lnTo>
                            <a:pt x="1666" y="116"/>
                          </a:lnTo>
                          <a:lnTo>
                            <a:pt x="1666" y="113"/>
                          </a:lnTo>
                          <a:lnTo>
                            <a:pt x="1666" y="112"/>
                          </a:lnTo>
                          <a:lnTo>
                            <a:pt x="1667" y="111"/>
                          </a:lnTo>
                          <a:lnTo>
                            <a:pt x="1667" y="109"/>
                          </a:lnTo>
                          <a:lnTo>
                            <a:pt x="1665" y="109"/>
                          </a:lnTo>
                          <a:lnTo>
                            <a:pt x="1664" y="110"/>
                          </a:lnTo>
                          <a:lnTo>
                            <a:pt x="1662" y="109"/>
                          </a:lnTo>
                          <a:lnTo>
                            <a:pt x="1659" y="109"/>
                          </a:lnTo>
                          <a:lnTo>
                            <a:pt x="1657" y="109"/>
                          </a:lnTo>
                          <a:lnTo>
                            <a:pt x="1656" y="109"/>
                          </a:lnTo>
                          <a:lnTo>
                            <a:pt x="1655" y="109"/>
                          </a:lnTo>
                          <a:lnTo>
                            <a:pt x="1656" y="107"/>
                          </a:lnTo>
                          <a:lnTo>
                            <a:pt x="1651" y="109"/>
                          </a:lnTo>
                          <a:lnTo>
                            <a:pt x="1650" y="107"/>
                          </a:lnTo>
                          <a:lnTo>
                            <a:pt x="1649" y="107"/>
                          </a:lnTo>
                          <a:lnTo>
                            <a:pt x="1649" y="107"/>
                          </a:lnTo>
                          <a:lnTo>
                            <a:pt x="1646" y="109"/>
                          </a:lnTo>
                          <a:lnTo>
                            <a:pt x="1644" y="109"/>
                          </a:lnTo>
                          <a:lnTo>
                            <a:pt x="1643" y="109"/>
                          </a:lnTo>
                          <a:lnTo>
                            <a:pt x="1644" y="107"/>
                          </a:lnTo>
                          <a:lnTo>
                            <a:pt x="1640" y="109"/>
                          </a:lnTo>
                          <a:lnTo>
                            <a:pt x="1638" y="107"/>
                          </a:lnTo>
                          <a:lnTo>
                            <a:pt x="1638" y="106"/>
                          </a:lnTo>
                          <a:lnTo>
                            <a:pt x="1636" y="106"/>
                          </a:lnTo>
                          <a:lnTo>
                            <a:pt x="1635" y="107"/>
                          </a:lnTo>
                          <a:lnTo>
                            <a:pt x="1632" y="107"/>
                          </a:lnTo>
                          <a:lnTo>
                            <a:pt x="1632" y="106"/>
                          </a:lnTo>
                          <a:lnTo>
                            <a:pt x="1631" y="107"/>
                          </a:lnTo>
                          <a:lnTo>
                            <a:pt x="1629" y="107"/>
                          </a:lnTo>
                          <a:lnTo>
                            <a:pt x="1629" y="109"/>
                          </a:lnTo>
                          <a:lnTo>
                            <a:pt x="1626" y="110"/>
                          </a:lnTo>
                          <a:lnTo>
                            <a:pt x="1624" y="109"/>
                          </a:lnTo>
                          <a:lnTo>
                            <a:pt x="1623" y="109"/>
                          </a:lnTo>
                          <a:lnTo>
                            <a:pt x="1622" y="109"/>
                          </a:lnTo>
                          <a:lnTo>
                            <a:pt x="1619" y="109"/>
                          </a:lnTo>
                          <a:lnTo>
                            <a:pt x="1618" y="109"/>
                          </a:lnTo>
                          <a:lnTo>
                            <a:pt x="1616" y="110"/>
                          </a:lnTo>
                          <a:lnTo>
                            <a:pt x="1613" y="111"/>
                          </a:lnTo>
                          <a:lnTo>
                            <a:pt x="1613" y="111"/>
                          </a:lnTo>
                          <a:lnTo>
                            <a:pt x="1612" y="111"/>
                          </a:lnTo>
                          <a:lnTo>
                            <a:pt x="1610" y="111"/>
                          </a:lnTo>
                          <a:lnTo>
                            <a:pt x="1608" y="111"/>
                          </a:lnTo>
                          <a:lnTo>
                            <a:pt x="1604" y="109"/>
                          </a:lnTo>
                          <a:lnTo>
                            <a:pt x="1605" y="111"/>
                          </a:lnTo>
                          <a:lnTo>
                            <a:pt x="1602" y="112"/>
                          </a:lnTo>
                          <a:lnTo>
                            <a:pt x="1599" y="111"/>
                          </a:lnTo>
                          <a:lnTo>
                            <a:pt x="1596" y="112"/>
                          </a:lnTo>
                          <a:lnTo>
                            <a:pt x="1595" y="111"/>
                          </a:lnTo>
                          <a:lnTo>
                            <a:pt x="1593" y="109"/>
                          </a:lnTo>
                          <a:lnTo>
                            <a:pt x="1591" y="109"/>
                          </a:lnTo>
                          <a:lnTo>
                            <a:pt x="1590" y="107"/>
                          </a:lnTo>
                          <a:lnTo>
                            <a:pt x="1585" y="107"/>
                          </a:lnTo>
                          <a:lnTo>
                            <a:pt x="1584" y="106"/>
                          </a:lnTo>
                          <a:lnTo>
                            <a:pt x="1584" y="105"/>
                          </a:lnTo>
                          <a:lnTo>
                            <a:pt x="1580" y="104"/>
                          </a:lnTo>
                          <a:lnTo>
                            <a:pt x="1577" y="105"/>
                          </a:lnTo>
                          <a:lnTo>
                            <a:pt x="1577" y="101"/>
                          </a:lnTo>
                          <a:lnTo>
                            <a:pt x="1575" y="103"/>
                          </a:lnTo>
                          <a:lnTo>
                            <a:pt x="1572" y="104"/>
                          </a:lnTo>
                          <a:lnTo>
                            <a:pt x="1571" y="104"/>
                          </a:lnTo>
                          <a:lnTo>
                            <a:pt x="1570" y="101"/>
                          </a:lnTo>
                          <a:lnTo>
                            <a:pt x="1568" y="103"/>
                          </a:lnTo>
                          <a:lnTo>
                            <a:pt x="1566" y="104"/>
                          </a:lnTo>
                          <a:lnTo>
                            <a:pt x="1564" y="105"/>
                          </a:lnTo>
                          <a:lnTo>
                            <a:pt x="1564" y="100"/>
                          </a:lnTo>
                          <a:lnTo>
                            <a:pt x="1562" y="101"/>
                          </a:lnTo>
                          <a:lnTo>
                            <a:pt x="1560" y="103"/>
                          </a:lnTo>
                          <a:lnTo>
                            <a:pt x="1556" y="101"/>
                          </a:lnTo>
                          <a:lnTo>
                            <a:pt x="1555" y="99"/>
                          </a:lnTo>
                          <a:lnTo>
                            <a:pt x="1552" y="100"/>
                          </a:lnTo>
                          <a:lnTo>
                            <a:pt x="1550" y="99"/>
                          </a:lnTo>
                          <a:lnTo>
                            <a:pt x="1550" y="97"/>
                          </a:lnTo>
                          <a:lnTo>
                            <a:pt x="1544" y="97"/>
                          </a:lnTo>
                          <a:lnTo>
                            <a:pt x="1544" y="94"/>
                          </a:lnTo>
                          <a:lnTo>
                            <a:pt x="1543" y="93"/>
                          </a:lnTo>
                          <a:lnTo>
                            <a:pt x="1542" y="92"/>
                          </a:lnTo>
                          <a:lnTo>
                            <a:pt x="1539" y="91"/>
                          </a:lnTo>
                          <a:lnTo>
                            <a:pt x="1538" y="91"/>
                          </a:lnTo>
                          <a:lnTo>
                            <a:pt x="1535" y="90"/>
                          </a:lnTo>
                          <a:lnTo>
                            <a:pt x="1532" y="91"/>
                          </a:lnTo>
                          <a:lnTo>
                            <a:pt x="1530" y="89"/>
                          </a:lnTo>
                          <a:lnTo>
                            <a:pt x="1529" y="87"/>
                          </a:lnTo>
                          <a:lnTo>
                            <a:pt x="1528" y="87"/>
                          </a:lnTo>
                          <a:lnTo>
                            <a:pt x="1526" y="90"/>
                          </a:lnTo>
                          <a:lnTo>
                            <a:pt x="1525" y="87"/>
                          </a:lnTo>
                          <a:lnTo>
                            <a:pt x="1523" y="87"/>
                          </a:lnTo>
                          <a:lnTo>
                            <a:pt x="1520" y="86"/>
                          </a:lnTo>
                          <a:lnTo>
                            <a:pt x="1518" y="86"/>
                          </a:lnTo>
                          <a:lnTo>
                            <a:pt x="1515" y="86"/>
                          </a:lnTo>
                          <a:lnTo>
                            <a:pt x="1515" y="86"/>
                          </a:lnTo>
                          <a:lnTo>
                            <a:pt x="1512" y="86"/>
                          </a:lnTo>
                          <a:lnTo>
                            <a:pt x="1508" y="86"/>
                          </a:lnTo>
                          <a:lnTo>
                            <a:pt x="1506" y="86"/>
                          </a:lnTo>
                          <a:lnTo>
                            <a:pt x="1505" y="86"/>
                          </a:lnTo>
                          <a:lnTo>
                            <a:pt x="1500" y="85"/>
                          </a:lnTo>
                          <a:lnTo>
                            <a:pt x="1498" y="87"/>
                          </a:lnTo>
                          <a:lnTo>
                            <a:pt x="1497" y="91"/>
                          </a:lnTo>
                          <a:lnTo>
                            <a:pt x="1497" y="92"/>
                          </a:lnTo>
                          <a:lnTo>
                            <a:pt x="1497" y="93"/>
                          </a:lnTo>
                          <a:lnTo>
                            <a:pt x="1497" y="96"/>
                          </a:lnTo>
                          <a:lnTo>
                            <a:pt x="1496" y="96"/>
                          </a:lnTo>
                          <a:lnTo>
                            <a:pt x="1493" y="97"/>
                          </a:lnTo>
                          <a:lnTo>
                            <a:pt x="1488" y="97"/>
                          </a:lnTo>
                          <a:lnTo>
                            <a:pt x="1485" y="96"/>
                          </a:lnTo>
                          <a:lnTo>
                            <a:pt x="1486" y="94"/>
                          </a:lnTo>
                          <a:lnTo>
                            <a:pt x="1490" y="93"/>
                          </a:lnTo>
                          <a:lnTo>
                            <a:pt x="1491" y="92"/>
                          </a:lnTo>
                          <a:lnTo>
                            <a:pt x="1493" y="94"/>
                          </a:lnTo>
                          <a:lnTo>
                            <a:pt x="1495" y="92"/>
                          </a:lnTo>
                          <a:lnTo>
                            <a:pt x="1495" y="90"/>
                          </a:lnTo>
                          <a:lnTo>
                            <a:pt x="1495" y="87"/>
                          </a:lnTo>
                          <a:lnTo>
                            <a:pt x="1493" y="86"/>
                          </a:lnTo>
                          <a:lnTo>
                            <a:pt x="1491" y="85"/>
                          </a:lnTo>
                          <a:lnTo>
                            <a:pt x="1490" y="84"/>
                          </a:lnTo>
                          <a:lnTo>
                            <a:pt x="1484" y="85"/>
                          </a:lnTo>
                          <a:lnTo>
                            <a:pt x="1483" y="84"/>
                          </a:lnTo>
                          <a:lnTo>
                            <a:pt x="1482" y="83"/>
                          </a:lnTo>
                          <a:lnTo>
                            <a:pt x="1480" y="84"/>
                          </a:lnTo>
                          <a:lnTo>
                            <a:pt x="1479" y="85"/>
                          </a:lnTo>
                          <a:lnTo>
                            <a:pt x="1476" y="84"/>
                          </a:lnTo>
                          <a:lnTo>
                            <a:pt x="1472" y="84"/>
                          </a:lnTo>
                          <a:lnTo>
                            <a:pt x="1472" y="83"/>
                          </a:lnTo>
                          <a:lnTo>
                            <a:pt x="1468" y="83"/>
                          </a:lnTo>
                          <a:lnTo>
                            <a:pt x="1465" y="81"/>
                          </a:lnTo>
                          <a:lnTo>
                            <a:pt x="1463" y="83"/>
                          </a:lnTo>
                          <a:lnTo>
                            <a:pt x="1459" y="83"/>
                          </a:lnTo>
                          <a:lnTo>
                            <a:pt x="1457" y="83"/>
                          </a:lnTo>
                          <a:lnTo>
                            <a:pt x="1457" y="80"/>
                          </a:lnTo>
                          <a:lnTo>
                            <a:pt x="1452" y="80"/>
                          </a:lnTo>
                          <a:lnTo>
                            <a:pt x="1450" y="80"/>
                          </a:lnTo>
                          <a:lnTo>
                            <a:pt x="1448" y="80"/>
                          </a:lnTo>
                          <a:lnTo>
                            <a:pt x="1444" y="83"/>
                          </a:lnTo>
                          <a:lnTo>
                            <a:pt x="1442" y="79"/>
                          </a:lnTo>
                          <a:lnTo>
                            <a:pt x="1437" y="80"/>
                          </a:lnTo>
                          <a:lnTo>
                            <a:pt x="1436" y="80"/>
                          </a:lnTo>
                          <a:lnTo>
                            <a:pt x="1433" y="81"/>
                          </a:lnTo>
                          <a:lnTo>
                            <a:pt x="1430" y="79"/>
                          </a:lnTo>
                          <a:lnTo>
                            <a:pt x="1430" y="81"/>
                          </a:lnTo>
                          <a:lnTo>
                            <a:pt x="1429" y="83"/>
                          </a:lnTo>
                          <a:lnTo>
                            <a:pt x="1425" y="80"/>
                          </a:lnTo>
                          <a:lnTo>
                            <a:pt x="1422" y="80"/>
                          </a:lnTo>
                          <a:lnTo>
                            <a:pt x="1420" y="80"/>
                          </a:lnTo>
                          <a:lnTo>
                            <a:pt x="1419" y="79"/>
                          </a:lnTo>
                          <a:lnTo>
                            <a:pt x="1418" y="78"/>
                          </a:lnTo>
                          <a:lnTo>
                            <a:pt x="1417" y="78"/>
                          </a:lnTo>
                          <a:lnTo>
                            <a:pt x="1415" y="78"/>
                          </a:lnTo>
                          <a:lnTo>
                            <a:pt x="1410" y="78"/>
                          </a:lnTo>
                          <a:lnTo>
                            <a:pt x="1408" y="78"/>
                          </a:lnTo>
                          <a:lnTo>
                            <a:pt x="1405" y="79"/>
                          </a:lnTo>
                          <a:lnTo>
                            <a:pt x="1405" y="78"/>
                          </a:lnTo>
                          <a:lnTo>
                            <a:pt x="1401" y="77"/>
                          </a:lnTo>
                          <a:lnTo>
                            <a:pt x="1403" y="79"/>
                          </a:lnTo>
                          <a:lnTo>
                            <a:pt x="1405" y="81"/>
                          </a:lnTo>
                          <a:lnTo>
                            <a:pt x="1408" y="81"/>
                          </a:lnTo>
                          <a:lnTo>
                            <a:pt x="1409" y="83"/>
                          </a:lnTo>
                          <a:lnTo>
                            <a:pt x="1408" y="84"/>
                          </a:lnTo>
                          <a:lnTo>
                            <a:pt x="1409" y="89"/>
                          </a:lnTo>
                          <a:lnTo>
                            <a:pt x="1406" y="85"/>
                          </a:lnTo>
                          <a:lnTo>
                            <a:pt x="1405" y="85"/>
                          </a:lnTo>
                          <a:lnTo>
                            <a:pt x="1404" y="84"/>
                          </a:lnTo>
                          <a:lnTo>
                            <a:pt x="1403" y="84"/>
                          </a:lnTo>
                          <a:lnTo>
                            <a:pt x="1404" y="81"/>
                          </a:lnTo>
                          <a:lnTo>
                            <a:pt x="1402" y="83"/>
                          </a:lnTo>
                          <a:lnTo>
                            <a:pt x="1401" y="84"/>
                          </a:lnTo>
                          <a:lnTo>
                            <a:pt x="1399" y="84"/>
                          </a:lnTo>
                          <a:lnTo>
                            <a:pt x="1398" y="86"/>
                          </a:lnTo>
                          <a:lnTo>
                            <a:pt x="1401" y="86"/>
                          </a:lnTo>
                          <a:lnTo>
                            <a:pt x="1401" y="89"/>
                          </a:lnTo>
                          <a:lnTo>
                            <a:pt x="1402" y="89"/>
                          </a:lnTo>
                          <a:lnTo>
                            <a:pt x="1402" y="90"/>
                          </a:lnTo>
                          <a:lnTo>
                            <a:pt x="1401" y="91"/>
                          </a:lnTo>
                          <a:lnTo>
                            <a:pt x="1398" y="91"/>
                          </a:lnTo>
                          <a:lnTo>
                            <a:pt x="1403" y="92"/>
                          </a:lnTo>
                          <a:lnTo>
                            <a:pt x="1404" y="92"/>
                          </a:lnTo>
                          <a:lnTo>
                            <a:pt x="1405" y="90"/>
                          </a:lnTo>
                          <a:lnTo>
                            <a:pt x="1406" y="92"/>
                          </a:lnTo>
                          <a:lnTo>
                            <a:pt x="1408" y="93"/>
                          </a:lnTo>
                          <a:lnTo>
                            <a:pt x="1408" y="94"/>
                          </a:lnTo>
                          <a:lnTo>
                            <a:pt x="1411" y="94"/>
                          </a:lnTo>
                          <a:lnTo>
                            <a:pt x="1412" y="94"/>
                          </a:lnTo>
                          <a:lnTo>
                            <a:pt x="1413" y="96"/>
                          </a:lnTo>
                          <a:lnTo>
                            <a:pt x="1412" y="98"/>
                          </a:lnTo>
                          <a:lnTo>
                            <a:pt x="1415" y="99"/>
                          </a:lnTo>
                          <a:lnTo>
                            <a:pt x="1416" y="100"/>
                          </a:lnTo>
                          <a:lnTo>
                            <a:pt x="1413" y="100"/>
                          </a:lnTo>
                          <a:lnTo>
                            <a:pt x="1411" y="100"/>
                          </a:lnTo>
                          <a:lnTo>
                            <a:pt x="1409" y="99"/>
                          </a:lnTo>
                          <a:lnTo>
                            <a:pt x="1406" y="99"/>
                          </a:lnTo>
                          <a:lnTo>
                            <a:pt x="1404" y="97"/>
                          </a:lnTo>
                          <a:lnTo>
                            <a:pt x="1402" y="97"/>
                          </a:lnTo>
                          <a:lnTo>
                            <a:pt x="1402" y="98"/>
                          </a:lnTo>
                          <a:lnTo>
                            <a:pt x="1401" y="100"/>
                          </a:lnTo>
                          <a:lnTo>
                            <a:pt x="1401" y="105"/>
                          </a:lnTo>
                          <a:lnTo>
                            <a:pt x="1399" y="106"/>
                          </a:lnTo>
                          <a:lnTo>
                            <a:pt x="1396" y="105"/>
                          </a:lnTo>
                          <a:lnTo>
                            <a:pt x="1390" y="105"/>
                          </a:lnTo>
                          <a:lnTo>
                            <a:pt x="1390" y="105"/>
                          </a:lnTo>
                          <a:lnTo>
                            <a:pt x="1385" y="104"/>
                          </a:lnTo>
                          <a:lnTo>
                            <a:pt x="1384" y="104"/>
                          </a:lnTo>
                          <a:lnTo>
                            <a:pt x="1384" y="103"/>
                          </a:lnTo>
                          <a:lnTo>
                            <a:pt x="1383" y="104"/>
                          </a:lnTo>
                          <a:lnTo>
                            <a:pt x="1376" y="104"/>
                          </a:lnTo>
                          <a:lnTo>
                            <a:pt x="1372" y="103"/>
                          </a:lnTo>
                          <a:lnTo>
                            <a:pt x="1370" y="101"/>
                          </a:lnTo>
                          <a:lnTo>
                            <a:pt x="1369" y="99"/>
                          </a:lnTo>
                          <a:lnTo>
                            <a:pt x="1366" y="99"/>
                          </a:lnTo>
                          <a:lnTo>
                            <a:pt x="1364" y="100"/>
                          </a:lnTo>
                          <a:lnTo>
                            <a:pt x="1365" y="101"/>
                          </a:lnTo>
                          <a:lnTo>
                            <a:pt x="1368" y="104"/>
                          </a:lnTo>
                          <a:lnTo>
                            <a:pt x="1371" y="106"/>
                          </a:lnTo>
                          <a:lnTo>
                            <a:pt x="1373" y="106"/>
                          </a:lnTo>
                          <a:lnTo>
                            <a:pt x="1375" y="109"/>
                          </a:lnTo>
                          <a:lnTo>
                            <a:pt x="1370" y="107"/>
                          </a:lnTo>
                          <a:lnTo>
                            <a:pt x="1368" y="106"/>
                          </a:lnTo>
                          <a:lnTo>
                            <a:pt x="1366" y="106"/>
                          </a:lnTo>
                          <a:lnTo>
                            <a:pt x="1363" y="105"/>
                          </a:lnTo>
                          <a:lnTo>
                            <a:pt x="1362" y="105"/>
                          </a:lnTo>
                          <a:lnTo>
                            <a:pt x="1361" y="101"/>
                          </a:lnTo>
                          <a:lnTo>
                            <a:pt x="1359" y="101"/>
                          </a:lnTo>
                          <a:lnTo>
                            <a:pt x="1357" y="104"/>
                          </a:lnTo>
                          <a:lnTo>
                            <a:pt x="1353" y="104"/>
                          </a:lnTo>
                          <a:lnTo>
                            <a:pt x="1352" y="103"/>
                          </a:lnTo>
                          <a:lnTo>
                            <a:pt x="1350" y="104"/>
                          </a:lnTo>
                          <a:lnTo>
                            <a:pt x="1345" y="103"/>
                          </a:lnTo>
                          <a:lnTo>
                            <a:pt x="1343" y="104"/>
                          </a:lnTo>
                          <a:lnTo>
                            <a:pt x="1343" y="101"/>
                          </a:lnTo>
                          <a:lnTo>
                            <a:pt x="1342" y="100"/>
                          </a:lnTo>
                          <a:lnTo>
                            <a:pt x="1339" y="101"/>
                          </a:lnTo>
                          <a:lnTo>
                            <a:pt x="1336" y="101"/>
                          </a:lnTo>
                          <a:lnTo>
                            <a:pt x="1335" y="99"/>
                          </a:lnTo>
                          <a:lnTo>
                            <a:pt x="1333" y="99"/>
                          </a:lnTo>
                          <a:lnTo>
                            <a:pt x="1331" y="98"/>
                          </a:lnTo>
                          <a:lnTo>
                            <a:pt x="1326" y="97"/>
                          </a:lnTo>
                          <a:lnTo>
                            <a:pt x="1323" y="96"/>
                          </a:lnTo>
                          <a:lnTo>
                            <a:pt x="1321" y="94"/>
                          </a:lnTo>
                          <a:lnTo>
                            <a:pt x="1318" y="94"/>
                          </a:lnTo>
                          <a:lnTo>
                            <a:pt x="1318" y="98"/>
                          </a:lnTo>
                          <a:lnTo>
                            <a:pt x="1321" y="98"/>
                          </a:lnTo>
                          <a:lnTo>
                            <a:pt x="1322" y="99"/>
                          </a:lnTo>
                          <a:lnTo>
                            <a:pt x="1322" y="100"/>
                          </a:lnTo>
                          <a:lnTo>
                            <a:pt x="1323" y="104"/>
                          </a:lnTo>
                          <a:lnTo>
                            <a:pt x="1326" y="106"/>
                          </a:lnTo>
                          <a:lnTo>
                            <a:pt x="1328" y="107"/>
                          </a:lnTo>
                          <a:lnTo>
                            <a:pt x="1326" y="110"/>
                          </a:lnTo>
                          <a:lnTo>
                            <a:pt x="1326" y="111"/>
                          </a:lnTo>
                          <a:lnTo>
                            <a:pt x="1328" y="112"/>
                          </a:lnTo>
                          <a:lnTo>
                            <a:pt x="1328" y="114"/>
                          </a:lnTo>
                          <a:lnTo>
                            <a:pt x="1324" y="116"/>
                          </a:lnTo>
                          <a:lnTo>
                            <a:pt x="1324" y="113"/>
                          </a:lnTo>
                          <a:lnTo>
                            <a:pt x="1322" y="113"/>
                          </a:lnTo>
                          <a:lnTo>
                            <a:pt x="1321" y="112"/>
                          </a:lnTo>
                          <a:lnTo>
                            <a:pt x="1315" y="112"/>
                          </a:lnTo>
                          <a:lnTo>
                            <a:pt x="1312" y="112"/>
                          </a:lnTo>
                          <a:lnTo>
                            <a:pt x="1306" y="112"/>
                          </a:lnTo>
                          <a:lnTo>
                            <a:pt x="1306" y="111"/>
                          </a:lnTo>
                          <a:lnTo>
                            <a:pt x="1306" y="109"/>
                          </a:lnTo>
                          <a:lnTo>
                            <a:pt x="1305" y="110"/>
                          </a:lnTo>
                          <a:lnTo>
                            <a:pt x="1302" y="107"/>
                          </a:lnTo>
                          <a:lnTo>
                            <a:pt x="1301" y="106"/>
                          </a:lnTo>
                          <a:lnTo>
                            <a:pt x="1298" y="107"/>
                          </a:lnTo>
                          <a:lnTo>
                            <a:pt x="1297" y="105"/>
                          </a:lnTo>
                          <a:lnTo>
                            <a:pt x="1295" y="104"/>
                          </a:lnTo>
                          <a:lnTo>
                            <a:pt x="1291" y="105"/>
                          </a:lnTo>
                          <a:lnTo>
                            <a:pt x="1290" y="104"/>
                          </a:lnTo>
                          <a:lnTo>
                            <a:pt x="1290" y="103"/>
                          </a:lnTo>
                          <a:lnTo>
                            <a:pt x="1286" y="101"/>
                          </a:lnTo>
                          <a:lnTo>
                            <a:pt x="1283" y="101"/>
                          </a:lnTo>
                          <a:lnTo>
                            <a:pt x="1283" y="99"/>
                          </a:lnTo>
                          <a:lnTo>
                            <a:pt x="1281" y="96"/>
                          </a:lnTo>
                          <a:lnTo>
                            <a:pt x="1277" y="93"/>
                          </a:lnTo>
                          <a:lnTo>
                            <a:pt x="1275" y="92"/>
                          </a:lnTo>
                          <a:lnTo>
                            <a:pt x="1275" y="92"/>
                          </a:lnTo>
                          <a:lnTo>
                            <a:pt x="1273" y="90"/>
                          </a:lnTo>
                          <a:lnTo>
                            <a:pt x="1275" y="90"/>
                          </a:lnTo>
                          <a:lnTo>
                            <a:pt x="1275" y="89"/>
                          </a:lnTo>
                          <a:lnTo>
                            <a:pt x="1271" y="87"/>
                          </a:lnTo>
                          <a:lnTo>
                            <a:pt x="1266" y="86"/>
                          </a:lnTo>
                          <a:lnTo>
                            <a:pt x="1262" y="84"/>
                          </a:lnTo>
                          <a:lnTo>
                            <a:pt x="1261" y="83"/>
                          </a:lnTo>
                          <a:lnTo>
                            <a:pt x="1261" y="81"/>
                          </a:lnTo>
                          <a:lnTo>
                            <a:pt x="1258" y="79"/>
                          </a:lnTo>
                          <a:lnTo>
                            <a:pt x="1258" y="78"/>
                          </a:lnTo>
                          <a:lnTo>
                            <a:pt x="1256" y="77"/>
                          </a:lnTo>
                          <a:lnTo>
                            <a:pt x="1255" y="74"/>
                          </a:lnTo>
                          <a:lnTo>
                            <a:pt x="1252" y="74"/>
                          </a:lnTo>
                          <a:lnTo>
                            <a:pt x="1251" y="76"/>
                          </a:lnTo>
                          <a:lnTo>
                            <a:pt x="1249" y="74"/>
                          </a:lnTo>
                          <a:lnTo>
                            <a:pt x="1248" y="73"/>
                          </a:lnTo>
                          <a:lnTo>
                            <a:pt x="1244" y="73"/>
                          </a:lnTo>
                          <a:lnTo>
                            <a:pt x="1244" y="71"/>
                          </a:lnTo>
                          <a:lnTo>
                            <a:pt x="1243" y="71"/>
                          </a:lnTo>
                          <a:lnTo>
                            <a:pt x="1238" y="71"/>
                          </a:lnTo>
                          <a:lnTo>
                            <a:pt x="1232" y="71"/>
                          </a:lnTo>
                          <a:lnTo>
                            <a:pt x="1231" y="70"/>
                          </a:lnTo>
                          <a:lnTo>
                            <a:pt x="1232" y="69"/>
                          </a:lnTo>
                          <a:lnTo>
                            <a:pt x="1229" y="69"/>
                          </a:lnTo>
                          <a:lnTo>
                            <a:pt x="1228" y="67"/>
                          </a:lnTo>
                          <a:lnTo>
                            <a:pt x="1228" y="66"/>
                          </a:lnTo>
                          <a:lnTo>
                            <a:pt x="1225" y="67"/>
                          </a:lnTo>
                          <a:lnTo>
                            <a:pt x="1224" y="67"/>
                          </a:lnTo>
                          <a:lnTo>
                            <a:pt x="1222" y="66"/>
                          </a:lnTo>
                          <a:lnTo>
                            <a:pt x="1219" y="67"/>
                          </a:lnTo>
                          <a:lnTo>
                            <a:pt x="1217" y="66"/>
                          </a:lnTo>
                          <a:lnTo>
                            <a:pt x="1216" y="67"/>
                          </a:lnTo>
                          <a:lnTo>
                            <a:pt x="1215" y="69"/>
                          </a:lnTo>
                          <a:lnTo>
                            <a:pt x="1212" y="67"/>
                          </a:lnTo>
                          <a:lnTo>
                            <a:pt x="1212" y="69"/>
                          </a:lnTo>
                          <a:lnTo>
                            <a:pt x="1210" y="71"/>
                          </a:lnTo>
                          <a:lnTo>
                            <a:pt x="1209" y="70"/>
                          </a:lnTo>
                          <a:lnTo>
                            <a:pt x="1208" y="69"/>
                          </a:lnTo>
                          <a:lnTo>
                            <a:pt x="1209" y="67"/>
                          </a:lnTo>
                          <a:lnTo>
                            <a:pt x="1204" y="67"/>
                          </a:lnTo>
                          <a:lnTo>
                            <a:pt x="1204" y="66"/>
                          </a:lnTo>
                          <a:lnTo>
                            <a:pt x="1203" y="66"/>
                          </a:lnTo>
                          <a:lnTo>
                            <a:pt x="1202" y="67"/>
                          </a:lnTo>
                          <a:lnTo>
                            <a:pt x="1199" y="66"/>
                          </a:lnTo>
                          <a:lnTo>
                            <a:pt x="1197" y="66"/>
                          </a:lnTo>
                          <a:lnTo>
                            <a:pt x="1196" y="65"/>
                          </a:lnTo>
                          <a:lnTo>
                            <a:pt x="1193" y="66"/>
                          </a:lnTo>
                          <a:lnTo>
                            <a:pt x="1192" y="66"/>
                          </a:lnTo>
                          <a:lnTo>
                            <a:pt x="1189" y="66"/>
                          </a:lnTo>
                          <a:lnTo>
                            <a:pt x="1189" y="65"/>
                          </a:lnTo>
                          <a:lnTo>
                            <a:pt x="1188" y="64"/>
                          </a:lnTo>
                          <a:lnTo>
                            <a:pt x="1184" y="64"/>
                          </a:lnTo>
                          <a:lnTo>
                            <a:pt x="1182" y="64"/>
                          </a:lnTo>
                          <a:lnTo>
                            <a:pt x="1178" y="63"/>
                          </a:lnTo>
                          <a:lnTo>
                            <a:pt x="1178" y="61"/>
                          </a:lnTo>
                          <a:lnTo>
                            <a:pt x="1177" y="60"/>
                          </a:lnTo>
                          <a:lnTo>
                            <a:pt x="1175" y="61"/>
                          </a:lnTo>
                          <a:lnTo>
                            <a:pt x="1175" y="60"/>
                          </a:lnTo>
                          <a:lnTo>
                            <a:pt x="1172" y="61"/>
                          </a:lnTo>
                          <a:lnTo>
                            <a:pt x="1174" y="61"/>
                          </a:lnTo>
                          <a:lnTo>
                            <a:pt x="1172" y="63"/>
                          </a:lnTo>
                          <a:lnTo>
                            <a:pt x="1170" y="64"/>
                          </a:lnTo>
                          <a:lnTo>
                            <a:pt x="1169" y="64"/>
                          </a:lnTo>
                          <a:lnTo>
                            <a:pt x="1168" y="63"/>
                          </a:lnTo>
                          <a:lnTo>
                            <a:pt x="1166" y="64"/>
                          </a:lnTo>
                          <a:lnTo>
                            <a:pt x="1166" y="66"/>
                          </a:lnTo>
                          <a:lnTo>
                            <a:pt x="1168" y="67"/>
                          </a:lnTo>
                          <a:lnTo>
                            <a:pt x="1169" y="70"/>
                          </a:lnTo>
                          <a:lnTo>
                            <a:pt x="1170" y="71"/>
                          </a:lnTo>
                          <a:lnTo>
                            <a:pt x="1172" y="72"/>
                          </a:lnTo>
                          <a:lnTo>
                            <a:pt x="1176" y="72"/>
                          </a:lnTo>
                          <a:lnTo>
                            <a:pt x="1177" y="74"/>
                          </a:lnTo>
                          <a:lnTo>
                            <a:pt x="1177" y="76"/>
                          </a:lnTo>
                          <a:lnTo>
                            <a:pt x="1177" y="78"/>
                          </a:lnTo>
                          <a:lnTo>
                            <a:pt x="1176" y="76"/>
                          </a:lnTo>
                          <a:lnTo>
                            <a:pt x="1175" y="76"/>
                          </a:lnTo>
                          <a:lnTo>
                            <a:pt x="1172" y="76"/>
                          </a:lnTo>
                          <a:lnTo>
                            <a:pt x="1169" y="76"/>
                          </a:lnTo>
                          <a:lnTo>
                            <a:pt x="1169" y="77"/>
                          </a:lnTo>
                          <a:lnTo>
                            <a:pt x="1166" y="76"/>
                          </a:lnTo>
                          <a:lnTo>
                            <a:pt x="1163" y="76"/>
                          </a:lnTo>
                          <a:lnTo>
                            <a:pt x="1161" y="74"/>
                          </a:lnTo>
                          <a:lnTo>
                            <a:pt x="1161" y="72"/>
                          </a:lnTo>
                          <a:lnTo>
                            <a:pt x="1159" y="77"/>
                          </a:lnTo>
                          <a:lnTo>
                            <a:pt x="1157" y="77"/>
                          </a:lnTo>
                          <a:lnTo>
                            <a:pt x="1154" y="76"/>
                          </a:lnTo>
                          <a:lnTo>
                            <a:pt x="1151" y="78"/>
                          </a:lnTo>
                          <a:lnTo>
                            <a:pt x="1150" y="76"/>
                          </a:lnTo>
                          <a:lnTo>
                            <a:pt x="1144" y="74"/>
                          </a:lnTo>
                          <a:lnTo>
                            <a:pt x="1144" y="76"/>
                          </a:lnTo>
                          <a:lnTo>
                            <a:pt x="1142" y="74"/>
                          </a:lnTo>
                          <a:lnTo>
                            <a:pt x="1141" y="74"/>
                          </a:lnTo>
                          <a:lnTo>
                            <a:pt x="1139" y="76"/>
                          </a:lnTo>
                          <a:lnTo>
                            <a:pt x="1142" y="72"/>
                          </a:lnTo>
                          <a:lnTo>
                            <a:pt x="1137" y="73"/>
                          </a:lnTo>
                          <a:lnTo>
                            <a:pt x="1135" y="74"/>
                          </a:lnTo>
                          <a:lnTo>
                            <a:pt x="1131" y="73"/>
                          </a:lnTo>
                          <a:lnTo>
                            <a:pt x="1130" y="76"/>
                          </a:lnTo>
                          <a:lnTo>
                            <a:pt x="1129" y="77"/>
                          </a:lnTo>
                          <a:lnTo>
                            <a:pt x="1126" y="77"/>
                          </a:lnTo>
                          <a:lnTo>
                            <a:pt x="1126" y="76"/>
                          </a:lnTo>
                          <a:lnTo>
                            <a:pt x="1124" y="74"/>
                          </a:lnTo>
                          <a:lnTo>
                            <a:pt x="1121" y="76"/>
                          </a:lnTo>
                          <a:lnTo>
                            <a:pt x="1121" y="73"/>
                          </a:lnTo>
                          <a:lnTo>
                            <a:pt x="1119" y="72"/>
                          </a:lnTo>
                          <a:lnTo>
                            <a:pt x="1118" y="73"/>
                          </a:lnTo>
                          <a:lnTo>
                            <a:pt x="1116" y="73"/>
                          </a:lnTo>
                          <a:lnTo>
                            <a:pt x="1114" y="72"/>
                          </a:lnTo>
                          <a:lnTo>
                            <a:pt x="1115" y="72"/>
                          </a:lnTo>
                          <a:lnTo>
                            <a:pt x="1112" y="71"/>
                          </a:lnTo>
                          <a:lnTo>
                            <a:pt x="1114" y="70"/>
                          </a:lnTo>
                          <a:lnTo>
                            <a:pt x="1114" y="69"/>
                          </a:lnTo>
                          <a:lnTo>
                            <a:pt x="1116" y="69"/>
                          </a:lnTo>
                          <a:lnTo>
                            <a:pt x="1117" y="69"/>
                          </a:lnTo>
                          <a:lnTo>
                            <a:pt x="1117" y="67"/>
                          </a:lnTo>
                          <a:lnTo>
                            <a:pt x="1115" y="67"/>
                          </a:lnTo>
                          <a:lnTo>
                            <a:pt x="1114" y="66"/>
                          </a:lnTo>
                          <a:lnTo>
                            <a:pt x="1111" y="65"/>
                          </a:lnTo>
                          <a:lnTo>
                            <a:pt x="1108" y="66"/>
                          </a:lnTo>
                          <a:lnTo>
                            <a:pt x="1106" y="65"/>
                          </a:lnTo>
                          <a:lnTo>
                            <a:pt x="1105" y="65"/>
                          </a:lnTo>
                          <a:lnTo>
                            <a:pt x="1102" y="66"/>
                          </a:lnTo>
                          <a:lnTo>
                            <a:pt x="1103" y="69"/>
                          </a:lnTo>
                          <a:lnTo>
                            <a:pt x="1101" y="67"/>
                          </a:lnTo>
                          <a:lnTo>
                            <a:pt x="1098" y="69"/>
                          </a:lnTo>
                          <a:lnTo>
                            <a:pt x="1096" y="69"/>
                          </a:lnTo>
                          <a:lnTo>
                            <a:pt x="1095" y="67"/>
                          </a:lnTo>
                          <a:lnTo>
                            <a:pt x="1095" y="67"/>
                          </a:lnTo>
                          <a:lnTo>
                            <a:pt x="1097" y="71"/>
                          </a:lnTo>
                          <a:lnTo>
                            <a:pt x="1094" y="71"/>
                          </a:lnTo>
                          <a:lnTo>
                            <a:pt x="1090" y="70"/>
                          </a:lnTo>
                          <a:lnTo>
                            <a:pt x="1089" y="69"/>
                          </a:lnTo>
                          <a:lnTo>
                            <a:pt x="1086" y="70"/>
                          </a:lnTo>
                          <a:lnTo>
                            <a:pt x="1086" y="69"/>
                          </a:lnTo>
                          <a:lnTo>
                            <a:pt x="1085" y="69"/>
                          </a:lnTo>
                          <a:lnTo>
                            <a:pt x="1083" y="70"/>
                          </a:lnTo>
                          <a:lnTo>
                            <a:pt x="1082" y="69"/>
                          </a:lnTo>
                          <a:lnTo>
                            <a:pt x="1082" y="67"/>
                          </a:lnTo>
                          <a:lnTo>
                            <a:pt x="1079" y="70"/>
                          </a:lnTo>
                          <a:lnTo>
                            <a:pt x="1078" y="67"/>
                          </a:lnTo>
                          <a:lnTo>
                            <a:pt x="1076" y="69"/>
                          </a:lnTo>
                          <a:lnTo>
                            <a:pt x="1075" y="70"/>
                          </a:lnTo>
                          <a:lnTo>
                            <a:pt x="1078" y="66"/>
                          </a:lnTo>
                          <a:lnTo>
                            <a:pt x="1075" y="66"/>
                          </a:lnTo>
                          <a:lnTo>
                            <a:pt x="1074" y="69"/>
                          </a:lnTo>
                          <a:lnTo>
                            <a:pt x="1071" y="67"/>
                          </a:lnTo>
                          <a:lnTo>
                            <a:pt x="1070" y="66"/>
                          </a:lnTo>
                          <a:lnTo>
                            <a:pt x="1071" y="69"/>
                          </a:lnTo>
                          <a:lnTo>
                            <a:pt x="1068" y="67"/>
                          </a:lnTo>
                          <a:lnTo>
                            <a:pt x="1065" y="67"/>
                          </a:lnTo>
                          <a:lnTo>
                            <a:pt x="1066" y="65"/>
                          </a:lnTo>
                          <a:lnTo>
                            <a:pt x="1062" y="67"/>
                          </a:lnTo>
                          <a:lnTo>
                            <a:pt x="1058" y="69"/>
                          </a:lnTo>
                          <a:lnTo>
                            <a:pt x="1057" y="67"/>
                          </a:lnTo>
                          <a:lnTo>
                            <a:pt x="1056" y="69"/>
                          </a:lnTo>
                          <a:lnTo>
                            <a:pt x="1052" y="69"/>
                          </a:lnTo>
                          <a:lnTo>
                            <a:pt x="1052" y="71"/>
                          </a:lnTo>
                          <a:lnTo>
                            <a:pt x="1052" y="72"/>
                          </a:lnTo>
                          <a:lnTo>
                            <a:pt x="1050" y="71"/>
                          </a:lnTo>
                          <a:lnTo>
                            <a:pt x="1049" y="69"/>
                          </a:lnTo>
                          <a:lnTo>
                            <a:pt x="1048" y="70"/>
                          </a:lnTo>
                          <a:lnTo>
                            <a:pt x="1046" y="69"/>
                          </a:lnTo>
                          <a:lnTo>
                            <a:pt x="1045" y="70"/>
                          </a:lnTo>
                          <a:lnTo>
                            <a:pt x="1043" y="70"/>
                          </a:lnTo>
                          <a:lnTo>
                            <a:pt x="1043" y="69"/>
                          </a:lnTo>
                          <a:lnTo>
                            <a:pt x="1043" y="67"/>
                          </a:lnTo>
                          <a:lnTo>
                            <a:pt x="1042" y="65"/>
                          </a:lnTo>
                          <a:lnTo>
                            <a:pt x="1039" y="64"/>
                          </a:lnTo>
                          <a:lnTo>
                            <a:pt x="1038" y="64"/>
                          </a:lnTo>
                          <a:lnTo>
                            <a:pt x="1037" y="63"/>
                          </a:lnTo>
                          <a:lnTo>
                            <a:pt x="1036" y="63"/>
                          </a:lnTo>
                          <a:lnTo>
                            <a:pt x="1035" y="61"/>
                          </a:lnTo>
                          <a:lnTo>
                            <a:pt x="1035" y="60"/>
                          </a:lnTo>
                          <a:lnTo>
                            <a:pt x="1032" y="60"/>
                          </a:lnTo>
                          <a:lnTo>
                            <a:pt x="1031" y="61"/>
                          </a:lnTo>
                          <a:lnTo>
                            <a:pt x="1031" y="61"/>
                          </a:lnTo>
                          <a:lnTo>
                            <a:pt x="1030" y="64"/>
                          </a:lnTo>
                          <a:lnTo>
                            <a:pt x="1030" y="65"/>
                          </a:lnTo>
                          <a:lnTo>
                            <a:pt x="1030" y="67"/>
                          </a:lnTo>
                          <a:lnTo>
                            <a:pt x="1029" y="66"/>
                          </a:lnTo>
                          <a:lnTo>
                            <a:pt x="1028" y="65"/>
                          </a:lnTo>
                          <a:lnTo>
                            <a:pt x="1028" y="64"/>
                          </a:lnTo>
                          <a:lnTo>
                            <a:pt x="1028" y="65"/>
                          </a:lnTo>
                          <a:lnTo>
                            <a:pt x="1023" y="65"/>
                          </a:lnTo>
                          <a:lnTo>
                            <a:pt x="1022" y="65"/>
                          </a:lnTo>
                          <a:lnTo>
                            <a:pt x="1019" y="67"/>
                          </a:lnTo>
                          <a:lnTo>
                            <a:pt x="1018" y="66"/>
                          </a:lnTo>
                          <a:lnTo>
                            <a:pt x="1016" y="65"/>
                          </a:lnTo>
                          <a:lnTo>
                            <a:pt x="1015" y="66"/>
                          </a:lnTo>
                          <a:lnTo>
                            <a:pt x="1014" y="65"/>
                          </a:lnTo>
                          <a:lnTo>
                            <a:pt x="1011" y="65"/>
                          </a:lnTo>
                          <a:lnTo>
                            <a:pt x="1010" y="61"/>
                          </a:lnTo>
                          <a:lnTo>
                            <a:pt x="1008" y="59"/>
                          </a:lnTo>
                          <a:lnTo>
                            <a:pt x="1006" y="58"/>
                          </a:lnTo>
                          <a:lnTo>
                            <a:pt x="1002" y="61"/>
                          </a:lnTo>
                          <a:lnTo>
                            <a:pt x="999" y="60"/>
                          </a:lnTo>
                          <a:lnTo>
                            <a:pt x="999" y="59"/>
                          </a:lnTo>
                          <a:lnTo>
                            <a:pt x="994" y="61"/>
                          </a:lnTo>
                          <a:lnTo>
                            <a:pt x="991" y="60"/>
                          </a:lnTo>
                          <a:lnTo>
                            <a:pt x="991" y="63"/>
                          </a:lnTo>
                          <a:lnTo>
                            <a:pt x="989" y="60"/>
                          </a:lnTo>
                          <a:lnTo>
                            <a:pt x="988" y="64"/>
                          </a:lnTo>
                          <a:lnTo>
                            <a:pt x="989" y="65"/>
                          </a:lnTo>
                          <a:lnTo>
                            <a:pt x="994" y="65"/>
                          </a:lnTo>
                          <a:lnTo>
                            <a:pt x="998" y="65"/>
                          </a:lnTo>
                          <a:lnTo>
                            <a:pt x="1002" y="65"/>
                          </a:lnTo>
                          <a:lnTo>
                            <a:pt x="1001" y="69"/>
                          </a:lnTo>
                          <a:lnTo>
                            <a:pt x="999" y="70"/>
                          </a:lnTo>
                          <a:lnTo>
                            <a:pt x="997" y="71"/>
                          </a:lnTo>
                          <a:lnTo>
                            <a:pt x="997" y="69"/>
                          </a:lnTo>
                          <a:lnTo>
                            <a:pt x="994" y="69"/>
                          </a:lnTo>
                          <a:lnTo>
                            <a:pt x="991" y="70"/>
                          </a:lnTo>
                          <a:lnTo>
                            <a:pt x="991" y="71"/>
                          </a:lnTo>
                          <a:lnTo>
                            <a:pt x="991" y="72"/>
                          </a:lnTo>
                          <a:lnTo>
                            <a:pt x="985" y="73"/>
                          </a:lnTo>
                          <a:lnTo>
                            <a:pt x="985" y="73"/>
                          </a:lnTo>
                          <a:lnTo>
                            <a:pt x="982" y="73"/>
                          </a:lnTo>
                          <a:lnTo>
                            <a:pt x="979" y="73"/>
                          </a:lnTo>
                          <a:lnTo>
                            <a:pt x="981" y="76"/>
                          </a:lnTo>
                          <a:lnTo>
                            <a:pt x="981" y="74"/>
                          </a:lnTo>
                          <a:lnTo>
                            <a:pt x="976" y="74"/>
                          </a:lnTo>
                          <a:lnTo>
                            <a:pt x="975" y="77"/>
                          </a:lnTo>
                          <a:lnTo>
                            <a:pt x="970" y="78"/>
                          </a:lnTo>
                          <a:lnTo>
                            <a:pt x="970" y="76"/>
                          </a:lnTo>
                          <a:lnTo>
                            <a:pt x="968" y="76"/>
                          </a:lnTo>
                          <a:lnTo>
                            <a:pt x="968" y="76"/>
                          </a:lnTo>
                          <a:lnTo>
                            <a:pt x="965" y="76"/>
                          </a:lnTo>
                          <a:lnTo>
                            <a:pt x="963" y="74"/>
                          </a:lnTo>
                          <a:lnTo>
                            <a:pt x="962" y="76"/>
                          </a:lnTo>
                          <a:lnTo>
                            <a:pt x="958" y="77"/>
                          </a:lnTo>
                          <a:lnTo>
                            <a:pt x="958" y="79"/>
                          </a:lnTo>
                          <a:lnTo>
                            <a:pt x="956" y="79"/>
                          </a:lnTo>
                          <a:lnTo>
                            <a:pt x="957" y="81"/>
                          </a:lnTo>
                          <a:lnTo>
                            <a:pt x="955" y="83"/>
                          </a:lnTo>
                          <a:lnTo>
                            <a:pt x="952" y="83"/>
                          </a:lnTo>
                          <a:lnTo>
                            <a:pt x="954" y="78"/>
                          </a:lnTo>
                          <a:lnTo>
                            <a:pt x="956" y="77"/>
                          </a:lnTo>
                          <a:lnTo>
                            <a:pt x="957" y="76"/>
                          </a:lnTo>
                          <a:lnTo>
                            <a:pt x="958" y="73"/>
                          </a:lnTo>
                          <a:lnTo>
                            <a:pt x="959" y="72"/>
                          </a:lnTo>
                          <a:lnTo>
                            <a:pt x="959" y="71"/>
                          </a:lnTo>
                          <a:lnTo>
                            <a:pt x="961" y="70"/>
                          </a:lnTo>
                          <a:lnTo>
                            <a:pt x="962" y="69"/>
                          </a:lnTo>
                          <a:lnTo>
                            <a:pt x="964" y="66"/>
                          </a:lnTo>
                          <a:lnTo>
                            <a:pt x="966" y="67"/>
                          </a:lnTo>
                          <a:lnTo>
                            <a:pt x="966" y="65"/>
                          </a:lnTo>
                          <a:lnTo>
                            <a:pt x="969" y="65"/>
                          </a:lnTo>
                          <a:lnTo>
                            <a:pt x="971" y="64"/>
                          </a:lnTo>
                          <a:lnTo>
                            <a:pt x="974" y="67"/>
                          </a:lnTo>
                          <a:lnTo>
                            <a:pt x="974" y="65"/>
                          </a:lnTo>
                          <a:lnTo>
                            <a:pt x="976" y="65"/>
                          </a:lnTo>
                          <a:lnTo>
                            <a:pt x="976" y="64"/>
                          </a:lnTo>
                          <a:lnTo>
                            <a:pt x="978" y="63"/>
                          </a:lnTo>
                          <a:lnTo>
                            <a:pt x="978" y="61"/>
                          </a:lnTo>
                          <a:lnTo>
                            <a:pt x="982" y="60"/>
                          </a:lnTo>
                          <a:lnTo>
                            <a:pt x="983" y="60"/>
                          </a:lnTo>
                          <a:lnTo>
                            <a:pt x="985" y="60"/>
                          </a:lnTo>
                          <a:lnTo>
                            <a:pt x="986" y="59"/>
                          </a:lnTo>
                          <a:lnTo>
                            <a:pt x="986" y="58"/>
                          </a:lnTo>
                          <a:lnTo>
                            <a:pt x="985" y="57"/>
                          </a:lnTo>
                          <a:lnTo>
                            <a:pt x="986" y="56"/>
                          </a:lnTo>
                          <a:lnTo>
                            <a:pt x="988" y="58"/>
                          </a:lnTo>
                          <a:lnTo>
                            <a:pt x="988" y="57"/>
                          </a:lnTo>
                          <a:lnTo>
                            <a:pt x="988" y="54"/>
                          </a:lnTo>
                          <a:lnTo>
                            <a:pt x="988" y="53"/>
                          </a:lnTo>
                          <a:lnTo>
                            <a:pt x="990" y="53"/>
                          </a:lnTo>
                          <a:lnTo>
                            <a:pt x="991" y="53"/>
                          </a:lnTo>
                          <a:lnTo>
                            <a:pt x="992" y="53"/>
                          </a:lnTo>
                          <a:lnTo>
                            <a:pt x="992" y="51"/>
                          </a:lnTo>
                          <a:lnTo>
                            <a:pt x="994" y="51"/>
                          </a:lnTo>
                          <a:lnTo>
                            <a:pt x="996" y="51"/>
                          </a:lnTo>
                          <a:lnTo>
                            <a:pt x="998" y="51"/>
                          </a:lnTo>
                          <a:lnTo>
                            <a:pt x="1001" y="51"/>
                          </a:lnTo>
                          <a:lnTo>
                            <a:pt x="1003" y="47"/>
                          </a:lnTo>
                          <a:lnTo>
                            <a:pt x="1003" y="46"/>
                          </a:lnTo>
                          <a:lnTo>
                            <a:pt x="1005" y="45"/>
                          </a:lnTo>
                          <a:lnTo>
                            <a:pt x="1009" y="45"/>
                          </a:lnTo>
                          <a:lnTo>
                            <a:pt x="1011" y="43"/>
                          </a:lnTo>
                          <a:lnTo>
                            <a:pt x="1014" y="43"/>
                          </a:lnTo>
                          <a:lnTo>
                            <a:pt x="1014" y="40"/>
                          </a:lnTo>
                          <a:lnTo>
                            <a:pt x="1014" y="39"/>
                          </a:lnTo>
                          <a:lnTo>
                            <a:pt x="1012" y="38"/>
                          </a:lnTo>
                          <a:lnTo>
                            <a:pt x="1011" y="37"/>
                          </a:lnTo>
                          <a:lnTo>
                            <a:pt x="1010" y="34"/>
                          </a:lnTo>
                          <a:lnTo>
                            <a:pt x="1009" y="37"/>
                          </a:lnTo>
                          <a:lnTo>
                            <a:pt x="1008" y="34"/>
                          </a:lnTo>
                          <a:lnTo>
                            <a:pt x="1006" y="34"/>
                          </a:lnTo>
                          <a:lnTo>
                            <a:pt x="1006" y="31"/>
                          </a:lnTo>
                          <a:lnTo>
                            <a:pt x="1006" y="31"/>
                          </a:lnTo>
                          <a:lnTo>
                            <a:pt x="1005" y="30"/>
                          </a:lnTo>
                          <a:lnTo>
                            <a:pt x="1003" y="27"/>
                          </a:lnTo>
                          <a:lnTo>
                            <a:pt x="1001" y="30"/>
                          </a:lnTo>
                          <a:lnTo>
                            <a:pt x="1002" y="29"/>
                          </a:lnTo>
                          <a:lnTo>
                            <a:pt x="998" y="27"/>
                          </a:lnTo>
                          <a:lnTo>
                            <a:pt x="996" y="29"/>
                          </a:lnTo>
                          <a:lnTo>
                            <a:pt x="996" y="26"/>
                          </a:lnTo>
                          <a:lnTo>
                            <a:pt x="994" y="24"/>
                          </a:lnTo>
                          <a:lnTo>
                            <a:pt x="991" y="24"/>
                          </a:lnTo>
                          <a:lnTo>
                            <a:pt x="990" y="21"/>
                          </a:lnTo>
                          <a:lnTo>
                            <a:pt x="988" y="20"/>
                          </a:lnTo>
                          <a:lnTo>
                            <a:pt x="985" y="21"/>
                          </a:lnTo>
                          <a:lnTo>
                            <a:pt x="985" y="21"/>
                          </a:lnTo>
                          <a:lnTo>
                            <a:pt x="984" y="21"/>
                          </a:lnTo>
                          <a:lnTo>
                            <a:pt x="984" y="25"/>
                          </a:lnTo>
                          <a:lnTo>
                            <a:pt x="984" y="25"/>
                          </a:lnTo>
                          <a:lnTo>
                            <a:pt x="983" y="24"/>
                          </a:lnTo>
                          <a:lnTo>
                            <a:pt x="981" y="23"/>
                          </a:lnTo>
                          <a:lnTo>
                            <a:pt x="981" y="20"/>
                          </a:lnTo>
                          <a:lnTo>
                            <a:pt x="978" y="21"/>
                          </a:lnTo>
                          <a:lnTo>
                            <a:pt x="976" y="19"/>
                          </a:lnTo>
                          <a:lnTo>
                            <a:pt x="976" y="18"/>
                          </a:lnTo>
                          <a:lnTo>
                            <a:pt x="975" y="18"/>
                          </a:lnTo>
                          <a:lnTo>
                            <a:pt x="975" y="16"/>
                          </a:lnTo>
                          <a:lnTo>
                            <a:pt x="974" y="17"/>
                          </a:lnTo>
                          <a:lnTo>
                            <a:pt x="972" y="16"/>
                          </a:lnTo>
                          <a:lnTo>
                            <a:pt x="972" y="16"/>
                          </a:lnTo>
                          <a:lnTo>
                            <a:pt x="969" y="16"/>
                          </a:lnTo>
                          <a:lnTo>
                            <a:pt x="966" y="17"/>
                          </a:lnTo>
                          <a:lnTo>
                            <a:pt x="965" y="18"/>
                          </a:lnTo>
                          <a:lnTo>
                            <a:pt x="963" y="18"/>
                          </a:lnTo>
                          <a:lnTo>
                            <a:pt x="962" y="17"/>
                          </a:lnTo>
                          <a:lnTo>
                            <a:pt x="957" y="17"/>
                          </a:lnTo>
                          <a:lnTo>
                            <a:pt x="956" y="17"/>
                          </a:lnTo>
                          <a:lnTo>
                            <a:pt x="951" y="18"/>
                          </a:lnTo>
                          <a:lnTo>
                            <a:pt x="952" y="16"/>
                          </a:lnTo>
                          <a:lnTo>
                            <a:pt x="949" y="17"/>
                          </a:lnTo>
                          <a:lnTo>
                            <a:pt x="944" y="16"/>
                          </a:lnTo>
                          <a:lnTo>
                            <a:pt x="941" y="16"/>
                          </a:lnTo>
                          <a:lnTo>
                            <a:pt x="938" y="16"/>
                          </a:lnTo>
                          <a:lnTo>
                            <a:pt x="938" y="14"/>
                          </a:lnTo>
                          <a:lnTo>
                            <a:pt x="941" y="12"/>
                          </a:lnTo>
                          <a:lnTo>
                            <a:pt x="939" y="12"/>
                          </a:lnTo>
                          <a:lnTo>
                            <a:pt x="935" y="13"/>
                          </a:lnTo>
                          <a:lnTo>
                            <a:pt x="936" y="14"/>
                          </a:lnTo>
                          <a:lnTo>
                            <a:pt x="934" y="14"/>
                          </a:lnTo>
                          <a:lnTo>
                            <a:pt x="932" y="16"/>
                          </a:lnTo>
                          <a:lnTo>
                            <a:pt x="931" y="18"/>
                          </a:lnTo>
                          <a:lnTo>
                            <a:pt x="929" y="17"/>
                          </a:lnTo>
                          <a:lnTo>
                            <a:pt x="927" y="16"/>
                          </a:lnTo>
                          <a:lnTo>
                            <a:pt x="928" y="17"/>
                          </a:lnTo>
                          <a:lnTo>
                            <a:pt x="925" y="18"/>
                          </a:lnTo>
                          <a:lnTo>
                            <a:pt x="923" y="18"/>
                          </a:lnTo>
                          <a:lnTo>
                            <a:pt x="922" y="18"/>
                          </a:lnTo>
                          <a:lnTo>
                            <a:pt x="922" y="19"/>
                          </a:lnTo>
                          <a:lnTo>
                            <a:pt x="918" y="18"/>
                          </a:lnTo>
                          <a:lnTo>
                            <a:pt x="917" y="17"/>
                          </a:lnTo>
                          <a:lnTo>
                            <a:pt x="916" y="17"/>
                          </a:lnTo>
                          <a:lnTo>
                            <a:pt x="915" y="17"/>
                          </a:lnTo>
                          <a:lnTo>
                            <a:pt x="914" y="18"/>
                          </a:lnTo>
                          <a:lnTo>
                            <a:pt x="914" y="19"/>
                          </a:lnTo>
                          <a:lnTo>
                            <a:pt x="911" y="20"/>
                          </a:lnTo>
                          <a:lnTo>
                            <a:pt x="910" y="19"/>
                          </a:lnTo>
                          <a:lnTo>
                            <a:pt x="910" y="17"/>
                          </a:lnTo>
                          <a:lnTo>
                            <a:pt x="908" y="18"/>
                          </a:lnTo>
                          <a:lnTo>
                            <a:pt x="905" y="18"/>
                          </a:lnTo>
                          <a:lnTo>
                            <a:pt x="905" y="16"/>
                          </a:lnTo>
                          <a:lnTo>
                            <a:pt x="905" y="14"/>
                          </a:lnTo>
                          <a:lnTo>
                            <a:pt x="905" y="14"/>
                          </a:lnTo>
                          <a:lnTo>
                            <a:pt x="907" y="13"/>
                          </a:lnTo>
                          <a:lnTo>
                            <a:pt x="905" y="12"/>
                          </a:lnTo>
                          <a:lnTo>
                            <a:pt x="903" y="12"/>
                          </a:lnTo>
                          <a:lnTo>
                            <a:pt x="901" y="10"/>
                          </a:lnTo>
                          <a:lnTo>
                            <a:pt x="901" y="9"/>
                          </a:lnTo>
                          <a:lnTo>
                            <a:pt x="899" y="9"/>
                          </a:lnTo>
                          <a:lnTo>
                            <a:pt x="901" y="6"/>
                          </a:lnTo>
                          <a:lnTo>
                            <a:pt x="897" y="6"/>
                          </a:lnTo>
                          <a:lnTo>
                            <a:pt x="896" y="7"/>
                          </a:lnTo>
                          <a:lnTo>
                            <a:pt x="901" y="11"/>
                          </a:lnTo>
                          <a:lnTo>
                            <a:pt x="898" y="12"/>
                          </a:lnTo>
                          <a:lnTo>
                            <a:pt x="898" y="12"/>
                          </a:lnTo>
                          <a:lnTo>
                            <a:pt x="896" y="12"/>
                          </a:lnTo>
                          <a:lnTo>
                            <a:pt x="895" y="12"/>
                          </a:lnTo>
                          <a:lnTo>
                            <a:pt x="892" y="12"/>
                          </a:lnTo>
                          <a:lnTo>
                            <a:pt x="890" y="11"/>
                          </a:lnTo>
                          <a:lnTo>
                            <a:pt x="889" y="13"/>
                          </a:lnTo>
                          <a:lnTo>
                            <a:pt x="888" y="12"/>
                          </a:lnTo>
                          <a:lnTo>
                            <a:pt x="885" y="18"/>
                          </a:lnTo>
                          <a:lnTo>
                            <a:pt x="887" y="12"/>
                          </a:lnTo>
                          <a:lnTo>
                            <a:pt x="884" y="12"/>
                          </a:lnTo>
                          <a:lnTo>
                            <a:pt x="883" y="13"/>
                          </a:lnTo>
                          <a:lnTo>
                            <a:pt x="881" y="11"/>
                          </a:lnTo>
                          <a:lnTo>
                            <a:pt x="881" y="10"/>
                          </a:lnTo>
                          <a:lnTo>
                            <a:pt x="881" y="9"/>
                          </a:lnTo>
                          <a:lnTo>
                            <a:pt x="882" y="6"/>
                          </a:lnTo>
                          <a:lnTo>
                            <a:pt x="883" y="6"/>
                          </a:lnTo>
                          <a:lnTo>
                            <a:pt x="887" y="6"/>
                          </a:lnTo>
                          <a:lnTo>
                            <a:pt x="887" y="6"/>
                          </a:lnTo>
                          <a:lnTo>
                            <a:pt x="887" y="5"/>
                          </a:lnTo>
                          <a:lnTo>
                            <a:pt x="884" y="5"/>
                          </a:lnTo>
                          <a:lnTo>
                            <a:pt x="878" y="4"/>
                          </a:lnTo>
                          <a:lnTo>
                            <a:pt x="875" y="5"/>
                          </a:lnTo>
                          <a:lnTo>
                            <a:pt x="874" y="4"/>
                          </a:lnTo>
                          <a:lnTo>
                            <a:pt x="869" y="3"/>
                          </a:lnTo>
                          <a:lnTo>
                            <a:pt x="869" y="4"/>
                          </a:lnTo>
                          <a:lnTo>
                            <a:pt x="864" y="3"/>
                          </a:lnTo>
                          <a:lnTo>
                            <a:pt x="864" y="4"/>
                          </a:lnTo>
                          <a:lnTo>
                            <a:pt x="862" y="1"/>
                          </a:lnTo>
                          <a:lnTo>
                            <a:pt x="858" y="0"/>
                          </a:lnTo>
                          <a:lnTo>
                            <a:pt x="856" y="1"/>
                          </a:lnTo>
                          <a:lnTo>
                            <a:pt x="855" y="0"/>
                          </a:lnTo>
                          <a:lnTo>
                            <a:pt x="852" y="0"/>
                          </a:lnTo>
                          <a:lnTo>
                            <a:pt x="850" y="4"/>
                          </a:lnTo>
                          <a:lnTo>
                            <a:pt x="847" y="1"/>
                          </a:lnTo>
                          <a:lnTo>
                            <a:pt x="847" y="4"/>
                          </a:lnTo>
                          <a:lnTo>
                            <a:pt x="844" y="5"/>
                          </a:lnTo>
                          <a:lnTo>
                            <a:pt x="843" y="5"/>
                          </a:lnTo>
                          <a:lnTo>
                            <a:pt x="843" y="3"/>
                          </a:lnTo>
                          <a:lnTo>
                            <a:pt x="841" y="1"/>
                          </a:lnTo>
                          <a:lnTo>
                            <a:pt x="836" y="4"/>
                          </a:lnTo>
                          <a:lnTo>
                            <a:pt x="835" y="4"/>
                          </a:lnTo>
                          <a:lnTo>
                            <a:pt x="832" y="3"/>
                          </a:lnTo>
                          <a:lnTo>
                            <a:pt x="831" y="3"/>
                          </a:lnTo>
                          <a:lnTo>
                            <a:pt x="830" y="4"/>
                          </a:lnTo>
                          <a:lnTo>
                            <a:pt x="830" y="5"/>
                          </a:lnTo>
                          <a:lnTo>
                            <a:pt x="830" y="6"/>
                          </a:lnTo>
                          <a:lnTo>
                            <a:pt x="829" y="7"/>
                          </a:lnTo>
                          <a:lnTo>
                            <a:pt x="828" y="9"/>
                          </a:lnTo>
                          <a:lnTo>
                            <a:pt x="827" y="9"/>
                          </a:lnTo>
                          <a:lnTo>
                            <a:pt x="825" y="10"/>
                          </a:lnTo>
                          <a:lnTo>
                            <a:pt x="825" y="12"/>
                          </a:lnTo>
                          <a:lnTo>
                            <a:pt x="824" y="12"/>
                          </a:lnTo>
                          <a:lnTo>
                            <a:pt x="825" y="13"/>
                          </a:lnTo>
                          <a:lnTo>
                            <a:pt x="824" y="16"/>
                          </a:lnTo>
                          <a:lnTo>
                            <a:pt x="824" y="16"/>
                          </a:lnTo>
                          <a:lnTo>
                            <a:pt x="829" y="16"/>
                          </a:lnTo>
                          <a:lnTo>
                            <a:pt x="832" y="16"/>
                          </a:lnTo>
                          <a:lnTo>
                            <a:pt x="832" y="17"/>
                          </a:lnTo>
                          <a:lnTo>
                            <a:pt x="831" y="18"/>
                          </a:lnTo>
                          <a:lnTo>
                            <a:pt x="827" y="19"/>
                          </a:lnTo>
                          <a:lnTo>
                            <a:pt x="823" y="20"/>
                          </a:lnTo>
                          <a:lnTo>
                            <a:pt x="821" y="19"/>
                          </a:lnTo>
                          <a:lnTo>
                            <a:pt x="817" y="19"/>
                          </a:lnTo>
                          <a:lnTo>
                            <a:pt x="814" y="18"/>
                          </a:lnTo>
                          <a:lnTo>
                            <a:pt x="811" y="18"/>
                          </a:lnTo>
                          <a:lnTo>
                            <a:pt x="809" y="21"/>
                          </a:lnTo>
                          <a:lnTo>
                            <a:pt x="811" y="23"/>
                          </a:lnTo>
                          <a:lnTo>
                            <a:pt x="812" y="25"/>
                          </a:lnTo>
                          <a:lnTo>
                            <a:pt x="814" y="24"/>
                          </a:lnTo>
                          <a:lnTo>
                            <a:pt x="811" y="27"/>
                          </a:lnTo>
                          <a:lnTo>
                            <a:pt x="811" y="27"/>
                          </a:lnTo>
                          <a:lnTo>
                            <a:pt x="809" y="25"/>
                          </a:lnTo>
                          <a:lnTo>
                            <a:pt x="807" y="26"/>
                          </a:lnTo>
                          <a:lnTo>
                            <a:pt x="804" y="26"/>
                          </a:lnTo>
                          <a:lnTo>
                            <a:pt x="802" y="26"/>
                          </a:lnTo>
                          <a:lnTo>
                            <a:pt x="799" y="27"/>
                          </a:lnTo>
                          <a:lnTo>
                            <a:pt x="797" y="26"/>
                          </a:lnTo>
                          <a:lnTo>
                            <a:pt x="796" y="27"/>
                          </a:lnTo>
                          <a:lnTo>
                            <a:pt x="792" y="26"/>
                          </a:lnTo>
                          <a:lnTo>
                            <a:pt x="794" y="26"/>
                          </a:lnTo>
                          <a:lnTo>
                            <a:pt x="789" y="25"/>
                          </a:lnTo>
                          <a:lnTo>
                            <a:pt x="789" y="24"/>
                          </a:lnTo>
                          <a:lnTo>
                            <a:pt x="785" y="23"/>
                          </a:lnTo>
                          <a:lnTo>
                            <a:pt x="782" y="24"/>
                          </a:lnTo>
                          <a:lnTo>
                            <a:pt x="782" y="26"/>
                          </a:lnTo>
                          <a:lnTo>
                            <a:pt x="777" y="27"/>
                          </a:lnTo>
                          <a:lnTo>
                            <a:pt x="769" y="29"/>
                          </a:lnTo>
                          <a:lnTo>
                            <a:pt x="768" y="27"/>
                          </a:lnTo>
                          <a:lnTo>
                            <a:pt x="763" y="26"/>
                          </a:lnTo>
                          <a:lnTo>
                            <a:pt x="762" y="25"/>
                          </a:lnTo>
                          <a:lnTo>
                            <a:pt x="758" y="27"/>
                          </a:lnTo>
                          <a:lnTo>
                            <a:pt x="755" y="27"/>
                          </a:lnTo>
                          <a:lnTo>
                            <a:pt x="754" y="26"/>
                          </a:lnTo>
                          <a:lnTo>
                            <a:pt x="752" y="26"/>
                          </a:lnTo>
                          <a:lnTo>
                            <a:pt x="749" y="29"/>
                          </a:lnTo>
                          <a:lnTo>
                            <a:pt x="748" y="27"/>
                          </a:lnTo>
                          <a:lnTo>
                            <a:pt x="747" y="26"/>
                          </a:lnTo>
                          <a:lnTo>
                            <a:pt x="745" y="26"/>
                          </a:lnTo>
                          <a:lnTo>
                            <a:pt x="743" y="29"/>
                          </a:lnTo>
                          <a:lnTo>
                            <a:pt x="743" y="30"/>
                          </a:lnTo>
                          <a:lnTo>
                            <a:pt x="743" y="31"/>
                          </a:lnTo>
                          <a:lnTo>
                            <a:pt x="744" y="32"/>
                          </a:lnTo>
                          <a:lnTo>
                            <a:pt x="742" y="32"/>
                          </a:lnTo>
                          <a:lnTo>
                            <a:pt x="739" y="33"/>
                          </a:lnTo>
                          <a:lnTo>
                            <a:pt x="736" y="32"/>
                          </a:lnTo>
                          <a:lnTo>
                            <a:pt x="734" y="33"/>
                          </a:lnTo>
                          <a:lnTo>
                            <a:pt x="732" y="33"/>
                          </a:lnTo>
                          <a:lnTo>
                            <a:pt x="730" y="36"/>
                          </a:lnTo>
                          <a:lnTo>
                            <a:pt x="729" y="34"/>
                          </a:lnTo>
                          <a:lnTo>
                            <a:pt x="728" y="33"/>
                          </a:lnTo>
                          <a:lnTo>
                            <a:pt x="724" y="31"/>
                          </a:lnTo>
                          <a:lnTo>
                            <a:pt x="722" y="32"/>
                          </a:lnTo>
                          <a:lnTo>
                            <a:pt x="720" y="33"/>
                          </a:lnTo>
                          <a:lnTo>
                            <a:pt x="720" y="34"/>
                          </a:lnTo>
                          <a:lnTo>
                            <a:pt x="716" y="36"/>
                          </a:lnTo>
                          <a:lnTo>
                            <a:pt x="715" y="36"/>
                          </a:lnTo>
                          <a:lnTo>
                            <a:pt x="716" y="38"/>
                          </a:lnTo>
                          <a:lnTo>
                            <a:pt x="712" y="36"/>
                          </a:lnTo>
                          <a:lnTo>
                            <a:pt x="710" y="38"/>
                          </a:lnTo>
                          <a:lnTo>
                            <a:pt x="707" y="37"/>
                          </a:lnTo>
                          <a:lnTo>
                            <a:pt x="705" y="37"/>
                          </a:lnTo>
                          <a:lnTo>
                            <a:pt x="702" y="38"/>
                          </a:lnTo>
                          <a:lnTo>
                            <a:pt x="701" y="38"/>
                          </a:lnTo>
                          <a:lnTo>
                            <a:pt x="701" y="39"/>
                          </a:lnTo>
                          <a:lnTo>
                            <a:pt x="700" y="40"/>
                          </a:lnTo>
                          <a:lnTo>
                            <a:pt x="698" y="40"/>
                          </a:lnTo>
                          <a:lnTo>
                            <a:pt x="696" y="41"/>
                          </a:lnTo>
                          <a:lnTo>
                            <a:pt x="694" y="41"/>
                          </a:lnTo>
                          <a:lnTo>
                            <a:pt x="691" y="41"/>
                          </a:lnTo>
                          <a:lnTo>
                            <a:pt x="689" y="41"/>
                          </a:lnTo>
                          <a:lnTo>
                            <a:pt x="687" y="40"/>
                          </a:lnTo>
                          <a:lnTo>
                            <a:pt x="684" y="40"/>
                          </a:lnTo>
                          <a:lnTo>
                            <a:pt x="683" y="43"/>
                          </a:lnTo>
                          <a:lnTo>
                            <a:pt x="682" y="41"/>
                          </a:lnTo>
                          <a:lnTo>
                            <a:pt x="682" y="45"/>
                          </a:lnTo>
                          <a:lnTo>
                            <a:pt x="682" y="46"/>
                          </a:lnTo>
                          <a:lnTo>
                            <a:pt x="678" y="45"/>
                          </a:lnTo>
                          <a:lnTo>
                            <a:pt x="677" y="44"/>
                          </a:lnTo>
                          <a:lnTo>
                            <a:pt x="677" y="46"/>
                          </a:lnTo>
                          <a:lnTo>
                            <a:pt x="676" y="47"/>
                          </a:lnTo>
                          <a:lnTo>
                            <a:pt x="676" y="50"/>
                          </a:lnTo>
                          <a:lnTo>
                            <a:pt x="672" y="50"/>
                          </a:lnTo>
                          <a:lnTo>
                            <a:pt x="670" y="49"/>
                          </a:lnTo>
                          <a:lnTo>
                            <a:pt x="668" y="49"/>
                          </a:lnTo>
                          <a:lnTo>
                            <a:pt x="667" y="51"/>
                          </a:lnTo>
                          <a:lnTo>
                            <a:pt x="667" y="51"/>
                          </a:lnTo>
                          <a:lnTo>
                            <a:pt x="664" y="52"/>
                          </a:lnTo>
                          <a:lnTo>
                            <a:pt x="664" y="54"/>
                          </a:lnTo>
                          <a:lnTo>
                            <a:pt x="665" y="56"/>
                          </a:lnTo>
                          <a:lnTo>
                            <a:pt x="667" y="53"/>
                          </a:lnTo>
                          <a:lnTo>
                            <a:pt x="668" y="53"/>
                          </a:lnTo>
                          <a:lnTo>
                            <a:pt x="671" y="56"/>
                          </a:lnTo>
                          <a:lnTo>
                            <a:pt x="672" y="53"/>
                          </a:lnTo>
                          <a:lnTo>
                            <a:pt x="674" y="56"/>
                          </a:lnTo>
                          <a:lnTo>
                            <a:pt x="677" y="56"/>
                          </a:lnTo>
                          <a:lnTo>
                            <a:pt x="677" y="52"/>
                          </a:lnTo>
                          <a:lnTo>
                            <a:pt x="678" y="51"/>
                          </a:lnTo>
                          <a:lnTo>
                            <a:pt x="681" y="52"/>
                          </a:lnTo>
                          <a:lnTo>
                            <a:pt x="683" y="53"/>
                          </a:lnTo>
                          <a:lnTo>
                            <a:pt x="682" y="54"/>
                          </a:lnTo>
                          <a:lnTo>
                            <a:pt x="682" y="57"/>
                          </a:lnTo>
                          <a:lnTo>
                            <a:pt x="687" y="59"/>
                          </a:lnTo>
                          <a:lnTo>
                            <a:pt x="690" y="59"/>
                          </a:lnTo>
                          <a:lnTo>
                            <a:pt x="694" y="59"/>
                          </a:lnTo>
                          <a:lnTo>
                            <a:pt x="695" y="59"/>
                          </a:lnTo>
                          <a:lnTo>
                            <a:pt x="697" y="61"/>
                          </a:lnTo>
                          <a:lnTo>
                            <a:pt x="702" y="63"/>
                          </a:lnTo>
                          <a:lnTo>
                            <a:pt x="694" y="63"/>
                          </a:lnTo>
                          <a:lnTo>
                            <a:pt x="690" y="63"/>
                          </a:lnTo>
                          <a:lnTo>
                            <a:pt x="688" y="63"/>
                          </a:lnTo>
                          <a:lnTo>
                            <a:pt x="685" y="64"/>
                          </a:lnTo>
                          <a:lnTo>
                            <a:pt x="684" y="65"/>
                          </a:lnTo>
                          <a:lnTo>
                            <a:pt x="680" y="64"/>
                          </a:lnTo>
                          <a:lnTo>
                            <a:pt x="676" y="65"/>
                          </a:lnTo>
                          <a:lnTo>
                            <a:pt x="671" y="65"/>
                          </a:lnTo>
                          <a:lnTo>
                            <a:pt x="668" y="66"/>
                          </a:lnTo>
                          <a:lnTo>
                            <a:pt x="664" y="67"/>
                          </a:lnTo>
                          <a:lnTo>
                            <a:pt x="657" y="66"/>
                          </a:lnTo>
                          <a:lnTo>
                            <a:pt x="652" y="67"/>
                          </a:lnTo>
                          <a:lnTo>
                            <a:pt x="647" y="66"/>
                          </a:lnTo>
                          <a:lnTo>
                            <a:pt x="645" y="67"/>
                          </a:lnTo>
                          <a:lnTo>
                            <a:pt x="640" y="66"/>
                          </a:lnTo>
                          <a:lnTo>
                            <a:pt x="637" y="69"/>
                          </a:lnTo>
                          <a:lnTo>
                            <a:pt x="635" y="69"/>
                          </a:lnTo>
                          <a:lnTo>
                            <a:pt x="631" y="67"/>
                          </a:lnTo>
                          <a:lnTo>
                            <a:pt x="630" y="69"/>
                          </a:lnTo>
                          <a:lnTo>
                            <a:pt x="628" y="69"/>
                          </a:lnTo>
                          <a:lnTo>
                            <a:pt x="625" y="67"/>
                          </a:lnTo>
                          <a:lnTo>
                            <a:pt x="621" y="66"/>
                          </a:lnTo>
                          <a:lnTo>
                            <a:pt x="620" y="67"/>
                          </a:lnTo>
                          <a:lnTo>
                            <a:pt x="621" y="70"/>
                          </a:lnTo>
                          <a:lnTo>
                            <a:pt x="623" y="70"/>
                          </a:lnTo>
                          <a:lnTo>
                            <a:pt x="627" y="72"/>
                          </a:lnTo>
                          <a:lnTo>
                            <a:pt x="627" y="74"/>
                          </a:lnTo>
                          <a:lnTo>
                            <a:pt x="625" y="76"/>
                          </a:lnTo>
                          <a:lnTo>
                            <a:pt x="628" y="73"/>
                          </a:lnTo>
                          <a:lnTo>
                            <a:pt x="629" y="76"/>
                          </a:lnTo>
                          <a:lnTo>
                            <a:pt x="631" y="77"/>
                          </a:lnTo>
                          <a:lnTo>
                            <a:pt x="634" y="79"/>
                          </a:lnTo>
                          <a:lnTo>
                            <a:pt x="636" y="80"/>
                          </a:lnTo>
                          <a:lnTo>
                            <a:pt x="638" y="78"/>
                          </a:lnTo>
                          <a:lnTo>
                            <a:pt x="638" y="79"/>
                          </a:lnTo>
                          <a:lnTo>
                            <a:pt x="640" y="80"/>
                          </a:lnTo>
                          <a:lnTo>
                            <a:pt x="638" y="81"/>
                          </a:lnTo>
                          <a:lnTo>
                            <a:pt x="638" y="84"/>
                          </a:lnTo>
                          <a:lnTo>
                            <a:pt x="641" y="86"/>
                          </a:lnTo>
                          <a:lnTo>
                            <a:pt x="644" y="86"/>
                          </a:lnTo>
                          <a:lnTo>
                            <a:pt x="648" y="85"/>
                          </a:lnTo>
                          <a:lnTo>
                            <a:pt x="647" y="87"/>
                          </a:lnTo>
                          <a:lnTo>
                            <a:pt x="650" y="90"/>
                          </a:lnTo>
                          <a:lnTo>
                            <a:pt x="652" y="90"/>
                          </a:lnTo>
                          <a:lnTo>
                            <a:pt x="655" y="90"/>
                          </a:lnTo>
                          <a:lnTo>
                            <a:pt x="656" y="91"/>
                          </a:lnTo>
                          <a:lnTo>
                            <a:pt x="661" y="90"/>
                          </a:lnTo>
                          <a:lnTo>
                            <a:pt x="664" y="92"/>
                          </a:lnTo>
                          <a:lnTo>
                            <a:pt x="667" y="93"/>
                          </a:lnTo>
                          <a:lnTo>
                            <a:pt x="667" y="96"/>
                          </a:lnTo>
                          <a:lnTo>
                            <a:pt x="674" y="97"/>
                          </a:lnTo>
                          <a:lnTo>
                            <a:pt x="676" y="99"/>
                          </a:lnTo>
                          <a:lnTo>
                            <a:pt x="672" y="99"/>
                          </a:lnTo>
                          <a:lnTo>
                            <a:pt x="669" y="100"/>
                          </a:lnTo>
                          <a:lnTo>
                            <a:pt x="668" y="101"/>
                          </a:lnTo>
                          <a:lnTo>
                            <a:pt x="665" y="100"/>
                          </a:lnTo>
                          <a:lnTo>
                            <a:pt x="662" y="100"/>
                          </a:lnTo>
                          <a:lnTo>
                            <a:pt x="658" y="97"/>
                          </a:lnTo>
                          <a:lnTo>
                            <a:pt x="656" y="97"/>
                          </a:lnTo>
                          <a:lnTo>
                            <a:pt x="654" y="94"/>
                          </a:lnTo>
                          <a:lnTo>
                            <a:pt x="650" y="96"/>
                          </a:lnTo>
                          <a:lnTo>
                            <a:pt x="648" y="94"/>
                          </a:lnTo>
                          <a:lnTo>
                            <a:pt x="644" y="94"/>
                          </a:lnTo>
                          <a:lnTo>
                            <a:pt x="644" y="92"/>
                          </a:lnTo>
                          <a:lnTo>
                            <a:pt x="641" y="91"/>
                          </a:lnTo>
                          <a:lnTo>
                            <a:pt x="636" y="90"/>
                          </a:lnTo>
                          <a:lnTo>
                            <a:pt x="631" y="89"/>
                          </a:lnTo>
                          <a:lnTo>
                            <a:pt x="629" y="89"/>
                          </a:lnTo>
                          <a:lnTo>
                            <a:pt x="627" y="89"/>
                          </a:lnTo>
                          <a:lnTo>
                            <a:pt x="625" y="89"/>
                          </a:lnTo>
                          <a:lnTo>
                            <a:pt x="623" y="89"/>
                          </a:lnTo>
                          <a:lnTo>
                            <a:pt x="623" y="91"/>
                          </a:lnTo>
                          <a:lnTo>
                            <a:pt x="622" y="92"/>
                          </a:lnTo>
                          <a:lnTo>
                            <a:pt x="618" y="97"/>
                          </a:lnTo>
                          <a:lnTo>
                            <a:pt x="618" y="87"/>
                          </a:lnTo>
                          <a:lnTo>
                            <a:pt x="615" y="86"/>
                          </a:lnTo>
                          <a:lnTo>
                            <a:pt x="614" y="90"/>
                          </a:lnTo>
                          <a:lnTo>
                            <a:pt x="611" y="85"/>
                          </a:lnTo>
                          <a:lnTo>
                            <a:pt x="612" y="91"/>
                          </a:lnTo>
                          <a:lnTo>
                            <a:pt x="609" y="91"/>
                          </a:lnTo>
                          <a:lnTo>
                            <a:pt x="607" y="90"/>
                          </a:lnTo>
                          <a:lnTo>
                            <a:pt x="604" y="91"/>
                          </a:lnTo>
                          <a:lnTo>
                            <a:pt x="603" y="92"/>
                          </a:lnTo>
                          <a:lnTo>
                            <a:pt x="602" y="91"/>
                          </a:lnTo>
                          <a:lnTo>
                            <a:pt x="597" y="90"/>
                          </a:lnTo>
                          <a:lnTo>
                            <a:pt x="595" y="89"/>
                          </a:lnTo>
                          <a:lnTo>
                            <a:pt x="597" y="92"/>
                          </a:lnTo>
                          <a:lnTo>
                            <a:pt x="598" y="92"/>
                          </a:lnTo>
                          <a:lnTo>
                            <a:pt x="605" y="93"/>
                          </a:lnTo>
                          <a:lnTo>
                            <a:pt x="608" y="93"/>
                          </a:lnTo>
                          <a:lnTo>
                            <a:pt x="609" y="93"/>
                          </a:lnTo>
                          <a:lnTo>
                            <a:pt x="611" y="93"/>
                          </a:lnTo>
                          <a:lnTo>
                            <a:pt x="612" y="94"/>
                          </a:lnTo>
                          <a:lnTo>
                            <a:pt x="615" y="97"/>
                          </a:lnTo>
                          <a:lnTo>
                            <a:pt x="609" y="96"/>
                          </a:lnTo>
                          <a:lnTo>
                            <a:pt x="607" y="96"/>
                          </a:lnTo>
                          <a:lnTo>
                            <a:pt x="605" y="96"/>
                          </a:lnTo>
                          <a:lnTo>
                            <a:pt x="603" y="94"/>
                          </a:lnTo>
                          <a:lnTo>
                            <a:pt x="601" y="94"/>
                          </a:lnTo>
                          <a:lnTo>
                            <a:pt x="598" y="94"/>
                          </a:lnTo>
                          <a:lnTo>
                            <a:pt x="597" y="94"/>
                          </a:lnTo>
                          <a:lnTo>
                            <a:pt x="594" y="96"/>
                          </a:lnTo>
                          <a:lnTo>
                            <a:pt x="591" y="94"/>
                          </a:lnTo>
                          <a:lnTo>
                            <a:pt x="591" y="97"/>
                          </a:lnTo>
                          <a:lnTo>
                            <a:pt x="591" y="98"/>
                          </a:lnTo>
                          <a:lnTo>
                            <a:pt x="594" y="99"/>
                          </a:lnTo>
                          <a:lnTo>
                            <a:pt x="594" y="100"/>
                          </a:lnTo>
                          <a:lnTo>
                            <a:pt x="596" y="103"/>
                          </a:lnTo>
                          <a:lnTo>
                            <a:pt x="597" y="104"/>
                          </a:lnTo>
                          <a:lnTo>
                            <a:pt x="600" y="105"/>
                          </a:lnTo>
                          <a:lnTo>
                            <a:pt x="602" y="109"/>
                          </a:lnTo>
                          <a:lnTo>
                            <a:pt x="607" y="107"/>
                          </a:lnTo>
                          <a:lnTo>
                            <a:pt x="601" y="110"/>
                          </a:lnTo>
                          <a:lnTo>
                            <a:pt x="596" y="107"/>
                          </a:lnTo>
                          <a:lnTo>
                            <a:pt x="591" y="105"/>
                          </a:lnTo>
                          <a:lnTo>
                            <a:pt x="588" y="103"/>
                          </a:lnTo>
                          <a:lnTo>
                            <a:pt x="588" y="100"/>
                          </a:lnTo>
                          <a:lnTo>
                            <a:pt x="587" y="98"/>
                          </a:lnTo>
                          <a:lnTo>
                            <a:pt x="583" y="96"/>
                          </a:lnTo>
                          <a:lnTo>
                            <a:pt x="584" y="94"/>
                          </a:lnTo>
                          <a:lnTo>
                            <a:pt x="581" y="93"/>
                          </a:lnTo>
                          <a:lnTo>
                            <a:pt x="581" y="91"/>
                          </a:lnTo>
                          <a:lnTo>
                            <a:pt x="581" y="90"/>
                          </a:lnTo>
                          <a:lnTo>
                            <a:pt x="577" y="86"/>
                          </a:lnTo>
                          <a:lnTo>
                            <a:pt x="571" y="85"/>
                          </a:lnTo>
                          <a:lnTo>
                            <a:pt x="570" y="83"/>
                          </a:lnTo>
                          <a:lnTo>
                            <a:pt x="570" y="79"/>
                          </a:lnTo>
                          <a:lnTo>
                            <a:pt x="564" y="79"/>
                          </a:lnTo>
                          <a:lnTo>
                            <a:pt x="561" y="78"/>
                          </a:lnTo>
                          <a:lnTo>
                            <a:pt x="560" y="76"/>
                          </a:lnTo>
                          <a:lnTo>
                            <a:pt x="555" y="76"/>
                          </a:lnTo>
                          <a:lnTo>
                            <a:pt x="552" y="76"/>
                          </a:lnTo>
                          <a:lnTo>
                            <a:pt x="554" y="78"/>
                          </a:lnTo>
                          <a:lnTo>
                            <a:pt x="555" y="78"/>
                          </a:lnTo>
                          <a:lnTo>
                            <a:pt x="556" y="79"/>
                          </a:lnTo>
                          <a:lnTo>
                            <a:pt x="558" y="79"/>
                          </a:lnTo>
                          <a:lnTo>
                            <a:pt x="562" y="81"/>
                          </a:lnTo>
                          <a:lnTo>
                            <a:pt x="563" y="81"/>
                          </a:lnTo>
                          <a:lnTo>
                            <a:pt x="565" y="84"/>
                          </a:lnTo>
                          <a:lnTo>
                            <a:pt x="567" y="85"/>
                          </a:lnTo>
                          <a:lnTo>
                            <a:pt x="569" y="86"/>
                          </a:lnTo>
                          <a:lnTo>
                            <a:pt x="571" y="89"/>
                          </a:lnTo>
                          <a:lnTo>
                            <a:pt x="572" y="92"/>
                          </a:lnTo>
                          <a:lnTo>
                            <a:pt x="570" y="93"/>
                          </a:lnTo>
                          <a:lnTo>
                            <a:pt x="572" y="94"/>
                          </a:lnTo>
                          <a:lnTo>
                            <a:pt x="565" y="96"/>
                          </a:lnTo>
                          <a:lnTo>
                            <a:pt x="562" y="97"/>
                          </a:lnTo>
                          <a:lnTo>
                            <a:pt x="561" y="98"/>
                          </a:lnTo>
                          <a:lnTo>
                            <a:pt x="560" y="101"/>
                          </a:lnTo>
                          <a:lnTo>
                            <a:pt x="560" y="101"/>
                          </a:lnTo>
                          <a:lnTo>
                            <a:pt x="558" y="103"/>
                          </a:lnTo>
                          <a:lnTo>
                            <a:pt x="557" y="103"/>
                          </a:lnTo>
                          <a:lnTo>
                            <a:pt x="558" y="105"/>
                          </a:lnTo>
                          <a:lnTo>
                            <a:pt x="561" y="106"/>
                          </a:lnTo>
                          <a:lnTo>
                            <a:pt x="564" y="109"/>
                          </a:lnTo>
                          <a:lnTo>
                            <a:pt x="568" y="109"/>
                          </a:lnTo>
                          <a:lnTo>
                            <a:pt x="574" y="112"/>
                          </a:lnTo>
                          <a:lnTo>
                            <a:pt x="576" y="112"/>
                          </a:lnTo>
                          <a:lnTo>
                            <a:pt x="580" y="114"/>
                          </a:lnTo>
                          <a:lnTo>
                            <a:pt x="580" y="116"/>
                          </a:lnTo>
                          <a:lnTo>
                            <a:pt x="576" y="117"/>
                          </a:lnTo>
                          <a:lnTo>
                            <a:pt x="577" y="118"/>
                          </a:lnTo>
                          <a:lnTo>
                            <a:pt x="582" y="119"/>
                          </a:lnTo>
                          <a:lnTo>
                            <a:pt x="584" y="124"/>
                          </a:lnTo>
                          <a:lnTo>
                            <a:pt x="582" y="129"/>
                          </a:lnTo>
                          <a:lnTo>
                            <a:pt x="582" y="132"/>
                          </a:lnTo>
                          <a:lnTo>
                            <a:pt x="582" y="134"/>
                          </a:lnTo>
                          <a:lnTo>
                            <a:pt x="584" y="137"/>
                          </a:lnTo>
                          <a:lnTo>
                            <a:pt x="584" y="138"/>
                          </a:lnTo>
                          <a:lnTo>
                            <a:pt x="587" y="138"/>
                          </a:lnTo>
                          <a:lnTo>
                            <a:pt x="590" y="139"/>
                          </a:lnTo>
                          <a:lnTo>
                            <a:pt x="592" y="141"/>
                          </a:lnTo>
                          <a:lnTo>
                            <a:pt x="592" y="146"/>
                          </a:lnTo>
                          <a:lnTo>
                            <a:pt x="597" y="146"/>
                          </a:lnTo>
                          <a:lnTo>
                            <a:pt x="601" y="147"/>
                          </a:lnTo>
                          <a:lnTo>
                            <a:pt x="607" y="147"/>
                          </a:lnTo>
                          <a:lnTo>
                            <a:pt x="609" y="147"/>
                          </a:lnTo>
                          <a:lnTo>
                            <a:pt x="607" y="145"/>
                          </a:lnTo>
                          <a:lnTo>
                            <a:pt x="612" y="146"/>
                          </a:lnTo>
                          <a:lnTo>
                            <a:pt x="616" y="145"/>
                          </a:lnTo>
                          <a:lnTo>
                            <a:pt x="617" y="144"/>
                          </a:lnTo>
                          <a:lnTo>
                            <a:pt x="617" y="146"/>
                          </a:lnTo>
                          <a:lnTo>
                            <a:pt x="621" y="146"/>
                          </a:lnTo>
                          <a:lnTo>
                            <a:pt x="627" y="145"/>
                          </a:lnTo>
                          <a:lnTo>
                            <a:pt x="629" y="145"/>
                          </a:lnTo>
                          <a:lnTo>
                            <a:pt x="632" y="145"/>
                          </a:lnTo>
                          <a:lnTo>
                            <a:pt x="634" y="144"/>
                          </a:lnTo>
                          <a:lnTo>
                            <a:pt x="638" y="145"/>
                          </a:lnTo>
                          <a:lnTo>
                            <a:pt x="641" y="148"/>
                          </a:lnTo>
                          <a:lnTo>
                            <a:pt x="643" y="147"/>
                          </a:lnTo>
                          <a:lnTo>
                            <a:pt x="643" y="146"/>
                          </a:lnTo>
                          <a:lnTo>
                            <a:pt x="645" y="147"/>
                          </a:lnTo>
                          <a:lnTo>
                            <a:pt x="647" y="150"/>
                          </a:lnTo>
                          <a:lnTo>
                            <a:pt x="649" y="151"/>
                          </a:lnTo>
                          <a:lnTo>
                            <a:pt x="648" y="151"/>
                          </a:lnTo>
                          <a:lnTo>
                            <a:pt x="650" y="152"/>
                          </a:lnTo>
                          <a:lnTo>
                            <a:pt x="652" y="154"/>
                          </a:lnTo>
                          <a:lnTo>
                            <a:pt x="652" y="157"/>
                          </a:lnTo>
                          <a:lnTo>
                            <a:pt x="654" y="158"/>
                          </a:lnTo>
                          <a:lnTo>
                            <a:pt x="651" y="159"/>
                          </a:lnTo>
                          <a:lnTo>
                            <a:pt x="652" y="161"/>
                          </a:lnTo>
                          <a:lnTo>
                            <a:pt x="656" y="163"/>
                          </a:lnTo>
                          <a:lnTo>
                            <a:pt x="661" y="165"/>
                          </a:lnTo>
                          <a:lnTo>
                            <a:pt x="664" y="168"/>
                          </a:lnTo>
                          <a:lnTo>
                            <a:pt x="668" y="168"/>
                          </a:lnTo>
                          <a:lnTo>
                            <a:pt x="670" y="172"/>
                          </a:lnTo>
                          <a:lnTo>
                            <a:pt x="669" y="172"/>
                          </a:lnTo>
                          <a:lnTo>
                            <a:pt x="665" y="174"/>
                          </a:lnTo>
                          <a:lnTo>
                            <a:pt x="658" y="171"/>
                          </a:lnTo>
                          <a:lnTo>
                            <a:pt x="656" y="166"/>
                          </a:lnTo>
                          <a:lnTo>
                            <a:pt x="654" y="167"/>
                          </a:lnTo>
                          <a:lnTo>
                            <a:pt x="652" y="165"/>
                          </a:lnTo>
                          <a:lnTo>
                            <a:pt x="650" y="165"/>
                          </a:lnTo>
                          <a:lnTo>
                            <a:pt x="650" y="160"/>
                          </a:lnTo>
                          <a:lnTo>
                            <a:pt x="647" y="159"/>
                          </a:lnTo>
                          <a:lnTo>
                            <a:pt x="649" y="158"/>
                          </a:lnTo>
                          <a:lnTo>
                            <a:pt x="649" y="156"/>
                          </a:lnTo>
                          <a:lnTo>
                            <a:pt x="644" y="156"/>
                          </a:lnTo>
                          <a:lnTo>
                            <a:pt x="642" y="153"/>
                          </a:lnTo>
                          <a:lnTo>
                            <a:pt x="640" y="151"/>
                          </a:lnTo>
                          <a:lnTo>
                            <a:pt x="637" y="151"/>
                          </a:lnTo>
                          <a:lnTo>
                            <a:pt x="637" y="150"/>
                          </a:lnTo>
                          <a:lnTo>
                            <a:pt x="636" y="148"/>
                          </a:lnTo>
                          <a:lnTo>
                            <a:pt x="632" y="148"/>
                          </a:lnTo>
                          <a:lnTo>
                            <a:pt x="629" y="147"/>
                          </a:lnTo>
                          <a:lnTo>
                            <a:pt x="627" y="147"/>
                          </a:lnTo>
                          <a:lnTo>
                            <a:pt x="624" y="147"/>
                          </a:lnTo>
                          <a:lnTo>
                            <a:pt x="623" y="148"/>
                          </a:lnTo>
                          <a:lnTo>
                            <a:pt x="621" y="148"/>
                          </a:lnTo>
                          <a:lnTo>
                            <a:pt x="618" y="148"/>
                          </a:lnTo>
                          <a:lnTo>
                            <a:pt x="616" y="150"/>
                          </a:lnTo>
                          <a:lnTo>
                            <a:pt x="616" y="150"/>
                          </a:lnTo>
                          <a:lnTo>
                            <a:pt x="615" y="150"/>
                          </a:lnTo>
                          <a:lnTo>
                            <a:pt x="612" y="150"/>
                          </a:lnTo>
                          <a:lnTo>
                            <a:pt x="612" y="151"/>
                          </a:lnTo>
                          <a:lnTo>
                            <a:pt x="615" y="151"/>
                          </a:lnTo>
                          <a:lnTo>
                            <a:pt x="617" y="153"/>
                          </a:lnTo>
                          <a:lnTo>
                            <a:pt x="614" y="153"/>
                          </a:lnTo>
                          <a:lnTo>
                            <a:pt x="612" y="154"/>
                          </a:lnTo>
                          <a:lnTo>
                            <a:pt x="612" y="152"/>
                          </a:lnTo>
                          <a:lnTo>
                            <a:pt x="610" y="152"/>
                          </a:lnTo>
                          <a:lnTo>
                            <a:pt x="608" y="152"/>
                          </a:lnTo>
                          <a:lnTo>
                            <a:pt x="610" y="156"/>
                          </a:lnTo>
                          <a:lnTo>
                            <a:pt x="609" y="157"/>
                          </a:lnTo>
                          <a:lnTo>
                            <a:pt x="609" y="154"/>
                          </a:lnTo>
                          <a:lnTo>
                            <a:pt x="609" y="154"/>
                          </a:lnTo>
                          <a:lnTo>
                            <a:pt x="608" y="152"/>
                          </a:lnTo>
                          <a:lnTo>
                            <a:pt x="609" y="152"/>
                          </a:lnTo>
                          <a:lnTo>
                            <a:pt x="610" y="158"/>
                          </a:lnTo>
                          <a:lnTo>
                            <a:pt x="614" y="159"/>
                          </a:lnTo>
                          <a:lnTo>
                            <a:pt x="614" y="160"/>
                          </a:lnTo>
                          <a:lnTo>
                            <a:pt x="615" y="161"/>
                          </a:lnTo>
                          <a:lnTo>
                            <a:pt x="614" y="160"/>
                          </a:lnTo>
                          <a:lnTo>
                            <a:pt x="617" y="161"/>
                          </a:lnTo>
                          <a:lnTo>
                            <a:pt x="618" y="163"/>
                          </a:lnTo>
                          <a:lnTo>
                            <a:pt x="617" y="164"/>
                          </a:lnTo>
                          <a:lnTo>
                            <a:pt x="620" y="166"/>
                          </a:lnTo>
                          <a:lnTo>
                            <a:pt x="622" y="167"/>
                          </a:lnTo>
                          <a:lnTo>
                            <a:pt x="620" y="167"/>
                          </a:lnTo>
                          <a:lnTo>
                            <a:pt x="620" y="166"/>
                          </a:lnTo>
                          <a:lnTo>
                            <a:pt x="620" y="166"/>
                          </a:lnTo>
                          <a:lnTo>
                            <a:pt x="620" y="170"/>
                          </a:lnTo>
                          <a:lnTo>
                            <a:pt x="620" y="170"/>
                          </a:lnTo>
                          <a:lnTo>
                            <a:pt x="618" y="171"/>
                          </a:lnTo>
                          <a:lnTo>
                            <a:pt x="618" y="171"/>
                          </a:lnTo>
                          <a:lnTo>
                            <a:pt x="618" y="174"/>
                          </a:lnTo>
                          <a:lnTo>
                            <a:pt x="618" y="174"/>
                          </a:lnTo>
                          <a:lnTo>
                            <a:pt x="616" y="177"/>
                          </a:lnTo>
                          <a:lnTo>
                            <a:pt x="616" y="178"/>
                          </a:lnTo>
                          <a:lnTo>
                            <a:pt x="612" y="179"/>
                          </a:lnTo>
                          <a:lnTo>
                            <a:pt x="609" y="184"/>
                          </a:lnTo>
                          <a:lnTo>
                            <a:pt x="609" y="186"/>
                          </a:lnTo>
                          <a:lnTo>
                            <a:pt x="611" y="180"/>
                          </a:lnTo>
                          <a:lnTo>
                            <a:pt x="611" y="185"/>
                          </a:lnTo>
                          <a:lnTo>
                            <a:pt x="610" y="190"/>
                          </a:lnTo>
                          <a:lnTo>
                            <a:pt x="611" y="191"/>
                          </a:lnTo>
                          <a:lnTo>
                            <a:pt x="609" y="191"/>
                          </a:lnTo>
                          <a:lnTo>
                            <a:pt x="608" y="193"/>
                          </a:lnTo>
                          <a:lnTo>
                            <a:pt x="607" y="194"/>
                          </a:lnTo>
                          <a:lnTo>
                            <a:pt x="607" y="194"/>
                          </a:lnTo>
                          <a:lnTo>
                            <a:pt x="602" y="194"/>
                          </a:lnTo>
                          <a:lnTo>
                            <a:pt x="601" y="197"/>
                          </a:lnTo>
                          <a:lnTo>
                            <a:pt x="603" y="197"/>
                          </a:lnTo>
                          <a:lnTo>
                            <a:pt x="598" y="198"/>
                          </a:lnTo>
                          <a:lnTo>
                            <a:pt x="596" y="199"/>
                          </a:lnTo>
                          <a:lnTo>
                            <a:pt x="594" y="196"/>
                          </a:lnTo>
                          <a:lnTo>
                            <a:pt x="590" y="194"/>
                          </a:lnTo>
                          <a:lnTo>
                            <a:pt x="589" y="198"/>
                          </a:lnTo>
                          <a:lnTo>
                            <a:pt x="585" y="197"/>
                          </a:lnTo>
                          <a:lnTo>
                            <a:pt x="577" y="196"/>
                          </a:lnTo>
                          <a:lnTo>
                            <a:pt x="574" y="194"/>
                          </a:lnTo>
                          <a:lnTo>
                            <a:pt x="571" y="193"/>
                          </a:lnTo>
                          <a:lnTo>
                            <a:pt x="574" y="191"/>
                          </a:lnTo>
                          <a:lnTo>
                            <a:pt x="575" y="191"/>
                          </a:lnTo>
                          <a:lnTo>
                            <a:pt x="576" y="188"/>
                          </a:lnTo>
                          <a:lnTo>
                            <a:pt x="575" y="187"/>
                          </a:lnTo>
                          <a:lnTo>
                            <a:pt x="574" y="187"/>
                          </a:lnTo>
                          <a:lnTo>
                            <a:pt x="570" y="187"/>
                          </a:lnTo>
                          <a:lnTo>
                            <a:pt x="569" y="185"/>
                          </a:lnTo>
                          <a:lnTo>
                            <a:pt x="571" y="181"/>
                          </a:lnTo>
                          <a:lnTo>
                            <a:pt x="574" y="180"/>
                          </a:lnTo>
                          <a:lnTo>
                            <a:pt x="575" y="181"/>
                          </a:lnTo>
                          <a:lnTo>
                            <a:pt x="576" y="181"/>
                          </a:lnTo>
                          <a:lnTo>
                            <a:pt x="577" y="181"/>
                          </a:lnTo>
                          <a:lnTo>
                            <a:pt x="577" y="181"/>
                          </a:lnTo>
                          <a:lnTo>
                            <a:pt x="582" y="183"/>
                          </a:lnTo>
                          <a:lnTo>
                            <a:pt x="583" y="181"/>
                          </a:lnTo>
                          <a:lnTo>
                            <a:pt x="589" y="183"/>
                          </a:lnTo>
                          <a:lnTo>
                            <a:pt x="592" y="181"/>
                          </a:lnTo>
                          <a:lnTo>
                            <a:pt x="592" y="179"/>
                          </a:lnTo>
                          <a:lnTo>
                            <a:pt x="594" y="179"/>
                          </a:lnTo>
                          <a:lnTo>
                            <a:pt x="594" y="179"/>
                          </a:lnTo>
                          <a:lnTo>
                            <a:pt x="594" y="177"/>
                          </a:lnTo>
                          <a:lnTo>
                            <a:pt x="595" y="173"/>
                          </a:lnTo>
                          <a:lnTo>
                            <a:pt x="597" y="173"/>
                          </a:lnTo>
                          <a:lnTo>
                            <a:pt x="598" y="172"/>
                          </a:lnTo>
                          <a:lnTo>
                            <a:pt x="600" y="171"/>
                          </a:lnTo>
                          <a:lnTo>
                            <a:pt x="598" y="167"/>
                          </a:lnTo>
                          <a:lnTo>
                            <a:pt x="597" y="166"/>
                          </a:lnTo>
                          <a:lnTo>
                            <a:pt x="596" y="163"/>
                          </a:lnTo>
                          <a:lnTo>
                            <a:pt x="596" y="161"/>
                          </a:lnTo>
                          <a:lnTo>
                            <a:pt x="596" y="160"/>
                          </a:lnTo>
                          <a:lnTo>
                            <a:pt x="597" y="159"/>
                          </a:lnTo>
                          <a:lnTo>
                            <a:pt x="598" y="159"/>
                          </a:lnTo>
                          <a:lnTo>
                            <a:pt x="597" y="158"/>
                          </a:lnTo>
                          <a:lnTo>
                            <a:pt x="597" y="157"/>
                          </a:lnTo>
                          <a:lnTo>
                            <a:pt x="596" y="154"/>
                          </a:lnTo>
                          <a:lnTo>
                            <a:pt x="594" y="153"/>
                          </a:lnTo>
                          <a:lnTo>
                            <a:pt x="592" y="152"/>
                          </a:lnTo>
                          <a:lnTo>
                            <a:pt x="590" y="151"/>
                          </a:lnTo>
                          <a:lnTo>
                            <a:pt x="590" y="150"/>
                          </a:lnTo>
                          <a:lnTo>
                            <a:pt x="589" y="151"/>
                          </a:lnTo>
                          <a:lnTo>
                            <a:pt x="588" y="150"/>
                          </a:lnTo>
                          <a:lnTo>
                            <a:pt x="585" y="150"/>
                          </a:lnTo>
                          <a:lnTo>
                            <a:pt x="584" y="150"/>
                          </a:lnTo>
                          <a:lnTo>
                            <a:pt x="583" y="148"/>
                          </a:lnTo>
                          <a:lnTo>
                            <a:pt x="582" y="147"/>
                          </a:lnTo>
                          <a:lnTo>
                            <a:pt x="580" y="146"/>
                          </a:lnTo>
                          <a:lnTo>
                            <a:pt x="580" y="145"/>
                          </a:lnTo>
                          <a:lnTo>
                            <a:pt x="577" y="145"/>
                          </a:lnTo>
                          <a:lnTo>
                            <a:pt x="577" y="144"/>
                          </a:lnTo>
                          <a:lnTo>
                            <a:pt x="576" y="141"/>
                          </a:lnTo>
                          <a:lnTo>
                            <a:pt x="575" y="139"/>
                          </a:lnTo>
                          <a:lnTo>
                            <a:pt x="574" y="138"/>
                          </a:lnTo>
                          <a:lnTo>
                            <a:pt x="574" y="138"/>
                          </a:lnTo>
                          <a:lnTo>
                            <a:pt x="571" y="137"/>
                          </a:lnTo>
                          <a:lnTo>
                            <a:pt x="568" y="133"/>
                          </a:lnTo>
                          <a:lnTo>
                            <a:pt x="565" y="130"/>
                          </a:lnTo>
                          <a:lnTo>
                            <a:pt x="565" y="136"/>
                          </a:lnTo>
                          <a:lnTo>
                            <a:pt x="564" y="129"/>
                          </a:lnTo>
                          <a:lnTo>
                            <a:pt x="563" y="126"/>
                          </a:lnTo>
                          <a:lnTo>
                            <a:pt x="563" y="124"/>
                          </a:lnTo>
                          <a:lnTo>
                            <a:pt x="564" y="121"/>
                          </a:lnTo>
                          <a:lnTo>
                            <a:pt x="561" y="121"/>
                          </a:lnTo>
                          <a:lnTo>
                            <a:pt x="560" y="118"/>
                          </a:lnTo>
                          <a:lnTo>
                            <a:pt x="560" y="114"/>
                          </a:lnTo>
                          <a:lnTo>
                            <a:pt x="558" y="113"/>
                          </a:lnTo>
                          <a:lnTo>
                            <a:pt x="555" y="112"/>
                          </a:lnTo>
                          <a:lnTo>
                            <a:pt x="555" y="110"/>
                          </a:lnTo>
                          <a:lnTo>
                            <a:pt x="551" y="109"/>
                          </a:lnTo>
                          <a:lnTo>
                            <a:pt x="549" y="106"/>
                          </a:lnTo>
                          <a:lnTo>
                            <a:pt x="548" y="109"/>
                          </a:lnTo>
                          <a:lnTo>
                            <a:pt x="543" y="105"/>
                          </a:lnTo>
                          <a:lnTo>
                            <a:pt x="543" y="103"/>
                          </a:lnTo>
                          <a:lnTo>
                            <a:pt x="544" y="99"/>
                          </a:lnTo>
                          <a:lnTo>
                            <a:pt x="542" y="99"/>
                          </a:lnTo>
                          <a:lnTo>
                            <a:pt x="545" y="97"/>
                          </a:lnTo>
                          <a:lnTo>
                            <a:pt x="543" y="92"/>
                          </a:lnTo>
                          <a:lnTo>
                            <a:pt x="541" y="90"/>
                          </a:lnTo>
                          <a:lnTo>
                            <a:pt x="542" y="86"/>
                          </a:lnTo>
                          <a:lnTo>
                            <a:pt x="538" y="84"/>
                          </a:lnTo>
                          <a:lnTo>
                            <a:pt x="530" y="84"/>
                          </a:lnTo>
                          <a:lnTo>
                            <a:pt x="531" y="86"/>
                          </a:lnTo>
                          <a:lnTo>
                            <a:pt x="534" y="89"/>
                          </a:lnTo>
                          <a:lnTo>
                            <a:pt x="531" y="89"/>
                          </a:lnTo>
                          <a:lnTo>
                            <a:pt x="529" y="86"/>
                          </a:lnTo>
                          <a:lnTo>
                            <a:pt x="528" y="90"/>
                          </a:lnTo>
                          <a:lnTo>
                            <a:pt x="525" y="90"/>
                          </a:lnTo>
                          <a:lnTo>
                            <a:pt x="524" y="84"/>
                          </a:lnTo>
                          <a:lnTo>
                            <a:pt x="528" y="79"/>
                          </a:lnTo>
                          <a:lnTo>
                            <a:pt x="524" y="78"/>
                          </a:lnTo>
                          <a:lnTo>
                            <a:pt x="518" y="80"/>
                          </a:lnTo>
                          <a:lnTo>
                            <a:pt x="516" y="78"/>
                          </a:lnTo>
                          <a:lnTo>
                            <a:pt x="514" y="80"/>
                          </a:lnTo>
                          <a:lnTo>
                            <a:pt x="511" y="79"/>
                          </a:lnTo>
                          <a:lnTo>
                            <a:pt x="508" y="81"/>
                          </a:lnTo>
                          <a:lnTo>
                            <a:pt x="498" y="79"/>
                          </a:lnTo>
                          <a:lnTo>
                            <a:pt x="493" y="84"/>
                          </a:lnTo>
                          <a:lnTo>
                            <a:pt x="493" y="87"/>
                          </a:lnTo>
                          <a:lnTo>
                            <a:pt x="493" y="91"/>
                          </a:lnTo>
                          <a:lnTo>
                            <a:pt x="496" y="87"/>
                          </a:lnTo>
                          <a:lnTo>
                            <a:pt x="496" y="92"/>
                          </a:lnTo>
                          <a:lnTo>
                            <a:pt x="495" y="97"/>
                          </a:lnTo>
                          <a:lnTo>
                            <a:pt x="489" y="105"/>
                          </a:lnTo>
                          <a:lnTo>
                            <a:pt x="485" y="101"/>
                          </a:lnTo>
                          <a:lnTo>
                            <a:pt x="480" y="107"/>
                          </a:lnTo>
                          <a:lnTo>
                            <a:pt x="478" y="112"/>
                          </a:lnTo>
                          <a:lnTo>
                            <a:pt x="481" y="112"/>
                          </a:lnTo>
                          <a:lnTo>
                            <a:pt x="483" y="107"/>
                          </a:lnTo>
                          <a:lnTo>
                            <a:pt x="484" y="110"/>
                          </a:lnTo>
                          <a:lnTo>
                            <a:pt x="484" y="117"/>
                          </a:lnTo>
                          <a:lnTo>
                            <a:pt x="490" y="120"/>
                          </a:lnTo>
                          <a:lnTo>
                            <a:pt x="491" y="120"/>
                          </a:lnTo>
                          <a:lnTo>
                            <a:pt x="493" y="120"/>
                          </a:lnTo>
                          <a:lnTo>
                            <a:pt x="491" y="119"/>
                          </a:lnTo>
                          <a:lnTo>
                            <a:pt x="489" y="117"/>
                          </a:lnTo>
                          <a:lnTo>
                            <a:pt x="491" y="117"/>
                          </a:lnTo>
                          <a:lnTo>
                            <a:pt x="493" y="117"/>
                          </a:lnTo>
                          <a:lnTo>
                            <a:pt x="495" y="118"/>
                          </a:lnTo>
                          <a:lnTo>
                            <a:pt x="495" y="119"/>
                          </a:lnTo>
                          <a:lnTo>
                            <a:pt x="495" y="123"/>
                          </a:lnTo>
                          <a:lnTo>
                            <a:pt x="495" y="123"/>
                          </a:lnTo>
                          <a:lnTo>
                            <a:pt x="496" y="124"/>
                          </a:lnTo>
                          <a:lnTo>
                            <a:pt x="496" y="127"/>
                          </a:lnTo>
                          <a:lnTo>
                            <a:pt x="497" y="129"/>
                          </a:lnTo>
                          <a:lnTo>
                            <a:pt x="496" y="131"/>
                          </a:lnTo>
                          <a:lnTo>
                            <a:pt x="494" y="132"/>
                          </a:lnTo>
                          <a:lnTo>
                            <a:pt x="494" y="133"/>
                          </a:lnTo>
                          <a:lnTo>
                            <a:pt x="495" y="136"/>
                          </a:lnTo>
                          <a:lnTo>
                            <a:pt x="498" y="136"/>
                          </a:lnTo>
                          <a:lnTo>
                            <a:pt x="502" y="137"/>
                          </a:lnTo>
                          <a:lnTo>
                            <a:pt x="503" y="137"/>
                          </a:lnTo>
                          <a:lnTo>
                            <a:pt x="504" y="137"/>
                          </a:lnTo>
                          <a:lnTo>
                            <a:pt x="505" y="138"/>
                          </a:lnTo>
                          <a:lnTo>
                            <a:pt x="512" y="138"/>
                          </a:lnTo>
                          <a:lnTo>
                            <a:pt x="510" y="138"/>
                          </a:lnTo>
                          <a:lnTo>
                            <a:pt x="508" y="138"/>
                          </a:lnTo>
                          <a:lnTo>
                            <a:pt x="514" y="138"/>
                          </a:lnTo>
                          <a:lnTo>
                            <a:pt x="516" y="139"/>
                          </a:lnTo>
                          <a:lnTo>
                            <a:pt x="516" y="139"/>
                          </a:lnTo>
                          <a:lnTo>
                            <a:pt x="517" y="141"/>
                          </a:lnTo>
                          <a:lnTo>
                            <a:pt x="518" y="144"/>
                          </a:lnTo>
                          <a:lnTo>
                            <a:pt x="521" y="145"/>
                          </a:lnTo>
                          <a:lnTo>
                            <a:pt x="521" y="145"/>
                          </a:lnTo>
                          <a:lnTo>
                            <a:pt x="522" y="147"/>
                          </a:lnTo>
                          <a:lnTo>
                            <a:pt x="522" y="147"/>
                          </a:lnTo>
                          <a:lnTo>
                            <a:pt x="524" y="148"/>
                          </a:lnTo>
                          <a:lnTo>
                            <a:pt x="525" y="148"/>
                          </a:lnTo>
                          <a:lnTo>
                            <a:pt x="528" y="148"/>
                          </a:lnTo>
                          <a:lnTo>
                            <a:pt x="528" y="148"/>
                          </a:lnTo>
                          <a:lnTo>
                            <a:pt x="530" y="148"/>
                          </a:lnTo>
                          <a:lnTo>
                            <a:pt x="531" y="150"/>
                          </a:lnTo>
                          <a:lnTo>
                            <a:pt x="532" y="151"/>
                          </a:lnTo>
                          <a:lnTo>
                            <a:pt x="534" y="152"/>
                          </a:lnTo>
                          <a:lnTo>
                            <a:pt x="535" y="154"/>
                          </a:lnTo>
                          <a:lnTo>
                            <a:pt x="535" y="156"/>
                          </a:lnTo>
                          <a:lnTo>
                            <a:pt x="536" y="157"/>
                          </a:lnTo>
                          <a:lnTo>
                            <a:pt x="534" y="157"/>
                          </a:lnTo>
                          <a:lnTo>
                            <a:pt x="532" y="158"/>
                          </a:lnTo>
                          <a:lnTo>
                            <a:pt x="530" y="159"/>
                          </a:lnTo>
                          <a:lnTo>
                            <a:pt x="530" y="161"/>
                          </a:lnTo>
                          <a:lnTo>
                            <a:pt x="532" y="161"/>
                          </a:lnTo>
                          <a:lnTo>
                            <a:pt x="532" y="160"/>
                          </a:lnTo>
                          <a:lnTo>
                            <a:pt x="530" y="159"/>
                          </a:lnTo>
                          <a:lnTo>
                            <a:pt x="529" y="159"/>
                          </a:lnTo>
                          <a:lnTo>
                            <a:pt x="522" y="157"/>
                          </a:lnTo>
                          <a:lnTo>
                            <a:pt x="520" y="157"/>
                          </a:lnTo>
                          <a:lnTo>
                            <a:pt x="517" y="156"/>
                          </a:lnTo>
                          <a:lnTo>
                            <a:pt x="514" y="152"/>
                          </a:lnTo>
                          <a:lnTo>
                            <a:pt x="511" y="151"/>
                          </a:lnTo>
                          <a:lnTo>
                            <a:pt x="508" y="151"/>
                          </a:lnTo>
                          <a:lnTo>
                            <a:pt x="508" y="152"/>
                          </a:lnTo>
                          <a:lnTo>
                            <a:pt x="505" y="148"/>
                          </a:lnTo>
                          <a:lnTo>
                            <a:pt x="502" y="147"/>
                          </a:lnTo>
                          <a:lnTo>
                            <a:pt x="500" y="147"/>
                          </a:lnTo>
                          <a:lnTo>
                            <a:pt x="500" y="147"/>
                          </a:lnTo>
                          <a:lnTo>
                            <a:pt x="498" y="147"/>
                          </a:lnTo>
                          <a:lnTo>
                            <a:pt x="496" y="146"/>
                          </a:lnTo>
                          <a:lnTo>
                            <a:pt x="496" y="147"/>
                          </a:lnTo>
                          <a:lnTo>
                            <a:pt x="493" y="146"/>
                          </a:lnTo>
                          <a:lnTo>
                            <a:pt x="493" y="146"/>
                          </a:lnTo>
                          <a:lnTo>
                            <a:pt x="490" y="144"/>
                          </a:lnTo>
                          <a:lnTo>
                            <a:pt x="489" y="145"/>
                          </a:lnTo>
                          <a:lnTo>
                            <a:pt x="489" y="144"/>
                          </a:lnTo>
                          <a:lnTo>
                            <a:pt x="489" y="144"/>
                          </a:lnTo>
                          <a:lnTo>
                            <a:pt x="488" y="144"/>
                          </a:lnTo>
                          <a:lnTo>
                            <a:pt x="487" y="144"/>
                          </a:lnTo>
                          <a:lnTo>
                            <a:pt x="484" y="144"/>
                          </a:lnTo>
                          <a:lnTo>
                            <a:pt x="484" y="145"/>
                          </a:lnTo>
                          <a:lnTo>
                            <a:pt x="481" y="143"/>
                          </a:lnTo>
                          <a:lnTo>
                            <a:pt x="482" y="144"/>
                          </a:lnTo>
                          <a:lnTo>
                            <a:pt x="481" y="141"/>
                          </a:lnTo>
                          <a:lnTo>
                            <a:pt x="478" y="141"/>
                          </a:lnTo>
                          <a:lnTo>
                            <a:pt x="476" y="140"/>
                          </a:lnTo>
                          <a:lnTo>
                            <a:pt x="476" y="141"/>
                          </a:lnTo>
                          <a:lnTo>
                            <a:pt x="475" y="140"/>
                          </a:lnTo>
                          <a:lnTo>
                            <a:pt x="474" y="140"/>
                          </a:lnTo>
                          <a:lnTo>
                            <a:pt x="473" y="139"/>
                          </a:lnTo>
                          <a:lnTo>
                            <a:pt x="469" y="138"/>
                          </a:lnTo>
                          <a:lnTo>
                            <a:pt x="463" y="138"/>
                          </a:lnTo>
                          <a:lnTo>
                            <a:pt x="462" y="137"/>
                          </a:lnTo>
                          <a:lnTo>
                            <a:pt x="461" y="136"/>
                          </a:lnTo>
                          <a:lnTo>
                            <a:pt x="457" y="136"/>
                          </a:lnTo>
                          <a:lnTo>
                            <a:pt x="455" y="134"/>
                          </a:lnTo>
                          <a:lnTo>
                            <a:pt x="451" y="134"/>
                          </a:lnTo>
                          <a:lnTo>
                            <a:pt x="450" y="132"/>
                          </a:lnTo>
                          <a:lnTo>
                            <a:pt x="449" y="133"/>
                          </a:lnTo>
                          <a:lnTo>
                            <a:pt x="448" y="133"/>
                          </a:lnTo>
                          <a:lnTo>
                            <a:pt x="445" y="132"/>
                          </a:lnTo>
                          <a:lnTo>
                            <a:pt x="444" y="130"/>
                          </a:lnTo>
                          <a:lnTo>
                            <a:pt x="444" y="131"/>
                          </a:lnTo>
                          <a:lnTo>
                            <a:pt x="442" y="132"/>
                          </a:lnTo>
                          <a:lnTo>
                            <a:pt x="437" y="133"/>
                          </a:lnTo>
                          <a:lnTo>
                            <a:pt x="434" y="134"/>
                          </a:lnTo>
                          <a:lnTo>
                            <a:pt x="430" y="133"/>
                          </a:lnTo>
                          <a:lnTo>
                            <a:pt x="429" y="132"/>
                          </a:lnTo>
                          <a:lnTo>
                            <a:pt x="425" y="133"/>
                          </a:lnTo>
                          <a:lnTo>
                            <a:pt x="427" y="131"/>
                          </a:lnTo>
                          <a:lnTo>
                            <a:pt x="427" y="129"/>
                          </a:lnTo>
                          <a:lnTo>
                            <a:pt x="424" y="129"/>
                          </a:lnTo>
                          <a:lnTo>
                            <a:pt x="428" y="125"/>
                          </a:lnTo>
                          <a:lnTo>
                            <a:pt x="427" y="125"/>
                          </a:lnTo>
                          <a:lnTo>
                            <a:pt x="422" y="127"/>
                          </a:lnTo>
                          <a:lnTo>
                            <a:pt x="422" y="132"/>
                          </a:lnTo>
                          <a:lnTo>
                            <a:pt x="417" y="132"/>
                          </a:lnTo>
                          <a:lnTo>
                            <a:pt x="415" y="133"/>
                          </a:lnTo>
                          <a:lnTo>
                            <a:pt x="413" y="133"/>
                          </a:lnTo>
                          <a:lnTo>
                            <a:pt x="413" y="131"/>
                          </a:lnTo>
                          <a:lnTo>
                            <a:pt x="413" y="136"/>
                          </a:lnTo>
                          <a:lnTo>
                            <a:pt x="410" y="136"/>
                          </a:lnTo>
                          <a:lnTo>
                            <a:pt x="410" y="138"/>
                          </a:lnTo>
                          <a:lnTo>
                            <a:pt x="414" y="139"/>
                          </a:lnTo>
                          <a:lnTo>
                            <a:pt x="416" y="140"/>
                          </a:lnTo>
                          <a:lnTo>
                            <a:pt x="417" y="143"/>
                          </a:lnTo>
                          <a:lnTo>
                            <a:pt x="418" y="143"/>
                          </a:lnTo>
                          <a:lnTo>
                            <a:pt x="418" y="145"/>
                          </a:lnTo>
                          <a:lnTo>
                            <a:pt x="422" y="145"/>
                          </a:lnTo>
                          <a:lnTo>
                            <a:pt x="424" y="146"/>
                          </a:lnTo>
                          <a:lnTo>
                            <a:pt x="425" y="150"/>
                          </a:lnTo>
                          <a:lnTo>
                            <a:pt x="424" y="151"/>
                          </a:lnTo>
                          <a:lnTo>
                            <a:pt x="422" y="150"/>
                          </a:lnTo>
                          <a:lnTo>
                            <a:pt x="420" y="150"/>
                          </a:lnTo>
                          <a:lnTo>
                            <a:pt x="418" y="152"/>
                          </a:lnTo>
                          <a:lnTo>
                            <a:pt x="416" y="152"/>
                          </a:lnTo>
                          <a:lnTo>
                            <a:pt x="413" y="151"/>
                          </a:lnTo>
                          <a:lnTo>
                            <a:pt x="414" y="153"/>
                          </a:lnTo>
                          <a:lnTo>
                            <a:pt x="414" y="157"/>
                          </a:lnTo>
                          <a:lnTo>
                            <a:pt x="413" y="159"/>
                          </a:lnTo>
                          <a:lnTo>
                            <a:pt x="411" y="157"/>
                          </a:lnTo>
                          <a:lnTo>
                            <a:pt x="409" y="157"/>
                          </a:lnTo>
                          <a:lnTo>
                            <a:pt x="407" y="156"/>
                          </a:lnTo>
                          <a:lnTo>
                            <a:pt x="407" y="154"/>
                          </a:lnTo>
                          <a:lnTo>
                            <a:pt x="407" y="152"/>
                          </a:lnTo>
                          <a:lnTo>
                            <a:pt x="407" y="151"/>
                          </a:lnTo>
                          <a:lnTo>
                            <a:pt x="409" y="150"/>
                          </a:lnTo>
                          <a:lnTo>
                            <a:pt x="405" y="150"/>
                          </a:lnTo>
                          <a:lnTo>
                            <a:pt x="403" y="147"/>
                          </a:lnTo>
                          <a:lnTo>
                            <a:pt x="402" y="147"/>
                          </a:lnTo>
                          <a:lnTo>
                            <a:pt x="401" y="146"/>
                          </a:lnTo>
                          <a:lnTo>
                            <a:pt x="400" y="146"/>
                          </a:lnTo>
                          <a:lnTo>
                            <a:pt x="398" y="143"/>
                          </a:lnTo>
                          <a:lnTo>
                            <a:pt x="397" y="147"/>
                          </a:lnTo>
                          <a:lnTo>
                            <a:pt x="396" y="147"/>
                          </a:lnTo>
                          <a:lnTo>
                            <a:pt x="394" y="147"/>
                          </a:lnTo>
                          <a:lnTo>
                            <a:pt x="393" y="148"/>
                          </a:lnTo>
                          <a:lnTo>
                            <a:pt x="390" y="148"/>
                          </a:lnTo>
                          <a:lnTo>
                            <a:pt x="390" y="150"/>
                          </a:lnTo>
                          <a:lnTo>
                            <a:pt x="387" y="151"/>
                          </a:lnTo>
                          <a:lnTo>
                            <a:pt x="384" y="151"/>
                          </a:lnTo>
                          <a:lnTo>
                            <a:pt x="383" y="154"/>
                          </a:lnTo>
                          <a:lnTo>
                            <a:pt x="383" y="156"/>
                          </a:lnTo>
                          <a:lnTo>
                            <a:pt x="380" y="158"/>
                          </a:lnTo>
                          <a:lnTo>
                            <a:pt x="377" y="160"/>
                          </a:lnTo>
                          <a:lnTo>
                            <a:pt x="375" y="160"/>
                          </a:lnTo>
                          <a:lnTo>
                            <a:pt x="376" y="159"/>
                          </a:lnTo>
                          <a:lnTo>
                            <a:pt x="378" y="156"/>
                          </a:lnTo>
                          <a:lnTo>
                            <a:pt x="380" y="154"/>
                          </a:lnTo>
                          <a:lnTo>
                            <a:pt x="378" y="154"/>
                          </a:lnTo>
                          <a:lnTo>
                            <a:pt x="374" y="152"/>
                          </a:lnTo>
                          <a:lnTo>
                            <a:pt x="370" y="152"/>
                          </a:lnTo>
                          <a:lnTo>
                            <a:pt x="369" y="153"/>
                          </a:lnTo>
                          <a:lnTo>
                            <a:pt x="365" y="153"/>
                          </a:lnTo>
                          <a:lnTo>
                            <a:pt x="364" y="154"/>
                          </a:lnTo>
                          <a:lnTo>
                            <a:pt x="362" y="153"/>
                          </a:lnTo>
                          <a:lnTo>
                            <a:pt x="360" y="154"/>
                          </a:lnTo>
                          <a:lnTo>
                            <a:pt x="357" y="154"/>
                          </a:lnTo>
                          <a:lnTo>
                            <a:pt x="356" y="154"/>
                          </a:lnTo>
                          <a:lnTo>
                            <a:pt x="355" y="154"/>
                          </a:lnTo>
                          <a:lnTo>
                            <a:pt x="354" y="152"/>
                          </a:lnTo>
                          <a:lnTo>
                            <a:pt x="353" y="154"/>
                          </a:lnTo>
                          <a:lnTo>
                            <a:pt x="351" y="154"/>
                          </a:lnTo>
                          <a:lnTo>
                            <a:pt x="353" y="158"/>
                          </a:lnTo>
                          <a:lnTo>
                            <a:pt x="350" y="159"/>
                          </a:lnTo>
                          <a:lnTo>
                            <a:pt x="351" y="158"/>
                          </a:lnTo>
                          <a:lnTo>
                            <a:pt x="349" y="157"/>
                          </a:lnTo>
                          <a:lnTo>
                            <a:pt x="348" y="158"/>
                          </a:lnTo>
                          <a:lnTo>
                            <a:pt x="348" y="160"/>
                          </a:lnTo>
                          <a:lnTo>
                            <a:pt x="345" y="159"/>
                          </a:lnTo>
                          <a:lnTo>
                            <a:pt x="343" y="158"/>
                          </a:lnTo>
                          <a:lnTo>
                            <a:pt x="341" y="159"/>
                          </a:lnTo>
                          <a:lnTo>
                            <a:pt x="341" y="157"/>
                          </a:lnTo>
                          <a:lnTo>
                            <a:pt x="340" y="156"/>
                          </a:lnTo>
                          <a:lnTo>
                            <a:pt x="336" y="154"/>
                          </a:lnTo>
                          <a:lnTo>
                            <a:pt x="331" y="152"/>
                          </a:lnTo>
                          <a:lnTo>
                            <a:pt x="334" y="151"/>
                          </a:lnTo>
                          <a:lnTo>
                            <a:pt x="333" y="150"/>
                          </a:lnTo>
                          <a:lnTo>
                            <a:pt x="335" y="150"/>
                          </a:lnTo>
                          <a:lnTo>
                            <a:pt x="336" y="148"/>
                          </a:lnTo>
                          <a:lnTo>
                            <a:pt x="338" y="148"/>
                          </a:lnTo>
                          <a:lnTo>
                            <a:pt x="340" y="147"/>
                          </a:lnTo>
                          <a:lnTo>
                            <a:pt x="340" y="146"/>
                          </a:lnTo>
                          <a:lnTo>
                            <a:pt x="337" y="146"/>
                          </a:lnTo>
                          <a:lnTo>
                            <a:pt x="337" y="145"/>
                          </a:lnTo>
                          <a:lnTo>
                            <a:pt x="335" y="146"/>
                          </a:lnTo>
                          <a:lnTo>
                            <a:pt x="334" y="145"/>
                          </a:lnTo>
                          <a:lnTo>
                            <a:pt x="333" y="146"/>
                          </a:lnTo>
                          <a:lnTo>
                            <a:pt x="328" y="147"/>
                          </a:lnTo>
                          <a:lnTo>
                            <a:pt x="325" y="148"/>
                          </a:lnTo>
                          <a:lnTo>
                            <a:pt x="327" y="150"/>
                          </a:lnTo>
                          <a:lnTo>
                            <a:pt x="328" y="150"/>
                          </a:lnTo>
                          <a:lnTo>
                            <a:pt x="323" y="150"/>
                          </a:lnTo>
                          <a:lnTo>
                            <a:pt x="323" y="152"/>
                          </a:lnTo>
                          <a:lnTo>
                            <a:pt x="321" y="151"/>
                          </a:lnTo>
                          <a:lnTo>
                            <a:pt x="320" y="151"/>
                          </a:lnTo>
                          <a:lnTo>
                            <a:pt x="320" y="154"/>
                          </a:lnTo>
                          <a:lnTo>
                            <a:pt x="321" y="157"/>
                          </a:lnTo>
                          <a:lnTo>
                            <a:pt x="315" y="156"/>
                          </a:lnTo>
                          <a:lnTo>
                            <a:pt x="317" y="158"/>
                          </a:lnTo>
                          <a:lnTo>
                            <a:pt x="315" y="160"/>
                          </a:lnTo>
                          <a:lnTo>
                            <a:pt x="313" y="163"/>
                          </a:lnTo>
                          <a:lnTo>
                            <a:pt x="310" y="163"/>
                          </a:lnTo>
                          <a:lnTo>
                            <a:pt x="309" y="158"/>
                          </a:lnTo>
                          <a:lnTo>
                            <a:pt x="311" y="157"/>
                          </a:lnTo>
                          <a:lnTo>
                            <a:pt x="311" y="154"/>
                          </a:lnTo>
                          <a:lnTo>
                            <a:pt x="308" y="154"/>
                          </a:lnTo>
                          <a:lnTo>
                            <a:pt x="308" y="153"/>
                          </a:lnTo>
                          <a:lnTo>
                            <a:pt x="307" y="153"/>
                          </a:lnTo>
                          <a:lnTo>
                            <a:pt x="305" y="153"/>
                          </a:lnTo>
                          <a:lnTo>
                            <a:pt x="303" y="153"/>
                          </a:lnTo>
                          <a:lnTo>
                            <a:pt x="305" y="154"/>
                          </a:lnTo>
                          <a:lnTo>
                            <a:pt x="305" y="157"/>
                          </a:lnTo>
                          <a:lnTo>
                            <a:pt x="303" y="156"/>
                          </a:lnTo>
                          <a:lnTo>
                            <a:pt x="303" y="159"/>
                          </a:lnTo>
                          <a:lnTo>
                            <a:pt x="301" y="161"/>
                          </a:lnTo>
                          <a:lnTo>
                            <a:pt x="298" y="160"/>
                          </a:lnTo>
                          <a:lnTo>
                            <a:pt x="297" y="157"/>
                          </a:lnTo>
                          <a:lnTo>
                            <a:pt x="295" y="160"/>
                          </a:lnTo>
                          <a:lnTo>
                            <a:pt x="295" y="161"/>
                          </a:lnTo>
                          <a:lnTo>
                            <a:pt x="294" y="163"/>
                          </a:lnTo>
                          <a:lnTo>
                            <a:pt x="293" y="165"/>
                          </a:lnTo>
                          <a:lnTo>
                            <a:pt x="289" y="165"/>
                          </a:lnTo>
                          <a:lnTo>
                            <a:pt x="287" y="168"/>
                          </a:lnTo>
                          <a:lnTo>
                            <a:pt x="284" y="170"/>
                          </a:lnTo>
                          <a:lnTo>
                            <a:pt x="283" y="166"/>
                          </a:lnTo>
                          <a:lnTo>
                            <a:pt x="283" y="165"/>
                          </a:lnTo>
                          <a:lnTo>
                            <a:pt x="281" y="166"/>
                          </a:lnTo>
                          <a:lnTo>
                            <a:pt x="280" y="166"/>
                          </a:lnTo>
                          <a:lnTo>
                            <a:pt x="280" y="165"/>
                          </a:lnTo>
                          <a:lnTo>
                            <a:pt x="277" y="165"/>
                          </a:lnTo>
                          <a:lnTo>
                            <a:pt x="282" y="170"/>
                          </a:lnTo>
                          <a:lnTo>
                            <a:pt x="281" y="170"/>
                          </a:lnTo>
                          <a:lnTo>
                            <a:pt x="277" y="167"/>
                          </a:lnTo>
                          <a:lnTo>
                            <a:pt x="275" y="166"/>
                          </a:lnTo>
                          <a:lnTo>
                            <a:pt x="276" y="170"/>
                          </a:lnTo>
                          <a:lnTo>
                            <a:pt x="274" y="167"/>
                          </a:lnTo>
                          <a:lnTo>
                            <a:pt x="273" y="170"/>
                          </a:lnTo>
                          <a:lnTo>
                            <a:pt x="271" y="170"/>
                          </a:lnTo>
                          <a:lnTo>
                            <a:pt x="270" y="172"/>
                          </a:lnTo>
                          <a:lnTo>
                            <a:pt x="269" y="172"/>
                          </a:lnTo>
                          <a:lnTo>
                            <a:pt x="267" y="171"/>
                          </a:lnTo>
                          <a:lnTo>
                            <a:pt x="266" y="170"/>
                          </a:lnTo>
                          <a:lnTo>
                            <a:pt x="263" y="171"/>
                          </a:lnTo>
                          <a:lnTo>
                            <a:pt x="264" y="173"/>
                          </a:lnTo>
                          <a:lnTo>
                            <a:pt x="266" y="174"/>
                          </a:lnTo>
                          <a:lnTo>
                            <a:pt x="266" y="176"/>
                          </a:lnTo>
                          <a:lnTo>
                            <a:pt x="266" y="178"/>
                          </a:lnTo>
                          <a:lnTo>
                            <a:pt x="264" y="179"/>
                          </a:lnTo>
                          <a:lnTo>
                            <a:pt x="266" y="180"/>
                          </a:lnTo>
                          <a:lnTo>
                            <a:pt x="268" y="181"/>
                          </a:lnTo>
                          <a:lnTo>
                            <a:pt x="267" y="185"/>
                          </a:lnTo>
                          <a:lnTo>
                            <a:pt x="264" y="184"/>
                          </a:lnTo>
                          <a:lnTo>
                            <a:pt x="266" y="181"/>
                          </a:lnTo>
                          <a:lnTo>
                            <a:pt x="264" y="187"/>
                          </a:lnTo>
                          <a:lnTo>
                            <a:pt x="263" y="186"/>
                          </a:lnTo>
                          <a:lnTo>
                            <a:pt x="261" y="185"/>
                          </a:lnTo>
                          <a:lnTo>
                            <a:pt x="258" y="183"/>
                          </a:lnTo>
                          <a:lnTo>
                            <a:pt x="256" y="184"/>
                          </a:lnTo>
                          <a:lnTo>
                            <a:pt x="254" y="185"/>
                          </a:lnTo>
                          <a:lnTo>
                            <a:pt x="250" y="186"/>
                          </a:lnTo>
                          <a:lnTo>
                            <a:pt x="249" y="183"/>
                          </a:lnTo>
                          <a:lnTo>
                            <a:pt x="247" y="184"/>
                          </a:lnTo>
                          <a:lnTo>
                            <a:pt x="243" y="184"/>
                          </a:lnTo>
                          <a:lnTo>
                            <a:pt x="243" y="183"/>
                          </a:lnTo>
                          <a:lnTo>
                            <a:pt x="243" y="180"/>
                          </a:lnTo>
                          <a:lnTo>
                            <a:pt x="242" y="184"/>
                          </a:lnTo>
                          <a:lnTo>
                            <a:pt x="240" y="180"/>
                          </a:lnTo>
                          <a:lnTo>
                            <a:pt x="237" y="178"/>
                          </a:lnTo>
                          <a:lnTo>
                            <a:pt x="236" y="179"/>
                          </a:lnTo>
                          <a:lnTo>
                            <a:pt x="235" y="177"/>
                          </a:lnTo>
                          <a:lnTo>
                            <a:pt x="230" y="177"/>
                          </a:lnTo>
                          <a:lnTo>
                            <a:pt x="230" y="174"/>
                          </a:lnTo>
                          <a:lnTo>
                            <a:pt x="230" y="172"/>
                          </a:lnTo>
                          <a:lnTo>
                            <a:pt x="227" y="173"/>
                          </a:lnTo>
                          <a:lnTo>
                            <a:pt x="228" y="171"/>
                          </a:lnTo>
                          <a:lnTo>
                            <a:pt x="229" y="168"/>
                          </a:lnTo>
                          <a:lnTo>
                            <a:pt x="233" y="167"/>
                          </a:lnTo>
                          <a:lnTo>
                            <a:pt x="236" y="168"/>
                          </a:lnTo>
                          <a:lnTo>
                            <a:pt x="240" y="166"/>
                          </a:lnTo>
                          <a:lnTo>
                            <a:pt x="241" y="168"/>
                          </a:lnTo>
                          <a:lnTo>
                            <a:pt x="242" y="168"/>
                          </a:lnTo>
                          <a:lnTo>
                            <a:pt x="244" y="167"/>
                          </a:lnTo>
                          <a:lnTo>
                            <a:pt x="246" y="167"/>
                          </a:lnTo>
                          <a:lnTo>
                            <a:pt x="247" y="167"/>
                          </a:lnTo>
                          <a:lnTo>
                            <a:pt x="248" y="166"/>
                          </a:lnTo>
                          <a:lnTo>
                            <a:pt x="248" y="165"/>
                          </a:lnTo>
                          <a:lnTo>
                            <a:pt x="246" y="164"/>
                          </a:lnTo>
                          <a:lnTo>
                            <a:pt x="244" y="161"/>
                          </a:lnTo>
                          <a:lnTo>
                            <a:pt x="242" y="163"/>
                          </a:lnTo>
                          <a:lnTo>
                            <a:pt x="242" y="160"/>
                          </a:lnTo>
                          <a:lnTo>
                            <a:pt x="241" y="160"/>
                          </a:lnTo>
                          <a:lnTo>
                            <a:pt x="238" y="159"/>
                          </a:lnTo>
                          <a:lnTo>
                            <a:pt x="236" y="158"/>
                          </a:lnTo>
                          <a:lnTo>
                            <a:pt x="234" y="157"/>
                          </a:lnTo>
                          <a:lnTo>
                            <a:pt x="234" y="154"/>
                          </a:lnTo>
                          <a:lnTo>
                            <a:pt x="231" y="153"/>
                          </a:lnTo>
                          <a:lnTo>
                            <a:pt x="230" y="154"/>
                          </a:lnTo>
                          <a:lnTo>
                            <a:pt x="228" y="152"/>
                          </a:lnTo>
                          <a:lnTo>
                            <a:pt x="229" y="151"/>
                          </a:lnTo>
                          <a:lnTo>
                            <a:pt x="228" y="151"/>
                          </a:lnTo>
                          <a:lnTo>
                            <a:pt x="226" y="150"/>
                          </a:lnTo>
                          <a:lnTo>
                            <a:pt x="228" y="153"/>
                          </a:lnTo>
                          <a:lnTo>
                            <a:pt x="228" y="153"/>
                          </a:lnTo>
                          <a:lnTo>
                            <a:pt x="222" y="153"/>
                          </a:lnTo>
                          <a:lnTo>
                            <a:pt x="217" y="153"/>
                          </a:lnTo>
                          <a:lnTo>
                            <a:pt x="215" y="153"/>
                          </a:lnTo>
                          <a:lnTo>
                            <a:pt x="211" y="152"/>
                          </a:lnTo>
                          <a:lnTo>
                            <a:pt x="209" y="153"/>
                          </a:lnTo>
                          <a:lnTo>
                            <a:pt x="207" y="152"/>
                          </a:lnTo>
                          <a:lnTo>
                            <a:pt x="206" y="151"/>
                          </a:lnTo>
                          <a:lnTo>
                            <a:pt x="204" y="151"/>
                          </a:lnTo>
                          <a:lnTo>
                            <a:pt x="204" y="152"/>
                          </a:lnTo>
                          <a:lnTo>
                            <a:pt x="203" y="151"/>
                          </a:lnTo>
                          <a:lnTo>
                            <a:pt x="200" y="150"/>
                          </a:lnTo>
                          <a:lnTo>
                            <a:pt x="198" y="148"/>
                          </a:lnTo>
                          <a:lnTo>
                            <a:pt x="196" y="148"/>
                          </a:lnTo>
                          <a:lnTo>
                            <a:pt x="197" y="150"/>
                          </a:lnTo>
                          <a:lnTo>
                            <a:pt x="197" y="152"/>
                          </a:lnTo>
                          <a:lnTo>
                            <a:pt x="197" y="152"/>
                          </a:lnTo>
                          <a:lnTo>
                            <a:pt x="195" y="153"/>
                          </a:lnTo>
                          <a:lnTo>
                            <a:pt x="197" y="156"/>
                          </a:lnTo>
                          <a:lnTo>
                            <a:pt x="201" y="156"/>
                          </a:lnTo>
                          <a:lnTo>
                            <a:pt x="204" y="159"/>
                          </a:lnTo>
                          <a:lnTo>
                            <a:pt x="206" y="159"/>
                          </a:lnTo>
                          <a:lnTo>
                            <a:pt x="207" y="159"/>
                          </a:lnTo>
                          <a:lnTo>
                            <a:pt x="210" y="160"/>
                          </a:lnTo>
                          <a:lnTo>
                            <a:pt x="211" y="164"/>
                          </a:lnTo>
                          <a:lnTo>
                            <a:pt x="211" y="164"/>
                          </a:lnTo>
                          <a:lnTo>
                            <a:pt x="210" y="168"/>
                          </a:lnTo>
                          <a:lnTo>
                            <a:pt x="211" y="171"/>
                          </a:lnTo>
                          <a:lnTo>
                            <a:pt x="210" y="174"/>
                          </a:lnTo>
                          <a:lnTo>
                            <a:pt x="211" y="178"/>
                          </a:lnTo>
                          <a:lnTo>
                            <a:pt x="213" y="179"/>
                          </a:lnTo>
                          <a:lnTo>
                            <a:pt x="216" y="179"/>
                          </a:lnTo>
                          <a:lnTo>
                            <a:pt x="218" y="178"/>
                          </a:lnTo>
                          <a:lnTo>
                            <a:pt x="218" y="181"/>
                          </a:lnTo>
                          <a:lnTo>
                            <a:pt x="222" y="184"/>
                          </a:lnTo>
                          <a:lnTo>
                            <a:pt x="223" y="185"/>
                          </a:lnTo>
                          <a:lnTo>
                            <a:pt x="224" y="188"/>
                          </a:lnTo>
                          <a:lnTo>
                            <a:pt x="224" y="192"/>
                          </a:lnTo>
                          <a:lnTo>
                            <a:pt x="226" y="192"/>
                          </a:lnTo>
                          <a:lnTo>
                            <a:pt x="227" y="196"/>
                          </a:lnTo>
                          <a:lnTo>
                            <a:pt x="229" y="197"/>
                          </a:lnTo>
                          <a:lnTo>
                            <a:pt x="226" y="197"/>
                          </a:lnTo>
                          <a:lnTo>
                            <a:pt x="223" y="197"/>
                          </a:lnTo>
                          <a:lnTo>
                            <a:pt x="221" y="198"/>
                          </a:lnTo>
                          <a:lnTo>
                            <a:pt x="218" y="197"/>
                          </a:lnTo>
                          <a:lnTo>
                            <a:pt x="217" y="196"/>
                          </a:lnTo>
                          <a:lnTo>
                            <a:pt x="215" y="196"/>
                          </a:lnTo>
                          <a:lnTo>
                            <a:pt x="214" y="194"/>
                          </a:lnTo>
                          <a:lnTo>
                            <a:pt x="211" y="193"/>
                          </a:lnTo>
                          <a:lnTo>
                            <a:pt x="208" y="191"/>
                          </a:lnTo>
                          <a:lnTo>
                            <a:pt x="207" y="192"/>
                          </a:lnTo>
                          <a:lnTo>
                            <a:pt x="204" y="191"/>
                          </a:lnTo>
                          <a:lnTo>
                            <a:pt x="201" y="191"/>
                          </a:lnTo>
                          <a:lnTo>
                            <a:pt x="198" y="191"/>
                          </a:lnTo>
                          <a:lnTo>
                            <a:pt x="197" y="193"/>
                          </a:lnTo>
                          <a:lnTo>
                            <a:pt x="196" y="190"/>
                          </a:lnTo>
                          <a:lnTo>
                            <a:pt x="194" y="193"/>
                          </a:lnTo>
                          <a:lnTo>
                            <a:pt x="191" y="194"/>
                          </a:lnTo>
                          <a:lnTo>
                            <a:pt x="190" y="198"/>
                          </a:lnTo>
                          <a:lnTo>
                            <a:pt x="188" y="200"/>
                          </a:lnTo>
                          <a:lnTo>
                            <a:pt x="184" y="199"/>
                          </a:lnTo>
                          <a:lnTo>
                            <a:pt x="183" y="200"/>
                          </a:lnTo>
                          <a:lnTo>
                            <a:pt x="181" y="201"/>
                          </a:lnTo>
                          <a:lnTo>
                            <a:pt x="178" y="201"/>
                          </a:lnTo>
                          <a:lnTo>
                            <a:pt x="177" y="200"/>
                          </a:lnTo>
                          <a:lnTo>
                            <a:pt x="176" y="201"/>
                          </a:lnTo>
                          <a:lnTo>
                            <a:pt x="175" y="204"/>
                          </a:lnTo>
                          <a:lnTo>
                            <a:pt x="173" y="204"/>
                          </a:lnTo>
                          <a:lnTo>
                            <a:pt x="173" y="206"/>
                          </a:lnTo>
                          <a:lnTo>
                            <a:pt x="170" y="206"/>
                          </a:lnTo>
                          <a:lnTo>
                            <a:pt x="169" y="208"/>
                          </a:lnTo>
                          <a:lnTo>
                            <a:pt x="168" y="210"/>
                          </a:lnTo>
                          <a:lnTo>
                            <a:pt x="168" y="212"/>
                          </a:lnTo>
                          <a:lnTo>
                            <a:pt x="170" y="213"/>
                          </a:lnTo>
                          <a:lnTo>
                            <a:pt x="171" y="216"/>
                          </a:lnTo>
                          <a:lnTo>
                            <a:pt x="174" y="218"/>
                          </a:lnTo>
                          <a:lnTo>
                            <a:pt x="176" y="219"/>
                          </a:lnTo>
                          <a:lnTo>
                            <a:pt x="178" y="223"/>
                          </a:lnTo>
                          <a:lnTo>
                            <a:pt x="178" y="220"/>
                          </a:lnTo>
                          <a:lnTo>
                            <a:pt x="181" y="224"/>
                          </a:lnTo>
                          <a:lnTo>
                            <a:pt x="176" y="226"/>
                          </a:lnTo>
                          <a:lnTo>
                            <a:pt x="174" y="226"/>
                          </a:lnTo>
                          <a:lnTo>
                            <a:pt x="171" y="226"/>
                          </a:lnTo>
                          <a:lnTo>
                            <a:pt x="169" y="225"/>
                          </a:lnTo>
                          <a:lnTo>
                            <a:pt x="166" y="225"/>
                          </a:lnTo>
                          <a:lnTo>
                            <a:pt x="163" y="224"/>
                          </a:lnTo>
                          <a:lnTo>
                            <a:pt x="161" y="221"/>
                          </a:lnTo>
                          <a:lnTo>
                            <a:pt x="156" y="220"/>
                          </a:lnTo>
                          <a:lnTo>
                            <a:pt x="155" y="219"/>
                          </a:lnTo>
                          <a:lnTo>
                            <a:pt x="154" y="220"/>
                          </a:lnTo>
                          <a:lnTo>
                            <a:pt x="151" y="220"/>
                          </a:lnTo>
                          <a:lnTo>
                            <a:pt x="149" y="220"/>
                          </a:lnTo>
                          <a:lnTo>
                            <a:pt x="147" y="218"/>
                          </a:lnTo>
                          <a:lnTo>
                            <a:pt x="147" y="220"/>
                          </a:lnTo>
                          <a:lnTo>
                            <a:pt x="146" y="219"/>
                          </a:lnTo>
                          <a:lnTo>
                            <a:pt x="143" y="217"/>
                          </a:lnTo>
                          <a:lnTo>
                            <a:pt x="143" y="216"/>
                          </a:lnTo>
                          <a:lnTo>
                            <a:pt x="140" y="216"/>
                          </a:lnTo>
                          <a:lnTo>
                            <a:pt x="137" y="214"/>
                          </a:lnTo>
                          <a:lnTo>
                            <a:pt x="135" y="214"/>
                          </a:lnTo>
                          <a:lnTo>
                            <a:pt x="131" y="214"/>
                          </a:lnTo>
                          <a:lnTo>
                            <a:pt x="131" y="216"/>
                          </a:lnTo>
                          <a:lnTo>
                            <a:pt x="129" y="216"/>
                          </a:lnTo>
                          <a:lnTo>
                            <a:pt x="129" y="218"/>
                          </a:lnTo>
                          <a:lnTo>
                            <a:pt x="128" y="219"/>
                          </a:lnTo>
                          <a:lnTo>
                            <a:pt x="128" y="220"/>
                          </a:lnTo>
                          <a:lnTo>
                            <a:pt x="128" y="223"/>
                          </a:lnTo>
                          <a:lnTo>
                            <a:pt x="127" y="224"/>
                          </a:lnTo>
                          <a:lnTo>
                            <a:pt x="131" y="225"/>
                          </a:lnTo>
                          <a:lnTo>
                            <a:pt x="135" y="227"/>
                          </a:lnTo>
                          <a:lnTo>
                            <a:pt x="137" y="228"/>
                          </a:lnTo>
                          <a:lnTo>
                            <a:pt x="138" y="230"/>
                          </a:lnTo>
                          <a:lnTo>
                            <a:pt x="142" y="231"/>
                          </a:lnTo>
                          <a:lnTo>
                            <a:pt x="144" y="231"/>
                          </a:lnTo>
                          <a:lnTo>
                            <a:pt x="147" y="228"/>
                          </a:lnTo>
                          <a:lnTo>
                            <a:pt x="149" y="231"/>
                          </a:lnTo>
                          <a:lnTo>
                            <a:pt x="150" y="233"/>
                          </a:lnTo>
                          <a:lnTo>
                            <a:pt x="150" y="234"/>
                          </a:lnTo>
                          <a:lnTo>
                            <a:pt x="153" y="237"/>
                          </a:lnTo>
                          <a:lnTo>
                            <a:pt x="151" y="240"/>
                          </a:lnTo>
                          <a:lnTo>
                            <a:pt x="147" y="239"/>
                          </a:lnTo>
                          <a:lnTo>
                            <a:pt x="142" y="238"/>
                          </a:lnTo>
                          <a:lnTo>
                            <a:pt x="137" y="238"/>
                          </a:lnTo>
                          <a:lnTo>
                            <a:pt x="136" y="237"/>
                          </a:lnTo>
                          <a:lnTo>
                            <a:pt x="133" y="237"/>
                          </a:lnTo>
                          <a:lnTo>
                            <a:pt x="130" y="236"/>
                          </a:lnTo>
                          <a:lnTo>
                            <a:pt x="127" y="233"/>
                          </a:lnTo>
                          <a:lnTo>
                            <a:pt x="123" y="231"/>
                          </a:lnTo>
                          <a:lnTo>
                            <a:pt x="120" y="230"/>
                          </a:lnTo>
                          <a:lnTo>
                            <a:pt x="117" y="230"/>
                          </a:lnTo>
                          <a:lnTo>
                            <a:pt x="115" y="230"/>
                          </a:lnTo>
                          <a:lnTo>
                            <a:pt x="115" y="230"/>
                          </a:lnTo>
                          <a:lnTo>
                            <a:pt x="110" y="228"/>
                          </a:lnTo>
                          <a:lnTo>
                            <a:pt x="108" y="226"/>
                          </a:lnTo>
                          <a:lnTo>
                            <a:pt x="107" y="225"/>
                          </a:lnTo>
                          <a:lnTo>
                            <a:pt x="104" y="226"/>
                          </a:lnTo>
                          <a:lnTo>
                            <a:pt x="106" y="223"/>
                          </a:lnTo>
                          <a:lnTo>
                            <a:pt x="104" y="221"/>
                          </a:lnTo>
                          <a:lnTo>
                            <a:pt x="107" y="220"/>
                          </a:lnTo>
                          <a:lnTo>
                            <a:pt x="104" y="218"/>
                          </a:lnTo>
                          <a:lnTo>
                            <a:pt x="102" y="214"/>
                          </a:lnTo>
                          <a:lnTo>
                            <a:pt x="101" y="213"/>
                          </a:lnTo>
                          <a:lnTo>
                            <a:pt x="98" y="212"/>
                          </a:lnTo>
                          <a:lnTo>
                            <a:pt x="100" y="210"/>
                          </a:lnTo>
                          <a:lnTo>
                            <a:pt x="101" y="207"/>
                          </a:lnTo>
                          <a:lnTo>
                            <a:pt x="98" y="207"/>
                          </a:lnTo>
                          <a:lnTo>
                            <a:pt x="101" y="206"/>
                          </a:lnTo>
                          <a:lnTo>
                            <a:pt x="100" y="204"/>
                          </a:lnTo>
                          <a:lnTo>
                            <a:pt x="100" y="203"/>
                          </a:lnTo>
                          <a:lnTo>
                            <a:pt x="100" y="201"/>
                          </a:lnTo>
                          <a:lnTo>
                            <a:pt x="98" y="199"/>
                          </a:lnTo>
                          <a:lnTo>
                            <a:pt x="97" y="199"/>
                          </a:lnTo>
                          <a:lnTo>
                            <a:pt x="95" y="198"/>
                          </a:lnTo>
                          <a:lnTo>
                            <a:pt x="93" y="197"/>
                          </a:lnTo>
                          <a:lnTo>
                            <a:pt x="93" y="196"/>
                          </a:lnTo>
                          <a:lnTo>
                            <a:pt x="89" y="196"/>
                          </a:lnTo>
                          <a:lnTo>
                            <a:pt x="87" y="196"/>
                          </a:lnTo>
                          <a:lnTo>
                            <a:pt x="84" y="194"/>
                          </a:lnTo>
                          <a:lnTo>
                            <a:pt x="86" y="193"/>
                          </a:lnTo>
                          <a:lnTo>
                            <a:pt x="83" y="193"/>
                          </a:lnTo>
                          <a:lnTo>
                            <a:pt x="82" y="192"/>
                          </a:lnTo>
                          <a:lnTo>
                            <a:pt x="81" y="190"/>
                          </a:lnTo>
                          <a:lnTo>
                            <a:pt x="80" y="190"/>
                          </a:lnTo>
                          <a:lnTo>
                            <a:pt x="76" y="188"/>
                          </a:lnTo>
                          <a:lnTo>
                            <a:pt x="74" y="188"/>
                          </a:lnTo>
                          <a:lnTo>
                            <a:pt x="73" y="187"/>
                          </a:lnTo>
                          <a:lnTo>
                            <a:pt x="70" y="186"/>
                          </a:lnTo>
                          <a:lnTo>
                            <a:pt x="67" y="184"/>
                          </a:lnTo>
                          <a:lnTo>
                            <a:pt x="64" y="183"/>
                          </a:lnTo>
                          <a:lnTo>
                            <a:pt x="62" y="183"/>
                          </a:lnTo>
                          <a:lnTo>
                            <a:pt x="60" y="180"/>
                          </a:lnTo>
                          <a:lnTo>
                            <a:pt x="63" y="180"/>
                          </a:lnTo>
                          <a:lnTo>
                            <a:pt x="67" y="180"/>
                          </a:lnTo>
                          <a:lnTo>
                            <a:pt x="69" y="181"/>
                          </a:lnTo>
                          <a:lnTo>
                            <a:pt x="69" y="183"/>
                          </a:lnTo>
                          <a:lnTo>
                            <a:pt x="71" y="184"/>
                          </a:lnTo>
                          <a:lnTo>
                            <a:pt x="71" y="184"/>
                          </a:lnTo>
                          <a:lnTo>
                            <a:pt x="74" y="185"/>
                          </a:lnTo>
                          <a:lnTo>
                            <a:pt x="75" y="185"/>
                          </a:lnTo>
                          <a:lnTo>
                            <a:pt x="80" y="187"/>
                          </a:lnTo>
                          <a:lnTo>
                            <a:pt x="81" y="187"/>
                          </a:lnTo>
                          <a:lnTo>
                            <a:pt x="83" y="186"/>
                          </a:lnTo>
                          <a:lnTo>
                            <a:pt x="87" y="187"/>
                          </a:lnTo>
                          <a:lnTo>
                            <a:pt x="89" y="187"/>
                          </a:lnTo>
                          <a:lnTo>
                            <a:pt x="93" y="188"/>
                          </a:lnTo>
                          <a:lnTo>
                            <a:pt x="95" y="191"/>
                          </a:lnTo>
                          <a:lnTo>
                            <a:pt x="97" y="191"/>
                          </a:lnTo>
                          <a:lnTo>
                            <a:pt x="101" y="192"/>
                          </a:lnTo>
                          <a:lnTo>
                            <a:pt x="103" y="191"/>
                          </a:lnTo>
                          <a:lnTo>
                            <a:pt x="104" y="192"/>
                          </a:lnTo>
                          <a:lnTo>
                            <a:pt x="109" y="193"/>
                          </a:lnTo>
                          <a:lnTo>
                            <a:pt x="114" y="192"/>
                          </a:lnTo>
                          <a:lnTo>
                            <a:pt x="116" y="194"/>
                          </a:lnTo>
                          <a:lnTo>
                            <a:pt x="118" y="193"/>
                          </a:lnTo>
                          <a:lnTo>
                            <a:pt x="118" y="194"/>
                          </a:lnTo>
                          <a:lnTo>
                            <a:pt x="124" y="194"/>
                          </a:lnTo>
                          <a:lnTo>
                            <a:pt x="128" y="196"/>
                          </a:lnTo>
                          <a:lnTo>
                            <a:pt x="131" y="196"/>
                          </a:lnTo>
                          <a:lnTo>
                            <a:pt x="137" y="198"/>
                          </a:lnTo>
                          <a:lnTo>
                            <a:pt x="141" y="198"/>
                          </a:lnTo>
                          <a:lnTo>
                            <a:pt x="144" y="199"/>
                          </a:lnTo>
                          <a:lnTo>
                            <a:pt x="147" y="199"/>
                          </a:lnTo>
                          <a:lnTo>
                            <a:pt x="149" y="200"/>
                          </a:lnTo>
                          <a:lnTo>
                            <a:pt x="151" y="200"/>
                          </a:lnTo>
                          <a:lnTo>
                            <a:pt x="153" y="199"/>
                          </a:lnTo>
                          <a:lnTo>
                            <a:pt x="154" y="199"/>
                          </a:lnTo>
                          <a:lnTo>
                            <a:pt x="156" y="198"/>
                          </a:lnTo>
                          <a:lnTo>
                            <a:pt x="160" y="199"/>
                          </a:lnTo>
                          <a:lnTo>
                            <a:pt x="162" y="199"/>
                          </a:lnTo>
                          <a:lnTo>
                            <a:pt x="162" y="198"/>
                          </a:lnTo>
                          <a:lnTo>
                            <a:pt x="164" y="198"/>
                          </a:lnTo>
                          <a:lnTo>
                            <a:pt x="167" y="196"/>
                          </a:lnTo>
                          <a:lnTo>
                            <a:pt x="169" y="197"/>
                          </a:lnTo>
                          <a:lnTo>
                            <a:pt x="171" y="196"/>
                          </a:lnTo>
                          <a:lnTo>
                            <a:pt x="173" y="193"/>
                          </a:lnTo>
                          <a:lnTo>
                            <a:pt x="174" y="193"/>
                          </a:lnTo>
                          <a:lnTo>
                            <a:pt x="175" y="192"/>
                          </a:lnTo>
                          <a:lnTo>
                            <a:pt x="177" y="190"/>
                          </a:lnTo>
                          <a:lnTo>
                            <a:pt x="178" y="188"/>
                          </a:lnTo>
                          <a:lnTo>
                            <a:pt x="182" y="185"/>
                          </a:lnTo>
                          <a:lnTo>
                            <a:pt x="182" y="183"/>
                          </a:lnTo>
                          <a:lnTo>
                            <a:pt x="182" y="180"/>
                          </a:lnTo>
                          <a:lnTo>
                            <a:pt x="181" y="178"/>
                          </a:lnTo>
                          <a:lnTo>
                            <a:pt x="178" y="174"/>
                          </a:lnTo>
                          <a:lnTo>
                            <a:pt x="177" y="174"/>
                          </a:lnTo>
                          <a:lnTo>
                            <a:pt x="174" y="172"/>
                          </a:lnTo>
                          <a:lnTo>
                            <a:pt x="175" y="168"/>
                          </a:lnTo>
                          <a:lnTo>
                            <a:pt x="173" y="167"/>
                          </a:lnTo>
                          <a:lnTo>
                            <a:pt x="171" y="167"/>
                          </a:lnTo>
                          <a:lnTo>
                            <a:pt x="168" y="165"/>
                          </a:lnTo>
                          <a:lnTo>
                            <a:pt x="166" y="165"/>
                          </a:lnTo>
                          <a:lnTo>
                            <a:pt x="163" y="164"/>
                          </a:lnTo>
                          <a:lnTo>
                            <a:pt x="160" y="161"/>
                          </a:lnTo>
                          <a:lnTo>
                            <a:pt x="154" y="160"/>
                          </a:lnTo>
                          <a:lnTo>
                            <a:pt x="153" y="161"/>
                          </a:lnTo>
                          <a:lnTo>
                            <a:pt x="148" y="160"/>
                          </a:lnTo>
                          <a:lnTo>
                            <a:pt x="147" y="158"/>
                          </a:lnTo>
                          <a:lnTo>
                            <a:pt x="144" y="158"/>
                          </a:lnTo>
                          <a:lnTo>
                            <a:pt x="140" y="158"/>
                          </a:lnTo>
                          <a:lnTo>
                            <a:pt x="140" y="156"/>
                          </a:lnTo>
                          <a:lnTo>
                            <a:pt x="136" y="156"/>
                          </a:lnTo>
                          <a:lnTo>
                            <a:pt x="134" y="153"/>
                          </a:lnTo>
                          <a:lnTo>
                            <a:pt x="130" y="153"/>
                          </a:lnTo>
                          <a:lnTo>
                            <a:pt x="126" y="154"/>
                          </a:lnTo>
                          <a:lnTo>
                            <a:pt x="126" y="152"/>
                          </a:lnTo>
                          <a:lnTo>
                            <a:pt x="126" y="151"/>
                          </a:lnTo>
                          <a:lnTo>
                            <a:pt x="124" y="150"/>
                          </a:lnTo>
                          <a:lnTo>
                            <a:pt x="122" y="150"/>
                          </a:lnTo>
                          <a:lnTo>
                            <a:pt x="121" y="151"/>
                          </a:lnTo>
                          <a:lnTo>
                            <a:pt x="120" y="152"/>
                          </a:lnTo>
                          <a:lnTo>
                            <a:pt x="120" y="150"/>
                          </a:lnTo>
                          <a:lnTo>
                            <a:pt x="116" y="151"/>
                          </a:lnTo>
                          <a:lnTo>
                            <a:pt x="117" y="148"/>
                          </a:lnTo>
                          <a:lnTo>
                            <a:pt x="115" y="147"/>
                          </a:lnTo>
                          <a:lnTo>
                            <a:pt x="111" y="147"/>
                          </a:lnTo>
                          <a:lnTo>
                            <a:pt x="110" y="145"/>
                          </a:lnTo>
                          <a:lnTo>
                            <a:pt x="108" y="147"/>
                          </a:lnTo>
                          <a:lnTo>
                            <a:pt x="108" y="147"/>
                          </a:lnTo>
                          <a:lnTo>
                            <a:pt x="107" y="147"/>
                          </a:lnTo>
                          <a:lnTo>
                            <a:pt x="103" y="146"/>
                          </a:lnTo>
                          <a:lnTo>
                            <a:pt x="102" y="144"/>
                          </a:lnTo>
                          <a:lnTo>
                            <a:pt x="102" y="143"/>
                          </a:lnTo>
                          <a:lnTo>
                            <a:pt x="98" y="140"/>
                          </a:lnTo>
                          <a:lnTo>
                            <a:pt x="96" y="140"/>
                          </a:lnTo>
                          <a:lnTo>
                            <a:pt x="94" y="140"/>
                          </a:lnTo>
                          <a:lnTo>
                            <a:pt x="91" y="139"/>
                          </a:lnTo>
                          <a:lnTo>
                            <a:pt x="91" y="139"/>
                          </a:lnTo>
                          <a:lnTo>
                            <a:pt x="89" y="138"/>
                          </a:lnTo>
                          <a:lnTo>
                            <a:pt x="87" y="140"/>
                          </a:lnTo>
                          <a:lnTo>
                            <a:pt x="84" y="140"/>
                          </a:lnTo>
                          <a:lnTo>
                            <a:pt x="81" y="138"/>
                          </a:lnTo>
                          <a:lnTo>
                            <a:pt x="77" y="139"/>
                          </a:lnTo>
                          <a:lnTo>
                            <a:pt x="75" y="138"/>
                          </a:lnTo>
                          <a:lnTo>
                            <a:pt x="74" y="137"/>
                          </a:lnTo>
                          <a:lnTo>
                            <a:pt x="70" y="138"/>
                          </a:lnTo>
                          <a:lnTo>
                            <a:pt x="68" y="140"/>
                          </a:lnTo>
                          <a:lnTo>
                            <a:pt x="66" y="141"/>
                          </a:lnTo>
                          <a:lnTo>
                            <a:pt x="64" y="143"/>
                          </a:lnTo>
                          <a:lnTo>
                            <a:pt x="63" y="140"/>
                          </a:lnTo>
                          <a:lnTo>
                            <a:pt x="66" y="138"/>
                          </a:lnTo>
                          <a:lnTo>
                            <a:pt x="64" y="138"/>
                          </a:lnTo>
                          <a:lnTo>
                            <a:pt x="63" y="137"/>
                          </a:lnTo>
                          <a:lnTo>
                            <a:pt x="60" y="137"/>
                          </a:lnTo>
                          <a:lnTo>
                            <a:pt x="55" y="134"/>
                          </a:lnTo>
                          <a:lnTo>
                            <a:pt x="58" y="134"/>
                          </a:lnTo>
                          <a:lnTo>
                            <a:pt x="62" y="132"/>
                          </a:lnTo>
                          <a:lnTo>
                            <a:pt x="61" y="131"/>
                          </a:lnTo>
                          <a:lnTo>
                            <a:pt x="58" y="132"/>
                          </a:lnTo>
                          <a:lnTo>
                            <a:pt x="55" y="130"/>
                          </a:lnTo>
                          <a:lnTo>
                            <a:pt x="53" y="131"/>
                          </a:lnTo>
                          <a:lnTo>
                            <a:pt x="49" y="130"/>
                          </a:lnTo>
                          <a:lnTo>
                            <a:pt x="46" y="129"/>
                          </a:lnTo>
                          <a:lnTo>
                            <a:pt x="42" y="130"/>
                          </a:lnTo>
                          <a:lnTo>
                            <a:pt x="42" y="132"/>
                          </a:lnTo>
                          <a:lnTo>
                            <a:pt x="40" y="133"/>
                          </a:lnTo>
                          <a:lnTo>
                            <a:pt x="34" y="132"/>
                          </a:lnTo>
                          <a:lnTo>
                            <a:pt x="30" y="132"/>
                          </a:lnTo>
                          <a:lnTo>
                            <a:pt x="29" y="136"/>
                          </a:lnTo>
                          <a:lnTo>
                            <a:pt x="19" y="133"/>
                          </a:lnTo>
                          <a:lnTo>
                            <a:pt x="15" y="139"/>
                          </a:lnTo>
                          <a:lnTo>
                            <a:pt x="6" y="139"/>
                          </a:lnTo>
                          <a:lnTo>
                            <a:pt x="3" y="141"/>
                          </a:lnTo>
                          <a:lnTo>
                            <a:pt x="3" y="144"/>
                          </a:lnTo>
                          <a:lnTo>
                            <a:pt x="6" y="145"/>
                          </a:lnTo>
                          <a:lnTo>
                            <a:pt x="0" y="147"/>
                          </a:lnTo>
                          <a:lnTo>
                            <a:pt x="0" y="148"/>
                          </a:lnTo>
                          <a:lnTo>
                            <a:pt x="3" y="147"/>
                          </a:lnTo>
                          <a:lnTo>
                            <a:pt x="4" y="148"/>
                          </a:lnTo>
                          <a:lnTo>
                            <a:pt x="4" y="151"/>
                          </a:lnTo>
                          <a:lnTo>
                            <a:pt x="1" y="154"/>
                          </a:lnTo>
                          <a:lnTo>
                            <a:pt x="7" y="158"/>
                          </a:lnTo>
                          <a:lnTo>
                            <a:pt x="6" y="160"/>
                          </a:lnTo>
                          <a:lnTo>
                            <a:pt x="15" y="161"/>
                          </a:lnTo>
                          <a:lnTo>
                            <a:pt x="21" y="166"/>
                          </a:lnTo>
                          <a:lnTo>
                            <a:pt x="26" y="168"/>
                          </a:lnTo>
                          <a:lnTo>
                            <a:pt x="26" y="171"/>
                          </a:lnTo>
                          <a:lnTo>
                            <a:pt x="26" y="172"/>
                          </a:lnTo>
                          <a:lnTo>
                            <a:pt x="21" y="176"/>
                          </a:lnTo>
                          <a:lnTo>
                            <a:pt x="16" y="181"/>
                          </a:lnTo>
                          <a:lnTo>
                            <a:pt x="17" y="183"/>
                          </a:lnTo>
                          <a:lnTo>
                            <a:pt x="22" y="187"/>
                          </a:lnTo>
                          <a:lnTo>
                            <a:pt x="26" y="190"/>
                          </a:lnTo>
                          <a:lnTo>
                            <a:pt x="27" y="192"/>
                          </a:lnTo>
                          <a:lnTo>
                            <a:pt x="31" y="197"/>
                          </a:lnTo>
                          <a:lnTo>
                            <a:pt x="35" y="201"/>
                          </a:lnTo>
                          <a:lnTo>
                            <a:pt x="36" y="205"/>
                          </a:lnTo>
                          <a:lnTo>
                            <a:pt x="35" y="204"/>
                          </a:lnTo>
                          <a:lnTo>
                            <a:pt x="31" y="205"/>
                          </a:lnTo>
                          <a:lnTo>
                            <a:pt x="33" y="206"/>
                          </a:lnTo>
                          <a:lnTo>
                            <a:pt x="33" y="207"/>
                          </a:lnTo>
                          <a:lnTo>
                            <a:pt x="31" y="207"/>
                          </a:lnTo>
                          <a:lnTo>
                            <a:pt x="33" y="211"/>
                          </a:lnTo>
                          <a:lnTo>
                            <a:pt x="31" y="212"/>
                          </a:lnTo>
                          <a:lnTo>
                            <a:pt x="31" y="212"/>
                          </a:lnTo>
                          <a:lnTo>
                            <a:pt x="35" y="213"/>
                          </a:lnTo>
                          <a:lnTo>
                            <a:pt x="36" y="214"/>
                          </a:lnTo>
                          <a:lnTo>
                            <a:pt x="31" y="216"/>
                          </a:lnTo>
                          <a:lnTo>
                            <a:pt x="33" y="218"/>
                          </a:lnTo>
                          <a:lnTo>
                            <a:pt x="36" y="220"/>
                          </a:lnTo>
                          <a:lnTo>
                            <a:pt x="40" y="220"/>
                          </a:lnTo>
                          <a:lnTo>
                            <a:pt x="42" y="224"/>
                          </a:lnTo>
                          <a:lnTo>
                            <a:pt x="40" y="224"/>
                          </a:lnTo>
                          <a:lnTo>
                            <a:pt x="40" y="225"/>
                          </a:lnTo>
                          <a:lnTo>
                            <a:pt x="41" y="226"/>
                          </a:lnTo>
                          <a:lnTo>
                            <a:pt x="41" y="227"/>
                          </a:lnTo>
                          <a:lnTo>
                            <a:pt x="44" y="228"/>
                          </a:lnTo>
                          <a:lnTo>
                            <a:pt x="49" y="231"/>
                          </a:lnTo>
                          <a:lnTo>
                            <a:pt x="50" y="234"/>
                          </a:lnTo>
                          <a:lnTo>
                            <a:pt x="47" y="238"/>
                          </a:lnTo>
                          <a:lnTo>
                            <a:pt x="43" y="239"/>
                          </a:lnTo>
                          <a:lnTo>
                            <a:pt x="47" y="243"/>
                          </a:lnTo>
                          <a:lnTo>
                            <a:pt x="55" y="245"/>
                          </a:lnTo>
                          <a:lnTo>
                            <a:pt x="58" y="246"/>
                          </a:lnTo>
                          <a:lnTo>
                            <a:pt x="63" y="248"/>
                          </a:lnTo>
                          <a:lnTo>
                            <a:pt x="69" y="254"/>
                          </a:lnTo>
                          <a:lnTo>
                            <a:pt x="68" y="257"/>
                          </a:lnTo>
                          <a:lnTo>
                            <a:pt x="67" y="260"/>
                          </a:lnTo>
                          <a:lnTo>
                            <a:pt x="67" y="263"/>
                          </a:lnTo>
                          <a:lnTo>
                            <a:pt x="62" y="266"/>
                          </a:lnTo>
                          <a:lnTo>
                            <a:pt x="60" y="267"/>
                          </a:lnTo>
                          <a:lnTo>
                            <a:pt x="55" y="272"/>
                          </a:lnTo>
                          <a:lnTo>
                            <a:pt x="49" y="279"/>
                          </a:lnTo>
                          <a:lnTo>
                            <a:pt x="43" y="284"/>
                          </a:lnTo>
                          <a:lnTo>
                            <a:pt x="42" y="286"/>
                          </a:lnTo>
                          <a:lnTo>
                            <a:pt x="37" y="288"/>
                          </a:lnTo>
                          <a:lnTo>
                            <a:pt x="35" y="291"/>
                          </a:lnTo>
                          <a:lnTo>
                            <a:pt x="34" y="291"/>
                          </a:lnTo>
                          <a:lnTo>
                            <a:pt x="31" y="293"/>
                          </a:lnTo>
                          <a:lnTo>
                            <a:pt x="29" y="295"/>
                          </a:lnTo>
                          <a:lnTo>
                            <a:pt x="24" y="299"/>
                          </a:lnTo>
                          <a:lnTo>
                            <a:pt x="24" y="299"/>
                          </a:lnTo>
                          <a:lnTo>
                            <a:pt x="29" y="298"/>
                          </a:lnTo>
                          <a:lnTo>
                            <a:pt x="30" y="298"/>
                          </a:lnTo>
                          <a:lnTo>
                            <a:pt x="30" y="299"/>
                          </a:lnTo>
                          <a:lnTo>
                            <a:pt x="33" y="299"/>
                          </a:lnTo>
                          <a:lnTo>
                            <a:pt x="34" y="299"/>
                          </a:lnTo>
                          <a:lnTo>
                            <a:pt x="35" y="300"/>
                          </a:lnTo>
                          <a:lnTo>
                            <a:pt x="35" y="303"/>
                          </a:lnTo>
                          <a:lnTo>
                            <a:pt x="36" y="303"/>
                          </a:lnTo>
                          <a:lnTo>
                            <a:pt x="39" y="303"/>
                          </a:lnTo>
                          <a:lnTo>
                            <a:pt x="39" y="304"/>
                          </a:lnTo>
                          <a:lnTo>
                            <a:pt x="40" y="305"/>
                          </a:lnTo>
                          <a:lnTo>
                            <a:pt x="41" y="304"/>
                          </a:lnTo>
                          <a:lnTo>
                            <a:pt x="41" y="304"/>
                          </a:lnTo>
                          <a:lnTo>
                            <a:pt x="41" y="305"/>
                          </a:lnTo>
                          <a:lnTo>
                            <a:pt x="42" y="305"/>
                          </a:lnTo>
                          <a:lnTo>
                            <a:pt x="42" y="306"/>
                          </a:lnTo>
                          <a:lnTo>
                            <a:pt x="43" y="306"/>
                          </a:lnTo>
                          <a:lnTo>
                            <a:pt x="43" y="305"/>
                          </a:lnTo>
                          <a:lnTo>
                            <a:pt x="44" y="304"/>
                          </a:lnTo>
                          <a:lnTo>
                            <a:pt x="46" y="304"/>
                          </a:lnTo>
                          <a:lnTo>
                            <a:pt x="47" y="305"/>
                          </a:lnTo>
                          <a:lnTo>
                            <a:pt x="49" y="306"/>
                          </a:lnTo>
                          <a:lnTo>
                            <a:pt x="50" y="305"/>
                          </a:lnTo>
                          <a:lnTo>
                            <a:pt x="50" y="305"/>
                          </a:lnTo>
                          <a:lnTo>
                            <a:pt x="51" y="305"/>
                          </a:lnTo>
                          <a:lnTo>
                            <a:pt x="51" y="305"/>
                          </a:lnTo>
                          <a:lnTo>
                            <a:pt x="51" y="306"/>
                          </a:lnTo>
                          <a:lnTo>
                            <a:pt x="51" y="307"/>
                          </a:lnTo>
                          <a:lnTo>
                            <a:pt x="53" y="307"/>
                          </a:lnTo>
                          <a:lnTo>
                            <a:pt x="55" y="306"/>
                          </a:lnTo>
                          <a:lnTo>
                            <a:pt x="56" y="307"/>
                          </a:lnTo>
                          <a:lnTo>
                            <a:pt x="56" y="310"/>
                          </a:lnTo>
                          <a:lnTo>
                            <a:pt x="54" y="310"/>
                          </a:lnTo>
                          <a:lnTo>
                            <a:pt x="51" y="311"/>
                          </a:lnTo>
                          <a:lnTo>
                            <a:pt x="48" y="311"/>
                          </a:lnTo>
                          <a:lnTo>
                            <a:pt x="42" y="311"/>
                          </a:lnTo>
                          <a:lnTo>
                            <a:pt x="41" y="312"/>
                          </a:lnTo>
                          <a:lnTo>
                            <a:pt x="37" y="312"/>
                          </a:lnTo>
                          <a:lnTo>
                            <a:pt x="36" y="314"/>
                          </a:lnTo>
                          <a:lnTo>
                            <a:pt x="34" y="313"/>
                          </a:lnTo>
                          <a:lnTo>
                            <a:pt x="33" y="314"/>
                          </a:lnTo>
                          <a:lnTo>
                            <a:pt x="30" y="314"/>
                          </a:lnTo>
                          <a:lnTo>
                            <a:pt x="24" y="333"/>
                          </a:lnTo>
                          <a:lnTo>
                            <a:pt x="27" y="340"/>
                          </a:lnTo>
                          <a:lnTo>
                            <a:pt x="28" y="350"/>
                          </a:lnTo>
                          <a:lnTo>
                            <a:pt x="24" y="352"/>
                          </a:lnTo>
                          <a:lnTo>
                            <a:pt x="33" y="360"/>
                          </a:lnTo>
                          <a:lnTo>
                            <a:pt x="31" y="363"/>
                          </a:lnTo>
                          <a:lnTo>
                            <a:pt x="46" y="384"/>
                          </a:lnTo>
                          <a:lnTo>
                            <a:pt x="62" y="387"/>
                          </a:lnTo>
                          <a:lnTo>
                            <a:pt x="64" y="390"/>
                          </a:lnTo>
                          <a:lnTo>
                            <a:pt x="68" y="386"/>
                          </a:lnTo>
                          <a:lnTo>
                            <a:pt x="87" y="393"/>
                          </a:lnTo>
                          <a:lnTo>
                            <a:pt x="86" y="397"/>
                          </a:lnTo>
                          <a:lnTo>
                            <a:pt x="90" y="401"/>
                          </a:lnTo>
                          <a:lnTo>
                            <a:pt x="90" y="406"/>
                          </a:lnTo>
                          <a:lnTo>
                            <a:pt x="93" y="410"/>
                          </a:lnTo>
                          <a:lnTo>
                            <a:pt x="96" y="418"/>
                          </a:lnTo>
                          <a:lnTo>
                            <a:pt x="113" y="428"/>
                          </a:lnTo>
                          <a:lnTo>
                            <a:pt x="114" y="439"/>
                          </a:lnTo>
                          <a:lnTo>
                            <a:pt x="106" y="441"/>
                          </a:lnTo>
                          <a:lnTo>
                            <a:pt x="104" y="446"/>
                          </a:lnTo>
                          <a:lnTo>
                            <a:pt x="109" y="455"/>
                          </a:lnTo>
                          <a:lnTo>
                            <a:pt x="116" y="461"/>
                          </a:lnTo>
                          <a:lnTo>
                            <a:pt x="121" y="455"/>
                          </a:lnTo>
                          <a:lnTo>
                            <a:pt x="127" y="455"/>
                          </a:lnTo>
                          <a:lnTo>
                            <a:pt x="131" y="454"/>
                          </a:lnTo>
                          <a:lnTo>
                            <a:pt x="143" y="455"/>
                          </a:lnTo>
                          <a:lnTo>
                            <a:pt x="149" y="460"/>
                          </a:lnTo>
                          <a:lnTo>
                            <a:pt x="148" y="470"/>
                          </a:lnTo>
                          <a:lnTo>
                            <a:pt x="154" y="477"/>
                          </a:lnTo>
                          <a:lnTo>
                            <a:pt x="160" y="477"/>
                          </a:lnTo>
                          <a:lnTo>
                            <a:pt x="166" y="477"/>
                          </a:lnTo>
                          <a:lnTo>
                            <a:pt x="175" y="491"/>
                          </a:lnTo>
                          <a:lnTo>
                            <a:pt x="180" y="493"/>
                          </a:lnTo>
                          <a:lnTo>
                            <a:pt x="184" y="491"/>
                          </a:lnTo>
                          <a:lnTo>
                            <a:pt x="191" y="495"/>
                          </a:lnTo>
                          <a:lnTo>
                            <a:pt x="196" y="497"/>
                          </a:lnTo>
                          <a:lnTo>
                            <a:pt x="207" y="493"/>
                          </a:lnTo>
                          <a:lnTo>
                            <a:pt x="218" y="502"/>
                          </a:lnTo>
                          <a:lnTo>
                            <a:pt x="229" y="500"/>
                          </a:lnTo>
                          <a:lnTo>
                            <a:pt x="234" y="504"/>
                          </a:lnTo>
                          <a:lnTo>
                            <a:pt x="251" y="512"/>
                          </a:lnTo>
                          <a:lnTo>
                            <a:pt x="249" y="519"/>
                          </a:lnTo>
                          <a:lnTo>
                            <a:pt x="253" y="525"/>
                          </a:lnTo>
                          <a:lnTo>
                            <a:pt x="251" y="527"/>
                          </a:lnTo>
                          <a:lnTo>
                            <a:pt x="257" y="535"/>
                          </a:lnTo>
                          <a:lnTo>
                            <a:pt x="255" y="544"/>
                          </a:lnTo>
                          <a:lnTo>
                            <a:pt x="240" y="544"/>
                          </a:lnTo>
                          <a:lnTo>
                            <a:pt x="238" y="547"/>
                          </a:lnTo>
                          <a:lnTo>
                            <a:pt x="233" y="550"/>
                          </a:lnTo>
                          <a:lnTo>
                            <a:pt x="234" y="553"/>
                          </a:lnTo>
                          <a:lnTo>
                            <a:pt x="236" y="558"/>
                          </a:lnTo>
                          <a:lnTo>
                            <a:pt x="238" y="559"/>
                          </a:lnTo>
                          <a:lnTo>
                            <a:pt x="241" y="558"/>
                          </a:lnTo>
                          <a:lnTo>
                            <a:pt x="242" y="558"/>
                          </a:lnTo>
                          <a:lnTo>
                            <a:pt x="243" y="557"/>
                          </a:lnTo>
                          <a:lnTo>
                            <a:pt x="246" y="557"/>
                          </a:lnTo>
                          <a:lnTo>
                            <a:pt x="247" y="559"/>
                          </a:lnTo>
                          <a:lnTo>
                            <a:pt x="248" y="559"/>
                          </a:lnTo>
                          <a:lnTo>
                            <a:pt x="249" y="558"/>
                          </a:lnTo>
                          <a:lnTo>
                            <a:pt x="254" y="558"/>
                          </a:lnTo>
                          <a:lnTo>
                            <a:pt x="253" y="561"/>
                          </a:lnTo>
                          <a:lnTo>
                            <a:pt x="250" y="561"/>
                          </a:lnTo>
                          <a:lnTo>
                            <a:pt x="248" y="562"/>
                          </a:lnTo>
                          <a:lnTo>
                            <a:pt x="248" y="564"/>
                          </a:lnTo>
                          <a:lnTo>
                            <a:pt x="246" y="565"/>
                          </a:lnTo>
                          <a:lnTo>
                            <a:pt x="246" y="565"/>
                          </a:lnTo>
                          <a:lnTo>
                            <a:pt x="244" y="564"/>
                          </a:lnTo>
                          <a:lnTo>
                            <a:pt x="242" y="564"/>
                          </a:lnTo>
                          <a:lnTo>
                            <a:pt x="241" y="565"/>
                          </a:lnTo>
                          <a:lnTo>
                            <a:pt x="243" y="568"/>
                          </a:lnTo>
                          <a:lnTo>
                            <a:pt x="240" y="568"/>
                          </a:lnTo>
                          <a:lnTo>
                            <a:pt x="237" y="567"/>
                          </a:lnTo>
                          <a:lnTo>
                            <a:pt x="236" y="568"/>
                          </a:lnTo>
                          <a:lnTo>
                            <a:pt x="235" y="567"/>
                          </a:lnTo>
                          <a:lnTo>
                            <a:pt x="233" y="570"/>
                          </a:lnTo>
                          <a:lnTo>
                            <a:pt x="233" y="572"/>
                          </a:lnTo>
                          <a:lnTo>
                            <a:pt x="234" y="573"/>
                          </a:lnTo>
                          <a:lnTo>
                            <a:pt x="237" y="574"/>
                          </a:lnTo>
                          <a:lnTo>
                            <a:pt x="240" y="577"/>
                          </a:lnTo>
                          <a:lnTo>
                            <a:pt x="241" y="577"/>
                          </a:lnTo>
                          <a:lnTo>
                            <a:pt x="241" y="578"/>
                          </a:lnTo>
                          <a:lnTo>
                            <a:pt x="242" y="581"/>
                          </a:lnTo>
                          <a:lnTo>
                            <a:pt x="240" y="580"/>
                          </a:lnTo>
                          <a:lnTo>
                            <a:pt x="236" y="578"/>
                          </a:lnTo>
                          <a:lnTo>
                            <a:pt x="237" y="582"/>
                          </a:lnTo>
                          <a:lnTo>
                            <a:pt x="238" y="585"/>
                          </a:lnTo>
                          <a:lnTo>
                            <a:pt x="236" y="585"/>
                          </a:lnTo>
                          <a:lnTo>
                            <a:pt x="235" y="586"/>
                          </a:lnTo>
                          <a:lnTo>
                            <a:pt x="235" y="588"/>
                          </a:lnTo>
                          <a:lnTo>
                            <a:pt x="235" y="589"/>
                          </a:lnTo>
                          <a:lnTo>
                            <a:pt x="234" y="593"/>
                          </a:lnTo>
                          <a:lnTo>
                            <a:pt x="233" y="594"/>
                          </a:lnTo>
                          <a:lnTo>
                            <a:pt x="230" y="595"/>
                          </a:lnTo>
                          <a:lnTo>
                            <a:pt x="228" y="597"/>
                          </a:lnTo>
                          <a:lnTo>
                            <a:pt x="222" y="595"/>
                          </a:lnTo>
                          <a:lnTo>
                            <a:pt x="218" y="597"/>
                          </a:lnTo>
                          <a:lnTo>
                            <a:pt x="221" y="598"/>
                          </a:lnTo>
                          <a:lnTo>
                            <a:pt x="223" y="599"/>
                          </a:lnTo>
                          <a:lnTo>
                            <a:pt x="216" y="600"/>
                          </a:lnTo>
                          <a:lnTo>
                            <a:pt x="217" y="601"/>
                          </a:lnTo>
                          <a:lnTo>
                            <a:pt x="221" y="602"/>
                          </a:lnTo>
                          <a:lnTo>
                            <a:pt x="223" y="602"/>
                          </a:lnTo>
                          <a:lnTo>
                            <a:pt x="226" y="602"/>
                          </a:lnTo>
                          <a:lnTo>
                            <a:pt x="228" y="602"/>
                          </a:lnTo>
                          <a:lnTo>
                            <a:pt x="230" y="606"/>
                          </a:lnTo>
                          <a:lnTo>
                            <a:pt x="231" y="609"/>
                          </a:lnTo>
                          <a:lnTo>
                            <a:pt x="234" y="609"/>
                          </a:lnTo>
                          <a:lnTo>
                            <a:pt x="236" y="609"/>
                          </a:lnTo>
                          <a:lnTo>
                            <a:pt x="237" y="611"/>
                          </a:lnTo>
                          <a:lnTo>
                            <a:pt x="241" y="612"/>
                          </a:lnTo>
                          <a:lnTo>
                            <a:pt x="243" y="613"/>
                          </a:lnTo>
                          <a:lnTo>
                            <a:pt x="246" y="614"/>
                          </a:lnTo>
                          <a:lnTo>
                            <a:pt x="249" y="614"/>
                          </a:lnTo>
                          <a:lnTo>
                            <a:pt x="251" y="615"/>
                          </a:lnTo>
                          <a:lnTo>
                            <a:pt x="253" y="615"/>
                          </a:lnTo>
                          <a:lnTo>
                            <a:pt x="254" y="617"/>
                          </a:lnTo>
                          <a:lnTo>
                            <a:pt x="257" y="618"/>
                          </a:lnTo>
                          <a:lnTo>
                            <a:pt x="258" y="620"/>
                          </a:lnTo>
                          <a:lnTo>
                            <a:pt x="260" y="622"/>
                          </a:lnTo>
                          <a:lnTo>
                            <a:pt x="262" y="624"/>
                          </a:lnTo>
                          <a:lnTo>
                            <a:pt x="264" y="624"/>
                          </a:lnTo>
                          <a:lnTo>
                            <a:pt x="267" y="624"/>
                          </a:lnTo>
                          <a:lnTo>
                            <a:pt x="268" y="624"/>
                          </a:lnTo>
                          <a:lnTo>
                            <a:pt x="270" y="626"/>
                          </a:lnTo>
                          <a:lnTo>
                            <a:pt x="273" y="627"/>
                          </a:lnTo>
                          <a:lnTo>
                            <a:pt x="274" y="628"/>
                          </a:lnTo>
                          <a:lnTo>
                            <a:pt x="282" y="629"/>
                          </a:lnTo>
                          <a:lnTo>
                            <a:pt x="285" y="628"/>
                          </a:lnTo>
                          <a:lnTo>
                            <a:pt x="294" y="629"/>
                          </a:lnTo>
                          <a:lnTo>
                            <a:pt x="297" y="633"/>
                          </a:lnTo>
                          <a:lnTo>
                            <a:pt x="302" y="635"/>
                          </a:lnTo>
                          <a:lnTo>
                            <a:pt x="313" y="639"/>
                          </a:lnTo>
                          <a:lnTo>
                            <a:pt x="322" y="639"/>
                          </a:lnTo>
                          <a:lnTo>
                            <a:pt x="330" y="641"/>
                          </a:lnTo>
                          <a:lnTo>
                            <a:pt x="338" y="647"/>
                          </a:lnTo>
                          <a:lnTo>
                            <a:pt x="343" y="648"/>
                          </a:lnTo>
                          <a:lnTo>
                            <a:pt x="351" y="646"/>
                          </a:lnTo>
                          <a:lnTo>
                            <a:pt x="360" y="647"/>
                          </a:lnTo>
                          <a:lnTo>
                            <a:pt x="370" y="651"/>
                          </a:lnTo>
                          <a:lnTo>
                            <a:pt x="376" y="651"/>
                          </a:lnTo>
                          <a:lnTo>
                            <a:pt x="375" y="655"/>
                          </a:lnTo>
                          <a:lnTo>
                            <a:pt x="375" y="655"/>
                          </a:lnTo>
                          <a:lnTo>
                            <a:pt x="390" y="664"/>
                          </a:lnTo>
                          <a:lnTo>
                            <a:pt x="395" y="662"/>
                          </a:lnTo>
                          <a:lnTo>
                            <a:pt x="398" y="666"/>
                          </a:lnTo>
                          <a:lnTo>
                            <a:pt x="403" y="668"/>
                          </a:lnTo>
                          <a:lnTo>
                            <a:pt x="408" y="674"/>
                          </a:lnTo>
                          <a:lnTo>
                            <a:pt x="417" y="677"/>
                          </a:lnTo>
                          <a:lnTo>
                            <a:pt x="417" y="671"/>
                          </a:lnTo>
                          <a:lnTo>
                            <a:pt x="421" y="668"/>
                          </a:lnTo>
                          <a:lnTo>
                            <a:pt x="428" y="662"/>
                          </a:lnTo>
                          <a:lnTo>
                            <a:pt x="423" y="660"/>
                          </a:lnTo>
                          <a:lnTo>
                            <a:pt x="420" y="657"/>
                          </a:lnTo>
                          <a:lnTo>
                            <a:pt x="416" y="653"/>
                          </a:lnTo>
                          <a:lnTo>
                            <a:pt x="414" y="651"/>
                          </a:lnTo>
                          <a:lnTo>
                            <a:pt x="410" y="648"/>
                          </a:lnTo>
                          <a:lnTo>
                            <a:pt x="404" y="644"/>
                          </a:lnTo>
                          <a:lnTo>
                            <a:pt x="405" y="641"/>
                          </a:lnTo>
                          <a:lnTo>
                            <a:pt x="405" y="638"/>
                          </a:lnTo>
                          <a:lnTo>
                            <a:pt x="405" y="637"/>
                          </a:lnTo>
                          <a:lnTo>
                            <a:pt x="404" y="633"/>
                          </a:lnTo>
                          <a:lnTo>
                            <a:pt x="404" y="633"/>
                          </a:lnTo>
                          <a:lnTo>
                            <a:pt x="404" y="627"/>
                          </a:lnTo>
                          <a:lnTo>
                            <a:pt x="403" y="627"/>
                          </a:lnTo>
                          <a:lnTo>
                            <a:pt x="403" y="624"/>
                          </a:lnTo>
                          <a:lnTo>
                            <a:pt x="402" y="624"/>
                          </a:lnTo>
                          <a:lnTo>
                            <a:pt x="398" y="621"/>
                          </a:lnTo>
                          <a:lnTo>
                            <a:pt x="398" y="619"/>
                          </a:lnTo>
                          <a:lnTo>
                            <a:pt x="394" y="619"/>
                          </a:lnTo>
                          <a:lnTo>
                            <a:pt x="390" y="617"/>
                          </a:lnTo>
                          <a:lnTo>
                            <a:pt x="385" y="614"/>
                          </a:lnTo>
                          <a:lnTo>
                            <a:pt x="384" y="611"/>
                          </a:lnTo>
                          <a:lnTo>
                            <a:pt x="387" y="608"/>
                          </a:lnTo>
                          <a:lnTo>
                            <a:pt x="388" y="609"/>
                          </a:lnTo>
                          <a:lnTo>
                            <a:pt x="390" y="608"/>
                          </a:lnTo>
                          <a:lnTo>
                            <a:pt x="391" y="601"/>
                          </a:lnTo>
                          <a:lnTo>
                            <a:pt x="393" y="600"/>
                          </a:lnTo>
                          <a:lnTo>
                            <a:pt x="393" y="598"/>
                          </a:lnTo>
                          <a:lnTo>
                            <a:pt x="393" y="597"/>
                          </a:lnTo>
                          <a:lnTo>
                            <a:pt x="395" y="595"/>
                          </a:lnTo>
                          <a:lnTo>
                            <a:pt x="395" y="593"/>
                          </a:lnTo>
                          <a:lnTo>
                            <a:pt x="396" y="588"/>
                          </a:lnTo>
                          <a:lnTo>
                            <a:pt x="400" y="589"/>
                          </a:lnTo>
                          <a:lnTo>
                            <a:pt x="402" y="588"/>
                          </a:lnTo>
                          <a:lnTo>
                            <a:pt x="404" y="586"/>
                          </a:lnTo>
                          <a:lnTo>
                            <a:pt x="407" y="585"/>
                          </a:lnTo>
                          <a:lnTo>
                            <a:pt x="409" y="585"/>
                          </a:lnTo>
                          <a:lnTo>
                            <a:pt x="411" y="585"/>
                          </a:lnTo>
                          <a:lnTo>
                            <a:pt x="409" y="580"/>
                          </a:lnTo>
                          <a:lnTo>
                            <a:pt x="405" y="575"/>
                          </a:lnTo>
                          <a:lnTo>
                            <a:pt x="401" y="566"/>
                          </a:lnTo>
                          <a:lnTo>
                            <a:pt x="408" y="567"/>
                          </a:lnTo>
                          <a:lnTo>
                            <a:pt x="410" y="565"/>
                          </a:lnTo>
                          <a:lnTo>
                            <a:pt x="407" y="559"/>
                          </a:lnTo>
                          <a:lnTo>
                            <a:pt x="394" y="550"/>
                          </a:lnTo>
                          <a:lnTo>
                            <a:pt x="385" y="539"/>
                          </a:lnTo>
                          <a:lnTo>
                            <a:pt x="378" y="533"/>
                          </a:lnTo>
                          <a:lnTo>
                            <a:pt x="370" y="532"/>
                          </a:lnTo>
                          <a:lnTo>
                            <a:pt x="367" y="532"/>
                          </a:lnTo>
                          <a:lnTo>
                            <a:pt x="362" y="533"/>
                          </a:lnTo>
                          <a:lnTo>
                            <a:pt x="358" y="532"/>
                          </a:lnTo>
                          <a:lnTo>
                            <a:pt x="360" y="526"/>
                          </a:lnTo>
                          <a:lnTo>
                            <a:pt x="362" y="521"/>
                          </a:lnTo>
                          <a:lnTo>
                            <a:pt x="361" y="515"/>
                          </a:lnTo>
                          <a:lnTo>
                            <a:pt x="360" y="504"/>
                          </a:lnTo>
                          <a:lnTo>
                            <a:pt x="364" y="493"/>
                          </a:lnTo>
                          <a:lnTo>
                            <a:pt x="368" y="493"/>
                          </a:lnTo>
                          <a:lnTo>
                            <a:pt x="371" y="497"/>
                          </a:lnTo>
                          <a:lnTo>
                            <a:pt x="381" y="502"/>
                          </a:lnTo>
                          <a:lnTo>
                            <a:pt x="387" y="504"/>
                          </a:lnTo>
                          <a:lnTo>
                            <a:pt x="389" y="501"/>
                          </a:lnTo>
                          <a:lnTo>
                            <a:pt x="385" y="493"/>
                          </a:lnTo>
                          <a:lnTo>
                            <a:pt x="382" y="487"/>
                          </a:lnTo>
                          <a:lnTo>
                            <a:pt x="387" y="487"/>
                          </a:lnTo>
                          <a:lnTo>
                            <a:pt x="388" y="482"/>
                          </a:lnTo>
                          <a:lnTo>
                            <a:pt x="389" y="479"/>
                          </a:lnTo>
                          <a:lnTo>
                            <a:pt x="401" y="471"/>
                          </a:lnTo>
                          <a:lnTo>
                            <a:pt x="403" y="466"/>
                          </a:lnTo>
                          <a:lnTo>
                            <a:pt x="414" y="470"/>
                          </a:lnTo>
                          <a:lnTo>
                            <a:pt x="424" y="475"/>
                          </a:lnTo>
                          <a:lnTo>
                            <a:pt x="427" y="472"/>
                          </a:lnTo>
                          <a:lnTo>
                            <a:pt x="429" y="467"/>
                          </a:lnTo>
                          <a:lnTo>
                            <a:pt x="433" y="466"/>
                          </a:lnTo>
                          <a:lnTo>
                            <a:pt x="441" y="472"/>
                          </a:lnTo>
                          <a:lnTo>
                            <a:pt x="451" y="471"/>
                          </a:lnTo>
                          <a:lnTo>
                            <a:pt x="464" y="471"/>
                          </a:lnTo>
                          <a:lnTo>
                            <a:pt x="468" y="478"/>
                          </a:lnTo>
                          <a:lnTo>
                            <a:pt x="476" y="490"/>
                          </a:lnTo>
                          <a:lnTo>
                            <a:pt x="485" y="492"/>
                          </a:lnTo>
                          <a:lnTo>
                            <a:pt x="488" y="492"/>
                          </a:lnTo>
                          <a:lnTo>
                            <a:pt x="477" y="479"/>
                          </a:lnTo>
                          <a:lnTo>
                            <a:pt x="480" y="478"/>
                          </a:lnTo>
                          <a:lnTo>
                            <a:pt x="487" y="480"/>
                          </a:lnTo>
                          <a:lnTo>
                            <a:pt x="502" y="481"/>
                          </a:lnTo>
                          <a:lnTo>
                            <a:pt x="502" y="481"/>
                          </a:lnTo>
                          <a:lnTo>
                            <a:pt x="502" y="481"/>
                          </a:lnTo>
                          <a:lnTo>
                            <a:pt x="514" y="478"/>
                          </a:lnTo>
                          <a:lnTo>
                            <a:pt x="523" y="478"/>
                          </a:lnTo>
                          <a:lnTo>
                            <a:pt x="534" y="482"/>
                          </a:lnTo>
                          <a:lnTo>
                            <a:pt x="532" y="478"/>
                          </a:lnTo>
                          <a:lnTo>
                            <a:pt x="537" y="481"/>
                          </a:lnTo>
                          <a:lnTo>
                            <a:pt x="541" y="482"/>
                          </a:lnTo>
                          <a:lnTo>
                            <a:pt x="547" y="482"/>
                          </a:lnTo>
                          <a:lnTo>
                            <a:pt x="552" y="484"/>
                          </a:lnTo>
                          <a:lnTo>
                            <a:pt x="560" y="486"/>
                          </a:lnTo>
                          <a:lnTo>
                            <a:pt x="561" y="482"/>
                          </a:lnTo>
                          <a:lnTo>
                            <a:pt x="565" y="487"/>
                          </a:lnTo>
                          <a:lnTo>
                            <a:pt x="574" y="487"/>
                          </a:lnTo>
                          <a:lnTo>
                            <a:pt x="582" y="485"/>
                          </a:lnTo>
                          <a:lnTo>
                            <a:pt x="582" y="477"/>
                          </a:lnTo>
                          <a:lnTo>
                            <a:pt x="577" y="472"/>
                          </a:lnTo>
                          <a:lnTo>
                            <a:pt x="572" y="472"/>
                          </a:lnTo>
                          <a:lnTo>
                            <a:pt x="570" y="470"/>
                          </a:lnTo>
                          <a:lnTo>
                            <a:pt x="563" y="470"/>
                          </a:lnTo>
                          <a:lnTo>
                            <a:pt x="562" y="466"/>
                          </a:lnTo>
                          <a:lnTo>
                            <a:pt x="554" y="462"/>
                          </a:lnTo>
                          <a:lnTo>
                            <a:pt x="560" y="460"/>
                          </a:lnTo>
                          <a:lnTo>
                            <a:pt x="564" y="454"/>
                          </a:lnTo>
                          <a:lnTo>
                            <a:pt x="558" y="447"/>
                          </a:lnTo>
                          <a:lnTo>
                            <a:pt x="561" y="441"/>
                          </a:lnTo>
                          <a:lnTo>
                            <a:pt x="565" y="442"/>
                          </a:lnTo>
                          <a:lnTo>
                            <a:pt x="576" y="441"/>
                          </a:lnTo>
                          <a:lnTo>
                            <a:pt x="576" y="439"/>
                          </a:lnTo>
                          <a:lnTo>
                            <a:pt x="568" y="435"/>
                          </a:lnTo>
                          <a:lnTo>
                            <a:pt x="562" y="437"/>
                          </a:lnTo>
                          <a:lnTo>
                            <a:pt x="560" y="433"/>
                          </a:lnTo>
                          <a:lnTo>
                            <a:pt x="555" y="431"/>
                          </a:lnTo>
                          <a:lnTo>
                            <a:pt x="554" y="423"/>
                          </a:lnTo>
                          <a:lnTo>
                            <a:pt x="554" y="423"/>
                          </a:lnTo>
                          <a:lnTo>
                            <a:pt x="560" y="420"/>
                          </a:lnTo>
                          <a:lnTo>
                            <a:pt x="568" y="423"/>
                          </a:lnTo>
                          <a:lnTo>
                            <a:pt x="572" y="421"/>
                          </a:lnTo>
                          <a:lnTo>
                            <a:pt x="580" y="420"/>
                          </a:lnTo>
                          <a:lnTo>
                            <a:pt x="592" y="417"/>
                          </a:lnTo>
                          <a:lnTo>
                            <a:pt x="597" y="415"/>
                          </a:lnTo>
                          <a:lnTo>
                            <a:pt x="609" y="414"/>
                          </a:lnTo>
                          <a:lnTo>
                            <a:pt x="614" y="411"/>
                          </a:lnTo>
                          <a:lnTo>
                            <a:pt x="620" y="408"/>
                          </a:lnTo>
                          <a:lnTo>
                            <a:pt x="634" y="408"/>
                          </a:lnTo>
                          <a:lnTo>
                            <a:pt x="649" y="407"/>
                          </a:lnTo>
                          <a:lnTo>
                            <a:pt x="664" y="405"/>
                          </a:lnTo>
                          <a:lnTo>
                            <a:pt x="677" y="403"/>
                          </a:lnTo>
                          <a:lnTo>
                            <a:pt x="684" y="400"/>
                          </a:lnTo>
                          <a:lnTo>
                            <a:pt x="690" y="397"/>
                          </a:lnTo>
                          <a:lnTo>
                            <a:pt x="695" y="400"/>
                          </a:lnTo>
                          <a:lnTo>
                            <a:pt x="707" y="401"/>
                          </a:lnTo>
                          <a:lnTo>
                            <a:pt x="711" y="408"/>
                          </a:lnTo>
                          <a:lnTo>
                            <a:pt x="722" y="414"/>
                          </a:lnTo>
                          <a:lnTo>
                            <a:pt x="722" y="414"/>
                          </a:lnTo>
                          <a:lnTo>
                            <a:pt x="727" y="420"/>
                          </a:lnTo>
                          <a:lnTo>
                            <a:pt x="732" y="417"/>
                          </a:lnTo>
                          <a:lnTo>
                            <a:pt x="739" y="420"/>
                          </a:lnTo>
                          <a:lnTo>
                            <a:pt x="748" y="419"/>
                          </a:lnTo>
                          <a:lnTo>
                            <a:pt x="744" y="428"/>
                          </a:lnTo>
                          <a:lnTo>
                            <a:pt x="756" y="428"/>
                          </a:lnTo>
                          <a:lnTo>
                            <a:pt x="763" y="433"/>
                          </a:lnTo>
                          <a:lnTo>
                            <a:pt x="767" y="426"/>
                          </a:lnTo>
                          <a:lnTo>
                            <a:pt x="771" y="423"/>
                          </a:lnTo>
                          <a:lnTo>
                            <a:pt x="782" y="414"/>
                          </a:lnTo>
                          <a:lnTo>
                            <a:pt x="789" y="411"/>
                          </a:lnTo>
                          <a:lnTo>
                            <a:pt x="792" y="417"/>
                          </a:lnTo>
                          <a:lnTo>
                            <a:pt x="787" y="419"/>
                          </a:lnTo>
                          <a:lnTo>
                            <a:pt x="794" y="423"/>
                          </a:lnTo>
                          <a:lnTo>
                            <a:pt x="817" y="433"/>
                          </a:lnTo>
                          <a:lnTo>
                            <a:pt x="823" y="433"/>
                          </a:lnTo>
                          <a:lnTo>
                            <a:pt x="837" y="451"/>
                          </a:lnTo>
                          <a:lnTo>
                            <a:pt x="841" y="455"/>
                          </a:lnTo>
                          <a:lnTo>
                            <a:pt x="852" y="466"/>
                          </a:lnTo>
                          <a:lnTo>
                            <a:pt x="861" y="471"/>
                          </a:lnTo>
                          <a:lnTo>
                            <a:pt x="876" y="484"/>
                          </a:lnTo>
                          <a:lnTo>
                            <a:pt x="882" y="482"/>
                          </a:lnTo>
                          <a:lnTo>
                            <a:pt x="879" y="477"/>
                          </a:lnTo>
                          <a:lnTo>
                            <a:pt x="887" y="474"/>
                          </a:lnTo>
                          <a:lnTo>
                            <a:pt x="894" y="475"/>
                          </a:lnTo>
                          <a:lnTo>
                            <a:pt x="898" y="478"/>
                          </a:lnTo>
                          <a:lnTo>
                            <a:pt x="907" y="478"/>
                          </a:lnTo>
                          <a:lnTo>
                            <a:pt x="910" y="474"/>
                          </a:lnTo>
                          <a:lnTo>
                            <a:pt x="916" y="473"/>
                          </a:lnTo>
                          <a:lnTo>
                            <a:pt x="922" y="474"/>
                          </a:lnTo>
                          <a:lnTo>
                            <a:pt x="927" y="481"/>
                          </a:lnTo>
                          <a:lnTo>
                            <a:pt x="930" y="488"/>
                          </a:lnTo>
                          <a:lnTo>
                            <a:pt x="936" y="490"/>
                          </a:lnTo>
                          <a:lnTo>
                            <a:pt x="942" y="486"/>
                          </a:lnTo>
                          <a:lnTo>
                            <a:pt x="948" y="487"/>
                          </a:lnTo>
                          <a:lnTo>
                            <a:pt x="956" y="492"/>
                          </a:lnTo>
                          <a:lnTo>
                            <a:pt x="962" y="500"/>
                          </a:lnTo>
                          <a:lnTo>
                            <a:pt x="971" y="502"/>
                          </a:lnTo>
                          <a:lnTo>
                            <a:pt x="974" y="507"/>
                          </a:lnTo>
                          <a:lnTo>
                            <a:pt x="985" y="510"/>
                          </a:lnTo>
                          <a:lnTo>
                            <a:pt x="989" y="505"/>
                          </a:lnTo>
                          <a:lnTo>
                            <a:pt x="991" y="510"/>
                          </a:lnTo>
                          <a:lnTo>
                            <a:pt x="998" y="511"/>
                          </a:lnTo>
                          <a:lnTo>
                            <a:pt x="1014" y="521"/>
                          </a:lnTo>
                          <a:lnTo>
                            <a:pt x="1014" y="521"/>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80" name="Freeform 136">
                      <a:extLst>
                        <a:ext uri="{FF2B5EF4-FFF2-40B4-BE49-F238E27FC236}">
                          <a16:creationId xmlns:a16="http://schemas.microsoft.com/office/drawing/2014/main" id="{B8004A08-E752-F94E-B662-ED3B8D5BFADE}"/>
                        </a:ext>
                      </a:extLst>
                    </p:cNvPr>
                    <p:cNvSpPr>
                      <a:spLocks/>
                    </p:cNvSpPr>
                    <p:nvPr>
                      <p:custDataLst>
                        <p:tags r:id="rId12"/>
                      </p:custDataLst>
                    </p:nvPr>
                  </p:nvSpPr>
                  <p:spPr bwMode="auto">
                    <a:xfrm>
                      <a:off x="8518980" y="2555845"/>
                      <a:ext cx="241168" cy="274931"/>
                    </a:xfrm>
                    <a:custGeom>
                      <a:avLst/>
                      <a:gdLst>
                        <a:gd name="T0" fmla="*/ 31 w 150"/>
                        <a:gd name="T1" fmla="*/ 52 h 171"/>
                        <a:gd name="T2" fmla="*/ 45 w 150"/>
                        <a:gd name="T3" fmla="*/ 59 h 171"/>
                        <a:gd name="T4" fmla="*/ 50 w 150"/>
                        <a:gd name="T5" fmla="*/ 65 h 171"/>
                        <a:gd name="T6" fmla="*/ 55 w 150"/>
                        <a:gd name="T7" fmla="*/ 73 h 171"/>
                        <a:gd name="T8" fmla="*/ 59 w 150"/>
                        <a:gd name="T9" fmla="*/ 78 h 171"/>
                        <a:gd name="T10" fmla="*/ 64 w 150"/>
                        <a:gd name="T11" fmla="*/ 85 h 171"/>
                        <a:gd name="T12" fmla="*/ 72 w 150"/>
                        <a:gd name="T13" fmla="*/ 93 h 171"/>
                        <a:gd name="T14" fmla="*/ 75 w 150"/>
                        <a:gd name="T15" fmla="*/ 97 h 171"/>
                        <a:gd name="T16" fmla="*/ 78 w 150"/>
                        <a:gd name="T17" fmla="*/ 104 h 171"/>
                        <a:gd name="T18" fmla="*/ 80 w 150"/>
                        <a:gd name="T19" fmla="*/ 108 h 171"/>
                        <a:gd name="T20" fmla="*/ 86 w 150"/>
                        <a:gd name="T21" fmla="*/ 117 h 171"/>
                        <a:gd name="T22" fmla="*/ 92 w 150"/>
                        <a:gd name="T23" fmla="*/ 119 h 171"/>
                        <a:gd name="T24" fmla="*/ 95 w 150"/>
                        <a:gd name="T25" fmla="*/ 127 h 171"/>
                        <a:gd name="T26" fmla="*/ 102 w 150"/>
                        <a:gd name="T27" fmla="*/ 134 h 171"/>
                        <a:gd name="T28" fmla="*/ 108 w 150"/>
                        <a:gd name="T29" fmla="*/ 145 h 171"/>
                        <a:gd name="T30" fmla="*/ 114 w 150"/>
                        <a:gd name="T31" fmla="*/ 153 h 171"/>
                        <a:gd name="T32" fmla="*/ 120 w 150"/>
                        <a:gd name="T33" fmla="*/ 162 h 171"/>
                        <a:gd name="T34" fmla="*/ 127 w 150"/>
                        <a:gd name="T35" fmla="*/ 168 h 171"/>
                        <a:gd name="T36" fmla="*/ 127 w 150"/>
                        <a:gd name="T37" fmla="*/ 159 h 171"/>
                        <a:gd name="T38" fmla="*/ 138 w 150"/>
                        <a:gd name="T39" fmla="*/ 159 h 171"/>
                        <a:gd name="T40" fmla="*/ 147 w 150"/>
                        <a:gd name="T41" fmla="*/ 165 h 171"/>
                        <a:gd name="T42" fmla="*/ 146 w 150"/>
                        <a:gd name="T43" fmla="*/ 158 h 171"/>
                        <a:gd name="T44" fmla="*/ 137 w 150"/>
                        <a:gd name="T45" fmla="*/ 150 h 171"/>
                        <a:gd name="T46" fmla="*/ 128 w 150"/>
                        <a:gd name="T47" fmla="*/ 145 h 171"/>
                        <a:gd name="T48" fmla="*/ 117 w 150"/>
                        <a:gd name="T49" fmla="*/ 137 h 171"/>
                        <a:gd name="T50" fmla="*/ 108 w 150"/>
                        <a:gd name="T51" fmla="*/ 132 h 171"/>
                        <a:gd name="T52" fmla="*/ 106 w 150"/>
                        <a:gd name="T53" fmla="*/ 126 h 171"/>
                        <a:gd name="T54" fmla="*/ 104 w 150"/>
                        <a:gd name="T55" fmla="*/ 117 h 171"/>
                        <a:gd name="T56" fmla="*/ 95 w 150"/>
                        <a:gd name="T57" fmla="*/ 107 h 171"/>
                        <a:gd name="T58" fmla="*/ 106 w 150"/>
                        <a:gd name="T59" fmla="*/ 104 h 171"/>
                        <a:gd name="T60" fmla="*/ 121 w 150"/>
                        <a:gd name="T61" fmla="*/ 111 h 171"/>
                        <a:gd name="T62" fmla="*/ 130 w 150"/>
                        <a:gd name="T63" fmla="*/ 114 h 171"/>
                        <a:gd name="T64" fmla="*/ 121 w 150"/>
                        <a:gd name="T65" fmla="*/ 107 h 171"/>
                        <a:gd name="T66" fmla="*/ 111 w 150"/>
                        <a:gd name="T67" fmla="*/ 97 h 171"/>
                        <a:gd name="T68" fmla="*/ 94 w 150"/>
                        <a:gd name="T69" fmla="*/ 84 h 171"/>
                        <a:gd name="T70" fmla="*/ 86 w 150"/>
                        <a:gd name="T71" fmla="*/ 75 h 171"/>
                        <a:gd name="T72" fmla="*/ 74 w 150"/>
                        <a:gd name="T73" fmla="*/ 65 h 171"/>
                        <a:gd name="T74" fmla="*/ 64 w 150"/>
                        <a:gd name="T75" fmla="*/ 57 h 171"/>
                        <a:gd name="T76" fmla="*/ 52 w 150"/>
                        <a:gd name="T77" fmla="*/ 48 h 171"/>
                        <a:gd name="T78" fmla="*/ 51 w 150"/>
                        <a:gd name="T79" fmla="*/ 42 h 171"/>
                        <a:gd name="T80" fmla="*/ 45 w 150"/>
                        <a:gd name="T81" fmla="*/ 34 h 171"/>
                        <a:gd name="T82" fmla="*/ 33 w 150"/>
                        <a:gd name="T83" fmla="*/ 22 h 171"/>
                        <a:gd name="T84" fmla="*/ 24 w 150"/>
                        <a:gd name="T85" fmla="*/ 17 h 171"/>
                        <a:gd name="T86" fmla="*/ 15 w 150"/>
                        <a:gd name="T87" fmla="*/ 11 h 171"/>
                        <a:gd name="T88" fmla="*/ 13 w 150"/>
                        <a:gd name="T89" fmla="*/ 5 h 171"/>
                        <a:gd name="T90" fmla="*/ 6 w 150"/>
                        <a:gd name="T91" fmla="*/ 3 h 171"/>
                        <a:gd name="T92" fmla="*/ 1 w 150"/>
                        <a:gd name="T93" fmla="*/ 3 h 171"/>
                        <a:gd name="T94" fmla="*/ 5 w 150"/>
                        <a:gd name="T95" fmla="*/ 5 h 171"/>
                        <a:gd name="T96" fmla="*/ 12 w 150"/>
                        <a:gd name="T97" fmla="*/ 12 h 171"/>
                        <a:gd name="T98" fmla="*/ 13 w 150"/>
                        <a:gd name="T99" fmla="*/ 19 h 171"/>
                        <a:gd name="T100" fmla="*/ 7 w 150"/>
                        <a:gd name="T101" fmla="*/ 20 h 171"/>
                        <a:gd name="T102" fmla="*/ 13 w 150"/>
                        <a:gd name="T103" fmla="*/ 26 h 171"/>
                        <a:gd name="T104" fmla="*/ 18 w 150"/>
                        <a:gd name="T105" fmla="*/ 31 h 171"/>
                        <a:gd name="T106" fmla="*/ 20 w 150"/>
                        <a:gd name="T107" fmla="*/ 35 h 1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50" h="171">
                          <a:moveTo>
                            <a:pt x="24" y="39"/>
                          </a:moveTo>
                          <a:lnTo>
                            <a:pt x="25" y="40"/>
                          </a:lnTo>
                          <a:lnTo>
                            <a:pt x="26" y="42"/>
                          </a:lnTo>
                          <a:lnTo>
                            <a:pt x="33" y="50"/>
                          </a:lnTo>
                          <a:lnTo>
                            <a:pt x="34" y="51"/>
                          </a:lnTo>
                          <a:lnTo>
                            <a:pt x="31" y="52"/>
                          </a:lnTo>
                          <a:lnTo>
                            <a:pt x="34" y="53"/>
                          </a:lnTo>
                          <a:lnTo>
                            <a:pt x="38" y="55"/>
                          </a:lnTo>
                          <a:lnTo>
                            <a:pt x="38" y="58"/>
                          </a:lnTo>
                          <a:lnTo>
                            <a:pt x="40" y="58"/>
                          </a:lnTo>
                          <a:lnTo>
                            <a:pt x="44" y="59"/>
                          </a:lnTo>
                          <a:lnTo>
                            <a:pt x="45" y="59"/>
                          </a:lnTo>
                          <a:lnTo>
                            <a:pt x="44" y="61"/>
                          </a:lnTo>
                          <a:lnTo>
                            <a:pt x="45" y="62"/>
                          </a:lnTo>
                          <a:lnTo>
                            <a:pt x="46" y="64"/>
                          </a:lnTo>
                          <a:lnTo>
                            <a:pt x="47" y="64"/>
                          </a:lnTo>
                          <a:lnTo>
                            <a:pt x="50" y="64"/>
                          </a:lnTo>
                          <a:lnTo>
                            <a:pt x="50" y="65"/>
                          </a:lnTo>
                          <a:lnTo>
                            <a:pt x="51" y="66"/>
                          </a:lnTo>
                          <a:lnTo>
                            <a:pt x="52" y="68"/>
                          </a:lnTo>
                          <a:lnTo>
                            <a:pt x="53" y="70"/>
                          </a:lnTo>
                          <a:lnTo>
                            <a:pt x="54" y="72"/>
                          </a:lnTo>
                          <a:lnTo>
                            <a:pt x="54" y="73"/>
                          </a:lnTo>
                          <a:lnTo>
                            <a:pt x="55" y="73"/>
                          </a:lnTo>
                          <a:lnTo>
                            <a:pt x="58" y="73"/>
                          </a:lnTo>
                          <a:lnTo>
                            <a:pt x="58" y="74"/>
                          </a:lnTo>
                          <a:lnTo>
                            <a:pt x="57" y="75"/>
                          </a:lnTo>
                          <a:lnTo>
                            <a:pt x="57" y="77"/>
                          </a:lnTo>
                          <a:lnTo>
                            <a:pt x="57" y="78"/>
                          </a:lnTo>
                          <a:lnTo>
                            <a:pt x="59" y="78"/>
                          </a:lnTo>
                          <a:lnTo>
                            <a:pt x="59" y="79"/>
                          </a:lnTo>
                          <a:lnTo>
                            <a:pt x="60" y="80"/>
                          </a:lnTo>
                          <a:lnTo>
                            <a:pt x="61" y="81"/>
                          </a:lnTo>
                          <a:lnTo>
                            <a:pt x="61" y="82"/>
                          </a:lnTo>
                          <a:lnTo>
                            <a:pt x="64" y="84"/>
                          </a:lnTo>
                          <a:lnTo>
                            <a:pt x="64" y="85"/>
                          </a:lnTo>
                          <a:lnTo>
                            <a:pt x="66" y="85"/>
                          </a:lnTo>
                          <a:lnTo>
                            <a:pt x="66" y="87"/>
                          </a:lnTo>
                          <a:lnTo>
                            <a:pt x="70" y="88"/>
                          </a:lnTo>
                          <a:lnTo>
                            <a:pt x="70" y="90"/>
                          </a:lnTo>
                          <a:lnTo>
                            <a:pt x="71" y="91"/>
                          </a:lnTo>
                          <a:lnTo>
                            <a:pt x="72" y="93"/>
                          </a:lnTo>
                          <a:lnTo>
                            <a:pt x="71" y="94"/>
                          </a:lnTo>
                          <a:lnTo>
                            <a:pt x="73" y="94"/>
                          </a:lnTo>
                          <a:lnTo>
                            <a:pt x="73" y="95"/>
                          </a:lnTo>
                          <a:lnTo>
                            <a:pt x="72" y="95"/>
                          </a:lnTo>
                          <a:lnTo>
                            <a:pt x="73" y="97"/>
                          </a:lnTo>
                          <a:lnTo>
                            <a:pt x="75" y="97"/>
                          </a:lnTo>
                          <a:lnTo>
                            <a:pt x="75" y="99"/>
                          </a:lnTo>
                          <a:lnTo>
                            <a:pt x="77" y="99"/>
                          </a:lnTo>
                          <a:lnTo>
                            <a:pt x="75" y="101"/>
                          </a:lnTo>
                          <a:lnTo>
                            <a:pt x="77" y="101"/>
                          </a:lnTo>
                          <a:lnTo>
                            <a:pt x="78" y="101"/>
                          </a:lnTo>
                          <a:lnTo>
                            <a:pt x="78" y="104"/>
                          </a:lnTo>
                          <a:lnTo>
                            <a:pt x="78" y="105"/>
                          </a:lnTo>
                          <a:lnTo>
                            <a:pt x="78" y="106"/>
                          </a:lnTo>
                          <a:lnTo>
                            <a:pt x="78" y="107"/>
                          </a:lnTo>
                          <a:lnTo>
                            <a:pt x="79" y="106"/>
                          </a:lnTo>
                          <a:lnTo>
                            <a:pt x="80" y="106"/>
                          </a:lnTo>
                          <a:lnTo>
                            <a:pt x="80" y="108"/>
                          </a:lnTo>
                          <a:lnTo>
                            <a:pt x="81" y="110"/>
                          </a:lnTo>
                          <a:lnTo>
                            <a:pt x="82" y="111"/>
                          </a:lnTo>
                          <a:lnTo>
                            <a:pt x="84" y="113"/>
                          </a:lnTo>
                          <a:lnTo>
                            <a:pt x="85" y="114"/>
                          </a:lnTo>
                          <a:lnTo>
                            <a:pt x="85" y="115"/>
                          </a:lnTo>
                          <a:lnTo>
                            <a:pt x="86" y="117"/>
                          </a:lnTo>
                          <a:lnTo>
                            <a:pt x="86" y="117"/>
                          </a:lnTo>
                          <a:lnTo>
                            <a:pt x="87" y="117"/>
                          </a:lnTo>
                          <a:lnTo>
                            <a:pt x="87" y="119"/>
                          </a:lnTo>
                          <a:lnTo>
                            <a:pt x="91" y="118"/>
                          </a:lnTo>
                          <a:lnTo>
                            <a:pt x="91" y="118"/>
                          </a:lnTo>
                          <a:lnTo>
                            <a:pt x="92" y="119"/>
                          </a:lnTo>
                          <a:lnTo>
                            <a:pt x="92" y="120"/>
                          </a:lnTo>
                          <a:lnTo>
                            <a:pt x="93" y="121"/>
                          </a:lnTo>
                          <a:lnTo>
                            <a:pt x="95" y="122"/>
                          </a:lnTo>
                          <a:lnTo>
                            <a:pt x="94" y="125"/>
                          </a:lnTo>
                          <a:lnTo>
                            <a:pt x="97" y="126"/>
                          </a:lnTo>
                          <a:lnTo>
                            <a:pt x="95" y="127"/>
                          </a:lnTo>
                          <a:lnTo>
                            <a:pt x="98" y="127"/>
                          </a:lnTo>
                          <a:lnTo>
                            <a:pt x="98" y="126"/>
                          </a:lnTo>
                          <a:lnTo>
                            <a:pt x="99" y="127"/>
                          </a:lnTo>
                          <a:lnTo>
                            <a:pt x="99" y="131"/>
                          </a:lnTo>
                          <a:lnTo>
                            <a:pt x="101" y="131"/>
                          </a:lnTo>
                          <a:lnTo>
                            <a:pt x="102" y="134"/>
                          </a:lnTo>
                          <a:lnTo>
                            <a:pt x="101" y="137"/>
                          </a:lnTo>
                          <a:lnTo>
                            <a:pt x="102" y="138"/>
                          </a:lnTo>
                          <a:lnTo>
                            <a:pt x="105" y="140"/>
                          </a:lnTo>
                          <a:lnTo>
                            <a:pt x="106" y="141"/>
                          </a:lnTo>
                          <a:lnTo>
                            <a:pt x="107" y="142"/>
                          </a:lnTo>
                          <a:lnTo>
                            <a:pt x="108" y="145"/>
                          </a:lnTo>
                          <a:lnTo>
                            <a:pt x="110" y="146"/>
                          </a:lnTo>
                          <a:lnTo>
                            <a:pt x="111" y="147"/>
                          </a:lnTo>
                          <a:lnTo>
                            <a:pt x="111" y="150"/>
                          </a:lnTo>
                          <a:lnTo>
                            <a:pt x="114" y="151"/>
                          </a:lnTo>
                          <a:lnTo>
                            <a:pt x="113" y="152"/>
                          </a:lnTo>
                          <a:lnTo>
                            <a:pt x="114" y="153"/>
                          </a:lnTo>
                          <a:lnTo>
                            <a:pt x="114" y="153"/>
                          </a:lnTo>
                          <a:lnTo>
                            <a:pt x="115" y="157"/>
                          </a:lnTo>
                          <a:lnTo>
                            <a:pt x="115" y="157"/>
                          </a:lnTo>
                          <a:lnTo>
                            <a:pt x="117" y="159"/>
                          </a:lnTo>
                          <a:lnTo>
                            <a:pt x="118" y="160"/>
                          </a:lnTo>
                          <a:lnTo>
                            <a:pt x="120" y="162"/>
                          </a:lnTo>
                          <a:lnTo>
                            <a:pt x="124" y="164"/>
                          </a:lnTo>
                          <a:lnTo>
                            <a:pt x="122" y="165"/>
                          </a:lnTo>
                          <a:lnTo>
                            <a:pt x="125" y="166"/>
                          </a:lnTo>
                          <a:lnTo>
                            <a:pt x="125" y="167"/>
                          </a:lnTo>
                          <a:lnTo>
                            <a:pt x="126" y="168"/>
                          </a:lnTo>
                          <a:lnTo>
                            <a:pt x="127" y="168"/>
                          </a:lnTo>
                          <a:lnTo>
                            <a:pt x="127" y="171"/>
                          </a:lnTo>
                          <a:lnTo>
                            <a:pt x="128" y="171"/>
                          </a:lnTo>
                          <a:lnTo>
                            <a:pt x="130" y="169"/>
                          </a:lnTo>
                          <a:lnTo>
                            <a:pt x="128" y="165"/>
                          </a:lnTo>
                          <a:lnTo>
                            <a:pt x="127" y="162"/>
                          </a:lnTo>
                          <a:lnTo>
                            <a:pt x="127" y="159"/>
                          </a:lnTo>
                          <a:lnTo>
                            <a:pt x="127" y="157"/>
                          </a:lnTo>
                          <a:lnTo>
                            <a:pt x="128" y="157"/>
                          </a:lnTo>
                          <a:lnTo>
                            <a:pt x="132" y="155"/>
                          </a:lnTo>
                          <a:lnTo>
                            <a:pt x="134" y="157"/>
                          </a:lnTo>
                          <a:lnTo>
                            <a:pt x="137" y="157"/>
                          </a:lnTo>
                          <a:lnTo>
                            <a:pt x="138" y="159"/>
                          </a:lnTo>
                          <a:lnTo>
                            <a:pt x="140" y="159"/>
                          </a:lnTo>
                          <a:lnTo>
                            <a:pt x="141" y="159"/>
                          </a:lnTo>
                          <a:lnTo>
                            <a:pt x="141" y="161"/>
                          </a:lnTo>
                          <a:lnTo>
                            <a:pt x="144" y="162"/>
                          </a:lnTo>
                          <a:lnTo>
                            <a:pt x="145" y="164"/>
                          </a:lnTo>
                          <a:lnTo>
                            <a:pt x="147" y="165"/>
                          </a:lnTo>
                          <a:lnTo>
                            <a:pt x="148" y="166"/>
                          </a:lnTo>
                          <a:lnTo>
                            <a:pt x="150" y="165"/>
                          </a:lnTo>
                          <a:lnTo>
                            <a:pt x="148" y="164"/>
                          </a:lnTo>
                          <a:lnTo>
                            <a:pt x="148" y="161"/>
                          </a:lnTo>
                          <a:lnTo>
                            <a:pt x="146" y="160"/>
                          </a:lnTo>
                          <a:lnTo>
                            <a:pt x="146" y="158"/>
                          </a:lnTo>
                          <a:lnTo>
                            <a:pt x="145" y="155"/>
                          </a:lnTo>
                          <a:lnTo>
                            <a:pt x="142" y="154"/>
                          </a:lnTo>
                          <a:lnTo>
                            <a:pt x="141" y="152"/>
                          </a:lnTo>
                          <a:lnTo>
                            <a:pt x="139" y="151"/>
                          </a:lnTo>
                          <a:lnTo>
                            <a:pt x="138" y="148"/>
                          </a:lnTo>
                          <a:lnTo>
                            <a:pt x="137" y="150"/>
                          </a:lnTo>
                          <a:lnTo>
                            <a:pt x="134" y="150"/>
                          </a:lnTo>
                          <a:lnTo>
                            <a:pt x="133" y="150"/>
                          </a:lnTo>
                          <a:lnTo>
                            <a:pt x="131" y="150"/>
                          </a:lnTo>
                          <a:lnTo>
                            <a:pt x="130" y="148"/>
                          </a:lnTo>
                          <a:lnTo>
                            <a:pt x="127" y="147"/>
                          </a:lnTo>
                          <a:lnTo>
                            <a:pt x="128" y="145"/>
                          </a:lnTo>
                          <a:lnTo>
                            <a:pt x="126" y="144"/>
                          </a:lnTo>
                          <a:lnTo>
                            <a:pt x="124" y="141"/>
                          </a:lnTo>
                          <a:lnTo>
                            <a:pt x="122" y="140"/>
                          </a:lnTo>
                          <a:lnTo>
                            <a:pt x="120" y="140"/>
                          </a:lnTo>
                          <a:lnTo>
                            <a:pt x="118" y="138"/>
                          </a:lnTo>
                          <a:lnTo>
                            <a:pt x="117" y="137"/>
                          </a:lnTo>
                          <a:lnTo>
                            <a:pt x="115" y="134"/>
                          </a:lnTo>
                          <a:lnTo>
                            <a:pt x="115" y="131"/>
                          </a:lnTo>
                          <a:lnTo>
                            <a:pt x="113" y="132"/>
                          </a:lnTo>
                          <a:lnTo>
                            <a:pt x="112" y="132"/>
                          </a:lnTo>
                          <a:lnTo>
                            <a:pt x="111" y="131"/>
                          </a:lnTo>
                          <a:lnTo>
                            <a:pt x="108" y="132"/>
                          </a:lnTo>
                          <a:lnTo>
                            <a:pt x="108" y="134"/>
                          </a:lnTo>
                          <a:lnTo>
                            <a:pt x="107" y="135"/>
                          </a:lnTo>
                          <a:lnTo>
                            <a:pt x="106" y="134"/>
                          </a:lnTo>
                          <a:lnTo>
                            <a:pt x="106" y="133"/>
                          </a:lnTo>
                          <a:lnTo>
                            <a:pt x="105" y="130"/>
                          </a:lnTo>
                          <a:lnTo>
                            <a:pt x="106" y="126"/>
                          </a:lnTo>
                          <a:lnTo>
                            <a:pt x="106" y="125"/>
                          </a:lnTo>
                          <a:lnTo>
                            <a:pt x="108" y="124"/>
                          </a:lnTo>
                          <a:lnTo>
                            <a:pt x="106" y="122"/>
                          </a:lnTo>
                          <a:lnTo>
                            <a:pt x="105" y="121"/>
                          </a:lnTo>
                          <a:lnTo>
                            <a:pt x="102" y="119"/>
                          </a:lnTo>
                          <a:lnTo>
                            <a:pt x="104" y="117"/>
                          </a:lnTo>
                          <a:lnTo>
                            <a:pt x="101" y="115"/>
                          </a:lnTo>
                          <a:lnTo>
                            <a:pt x="101" y="113"/>
                          </a:lnTo>
                          <a:lnTo>
                            <a:pt x="101" y="112"/>
                          </a:lnTo>
                          <a:lnTo>
                            <a:pt x="100" y="111"/>
                          </a:lnTo>
                          <a:lnTo>
                            <a:pt x="99" y="110"/>
                          </a:lnTo>
                          <a:lnTo>
                            <a:pt x="95" y="107"/>
                          </a:lnTo>
                          <a:lnTo>
                            <a:pt x="98" y="106"/>
                          </a:lnTo>
                          <a:lnTo>
                            <a:pt x="97" y="104"/>
                          </a:lnTo>
                          <a:lnTo>
                            <a:pt x="98" y="104"/>
                          </a:lnTo>
                          <a:lnTo>
                            <a:pt x="101" y="102"/>
                          </a:lnTo>
                          <a:lnTo>
                            <a:pt x="104" y="105"/>
                          </a:lnTo>
                          <a:lnTo>
                            <a:pt x="106" y="104"/>
                          </a:lnTo>
                          <a:lnTo>
                            <a:pt x="108" y="106"/>
                          </a:lnTo>
                          <a:lnTo>
                            <a:pt x="110" y="105"/>
                          </a:lnTo>
                          <a:lnTo>
                            <a:pt x="112" y="106"/>
                          </a:lnTo>
                          <a:lnTo>
                            <a:pt x="115" y="107"/>
                          </a:lnTo>
                          <a:lnTo>
                            <a:pt x="117" y="108"/>
                          </a:lnTo>
                          <a:lnTo>
                            <a:pt x="121" y="111"/>
                          </a:lnTo>
                          <a:lnTo>
                            <a:pt x="125" y="112"/>
                          </a:lnTo>
                          <a:lnTo>
                            <a:pt x="126" y="113"/>
                          </a:lnTo>
                          <a:lnTo>
                            <a:pt x="128" y="115"/>
                          </a:lnTo>
                          <a:lnTo>
                            <a:pt x="130" y="115"/>
                          </a:lnTo>
                          <a:lnTo>
                            <a:pt x="131" y="115"/>
                          </a:lnTo>
                          <a:lnTo>
                            <a:pt x="130" y="114"/>
                          </a:lnTo>
                          <a:lnTo>
                            <a:pt x="130" y="111"/>
                          </a:lnTo>
                          <a:lnTo>
                            <a:pt x="128" y="112"/>
                          </a:lnTo>
                          <a:lnTo>
                            <a:pt x="126" y="112"/>
                          </a:lnTo>
                          <a:lnTo>
                            <a:pt x="124" y="110"/>
                          </a:lnTo>
                          <a:lnTo>
                            <a:pt x="121" y="110"/>
                          </a:lnTo>
                          <a:lnTo>
                            <a:pt x="121" y="107"/>
                          </a:lnTo>
                          <a:lnTo>
                            <a:pt x="119" y="106"/>
                          </a:lnTo>
                          <a:lnTo>
                            <a:pt x="114" y="105"/>
                          </a:lnTo>
                          <a:lnTo>
                            <a:pt x="114" y="102"/>
                          </a:lnTo>
                          <a:lnTo>
                            <a:pt x="114" y="100"/>
                          </a:lnTo>
                          <a:lnTo>
                            <a:pt x="112" y="100"/>
                          </a:lnTo>
                          <a:lnTo>
                            <a:pt x="111" y="97"/>
                          </a:lnTo>
                          <a:lnTo>
                            <a:pt x="104" y="94"/>
                          </a:lnTo>
                          <a:lnTo>
                            <a:pt x="105" y="90"/>
                          </a:lnTo>
                          <a:lnTo>
                            <a:pt x="99" y="88"/>
                          </a:lnTo>
                          <a:lnTo>
                            <a:pt x="97" y="85"/>
                          </a:lnTo>
                          <a:lnTo>
                            <a:pt x="95" y="84"/>
                          </a:lnTo>
                          <a:lnTo>
                            <a:pt x="94" y="84"/>
                          </a:lnTo>
                          <a:lnTo>
                            <a:pt x="92" y="82"/>
                          </a:lnTo>
                          <a:lnTo>
                            <a:pt x="91" y="82"/>
                          </a:lnTo>
                          <a:lnTo>
                            <a:pt x="91" y="80"/>
                          </a:lnTo>
                          <a:lnTo>
                            <a:pt x="90" y="79"/>
                          </a:lnTo>
                          <a:lnTo>
                            <a:pt x="88" y="75"/>
                          </a:lnTo>
                          <a:lnTo>
                            <a:pt x="86" y="75"/>
                          </a:lnTo>
                          <a:lnTo>
                            <a:pt x="84" y="73"/>
                          </a:lnTo>
                          <a:lnTo>
                            <a:pt x="80" y="72"/>
                          </a:lnTo>
                          <a:lnTo>
                            <a:pt x="79" y="70"/>
                          </a:lnTo>
                          <a:lnTo>
                            <a:pt x="78" y="67"/>
                          </a:lnTo>
                          <a:lnTo>
                            <a:pt x="77" y="66"/>
                          </a:lnTo>
                          <a:lnTo>
                            <a:pt x="74" y="65"/>
                          </a:lnTo>
                          <a:lnTo>
                            <a:pt x="71" y="64"/>
                          </a:lnTo>
                          <a:lnTo>
                            <a:pt x="68" y="64"/>
                          </a:lnTo>
                          <a:lnTo>
                            <a:pt x="68" y="61"/>
                          </a:lnTo>
                          <a:lnTo>
                            <a:pt x="68" y="60"/>
                          </a:lnTo>
                          <a:lnTo>
                            <a:pt x="66" y="59"/>
                          </a:lnTo>
                          <a:lnTo>
                            <a:pt x="64" y="57"/>
                          </a:lnTo>
                          <a:lnTo>
                            <a:pt x="63" y="55"/>
                          </a:lnTo>
                          <a:lnTo>
                            <a:pt x="61" y="53"/>
                          </a:lnTo>
                          <a:lnTo>
                            <a:pt x="59" y="53"/>
                          </a:lnTo>
                          <a:lnTo>
                            <a:pt x="57" y="51"/>
                          </a:lnTo>
                          <a:lnTo>
                            <a:pt x="54" y="51"/>
                          </a:lnTo>
                          <a:lnTo>
                            <a:pt x="52" y="48"/>
                          </a:lnTo>
                          <a:lnTo>
                            <a:pt x="51" y="46"/>
                          </a:lnTo>
                          <a:lnTo>
                            <a:pt x="50" y="45"/>
                          </a:lnTo>
                          <a:lnTo>
                            <a:pt x="48" y="41"/>
                          </a:lnTo>
                          <a:lnTo>
                            <a:pt x="47" y="40"/>
                          </a:lnTo>
                          <a:lnTo>
                            <a:pt x="50" y="44"/>
                          </a:lnTo>
                          <a:lnTo>
                            <a:pt x="51" y="42"/>
                          </a:lnTo>
                          <a:lnTo>
                            <a:pt x="50" y="41"/>
                          </a:lnTo>
                          <a:lnTo>
                            <a:pt x="48" y="40"/>
                          </a:lnTo>
                          <a:lnTo>
                            <a:pt x="47" y="39"/>
                          </a:lnTo>
                          <a:lnTo>
                            <a:pt x="47" y="37"/>
                          </a:lnTo>
                          <a:lnTo>
                            <a:pt x="46" y="35"/>
                          </a:lnTo>
                          <a:lnTo>
                            <a:pt x="45" y="34"/>
                          </a:lnTo>
                          <a:lnTo>
                            <a:pt x="43" y="32"/>
                          </a:lnTo>
                          <a:lnTo>
                            <a:pt x="40" y="31"/>
                          </a:lnTo>
                          <a:lnTo>
                            <a:pt x="39" y="30"/>
                          </a:lnTo>
                          <a:lnTo>
                            <a:pt x="38" y="27"/>
                          </a:lnTo>
                          <a:lnTo>
                            <a:pt x="35" y="25"/>
                          </a:lnTo>
                          <a:lnTo>
                            <a:pt x="33" y="22"/>
                          </a:lnTo>
                          <a:lnTo>
                            <a:pt x="32" y="22"/>
                          </a:lnTo>
                          <a:lnTo>
                            <a:pt x="30" y="20"/>
                          </a:lnTo>
                          <a:lnTo>
                            <a:pt x="26" y="20"/>
                          </a:lnTo>
                          <a:lnTo>
                            <a:pt x="26" y="19"/>
                          </a:lnTo>
                          <a:lnTo>
                            <a:pt x="26" y="18"/>
                          </a:lnTo>
                          <a:lnTo>
                            <a:pt x="24" y="17"/>
                          </a:lnTo>
                          <a:lnTo>
                            <a:pt x="23" y="15"/>
                          </a:lnTo>
                          <a:lnTo>
                            <a:pt x="21" y="14"/>
                          </a:lnTo>
                          <a:lnTo>
                            <a:pt x="20" y="13"/>
                          </a:lnTo>
                          <a:lnTo>
                            <a:pt x="20" y="12"/>
                          </a:lnTo>
                          <a:lnTo>
                            <a:pt x="17" y="11"/>
                          </a:lnTo>
                          <a:lnTo>
                            <a:pt x="15" y="11"/>
                          </a:lnTo>
                          <a:lnTo>
                            <a:pt x="14" y="10"/>
                          </a:lnTo>
                          <a:lnTo>
                            <a:pt x="14" y="8"/>
                          </a:lnTo>
                          <a:lnTo>
                            <a:pt x="15" y="8"/>
                          </a:lnTo>
                          <a:lnTo>
                            <a:pt x="15" y="7"/>
                          </a:lnTo>
                          <a:lnTo>
                            <a:pt x="14" y="7"/>
                          </a:lnTo>
                          <a:lnTo>
                            <a:pt x="13" y="5"/>
                          </a:lnTo>
                          <a:lnTo>
                            <a:pt x="12" y="4"/>
                          </a:lnTo>
                          <a:lnTo>
                            <a:pt x="11" y="3"/>
                          </a:lnTo>
                          <a:lnTo>
                            <a:pt x="10" y="4"/>
                          </a:lnTo>
                          <a:lnTo>
                            <a:pt x="8" y="4"/>
                          </a:lnTo>
                          <a:lnTo>
                            <a:pt x="7" y="4"/>
                          </a:lnTo>
                          <a:lnTo>
                            <a:pt x="6" y="3"/>
                          </a:lnTo>
                          <a:lnTo>
                            <a:pt x="5" y="3"/>
                          </a:lnTo>
                          <a:lnTo>
                            <a:pt x="4" y="3"/>
                          </a:lnTo>
                          <a:lnTo>
                            <a:pt x="4" y="1"/>
                          </a:lnTo>
                          <a:lnTo>
                            <a:pt x="4" y="0"/>
                          </a:lnTo>
                          <a:lnTo>
                            <a:pt x="3" y="1"/>
                          </a:lnTo>
                          <a:lnTo>
                            <a:pt x="1" y="3"/>
                          </a:lnTo>
                          <a:lnTo>
                            <a:pt x="0" y="3"/>
                          </a:lnTo>
                          <a:lnTo>
                            <a:pt x="0" y="5"/>
                          </a:lnTo>
                          <a:lnTo>
                            <a:pt x="3" y="4"/>
                          </a:lnTo>
                          <a:lnTo>
                            <a:pt x="3" y="6"/>
                          </a:lnTo>
                          <a:lnTo>
                            <a:pt x="4" y="7"/>
                          </a:lnTo>
                          <a:lnTo>
                            <a:pt x="5" y="5"/>
                          </a:lnTo>
                          <a:lnTo>
                            <a:pt x="6" y="6"/>
                          </a:lnTo>
                          <a:lnTo>
                            <a:pt x="7" y="8"/>
                          </a:lnTo>
                          <a:lnTo>
                            <a:pt x="7" y="8"/>
                          </a:lnTo>
                          <a:lnTo>
                            <a:pt x="10" y="8"/>
                          </a:lnTo>
                          <a:lnTo>
                            <a:pt x="11" y="10"/>
                          </a:lnTo>
                          <a:lnTo>
                            <a:pt x="12" y="12"/>
                          </a:lnTo>
                          <a:lnTo>
                            <a:pt x="13" y="14"/>
                          </a:lnTo>
                          <a:lnTo>
                            <a:pt x="14" y="17"/>
                          </a:lnTo>
                          <a:lnTo>
                            <a:pt x="15" y="18"/>
                          </a:lnTo>
                          <a:lnTo>
                            <a:pt x="14" y="19"/>
                          </a:lnTo>
                          <a:lnTo>
                            <a:pt x="13" y="19"/>
                          </a:lnTo>
                          <a:lnTo>
                            <a:pt x="13" y="19"/>
                          </a:lnTo>
                          <a:lnTo>
                            <a:pt x="11" y="18"/>
                          </a:lnTo>
                          <a:lnTo>
                            <a:pt x="11" y="18"/>
                          </a:lnTo>
                          <a:lnTo>
                            <a:pt x="8" y="19"/>
                          </a:lnTo>
                          <a:lnTo>
                            <a:pt x="7" y="19"/>
                          </a:lnTo>
                          <a:lnTo>
                            <a:pt x="6" y="19"/>
                          </a:lnTo>
                          <a:lnTo>
                            <a:pt x="7" y="20"/>
                          </a:lnTo>
                          <a:lnTo>
                            <a:pt x="6" y="21"/>
                          </a:lnTo>
                          <a:lnTo>
                            <a:pt x="7" y="22"/>
                          </a:lnTo>
                          <a:lnTo>
                            <a:pt x="10" y="25"/>
                          </a:lnTo>
                          <a:lnTo>
                            <a:pt x="11" y="25"/>
                          </a:lnTo>
                          <a:lnTo>
                            <a:pt x="12" y="25"/>
                          </a:lnTo>
                          <a:lnTo>
                            <a:pt x="13" y="26"/>
                          </a:lnTo>
                          <a:lnTo>
                            <a:pt x="14" y="27"/>
                          </a:lnTo>
                          <a:lnTo>
                            <a:pt x="14" y="28"/>
                          </a:lnTo>
                          <a:lnTo>
                            <a:pt x="15" y="30"/>
                          </a:lnTo>
                          <a:lnTo>
                            <a:pt x="17" y="30"/>
                          </a:lnTo>
                          <a:lnTo>
                            <a:pt x="17" y="31"/>
                          </a:lnTo>
                          <a:lnTo>
                            <a:pt x="18" y="31"/>
                          </a:lnTo>
                          <a:lnTo>
                            <a:pt x="19" y="31"/>
                          </a:lnTo>
                          <a:lnTo>
                            <a:pt x="18" y="32"/>
                          </a:lnTo>
                          <a:lnTo>
                            <a:pt x="19" y="33"/>
                          </a:lnTo>
                          <a:lnTo>
                            <a:pt x="19" y="34"/>
                          </a:lnTo>
                          <a:lnTo>
                            <a:pt x="20" y="35"/>
                          </a:lnTo>
                          <a:lnTo>
                            <a:pt x="20" y="35"/>
                          </a:lnTo>
                          <a:lnTo>
                            <a:pt x="21" y="37"/>
                          </a:lnTo>
                          <a:lnTo>
                            <a:pt x="21" y="38"/>
                          </a:lnTo>
                          <a:lnTo>
                            <a:pt x="24" y="39"/>
                          </a:lnTo>
                          <a:lnTo>
                            <a:pt x="24" y="39"/>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81" name="Freeform 137">
                      <a:extLst>
                        <a:ext uri="{FF2B5EF4-FFF2-40B4-BE49-F238E27FC236}">
                          <a16:creationId xmlns:a16="http://schemas.microsoft.com/office/drawing/2014/main" id="{B1A47138-0E93-1F49-81B6-FF480FFE0596}"/>
                        </a:ext>
                      </a:extLst>
                    </p:cNvPr>
                    <p:cNvSpPr>
                      <a:spLocks/>
                    </p:cNvSpPr>
                    <p:nvPr/>
                  </p:nvSpPr>
                  <p:spPr bwMode="auto">
                    <a:xfrm>
                      <a:off x="9273032" y="2274482"/>
                      <a:ext cx="46625" cy="11254"/>
                    </a:xfrm>
                    <a:custGeom>
                      <a:avLst/>
                      <a:gdLst>
                        <a:gd name="T0" fmla="*/ 22 w 29"/>
                        <a:gd name="T1" fmla="*/ 2 h 7"/>
                        <a:gd name="T2" fmla="*/ 26 w 29"/>
                        <a:gd name="T3" fmla="*/ 2 h 7"/>
                        <a:gd name="T4" fmla="*/ 29 w 29"/>
                        <a:gd name="T5" fmla="*/ 6 h 7"/>
                        <a:gd name="T6" fmla="*/ 28 w 29"/>
                        <a:gd name="T7" fmla="*/ 5 h 7"/>
                        <a:gd name="T8" fmla="*/ 25 w 29"/>
                        <a:gd name="T9" fmla="*/ 5 h 7"/>
                        <a:gd name="T10" fmla="*/ 22 w 29"/>
                        <a:gd name="T11" fmla="*/ 6 h 7"/>
                        <a:gd name="T12" fmla="*/ 18 w 29"/>
                        <a:gd name="T13" fmla="*/ 7 h 7"/>
                        <a:gd name="T14" fmla="*/ 15 w 29"/>
                        <a:gd name="T15" fmla="*/ 7 h 7"/>
                        <a:gd name="T16" fmla="*/ 11 w 29"/>
                        <a:gd name="T17" fmla="*/ 5 h 7"/>
                        <a:gd name="T18" fmla="*/ 9 w 29"/>
                        <a:gd name="T19" fmla="*/ 5 h 7"/>
                        <a:gd name="T20" fmla="*/ 6 w 29"/>
                        <a:gd name="T21" fmla="*/ 5 h 7"/>
                        <a:gd name="T22" fmla="*/ 4 w 29"/>
                        <a:gd name="T23" fmla="*/ 5 h 7"/>
                        <a:gd name="T24" fmla="*/ 2 w 29"/>
                        <a:gd name="T25" fmla="*/ 3 h 7"/>
                        <a:gd name="T26" fmla="*/ 0 w 29"/>
                        <a:gd name="T27" fmla="*/ 2 h 7"/>
                        <a:gd name="T28" fmla="*/ 2 w 29"/>
                        <a:gd name="T29" fmla="*/ 1 h 7"/>
                        <a:gd name="T30" fmla="*/ 4 w 29"/>
                        <a:gd name="T31" fmla="*/ 0 h 7"/>
                        <a:gd name="T32" fmla="*/ 6 w 29"/>
                        <a:gd name="T33" fmla="*/ 1 h 7"/>
                        <a:gd name="T34" fmla="*/ 6 w 29"/>
                        <a:gd name="T35" fmla="*/ 0 h 7"/>
                        <a:gd name="T36" fmla="*/ 9 w 29"/>
                        <a:gd name="T37" fmla="*/ 1 h 7"/>
                        <a:gd name="T38" fmla="*/ 11 w 29"/>
                        <a:gd name="T39" fmla="*/ 1 h 7"/>
                        <a:gd name="T40" fmla="*/ 13 w 29"/>
                        <a:gd name="T41" fmla="*/ 0 h 7"/>
                        <a:gd name="T42" fmla="*/ 17 w 29"/>
                        <a:gd name="T43" fmla="*/ 0 h 7"/>
                        <a:gd name="T44" fmla="*/ 19 w 29"/>
                        <a:gd name="T45" fmla="*/ 0 h 7"/>
                        <a:gd name="T46" fmla="*/ 25 w 29"/>
                        <a:gd name="T47" fmla="*/ 1 h 7"/>
                        <a:gd name="T48" fmla="*/ 23 w 29"/>
                        <a:gd name="T49" fmla="*/ 0 h 7"/>
                        <a:gd name="T50" fmla="*/ 22 w 29"/>
                        <a:gd name="T51" fmla="*/ 2 h 7"/>
                        <a:gd name="T52" fmla="*/ 22 w 29"/>
                        <a:gd name="T53" fmla="*/ 2 h 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29" h="7">
                          <a:moveTo>
                            <a:pt x="22" y="2"/>
                          </a:moveTo>
                          <a:lnTo>
                            <a:pt x="26" y="2"/>
                          </a:lnTo>
                          <a:lnTo>
                            <a:pt x="29" y="6"/>
                          </a:lnTo>
                          <a:lnTo>
                            <a:pt x="28" y="5"/>
                          </a:lnTo>
                          <a:lnTo>
                            <a:pt x="25" y="5"/>
                          </a:lnTo>
                          <a:lnTo>
                            <a:pt x="22" y="6"/>
                          </a:lnTo>
                          <a:lnTo>
                            <a:pt x="18" y="7"/>
                          </a:lnTo>
                          <a:lnTo>
                            <a:pt x="15" y="7"/>
                          </a:lnTo>
                          <a:lnTo>
                            <a:pt x="11" y="5"/>
                          </a:lnTo>
                          <a:lnTo>
                            <a:pt x="9" y="5"/>
                          </a:lnTo>
                          <a:lnTo>
                            <a:pt x="6" y="5"/>
                          </a:lnTo>
                          <a:lnTo>
                            <a:pt x="4" y="5"/>
                          </a:lnTo>
                          <a:lnTo>
                            <a:pt x="2" y="3"/>
                          </a:lnTo>
                          <a:lnTo>
                            <a:pt x="0" y="2"/>
                          </a:lnTo>
                          <a:lnTo>
                            <a:pt x="2" y="1"/>
                          </a:lnTo>
                          <a:lnTo>
                            <a:pt x="4" y="0"/>
                          </a:lnTo>
                          <a:lnTo>
                            <a:pt x="6" y="1"/>
                          </a:lnTo>
                          <a:lnTo>
                            <a:pt x="6" y="0"/>
                          </a:lnTo>
                          <a:lnTo>
                            <a:pt x="9" y="1"/>
                          </a:lnTo>
                          <a:lnTo>
                            <a:pt x="11" y="1"/>
                          </a:lnTo>
                          <a:lnTo>
                            <a:pt x="13" y="0"/>
                          </a:lnTo>
                          <a:lnTo>
                            <a:pt x="17" y="0"/>
                          </a:lnTo>
                          <a:lnTo>
                            <a:pt x="19" y="0"/>
                          </a:lnTo>
                          <a:lnTo>
                            <a:pt x="25" y="1"/>
                          </a:lnTo>
                          <a:lnTo>
                            <a:pt x="23" y="0"/>
                          </a:lnTo>
                          <a:lnTo>
                            <a:pt x="22" y="2"/>
                          </a:lnTo>
                          <a:lnTo>
                            <a:pt x="22" y="2"/>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82" name="Freeform 138">
                      <a:extLst>
                        <a:ext uri="{FF2B5EF4-FFF2-40B4-BE49-F238E27FC236}">
                          <a16:creationId xmlns:a16="http://schemas.microsoft.com/office/drawing/2014/main" id="{E23ACA80-C213-7142-9002-7E72F75F488F}"/>
                        </a:ext>
                      </a:extLst>
                    </p:cNvPr>
                    <p:cNvSpPr>
                      <a:spLocks/>
                    </p:cNvSpPr>
                    <p:nvPr/>
                  </p:nvSpPr>
                  <p:spPr bwMode="auto">
                    <a:xfrm>
                      <a:off x="5965814" y="1825910"/>
                      <a:ext cx="22509" cy="9647"/>
                    </a:xfrm>
                    <a:custGeom>
                      <a:avLst/>
                      <a:gdLst>
                        <a:gd name="T0" fmla="*/ 12 w 14"/>
                        <a:gd name="T1" fmla="*/ 3 h 6"/>
                        <a:gd name="T2" fmla="*/ 14 w 14"/>
                        <a:gd name="T3" fmla="*/ 4 h 6"/>
                        <a:gd name="T4" fmla="*/ 13 w 14"/>
                        <a:gd name="T5" fmla="*/ 5 h 6"/>
                        <a:gd name="T6" fmla="*/ 12 w 14"/>
                        <a:gd name="T7" fmla="*/ 6 h 6"/>
                        <a:gd name="T8" fmla="*/ 10 w 14"/>
                        <a:gd name="T9" fmla="*/ 6 h 6"/>
                        <a:gd name="T10" fmla="*/ 5 w 14"/>
                        <a:gd name="T11" fmla="*/ 5 h 6"/>
                        <a:gd name="T12" fmla="*/ 0 w 14"/>
                        <a:gd name="T13" fmla="*/ 3 h 6"/>
                        <a:gd name="T14" fmla="*/ 4 w 14"/>
                        <a:gd name="T15" fmla="*/ 1 h 6"/>
                        <a:gd name="T16" fmla="*/ 10 w 14"/>
                        <a:gd name="T17" fmla="*/ 0 h 6"/>
                        <a:gd name="T18" fmla="*/ 12 w 14"/>
                        <a:gd name="T19" fmla="*/ 3 h 6"/>
                        <a:gd name="T20" fmla="*/ 12 w 14"/>
                        <a:gd name="T2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6">
                          <a:moveTo>
                            <a:pt x="12" y="3"/>
                          </a:moveTo>
                          <a:lnTo>
                            <a:pt x="14" y="4"/>
                          </a:lnTo>
                          <a:lnTo>
                            <a:pt x="13" y="5"/>
                          </a:lnTo>
                          <a:lnTo>
                            <a:pt x="12" y="6"/>
                          </a:lnTo>
                          <a:lnTo>
                            <a:pt x="10" y="6"/>
                          </a:lnTo>
                          <a:lnTo>
                            <a:pt x="5" y="5"/>
                          </a:lnTo>
                          <a:lnTo>
                            <a:pt x="0" y="3"/>
                          </a:lnTo>
                          <a:lnTo>
                            <a:pt x="4" y="1"/>
                          </a:lnTo>
                          <a:lnTo>
                            <a:pt x="10" y="0"/>
                          </a:lnTo>
                          <a:lnTo>
                            <a:pt x="12" y="3"/>
                          </a:lnTo>
                          <a:lnTo>
                            <a:pt x="12" y="3"/>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83" name="Freeform 139">
                      <a:extLst>
                        <a:ext uri="{FF2B5EF4-FFF2-40B4-BE49-F238E27FC236}">
                          <a16:creationId xmlns:a16="http://schemas.microsoft.com/office/drawing/2014/main" id="{4FD020AB-118A-BF43-9536-2750D517E8ED}"/>
                        </a:ext>
                      </a:extLst>
                    </p:cNvPr>
                    <p:cNvSpPr>
                      <a:spLocks/>
                    </p:cNvSpPr>
                    <p:nvPr/>
                  </p:nvSpPr>
                  <p:spPr bwMode="auto">
                    <a:xfrm>
                      <a:off x="6723081" y="1891829"/>
                      <a:ext cx="22509" cy="9647"/>
                    </a:xfrm>
                    <a:custGeom>
                      <a:avLst/>
                      <a:gdLst>
                        <a:gd name="T0" fmla="*/ 10 w 14"/>
                        <a:gd name="T1" fmla="*/ 3 h 6"/>
                        <a:gd name="T2" fmla="*/ 14 w 14"/>
                        <a:gd name="T3" fmla="*/ 3 h 6"/>
                        <a:gd name="T4" fmla="*/ 13 w 14"/>
                        <a:gd name="T5" fmla="*/ 5 h 6"/>
                        <a:gd name="T6" fmla="*/ 12 w 14"/>
                        <a:gd name="T7" fmla="*/ 5 h 6"/>
                        <a:gd name="T8" fmla="*/ 9 w 14"/>
                        <a:gd name="T9" fmla="*/ 6 h 6"/>
                        <a:gd name="T10" fmla="*/ 5 w 14"/>
                        <a:gd name="T11" fmla="*/ 5 h 6"/>
                        <a:gd name="T12" fmla="*/ 0 w 14"/>
                        <a:gd name="T13" fmla="*/ 3 h 6"/>
                        <a:gd name="T14" fmla="*/ 3 w 14"/>
                        <a:gd name="T15" fmla="*/ 0 h 6"/>
                        <a:gd name="T16" fmla="*/ 9 w 14"/>
                        <a:gd name="T17" fmla="*/ 0 h 6"/>
                        <a:gd name="T18" fmla="*/ 10 w 14"/>
                        <a:gd name="T19" fmla="*/ 3 h 6"/>
                        <a:gd name="T20" fmla="*/ 10 w 14"/>
                        <a:gd name="T2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6">
                          <a:moveTo>
                            <a:pt x="10" y="3"/>
                          </a:moveTo>
                          <a:lnTo>
                            <a:pt x="14" y="3"/>
                          </a:lnTo>
                          <a:lnTo>
                            <a:pt x="13" y="5"/>
                          </a:lnTo>
                          <a:lnTo>
                            <a:pt x="12" y="5"/>
                          </a:lnTo>
                          <a:lnTo>
                            <a:pt x="9" y="6"/>
                          </a:lnTo>
                          <a:lnTo>
                            <a:pt x="5" y="5"/>
                          </a:lnTo>
                          <a:lnTo>
                            <a:pt x="0" y="3"/>
                          </a:lnTo>
                          <a:lnTo>
                            <a:pt x="3" y="0"/>
                          </a:lnTo>
                          <a:lnTo>
                            <a:pt x="9" y="0"/>
                          </a:lnTo>
                          <a:lnTo>
                            <a:pt x="10" y="3"/>
                          </a:lnTo>
                          <a:lnTo>
                            <a:pt x="10" y="3"/>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84" name="Freeform 140">
                      <a:extLst>
                        <a:ext uri="{FF2B5EF4-FFF2-40B4-BE49-F238E27FC236}">
                          <a16:creationId xmlns:a16="http://schemas.microsoft.com/office/drawing/2014/main" id="{41B47BE9-874E-4046-8016-9DED345AD84E}"/>
                        </a:ext>
                      </a:extLst>
                    </p:cNvPr>
                    <p:cNvSpPr>
                      <a:spLocks/>
                    </p:cNvSpPr>
                    <p:nvPr/>
                  </p:nvSpPr>
                  <p:spPr bwMode="auto">
                    <a:xfrm>
                      <a:off x="5814681" y="2223034"/>
                      <a:ext cx="19294" cy="9647"/>
                    </a:xfrm>
                    <a:custGeom>
                      <a:avLst/>
                      <a:gdLst>
                        <a:gd name="T0" fmla="*/ 11 w 12"/>
                        <a:gd name="T1" fmla="*/ 3 h 6"/>
                        <a:gd name="T2" fmla="*/ 12 w 12"/>
                        <a:gd name="T3" fmla="*/ 4 h 6"/>
                        <a:gd name="T4" fmla="*/ 11 w 12"/>
                        <a:gd name="T5" fmla="*/ 5 h 6"/>
                        <a:gd name="T6" fmla="*/ 11 w 12"/>
                        <a:gd name="T7" fmla="*/ 6 h 6"/>
                        <a:gd name="T8" fmla="*/ 10 w 12"/>
                        <a:gd name="T9" fmla="*/ 6 h 6"/>
                        <a:gd name="T10" fmla="*/ 6 w 12"/>
                        <a:gd name="T11" fmla="*/ 6 h 6"/>
                        <a:gd name="T12" fmla="*/ 5 w 12"/>
                        <a:gd name="T13" fmla="*/ 5 h 6"/>
                        <a:gd name="T14" fmla="*/ 5 w 12"/>
                        <a:gd name="T15" fmla="*/ 5 h 6"/>
                        <a:gd name="T16" fmla="*/ 1 w 12"/>
                        <a:gd name="T17" fmla="*/ 4 h 6"/>
                        <a:gd name="T18" fmla="*/ 0 w 12"/>
                        <a:gd name="T19" fmla="*/ 3 h 6"/>
                        <a:gd name="T20" fmla="*/ 1 w 12"/>
                        <a:gd name="T21" fmla="*/ 1 h 6"/>
                        <a:gd name="T22" fmla="*/ 4 w 12"/>
                        <a:gd name="T23" fmla="*/ 1 h 6"/>
                        <a:gd name="T24" fmla="*/ 5 w 12"/>
                        <a:gd name="T25" fmla="*/ 0 h 6"/>
                        <a:gd name="T26" fmla="*/ 6 w 12"/>
                        <a:gd name="T27" fmla="*/ 1 h 6"/>
                        <a:gd name="T28" fmla="*/ 8 w 12"/>
                        <a:gd name="T29" fmla="*/ 0 h 6"/>
                        <a:gd name="T30" fmla="*/ 11 w 12"/>
                        <a:gd name="T31" fmla="*/ 3 h 6"/>
                        <a:gd name="T32" fmla="*/ 11 w 12"/>
                        <a:gd name="T33"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6">
                          <a:moveTo>
                            <a:pt x="11" y="3"/>
                          </a:moveTo>
                          <a:lnTo>
                            <a:pt x="12" y="4"/>
                          </a:lnTo>
                          <a:lnTo>
                            <a:pt x="11" y="5"/>
                          </a:lnTo>
                          <a:lnTo>
                            <a:pt x="11" y="6"/>
                          </a:lnTo>
                          <a:lnTo>
                            <a:pt x="10" y="6"/>
                          </a:lnTo>
                          <a:lnTo>
                            <a:pt x="6" y="6"/>
                          </a:lnTo>
                          <a:lnTo>
                            <a:pt x="5" y="5"/>
                          </a:lnTo>
                          <a:lnTo>
                            <a:pt x="5" y="5"/>
                          </a:lnTo>
                          <a:lnTo>
                            <a:pt x="1" y="4"/>
                          </a:lnTo>
                          <a:lnTo>
                            <a:pt x="0" y="3"/>
                          </a:lnTo>
                          <a:lnTo>
                            <a:pt x="1" y="1"/>
                          </a:lnTo>
                          <a:lnTo>
                            <a:pt x="4" y="1"/>
                          </a:lnTo>
                          <a:lnTo>
                            <a:pt x="5" y="0"/>
                          </a:lnTo>
                          <a:lnTo>
                            <a:pt x="6" y="1"/>
                          </a:lnTo>
                          <a:lnTo>
                            <a:pt x="8" y="0"/>
                          </a:lnTo>
                          <a:lnTo>
                            <a:pt x="11" y="3"/>
                          </a:lnTo>
                          <a:lnTo>
                            <a:pt x="11" y="3"/>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85" name="Freeform 141">
                      <a:extLst>
                        <a:ext uri="{FF2B5EF4-FFF2-40B4-BE49-F238E27FC236}">
                          <a16:creationId xmlns:a16="http://schemas.microsoft.com/office/drawing/2014/main" id="{A98B3D7B-470C-8546-A2EA-978A1D9C6CD2}"/>
                        </a:ext>
                      </a:extLst>
                    </p:cNvPr>
                    <p:cNvSpPr>
                      <a:spLocks/>
                    </p:cNvSpPr>
                    <p:nvPr/>
                  </p:nvSpPr>
                  <p:spPr bwMode="auto">
                    <a:xfrm>
                      <a:off x="6438502" y="1838772"/>
                      <a:ext cx="22509" cy="9647"/>
                    </a:xfrm>
                    <a:custGeom>
                      <a:avLst/>
                      <a:gdLst>
                        <a:gd name="T0" fmla="*/ 11 w 14"/>
                        <a:gd name="T1" fmla="*/ 3 h 6"/>
                        <a:gd name="T2" fmla="*/ 14 w 14"/>
                        <a:gd name="T3" fmla="*/ 3 h 6"/>
                        <a:gd name="T4" fmla="*/ 13 w 14"/>
                        <a:gd name="T5" fmla="*/ 5 h 6"/>
                        <a:gd name="T6" fmla="*/ 12 w 14"/>
                        <a:gd name="T7" fmla="*/ 5 h 6"/>
                        <a:gd name="T8" fmla="*/ 10 w 14"/>
                        <a:gd name="T9" fmla="*/ 6 h 6"/>
                        <a:gd name="T10" fmla="*/ 5 w 14"/>
                        <a:gd name="T11" fmla="*/ 5 h 6"/>
                        <a:gd name="T12" fmla="*/ 0 w 14"/>
                        <a:gd name="T13" fmla="*/ 3 h 6"/>
                        <a:gd name="T14" fmla="*/ 4 w 14"/>
                        <a:gd name="T15" fmla="*/ 0 h 6"/>
                        <a:gd name="T16" fmla="*/ 10 w 14"/>
                        <a:gd name="T17" fmla="*/ 0 h 6"/>
                        <a:gd name="T18" fmla="*/ 11 w 14"/>
                        <a:gd name="T19" fmla="*/ 3 h 6"/>
                        <a:gd name="T20" fmla="*/ 11 w 14"/>
                        <a:gd name="T21" fmla="*/ 3 h 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6">
                          <a:moveTo>
                            <a:pt x="11" y="3"/>
                          </a:moveTo>
                          <a:lnTo>
                            <a:pt x="14" y="3"/>
                          </a:lnTo>
                          <a:lnTo>
                            <a:pt x="13" y="5"/>
                          </a:lnTo>
                          <a:lnTo>
                            <a:pt x="12" y="5"/>
                          </a:lnTo>
                          <a:lnTo>
                            <a:pt x="10" y="6"/>
                          </a:lnTo>
                          <a:lnTo>
                            <a:pt x="5" y="5"/>
                          </a:lnTo>
                          <a:lnTo>
                            <a:pt x="0" y="3"/>
                          </a:lnTo>
                          <a:lnTo>
                            <a:pt x="4" y="0"/>
                          </a:lnTo>
                          <a:lnTo>
                            <a:pt x="10" y="0"/>
                          </a:lnTo>
                          <a:lnTo>
                            <a:pt x="11" y="3"/>
                          </a:lnTo>
                          <a:lnTo>
                            <a:pt x="11" y="3"/>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86" name="Freeform 142">
                      <a:extLst>
                        <a:ext uri="{FF2B5EF4-FFF2-40B4-BE49-F238E27FC236}">
                          <a16:creationId xmlns:a16="http://schemas.microsoft.com/office/drawing/2014/main" id="{06BB0419-6C39-3E4F-9D3B-2548B1DEBDD3}"/>
                        </a:ext>
                      </a:extLst>
                    </p:cNvPr>
                    <p:cNvSpPr>
                      <a:spLocks/>
                    </p:cNvSpPr>
                    <p:nvPr/>
                  </p:nvSpPr>
                  <p:spPr bwMode="auto">
                    <a:xfrm>
                      <a:off x="7896765" y="1899868"/>
                      <a:ext cx="22509" cy="8039"/>
                    </a:xfrm>
                    <a:custGeom>
                      <a:avLst/>
                      <a:gdLst>
                        <a:gd name="T0" fmla="*/ 12 w 14"/>
                        <a:gd name="T1" fmla="*/ 2 h 5"/>
                        <a:gd name="T2" fmla="*/ 14 w 14"/>
                        <a:gd name="T3" fmla="*/ 2 h 5"/>
                        <a:gd name="T4" fmla="*/ 13 w 14"/>
                        <a:gd name="T5" fmla="*/ 4 h 5"/>
                        <a:gd name="T6" fmla="*/ 12 w 14"/>
                        <a:gd name="T7" fmla="*/ 5 h 5"/>
                        <a:gd name="T8" fmla="*/ 10 w 14"/>
                        <a:gd name="T9" fmla="*/ 5 h 5"/>
                        <a:gd name="T10" fmla="*/ 5 w 14"/>
                        <a:gd name="T11" fmla="*/ 4 h 5"/>
                        <a:gd name="T12" fmla="*/ 0 w 14"/>
                        <a:gd name="T13" fmla="*/ 2 h 5"/>
                        <a:gd name="T14" fmla="*/ 4 w 14"/>
                        <a:gd name="T15" fmla="*/ 0 h 5"/>
                        <a:gd name="T16" fmla="*/ 10 w 14"/>
                        <a:gd name="T17" fmla="*/ 0 h 5"/>
                        <a:gd name="T18" fmla="*/ 12 w 14"/>
                        <a:gd name="T19" fmla="*/ 2 h 5"/>
                        <a:gd name="T20" fmla="*/ 12 w 14"/>
                        <a:gd name="T21" fmla="*/ 2 h 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4" h="5">
                          <a:moveTo>
                            <a:pt x="12" y="2"/>
                          </a:moveTo>
                          <a:lnTo>
                            <a:pt x="14" y="2"/>
                          </a:lnTo>
                          <a:lnTo>
                            <a:pt x="13" y="4"/>
                          </a:lnTo>
                          <a:lnTo>
                            <a:pt x="12" y="5"/>
                          </a:lnTo>
                          <a:lnTo>
                            <a:pt x="10" y="5"/>
                          </a:lnTo>
                          <a:lnTo>
                            <a:pt x="5" y="4"/>
                          </a:lnTo>
                          <a:lnTo>
                            <a:pt x="0" y="2"/>
                          </a:lnTo>
                          <a:lnTo>
                            <a:pt x="4" y="0"/>
                          </a:lnTo>
                          <a:lnTo>
                            <a:pt x="10" y="0"/>
                          </a:lnTo>
                          <a:lnTo>
                            <a:pt x="12" y="2"/>
                          </a:lnTo>
                          <a:lnTo>
                            <a:pt x="12" y="2"/>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487" name="Freeform 143">
                      <a:extLst>
                        <a:ext uri="{FF2B5EF4-FFF2-40B4-BE49-F238E27FC236}">
                          <a16:creationId xmlns:a16="http://schemas.microsoft.com/office/drawing/2014/main" id="{DE61C6C9-4341-C641-A7D5-E25CE8E24BC4}"/>
                        </a:ext>
                      </a:extLst>
                    </p:cNvPr>
                    <p:cNvSpPr>
                      <a:spLocks/>
                    </p:cNvSpPr>
                    <p:nvPr/>
                  </p:nvSpPr>
                  <p:spPr bwMode="auto">
                    <a:xfrm>
                      <a:off x="7255258" y="1960965"/>
                      <a:ext cx="32156" cy="12862"/>
                    </a:xfrm>
                    <a:custGeom>
                      <a:avLst/>
                      <a:gdLst>
                        <a:gd name="T0" fmla="*/ 19 w 20"/>
                        <a:gd name="T1" fmla="*/ 2 h 8"/>
                        <a:gd name="T2" fmla="*/ 20 w 20"/>
                        <a:gd name="T3" fmla="*/ 7 h 8"/>
                        <a:gd name="T4" fmla="*/ 15 w 20"/>
                        <a:gd name="T5" fmla="*/ 8 h 8"/>
                        <a:gd name="T6" fmla="*/ 9 w 20"/>
                        <a:gd name="T7" fmla="*/ 8 h 8"/>
                        <a:gd name="T8" fmla="*/ 6 w 20"/>
                        <a:gd name="T9" fmla="*/ 8 h 8"/>
                        <a:gd name="T10" fmla="*/ 4 w 20"/>
                        <a:gd name="T11" fmla="*/ 8 h 8"/>
                        <a:gd name="T12" fmla="*/ 3 w 20"/>
                        <a:gd name="T13" fmla="*/ 6 h 8"/>
                        <a:gd name="T14" fmla="*/ 2 w 20"/>
                        <a:gd name="T15" fmla="*/ 4 h 8"/>
                        <a:gd name="T16" fmla="*/ 0 w 20"/>
                        <a:gd name="T17" fmla="*/ 4 h 8"/>
                        <a:gd name="T18" fmla="*/ 0 w 20"/>
                        <a:gd name="T19" fmla="*/ 1 h 8"/>
                        <a:gd name="T20" fmla="*/ 2 w 20"/>
                        <a:gd name="T21" fmla="*/ 0 h 8"/>
                        <a:gd name="T22" fmla="*/ 3 w 20"/>
                        <a:gd name="T23" fmla="*/ 0 h 8"/>
                        <a:gd name="T24" fmla="*/ 5 w 20"/>
                        <a:gd name="T25" fmla="*/ 0 h 8"/>
                        <a:gd name="T26" fmla="*/ 8 w 20"/>
                        <a:gd name="T27" fmla="*/ 2 h 8"/>
                        <a:gd name="T28" fmla="*/ 9 w 20"/>
                        <a:gd name="T29" fmla="*/ 2 h 8"/>
                        <a:gd name="T30" fmla="*/ 12 w 20"/>
                        <a:gd name="T31" fmla="*/ 1 h 8"/>
                        <a:gd name="T32" fmla="*/ 13 w 20"/>
                        <a:gd name="T33" fmla="*/ 1 h 8"/>
                        <a:gd name="T34" fmla="*/ 17 w 20"/>
                        <a:gd name="T35" fmla="*/ 1 h 8"/>
                        <a:gd name="T36" fmla="*/ 18 w 20"/>
                        <a:gd name="T37" fmla="*/ 1 h 8"/>
                        <a:gd name="T38" fmla="*/ 19 w 20"/>
                        <a:gd name="T39" fmla="*/ 2 h 8"/>
                        <a:gd name="T40" fmla="*/ 19 w 20"/>
                        <a:gd name="T41" fmla="*/ 2 h 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0" h="8">
                          <a:moveTo>
                            <a:pt x="19" y="2"/>
                          </a:moveTo>
                          <a:lnTo>
                            <a:pt x="20" y="7"/>
                          </a:lnTo>
                          <a:lnTo>
                            <a:pt x="15" y="8"/>
                          </a:lnTo>
                          <a:lnTo>
                            <a:pt x="9" y="8"/>
                          </a:lnTo>
                          <a:lnTo>
                            <a:pt x="6" y="8"/>
                          </a:lnTo>
                          <a:lnTo>
                            <a:pt x="4" y="8"/>
                          </a:lnTo>
                          <a:lnTo>
                            <a:pt x="3" y="6"/>
                          </a:lnTo>
                          <a:lnTo>
                            <a:pt x="2" y="4"/>
                          </a:lnTo>
                          <a:lnTo>
                            <a:pt x="0" y="4"/>
                          </a:lnTo>
                          <a:lnTo>
                            <a:pt x="0" y="1"/>
                          </a:lnTo>
                          <a:lnTo>
                            <a:pt x="2" y="0"/>
                          </a:lnTo>
                          <a:lnTo>
                            <a:pt x="3" y="0"/>
                          </a:lnTo>
                          <a:lnTo>
                            <a:pt x="5" y="0"/>
                          </a:lnTo>
                          <a:lnTo>
                            <a:pt x="8" y="2"/>
                          </a:lnTo>
                          <a:lnTo>
                            <a:pt x="9" y="2"/>
                          </a:lnTo>
                          <a:lnTo>
                            <a:pt x="12" y="1"/>
                          </a:lnTo>
                          <a:lnTo>
                            <a:pt x="13" y="1"/>
                          </a:lnTo>
                          <a:lnTo>
                            <a:pt x="17" y="1"/>
                          </a:lnTo>
                          <a:lnTo>
                            <a:pt x="18" y="1"/>
                          </a:lnTo>
                          <a:lnTo>
                            <a:pt x="19" y="2"/>
                          </a:lnTo>
                          <a:lnTo>
                            <a:pt x="19" y="2"/>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grpSp>
            </p:grpSp>
            <p:sp>
              <p:nvSpPr>
                <p:cNvPr id="415" name="Kazakhstan">
                  <a:extLst>
                    <a:ext uri="{FF2B5EF4-FFF2-40B4-BE49-F238E27FC236}">
                      <a16:creationId xmlns:a16="http://schemas.microsoft.com/office/drawing/2014/main" id="{1D3F8B61-F58C-534A-8F84-0708EF2DF8F0}"/>
                    </a:ext>
                  </a:extLst>
                </p:cNvPr>
                <p:cNvSpPr>
                  <a:spLocks/>
                </p:cNvSpPr>
                <p:nvPr/>
              </p:nvSpPr>
              <p:spPr bwMode="auto">
                <a:xfrm>
                  <a:off x="7433923" y="2340507"/>
                  <a:ext cx="956414" cy="425721"/>
                </a:xfrm>
                <a:custGeom>
                  <a:avLst/>
                  <a:gdLst>
                    <a:gd name="T0" fmla="*/ 480 w 656"/>
                    <a:gd name="T1" fmla="*/ 255 h 292"/>
                    <a:gd name="T2" fmla="*/ 560 w 656"/>
                    <a:gd name="T3" fmla="*/ 244 h 292"/>
                    <a:gd name="T4" fmla="*/ 589 w 656"/>
                    <a:gd name="T5" fmla="*/ 247 h 292"/>
                    <a:gd name="T6" fmla="*/ 576 w 656"/>
                    <a:gd name="T7" fmla="*/ 214 h 292"/>
                    <a:gd name="T8" fmla="*/ 591 w 656"/>
                    <a:gd name="T9" fmla="*/ 200 h 292"/>
                    <a:gd name="T10" fmla="*/ 597 w 656"/>
                    <a:gd name="T11" fmla="*/ 162 h 292"/>
                    <a:gd name="T12" fmla="*/ 638 w 656"/>
                    <a:gd name="T13" fmla="*/ 164 h 292"/>
                    <a:gd name="T14" fmla="*/ 643 w 656"/>
                    <a:gd name="T15" fmla="*/ 131 h 292"/>
                    <a:gd name="T16" fmla="*/ 631 w 656"/>
                    <a:gd name="T17" fmla="*/ 108 h 292"/>
                    <a:gd name="T18" fmla="*/ 584 w 656"/>
                    <a:gd name="T19" fmla="*/ 89 h 292"/>
                    <a:gd name="T20" fmla="*/ 549 w 656"/>
                    <a:gd name="T21" fmla="*/ 81 h 292"/>
                    <a:gd name="T22" fmla="*/ 503 w 656"/>
                    <a:gd name="T23" fmla="*/ 74 h 292"/>
                    <a:gd name="T24" fmla="*/ 429 w 656"/>
                    <a:gd name="T25" fmla="*/ 22 h 292"/>
                    <a:gd name="T26" fmla="*/ 398 w 656"/>
                    <a:gd name="T27" fmla="*/ 31 h 292"/>
                    <a:gd name="T28" fmla="*/ 353 w 656"/>
                    <a:gd name="T29" fmla="*/ 11 h 292"/>
                    <a:gd name="T30" fmla="*/ 291 w 656"/>
                    <a:gd name="T31" fmla="*/ 10 h 292"/>
                    <a:gd name="T32" fmla="*/ 222 w 656"/>
                    <a:gd name="T33" fmla="*/ 23 h 292"/>
                    <a:gd name="T34" fmla="*/ 204 w 656"/>
                    <a:gd name="T35" fmla="*/ 40 h 292"/>
                    <a:gd name="T36" fmla="*/ 206 w 656"/>
                    <a:gd name="T37" fmla="*/ 57 h 292"/>
                    <a:gd name="T38" fmla="*/ 219 w 656"/>
                    <a:gd name="T39" fmla="*/ 75 h 292"/>
                    <a:gd name="T40" fmla="*/ 194 w 656"/>
                    <a:gd name="T41" fmla="*/ 87 h 292"/>
                    <a:gd name="T42" fmla="*/ 156 w 656"/>
                    <a:gd name="T43" fmla="*/ 81 h 292"/>
                    <a:gd name="T44" fmla="*/ 118 w 656"/>
                    <a:gd name="T45" fmla="*/ 93 h 292"/>
                    <a:gd name="T46" fmla="*/ 69 w 656"/>
                    <a:gd name="T47" fmla="*/ 75 h 292"/>
                    <a:gd name="T48" fmla="*/ 29 w 656"/>
                    <a:gd name="T49" fmla="*/ 90 h 292"/>
                    <a:gd name="T50" fmla="*/ 10 w 656"/>
                    <a:gd name="T51" fmla="*/ 96 h 292"/>
                    <a:gd name="T52" fmla="*/ 0 w 656"/>
                    <a:gd name="T53" fmla="*/ 135 h 292"/>
                    <a:gd name="T54" fmla="*/ 49 w 656"/>
                    <a:gd name="T55" fmla="*/ 162 h 292"/>
                    <a:gd name="T56" fmla="*/ 58 w 656"/>
                    <a:gd name="T57" fmla="*/ 184 h 292"/>
                    <a:gd name="T58" fmla="*/ 65 w 656"/>
                    <a:gd name="T59" fmla="*/ 177 h 292"/>
                    <a:gd name="T60" fmla="*/ 79 w 656"/>
                    <a:gd name="T61" fmla="*/ 168 h 292"/>
                    <a:gd name="T62" fmla="*/ 98 w 656"/>
                    <a:gd name="T63" fmla="*/ 168 h 292"/>
                    <a:gd name="T64" fmla="*/ 111 w 656"/>
                    <a:gd name="T65" fmla="*/ 167 h 292"/>
                    <a:gd name="T66" fmla="*/ 122 w 656"/>
                    <a:gd name="T67" fmla="*/ 176 h 292"/>
                    <a:gd name="T68" fmla="*/ 126 w 656"/>
                    <a:gd name="T69" fmla="*/ 187 h 292"/>
                    <a:gd name="T70" fmla="*/ 126 w 656"/>
                    <a:gd name="T71" fmla="*/ 196 h 292"/>
                    <a:gd name="T72" fmla="*/ 118 w 656"/>
                    <a:gd name="T73" fmla="*/ 197 h 292"/>
                    <a:gd name="T74" fmla="*/ 102 w 656"/>
                    <a:gd name="T75" fmla="*/ 200 h 292"/>
                    <a:gd name="T76" fmla="*/ 95 w 656"/>
                    <a:gd name="T77" fmla="*/ 210 h 292"/>
                    <a:gd name="T78" fmla="*/ 89 w 656"/>
                    <a:gd name="T79" fmla="*/ 214 h 292"/>
                    <a:gd name="T80" fmla="*/ 90 w 656"/>
                    <a:gd name="T81" fmla="*/ 220 h 292"/>
                    <a:gd name="T82" fmla="*/ 99 w 656"/>
                    <a:gd name="T83" fmla="*/ 230 h 292"/>
                    <a:gd name="T84" fmla="*/ 113 w 656"/>
                    <a:gd name="T85" fmla="*/ 244 h 292"/>
                    <a:gd name="T86" fmla="*/ 125 w 656"/>
                    <a:gd name="T87" fmla="*/ 250 h 292"/>
                    <a:gd name="T88" fmla="*/ 135 w 656"/>
                    <a:gd name="T89" fmla="*/ 258 h 292"/>
                    <a:gd name="T90" fmla="*/ 159 w 656"/>
                    <a:gd name="T91" fmla="*/ 256 h 292"/>
                    <a:gd name="T92" fmla="*/ 187 w 656"/>
                    <a:gd name="T93" fmla="*/ 277 h 292"/>
                    <a:gd name="T94" fmla="*/ 224 w 656"/>
                    <a:gd name="T95" fmla="*/ 187 h 292"/>
                    <a:gd name="T96" fmla="*/ 239 w 656"/>
                    <a:gd name="T97" fmla="*/ 181 h 292"/>
                    <a:gd name="T98" fmla="*/ 233 w 656"/>
                    <a:gd name="T99" fmla="*/ 174 h 292"/>
                    <a:gd name="T100" fmla="*/ 244 w 656"/>
                    <a:gd name="T101" fmla="*/ 171 h 292"/>
                    <a:gd name="T102" fmla="*/ 250 w 656"/>
                    <a:gd name="T103" fmla="*/ 177 h 292"/>
                    <a:gd name="T104" fmla="*/ 256 w 656"/>
                    <a:gd name="T105" fmla="*/ 182 h 292"/>
                    <a:gd name="T106" fmla="*/ 246 w 656"/>
                    <a:gd name="T107" fmla="*/ 192 h 292"/>
                    <a:gd name="T108" fmla="*/ 250 w 656"/>
                    <a:gd name="T109" fmla="*/ 202 h 292"/>
                    <a:gd name="T110" fmla="*/ 267 w 656"/>
                    <a:gd name="T111" fmla="*/ 225 h 292"/>
                    <a:gd name="T112" fmla="*/ 340 w 656"/>
                    <a:gd name="T113" fmla="*/ 234 h 292"/>
                    <a:gd name="T114" fmla="*/ 370 w 656"/>
                    <a:gd name="T115" fmla="*/ 280 h 292"/>
                    <a:gd name="T116" fmla="*/ 406 w 656"/>
                    <a:gd name="T117" fmla="*/ 290 h 292"/>
                    <a:gd name="T118" fmla="*/ 426 w 656"/>
                    <a:gd name="T119" fmla="*/ 264 h 29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656" h="292">
                      <a:moveTo>
                        <a:pt x="436" y="257"/>
                      </a:moveTo>
                      <a:lnTo>
                        <a:pt x="438" y="250"/>
                      </a:lnTo>
                      <a:lnTo>
                        <a:pt x="446" y="248"/>
                      </a:lnTo>
                      <a:lnTo>
                        <a:pt x="458" y="249"/>
                      </a:lnTo>
                      <a:lnTo>
                        <a:pt x="469" y="251"/>
                      </a:lnTo>
                      <a:lnTo>
                        <a:pt x="474" y="251"/>
                      </a:lnTo>
                      <a:lnTo>
                        <a:pt x="480" y="255"/>
                      </a:lnTo>
                      <a:lnTo>
                        <a:pt x="477" y="244"/>
                      </a:lnTo>
                      <a:lnTo>
                        <a:pt x="481" y="243"/>
                      </a:lnTo>
                      <a:lnTo>
                        <a:pt x="485" y="238"/>
                      </a:lnTo>
                      <a:lnTo>
                        <a:pt x="496" y="243"/>
                      </a:lnTo>
                      <a:lnTo>
                        <a:pt x="513" y="247"/>
                      </a:lnTo>
                      <a:lnTo>
                        <a:pt x="516" y="244"/>
                      </a:lnTo>
                      <a:lnTo>
                        <a:pt x="560" y="244"/>
                      </a:lnTo>
                      <a:lnTo>
                        <a:pt x="569" y="249"/>
                      </a:lnTo>
                      <a:lnTo>
                        <a:pt x="573" y="249"/>
                      </a:lnTo>
                      <a:lnTo>
                        <a:pt x="578" y="255"/>
                      </a:lnTo>
                      <a:lnTo>
                        <a:pt x="586" y="255"/>
                      </a:lnTo>
                      <a:lnTo>
                        <a:pt x="586" y="250"/>
                      </a:lnTo>
                      <a:lnTo>
                        <a:pt x="592" y="249"/>
                      </a:lnTo>
                      <a:lnTo>
                        <a:pt x="589" y="247"/>
                      </a:lnTo>
                      <a:lnTo>
                        <a:pt x="593" y="243"/>
                      </a:lnTo>
                      <a:lnTo>
                        <a:pt x="591" y="240"/>
                      </a:lnTo>
                      <a:lnTo>
                        <a:pt x="590" y="240"/>
                      </a:lnTo>
                      <a:lnTo>
                        <a:pt x="590" y="237"/>
                      </a:lnTo>
                      <a:lnTo>
                        <a:pt x="579" y="223"/>
                      </a:lnTo>
                      <a:lnTo>
                        <a:pt x="576" y="217"/>
                      </a:lnTo>
                      <a:lnTo>
                        <a:pt x="576" y="214"/>
                      </a:lnTo>
                      <a:lnTo>
                        <a:pt x="577" y="212"/>
                      </a:lnTo>
                      <a:lnTo>
                        <a:pt x="571" y="210"/>
                      </a:lnTo>
                      <a:lnTo>
                        <a:pt x="567" y="210"/>
                      </a:lnTo>
                      <a:lnTo>
                        <a:pt x="564" y="208"/>
                      </a:lnTo>
                      <a:lnTo>
                        <a:pt x="567" y="205"/>
                      </a:lnTo>
                      <a:lnTo>
                        <a:pt x="581" y="203"/>
                      </a:lnTo>
                      <a:lnTo>
                        <a:pt x="591" y="200"/>
                      </a:lnTo>
                      <a:lnTo>
                        <a:pt x="597" y="203"/>
                      </a:lnTo>
                      <a:lnTo>
                        <a:pt x="601" y="201"/>
                      </a:lnTo>
                      <a:lnTo>
                        <a:pt x="606" y="204"/>
                      </a:lnTo>
                      <a:lnTo>
                        <a:pt x="605" y="197"/>
                      </a:lnTo>
                      <a:lnTo>
                        <a:pt x="599" y="195"/>
                      </a:lnTo>
                      <a:lnTo>
                        <a:pt x="598" y="167"/>
                      </a:lnTo>
                      <a:lnTo>
                        <a:pt x="597" y="162"/>
                      </a:lnTo>
                      <a:lnTo>
                        <a:pt x="613" y="167"/>
                      </a:lnTo>
                      <a:lnTo>
                        <a:pt x="624" y="165"/>
                      </a:lnTo>
                      <a:lnTo>
                        <a:pt x="627" y="168"/>
                      </a:lnTo>
                      <a:lnTo>
                        <a:pt x="627" y="169"/>
                      </a:lnTo>
                      <a:lnTo>
                        <a:pt x="630" y="168"/>
                      </a:lnTo>
                      <a:lnTo>
                        <a:pt x="633" y="164"/>
                      </a:lnTo>
                      <a:lnTo>
                        <a:pt x="638" y="164"/>
                      </a:lnTo>
                      <a:lnTo>
                        <a:pt x="638" y="163"/>
                      </a:lnTo>
                      <a:lnTo>
                        <a:pt x="639" y="163"/>
                      </a:lnTo>
                      <a:lnTo>
                        <a:pt x="631" y="147"/>
                      </a:lnTo>
                      <a:lnTo>
                        <a:pt x="631" y="137"/>
                      </a:lnTo>
                      <a:lnTo>
                        <a:pt x="638" y="137"/>
                      </a:lnTo>
                      <a:lnTo>
                        <a:pt x="641" y="135"/>
                      </a:lnTo>
                      <a:lnTo>
                        <a:pt x="643" y="131"/>
                      </a:lnTo>
                      <a:lnTo>
                        <a:pt x="640" y="127"/>
                      </a:lnTo>
                      <a:lnTo>
                        <a:pt x="640" y="123"/>
                      </a:lnTo>
                      <a:lnTo>
                        <a:pt x="648" y="123"/>
                      </a:lnTo>
                      <a:lnTo>
                        <a:pt x="656" y="124"/>
                      </a:lnTo>
                      <a:lnTo>
                        <a:pt x="640" y="114"/>
                      </a:lnTo>
                      <a:lnTo>
                        <a:pt x="633" y="113"/>
                      </a:lnTo>
                      <a:lnTo>
                        <a:pt x="631" y="108"/>
                      </a:lnTo>
                      <a:lnTo>
                        <a:pt x="627" y="113"/>
                      </a:lnTo>
                      <a:lnTo>
                        <a:pt x="616" y="110"/>
                      </a:lnTo>
                      <a:lnTo>
                        <a:pt x="613" y="105"/>
                      </a:lnTo>
                      <a:lnTo>
                        <a:pt x="604" y="103"/>
                      </a:lnTo>
                      <a:lnTo>
                        <a:pt x="598" y="95"/>
                      </a:lnTo>
                      <a:lnTo>
                        <a:pt x="590" y="90"/>
                      </a:lnTo>
                      <a:lnTo>
                        <a:pt x="584" y="89"/>
                      </a:lnTo>
                      <a:lnTo>
                        <a:pt x="578" y="93"/>
                      </a:lnTo>
                      <a:lnTo>
                        <a:pt x="572" y="91"/>
                      </a:lnTo>
                      <a:lnTo>
                        <a:pt x="569" y="84"/>
                      </a:lnTo>
                      <a:lnTo>
                        <a:pt x="564" y="77"/>
                      </a:lnTo>
                      <a:lnTo>
                        <a:pt x="558" y="76"/>
                      </a:lnTo>
                      <a:lnTo>
                        <a:pt x="552" y="77"/>
                      </a:lnTo>
                      <a:lnTo>
                        <a:pt x="549" y="81"/>
                      </a:lnTo>
                      <a:lnTo>
                        <a:pt x="540" y="81"/>
                      </a:lnTo>
                      <a:lnTo>
                        <a:pt x="536" y="78"/>
                      </a:lnTo>
                      <a:lnTo>
                        <a:pt x="529" y="77"/>
                      </a:lnTo>
                      <a:lnTo>
                        <a:pt x="521" y="80"/>
                      </a:lnTo>
                      <a:lnTo>
                        <a:pt x="524" y="85"/>
                      </a:lnTo>
                      <a:lnTo>
                        <a:pt x="518" y="87"/>
                      </a:lnTo>
                      <a:lnTo>
                        <a:pt x="503" y="74"/>
                      </a:lnTo>
                      <a:lnTo>
                        <a:pt x="494" y="69"/>
                      </a:lnTo>
                      <a:lnTo>
                        <a:pt x="483" y="58"/>
                      </a:lnTo>
                      <a:lnTo>
                        <a:pt x="479" y="54"/>
                      </a:lnTo>
                      <a:lnTo>
                        <a:pt x="465" y="36"/>
                      </a:lnTo>
                      <a:lnTo>
                        <a:pt x="459" y="36"/>
                      </a:lnTo>
                      <a:lnTo>
                        <a:pt x="436" y="26"/>
                      </a:lnTo>
                      <a:lnTo>
                        <a:pt x="429" y="22"/>
                      </a:lnTo>
                      <a:lnTo>
                        <a:pt x="434" y="20"/>
                      </a:lnTo>
                      <a:lnTo>
                        <a:pt x="431" y="14"/>
                      </a:lnTo>
                      <a:lnTo>
                        <a:pt x="424" y="17"/>
                      </a:lnTo>
                      <a:lnTo>
                        <a:pt x="413" y="26"/>
                      </a:lnTo>
                      <a:lnTo>
                        <a:pt x="409" y="29"/>
                      </a:lnTo>
                      <a:lnTo>
                        <a:pt x="405" y="36"/>
                      </a:lnTo>
                      <a:lnTo>
                        <a:pt x="398" y="31"/>
                      </a:lnTo>
                      <a:lnTo>
                        <a:pt x="386" y="31"/>
                      </a:lnTo>
                      <a:lnTo>
                        <a:pt x="390" y="22"/>
                      </a:lnTo>
                      <a:lnTo>
                        <a:pt x="381" y="23"/>
                      </a:lnTo>
                      <a:lnTo>
                        <a:pt x="374" y="20"/>
                      </a:lnTo>
                      <a:lnTo>
                        <a:pt x="369" y="23"/>
                      </a:lnTo>
                      <a:lnTo>
                        <a:pt x="364" y="17"/>
                      </a:lnTo>
                      <a:lnTo>
                        <a:pt x="353" y="11"/>
                      </a:lnTo>
                      <a:lnTo>
                        <a:pt x="349" y="4"/>
                      </a:lnTo>
                      <a:lnTo>
                        <a:pt x="337" y="3"/>
                      </a:lnTo>
                      <a:lnTo>
                        <a:pt x="332" y="0"/>
                      </a:lnTo>
                      <a:lnTo>
                        <a:pt x="326" y="3"/>
                      </a:lnTo>
                      <a:lnTo>
                        <a:pt x="319" y="6"/>
                      </a:lnTo>
                      <a:lnTo>
                        <a:pt x="306" y="8"/>
                      </a:lnTo>
                      <a:lnTo>
                        <a:pt x="291" y="10"/>
                      </a:lnTo>
                      <a:lnTo>
                        <a:pt x="276" y="11"/>
                      </a:lnTo>
                      <a:lnTo>
                        <a:pt x="262" y="11"/>
                      </a:lnTo>
                      <a:lnTo>
                        <a:pt x="256" y="14"/>
                      </a:lnTo>
                      <a:lnTo>
                        <a:pt x="251" y="17"/>
                      </a:lnTo>
                      <a:lnTo>
                        <a:pt x="239" y="18"/>
                      </a:lnTo>
                      <a:lnTo>
                        <a:pt x="234" y="20"/>
                      </a:lnTo>
                      <a:lnTo>
                        <a:pt x="222" y="23"/>
                      </a:lnTo>
                      <a:lnTo>
                        <a:pt x="214" y="24"/>
                      </a:lnTo>
                      <a:lnTo>
                        <a:pt x="210" y="26"/>
                      </a:lnTo>
                      <a:lnTo>
                        <a:pt x="202" y="23"/>
                      </a:lnTo>
                      <a:lnTo>
                        <a:pt x="196" y="26"/>
                      </a:lnTo>
                      <a:lnTo>
                        <a:pt x="197" y="34"/>
                      </a:lnTo>
                      <a:lnTo>
                        <a:pt x="202" y="36"/>
                      </a:lnTo>
                      <a:lnTo>
                        <a:pt x="204" y="40"/>
                      </a:lnTo>
                      <a:lnTo>
                        <a:pt x="210" y="38"/>
                      </a:lnTo>
                      <a:lnTo>
                        <a:pt x="218" y="42"/>
                      </a:lnTo>
                      <a:lnTo>
                        <a:pt x="218" y="44"/>
                      </a:lnTo>
                      <a:lnTo>
                        <a:pt x="207" y="45"/>
                      </a:lnTo>
                      <a:lnTo>
                        <a:pt x="203" y="44"/>
                      </a:lnTo>
                      <a:lnTo>
                        <a:pt x="200" y="50"/>
                      </a:lnTo>
                      <a:lnTo>
                        <a:pt x="206" y="57"/>
                      </a:lnTo>
                      <a:lnTo>
                        <a:pt x="202" y="63"/>
                      </a:lnTo>
                      <a:lnTo>
                        <a:pt x="196" y="65"/>
                      </a:lnTo>
                      <a:lnTo>
                        <a:pt x="204" y="69"/>
                      </a:lnTo>
                      <a:lnTo>
                        <a:pt x="204" y="73"/>
                      </a:lnTo>
                      <a:lnTo>
                        <a:pt x="212" y="73"/>
                      </a:lnTo>
                      <a:lnTo>
                        <a:pt x="214" y="75"/>
                      </a:lnTo>
                      <a:lnTo>
                        <a:pt x="219" y="75"/>
                      </a:lnTo>
                      <a:lnTo>
                        <a:pt x="224" y="80"/>
                      </a:lnTo>
                      <a:lnTo>
                        <a:pt x="224" y="88"/>
                      </a:lnTo>
                      <a:lnTo>
                        <a:pt x="216" y="90"/>
                      </a:lnTo>
                      <a:lnTo>
                        <a:pt x="207" y="90"/>
                      </a:lnTo>
                      <a:lnTo>
                        <a:pt x="203" y="85"/>
                      </a:lnTo>
                      <a:lnTo>
                        <a:pt x="202" y="89"/>
                      </a:lnTo>
                      <a:lnTo>
                        <a:pt x="194" y="87"/>
                      </a:lnTo>
                      <a:lnTo>
                        <a:pt x="189" y="85"/>
                      </a:lnTo>
                      <a:lnTo>
                        <a:pt x="183" y="85"/>
                      </a:lnTo>
                      <a:lnTo>
                        <a:pt x="179" y="84"/>
                      </a:lnTo>
                      <a:lnTo>
                        <a:pt x="174" y="81"/>
                      </a:lnTo>
                      <a:lnTo>
                        <a:pt x="176" y="85"/>
                      </a:lnTo>
                      <a:lnTo>
                        <a:pt x="165" y="81"/>
                      </a:lnTo>
                      <a:lnTo>
                        <a:pt x="156" y="81"/>
                      </a:lnTo>
                      <a:lnTo>
                        <a:pt x="144" y="84"/>
                      </a:lnTo>
                      <a:lnTo>
                        <a:pt x="129" y="83"/>
                      </a:lnTo>
                      <a:lnTo>
                        <a:pt x="122" y="81"/>
                      </a:lnTo>
                      <a:lnTo>
                        <a:pt x="119" y="82"/>
                      </a:lnTo>
                      <a:lnTo>
                        <a:pt x="130" y="95"/>
                      </a:lnTo>
                      <a:lnTo>
                        <a:pt x="127" y="95"/>
                      </a:lnTo>
                      <a:lnTo>
                        <a:pt x="118" y="93"/>
                      </a:lnTo>
                      <a:lnTo>
                        <a:pt x="110" y="81"/>
                      </a:lnTo>
                      <a:lnTo>
                        <a:pt x="106" y="74"/>
                      </a:lnTo>
                      <a:lnTo>
                        <a:pt x="93" y="74"/>
                      </a:lnTo>
                      <a:lnTo>
                        <a:pt x="83" y="75"/>
                      </a:lnTo>
                      <a:lnTo>
                        <a:pt x="75" y="69"/>
                      </a:lnTo>
                      <a:lnTo>
                        <a:pt x="71" y="70"/>
                      </a:lnTo>
                      <a:lnTo>
                        <a:pt x="69" y="75"/>
                      </a:lnTo>
                      <a:lnTo>
                        <a:pt x="66" y="78"/>
                      </a:lnTo>
                      <a:lnTo>
                        <a:pt x="56" y="73"/>
                      </a:lnTo>
                      <a:lnTo>
                        <a:pt x="45" y="69"/>
                      </a:lnTo>
                      <a:lnTo>
                        <a:pt x="43" y="74"/>
                      </a:lnTo>
                      <a:lnTo>
                        <a:pt x="31" y="82"/>
                      </a:lnTo>
                      <a:lnTo>
                        <a:pt x="30" y="85"/>
                      </a:lnTo>
                      <a:lnTo>
                        <a:pt x="29" y="90"/>
                      </a:lnTo>
                      <a:lnTo>
                        <a:pt x="24" y="90"/>
                      </a:lnTo>
                      <a:lnTo>
                        <a:pt x="27" y="96"/>
                      </a:lnTo>
                      <a:lnTo>
                        <a:pt x="31" y="104"/>
                      </a:lnTo>
                      <a:lnTo>
                        <a:pt x="29" y="107"/>
                      </a:lnTo>
                      <a:lnTo>
                        <a:pt x="23" y="105"/>
                      </a:lnTo>
                      <a:lnTo>
                        <a:pt x="13" y="100"/>
                      </a:lnTo>
                      <a:lnTo>
                        <a:pt x="10" y="96"/>
                      </a:lnTo>
                      <a:lnTo>
                        <a:pt x="10" y="96"/>
                      </a:lnTo>
                      <a:lnTo>
                        <a:pt x="6" y="96"/>
                      </a:lnTo>
                      <a:lnTo>
                        <a:pt x="2" y="107"/>
                      </a:lnTo>
                      <a:lnTo>
                        <a:pt x="3" y="118"/>
                      </a:lnTo>
                      <a:lnTo>
                        <a:pt x="4" y="124"/>
                      </a:lnTo>
                      <a:lnTo>
                        <a:pt x="2" y="129"/>
                      </a:lnTo>
                      <a:lnTo>
                        <a:pt x="0" y="135"/>
                      </a:lnTo>
                      <a:lnTo>
                        <a:pt x="4" y="136"/>
                      </a:lnTo>
                      <a:lnTo>
                        <a:pt x="9" y="135"/>
                      </a:lnTo>
                      <a:lnTo>
                        <a:pt x="12" y="135"/>
                      </a:lnTo>
                      <a:lnTo>
                        <a:pt x="20" y="136"/>
                      </a:lnTo>
                      <a:lnTo>
                        <a:pt x="27" y="142"/>
                      </a:lnTo>
                      <a:lnTo>
                        <a:pt x="36" y="153"/>
                      </a:lnTo>
                      <a:lnTo>
                        <a:pt x="49" y="162"/>
                      </a:lnTo>
                      <a:lnTo>
                        <a:pt x="52" y="168"/>
                      </a:lnTo>
                      <a:lnTo>
                        <a:pt x="50" y="170"/>
                      </a:lnTo>
                      <a:lnTo>
                        <a:pt x="43" y="169"/>
                      </a:lnTo>
                      <a:lnTo>
                        <a:pt x="47" y="178"/>
                      </a:lnTo>
                      <a:lnTo>
                        <a:pt x="51" y="183"/>
                      </a:lnTo>
                      <a:lnTo>
                        <a:pt x="51" y="184"/>
                      </a:lnTo>
                      <a:lnTo>
                        <a:pt x="58" y="184"/>
                      </a:lnTo>
                      <a:lnTo>
                        <a:pt x="58" y="182"/>
                      </a:lnTo>
                      <a:lnTo>
                        <a:pt x="58" y="182"/>
                      </a:lnTo>
                      <a:lnTo>
                        <a:pt x="57" y="178"/>
                      </a:lnTo>
                      <a:lnTo>
                        <a:pt x="59" y="180"/>
                      </a:lnTo>
                      <a:lnTo>
                        <a:pt x="62" y="180"/>
                      </a:lnTo>
                      <a:lnTo>
                        <a:pt x="62" y="177"/>
                      </a:lnTo>
                      <a:lnTo>
                        <a:pt x="65" y="177"/>
                      </a:lnTo>
                      <a:lnTo>
                        <a:pt x="64" y="175"/>
                      </a:lnTo>
                      <a:lnTo>
                        <a:pt x="67" y="175"/>
                      </a:lnTo>
                      <a:lnTo>
                        <a:pt x="70" y="174"/>
                      </a:lnTo>
                      <a:lnTo>
                        <a:pt x="72" y="174"/>
                      </a:lnTo>
                      <a:lnTo>
                        <a:pt x="76" y="169"/>
                      </a:lnTo>
                      <a:lnTo>
                        <a:pt x="77" y="169"/>
                      </a:lnTo>
                      <a:lnTo>
                        <a:pt x="79" y="168"/>
                      </a:lnTo>
                      <a:lnTo>
                        <a:pt x="82" y="167"/>
                      </a:lnTo>
                      <a:lnTo>
                        <a:pt x="85" y="163"/>
                      </a:lnTo>
                      <a:lnTo>
                        <a:pt x="90" y="164"/>
                      </a:lnTo>
                      <a:lnTo>
                        <a:pt x="92" y="165"/>
                      </a:lnTo>
                      <a:lnTo>
                        <a:pt x="95" y="165"/>
                      </a:lnTo>
                      <a:lnTo>
                        <a:pt x="96" y="168"/>
                      </a:lnTo>
                      <a:lnTo>
                        <a:pt x="98" y="168"/>
                      </a:lnTo>
                      <a:lnTo>
                        <a:pt x="100" y="168"/>
                      </a:lnTo>
                      <a:lnTo>
                        <a:pt x="99" y="170"/>
                      </a:lnTo>
                      <a:lnTo>
                        <a:pt x="103" y="169"/>
                      </a:lnTo>
                      <a:lnTo>
                        <a:pt x="105" y="168"/>
                      </a:lnTo>
                      <a:lnTo>
                        <a:pt x="107" y="167"/>
                      </a:lnTo>
                      <a:lnTo>
                        <a:pt x="110" y="167"/>
                      </a:lnTo>
                      <a:lnTo>
                        <a:pt x="111" y="167"/>
                      </a:lnTo>
                      <a:lnTo>
                        <a:pt x="115" y="168"/>
                      </a:lnTo>
                      <a:lnTo>
                        <a:pt x="117" y="168"/>
                      </a:lnTo>
                      <a:lnTo>
                        <a:pt x="118" y="168"/>
                      </a:lnTo>
                      <a:lnTo>
                        <a:pt x="120" y="168"/>
                      </a:lnTo>
                      <a:lnTo>
                        <a:pt x="120" y="171"/>
                      </a:lnTo>
                      <a:lnTo>
                        <a:pt x="120" y="174"/>
                      </a:lnTo>
                      <a:lnTo>
                        <a:pt x="122" y="176"/>
                      </a:lnTo>
                      <a:lnTo>
                        <a:pt x="123" y="177"/>
                      </a:lnTo>
                      <a:lnTo>
                        <a:pt x="125" y="177"/>
                      </a:lnTo>
                      <a:lnTo>
                        <a:pt x="126" y="178"/>
                      </a:lnTo>
                      <a:lnTo>
                        <a:pt x="126" y="182"/>
                      </a:lnTo>
                      <a:lnTo>
                        <a:pt x="126" y="184"/>
                      </a:lnTo>
                      <a:lnTo>
                        <a:pt x="126" y="185"/>
                      </a:lnTo>
                      <a:lnTo>
                        <a:pt x="126" y="187"/>
                      </a:lnTo>
                      <a:lnTo>
                        <a:pt x="124" y="188"/>
                      </a:lnTo>
                      <a:lnTo>
                        <a:pt x="124" y="188"/>
                      </a:lnTo>
                      <a:lnTo>
                        <a:pt x="123" y="190"/>
                      </a:lnTo>
                      <a:lnTo>
                        <a:pt x="124" y="192"/>
                      </a:lnTo>
                      <a:lnTo>
                        <a:pt x="125" y="192"/>
                      </a:lnTo>
                      <a:lnTo>
                        <a:pt x="125" y="195"/>
                      </a:lnTo>
                      <a:lnTo>
                        <a:pt x="126" y="196"/>
                      </a:lnTo>
                      <a:lnTo>
                        <a:pt x="129" y="197"/>
                      </a:lnTo>
                      <a:lnTo>
                        <a:pt x="127" y="198"/>
                      </a:lnTo>
                      <a:lnTo>
                        <a:pt x="125" y="198"/>
                      </a:lnTo>
                      <a:lnTo>
                        <a:pt x="122" y="198"/>
                      </a:lnTo>
                      <a:lnTo>
                        <a:pt x="120" y="198"/>
                      </a:lnTo>
                      <a:lnTo>
                        <a:pt x="119" y="197"/>
                      </a:lnTo>
                      <a:lnTo>
                        <a:pt x="118" y="197"/>
                      </a:lnTo>
                      <a:lnTo>
                        <a:pt x="116" y="197"/>
                      </a:lnTo>
                      <a:lnTo>
                        <a:pt x="115" y="197"/>
                      </a:lnTo>
                      <a:lnTo>
                        <a:pt x="111" y="197"/>
                      </a:lnTo>
                      <a:lnTo>
                        <a:pt x="110" y="197"/>
                      </a:lnTo>
                      <a:lnTo>
                        <a:pt x="106" y="198"/>
                      </a:lnTo>
                      <a:lnTo>
                        <a:pt x="105" y="197"/>
                      </a:lnTo>
                      <a:lnTo>
                        <a:pt x="102" y="200"/>
                      </a:lnTo>
                      <a:lnTo>
                        <a:pt x="99" y="198"/>
                      </a:lnTo>
                      <a:lnTo>
                        <a:pt x="97" y="200"/>
                      </a:lnTo>
                      <a:lnTo>
                        <a:pt x="98" y="204"/>
                      </a:lnTo>
                      <a:lnTo>
                        <a:pt x="98" y="205"/>
                      </a:lnTo>
                      <a:lnTo>
                        <a:pt x="96" y="205"/>
                      </a:lnTo>
                      <a:lnTo>
                        <a:pt x="95" y="208"/>
                      </a:lnTo>
                      <a:lnTo>
                        <a:pt x="95" y="210"/>
                      </a:lnTo>
                      <a:lnTo>
                        <a:pt x="103" y="214"/>
                      </a:lnTo>
                      <a:lnTo>
                        <a:pt x="104" y="216"/>
                      </a:lnTo>
                      <a:lnTo>
                        <a:pt x="102" y="216"/>
                      </a:lnTo>
                      <a:lnTo>
                        <a:pt x="99" y="217"/>
                      </a:lnTo>
                      <a:lnTo>
                        <a:pt x="93" y="214"/>
                      </a:lnTo>
                      <a:lnTo>
                        <a:pt x="91" y="214"/>
                      </a:lnTo>
                      <a:lnTo>
                        <a:pt x="89" y="214"/>
                      </a:lnTo>
                      <a:lnTo>
                        <a:pt x="89" y="214"/>
                      </a:lnTo>
                      <a:lnTo>
                        <a:pt x="86" y="214"/>
                      </a:lnTo>
                      <a:lnTo>
                        <a:pt x="84" y="214"/>
                      </a:lnTo>
                      <a:lnTo>
                        <a:pt x="85" y="217"/>
                      </a:lnTo>
                      <a:lnTo>
                        <a:pt x="85" y="220"/>
                      </a:lnTo>
                      <a:lnTo>
                        <a:pt x="87" y="220"/>
                      </a:lnTo>
                      <a:lnTo>
                        <a:pt x="90" y="220"/>
                      </a:lnTo>
                      <a:lnTo>
                        <a:pt x="91" y="221"/>
                      </a:lnTo>
                      <a:lnTo>
                        <a:pt x="92" y="221"/>
                      </a:lnTo>
                      <a:lnTo>
                        <a:pt x="95" y="222"/>
                      </a:lnTo>
                      <a:lnTo>
                        <a:pt x="97" y="224"/>
                      </a:lnTo>
                      <a:lnTo>
                        <a:pt x="97" y="227"/>
                      </a:lnTo>
                      <a:lnTo>
                        <a:pt x="97" y="229"/>
                      </a:lnTo>
                      <a:lnTo>
                        <a:pt x="99" y="230"/>
                      </a:lnTo>
                      <a:lnTo>
                        <a:pt x="102" y="230"/>
                      </a:lnTo>
                      <a:lnTo>
                        <a:pt x="103" y="230"/>
                      </a:lnTo>
                      <a:lnTo>
                        <a:pt x="106" y="236"/>
                      </a:lnTo>
                      <a:lnTo>
                        <a:pt x="107" y="241"/>
                      </a:lnTo>
                      <a:lnTo>
                        <a:pt x="110" y="243"/>
                      </a:lnTo>
                      <a:lnTo>
                        <a:pt x="110" y="244"/>
                      </a:lnTo>
                      <a:lnTo>
                        <a:pt x="113" y="244"/>
                      </a:lnTo>
                      <a:lnTo>
                        <a:pt x="113" y="247"/>
                      </a:lnTo>
                      <a:lnTo>
                        <a:pt x="118" y="248"/>
                      </a:lnTo>
                      <a:lnTo>
                        <a:pt x="120" y="249"/>
                      </a:lnTo>
                      <a:lnTo>
                        <a:pt x="122" y="249"/>
                      </a:lnTo>
                      <a:lnTo>
                        <a:pt x="123" y="250"/>
                      </a:lnTo>
                      <a:lnTo>
                        <a:pt x="124" y="250"/>
                      </a:lnTo>
                      <a:lnTo>
                        <a:pt x="125" y="250"/>
                      </a:lnTo>
                      <a:lnTo>
                        <a:pt x="127" y="250"/>
                      </a:lnTo>
                      <a:lnTo>
                        <a:pt x="130" y="249"/>
                      </a:lnTo>
                      <a:lnTo>
                        <a:pt x="130" y="250"/>
                      </a:lnTo>
                      <a:lnTo>
                        <a:pt x="131" y="251"/>
                      </a:lnTo>
                      <a:lnTo>
                        <a:pt x="133" y="254"/>
                      </a:lnTo>
                      <a:lnTo>
                        <a:pt x="133" y="256"/>
                      </a:lnTo>
                      <a:lnTo>
                        <a:pt x="135" y="258"/>
                      </a:lnTo>
                      <a:lnTo>
                        <a:pt x="133" y="261"/>
                      </a:lnTo>
                      <a:lnTo>
                        <a:pt x="131" y="263"/>
                      </a:lnTo>
                      <a:lnTo>
                        <a:pt x="136" y="262"/>
                      </a:lnTo>
                      <a:lnTo>
                        <a:pt x="142" y="261"/>
                      </a:lnTo>
                      <a:lnTo>
                        <a:pt x="146" y="258"/>
                      </a:lnTo>
                      <a:lnTo>
                        <a:pt x="153" y="258"/>
                      </a:lnTo>
                      <a:lnTo>
                        <a:pt x="159" y="256"/>
                      </a:lnTo>
                      <a:lnTo>
                        <a:pt x="163" y="254"/>
                      </a:lnTo>
                      <a:lnTo>
                        <a:pt x="167" y="256"/>
                      </a:lnTo>
                      <a:lnTo>
                        <a:pt x="171" y="261"/>
                      </a:lnTo>
                      <a:lnTo>
                        <a:pt x="177" y="265"/>
                      </a:lnTo>
                      <a:lnTo>
                        <a:pt x="178" y="269"/>
                      </a:lnTo>
                      <a:lnTo>
                        <a:pt x="184" y="276"/>
                      </a:lnTo>
                      <a:lnTo>
                        <a:pt x="187" y="277"/>
                      </a:lnTo>
                      <a:lnTo>
                        <a:pt x="191" y="275"/>
                      </a:lnTo>
                      <a:lnTo>
                        <a:pt x="196" y="276"/>
                      </a:lnTo>
                      <a:lnTo>
                        <a:pt x="173" y="202"/>
                      </a:lnTo>
                      <a:lnTo>
                        <a:pt x="210" y="189"/>
                      </a:lnTo>
                      <a:lnTo>
                        <a:pt x="213" y="189"/>
                      </a:lnTo>
                      <a:lnTo>
                        <a:pt x="223" y="191"/>
                      </a:lnTo>
                      <a:lnTo>
                        <a:pt x="224" y="187"/>
                      </a:lnTo>
                      <a:lnTo>
                        <a:pt x="223" y="182"/>
                      </a:lnTo>
                      <a:lnTo>
                        <a:pt x="225" y="181"/>
                      </a:lnTo>
                      <a:lnTo>
                        <a:pt x="227" y="182"/>
                      </a:lnTo>
                      <a:lnTo>
                        <a:pt x="231" y="182"/>
                      </a:lnTo>
                      <a:lnTo>
                        <a:pt x="233" y="180"/>
                      </a:lnTo>
                      <a:lnTo>
                        <a:pt x="236" y="183"/>
                      </a:lnTo>
                      <a:lnTo>
                        <a:pt x="239" y="181"/>
                      </a:lnTo>
                      <a:lnTo>
                        <a:pt x="244" y="178"/>
                      </a:lnTo>
                      <a:lnTo>
                        <a:pt x="242" y="177"/>
                      </a:lnTo>
                      <a:lnTo>
                        <a:pt x="239" y="178"/>
                      </a:lnTo>
                      <a:lnTo>
                        <a:pt x="238" y="178"/>
                      </a:lnTo>
                      <a:lnTo>
                        <a:pt x="237" y="177"/>
                      </a:lnTo>
                      <a:lnTo>
                        <a:pt x="234" y="175"/>
                      </a:lnTo>
                      <a:lnTo>
                        <a:pt x="233" y="174"/>
                      </a:lnTo>
                      <a:lnTo>
                        <a:pt x="234" y="171"/>
                      </a:lnTo>
                      <a:lnTo>
                        <a:pt x="236" y="170"/>
                      </a:lnTo>
                      <a:lnTo>
                        <a:pt x="237" y="173"/>
                      </a:lnTo>
                      <a:lnTo>
                        <a:pt x="239" y="170"/>
                      </a:lnTo>
                      <a:lnTo>
                        <a:pt x="242" y="170"/>
                      </a:lnTo>
                      <a:lnTo>
                        <a:pt x="244" y="170"/>
                      </a:lnTo>
                      <a:lnTo>
                        <a:pt x="244" y="171"/>
                      </a:lnTo>
                      <a:lnTo>
                        <a:pt x="244" y="174"/>
                      </a:lnTo>
                      <a:lnTo>
                        <a:pt x="245" y="174"/>
                      </a:lnTo>
                      <a:lnTo>
                        <a:pt x="247" y="171"/>
                      </a:lnTo>
                      <a:lnTo>
                        <a:pt x="249" y="173"/>
                      </a:lnTo>
                      <a:lnTo>
                        <a:pt x="251" y="173"/>
                      </a:lnTo>
                      <a:lnTo>
                        <a:pt x="252" y="174"/>
                      </a:lnTo>
                      <a:lnTo>
                        <a:pt x="250" y="177"/>
                      </a:lnTo>
                      <a:lnTo>
                        <a:pt x="252" y="176"/>
                      </a:lnTo>
                      <a:lnTo>
                        <a:pt x="252" y="180"/>
                      </a:lnTo>
                      <a:lnTo>
                        <a:pt x="253" y="178"/>
                      </a:lnTo>
                      <a:lnTo>
                        <a:pt x="254" y="177"/>
                      </a:lnTo>
                      <a:lnTo>
                        <a:pt x="256" y="178"/>
                      </a:lnTo>
                      <a:lnTo>
                        <a:pt x="253" y="181"/>
                      </a:lnTo>
                      <a:lnTo>
                        <a:pt x="256" y="182"/>
                      </a:lnTo>
                      <a:lnTo>
                        <a:pt x="252" y="183"/>
                      </a:lnTo>
                      <a:lnTo>
                        <a:pt x="249" y="183"/>
                      </a:lnTo>
                      <a:lnTo>
                        <a:pt x="244" y="182"/>
                      </a:lnTo>
                      <a:lnTo>
                        <a:pt x="243" y="183"/>
                      </a:lnTo>
                      <a:lnTo>
                        <a:pt x="245" y="187"/>
                      </a:lnTo>
                      <a:lnTo>
                        <a:pt x="245" y="189"/>
                      </a:lnTo>
                      <a:lnTo>
                        <a:pt x="246" y="192"/>
                      </a:lnTo>
                      <a:lnTo>
                        <a:pt x="247" y="192"/>
                      </a:lnTo>
                      <a:lnTo>
                        <a:pt x="247" y="195"/>
                      </a:lnTo>
                      <a:lnTo>
                        <a:pt x="247" y="196"/>
                      </a:lnTo>
                      <a:lnTo>
                        <a:pt x="250" y="197"/>
                      </a:lnTo>
                      <a:lnTo>
                        <a:pt x="251" y="200"/>
                      </a:lnTo>
                      <a:lnTo>
                        <a:pt x="250" y="200"/>
                      </a:lnTo>
                      <a:lnTo>
                        <a:pt x="250" y="202"/>
                      </a:lnTo>
                      <a:lnTo>
                        <a:pt x="251" y="203"/>
                      </a:lnTo>
                      <a:lnTo>
                        <a:pt x="252" y="207"/>
                      </a:lnTo>
                      <a:lnTo>
                        <a:pt x="257" y="210"/>
                      </a:lnTo>
                      <a:lnTo>
                        <a:pt x="257" y="215"/>
                      </a:lnTo>
                      <a:lnTo>
                        <a:pt x="259" y="217"/>
                      </a:lnTo>
                      <a:lnTo>
                        <a:pt x="266" y="222"/>
                      </a:lnTo>
                      <a:lnTo>
                        <a:pt x="267" y="225"/>
                      </a:lnTo>
                      <a:lnTo>
                        <a:pt x="282" y="232"/>
                      </a:lnTo>
                      <a:lnTo>
                        <a:pt x="296" y="231"/>
                      </a:lnTo>
                      <a:lnTo>
                        <a:pt x="316" y="232"/>
                      </a:lnTo>
                      <a:lnTo>
                        <a:pt x="327" y="229"/>
                      </a:lnTo>
                      <a:lnTo>
                        <a:pt x="332" y="228"/>
                      </a:lnTo>
                      <a:lnTo>
                        <a:pt x="337" y="234"/>
                      </a:lnTo>
                      <a:lnTo>
                        <a:pt x="340" y="234"/>
                      </a:lnTo>
                      <a:lnTo>
                        <a:pt x="346" y="237"/>
                      </a:lnTo>
                      <a:lnTo>
                        <a:pt x="350" y="244"/>
                      </a:lnTo>
                      <a:lnTo>
                        <a:pt x="353" y="244"/>
                      </a:lnTo>
                      <a:lnTo>
                        <a:pt x="354" y="262"/>
                      </a:lnTo>
                      <a:lnTo>
                        <a:pt x="366" y="264"/>
                      </a:lnTo>
                      <a:lnTo>
                        <a:pt x="369" y="270"/>
                      </a:lnTo>
                      <a:lnTo>
                        <a:pt x="370" y="280"/>
                      </a:lnTo>
                      <a:lnTo>
                        <a:pt x="374" y="282"/>
                      </a:lnTo>
                      <a:lnTo>
                        <a:pt x="390" y="280"/>
                      </a:lnTo>
                      <a:lnTo>
                        <a:pt x="394" y="277"/>
                      </a:lnTo>
                      <a:lnTo>
                        <a:pt x="397" y="284"/>
                      </a:lnTo>
                      <a:lnTo>
                        <a:pt x="398" y="289"/>
                      </a:lnTo>
                      <a:lnTo>
                        <a:pt x="403" y="292"/>
                      </a:lnTo>
                      <a:lnTo>
                        <a:pt x="406" y="290"/>
                      </a:lnTo>
                      <a:lnTo>
                        <a:pt x="406" y="285"/>
                      </a:lnTo>
                      <a:lnTo>
                        <a:pt x="410" y="283"/>
                      </a:lnTo>
                      <a:lnTo>
                        <a:pt x="411" y="281"/>
                      </a:lnTo>
                      <a:lnTo>
                        <a:pt x="414" y="277"/>
                      </a:lnTo>
                      <a:lnTo>
                        <a:pt x="413" y="274"/>
                      </a:lnTo>
                      <a:lnTo>
                        <a:pt x="427" y="267"/>
                      </a:lnTo>
                      <a:lnTo>
                        <a:pt x="426" y="264"/>
                      </a:lnTo>
                      <a:lnTo>
                        <a:pt x="437" y="254"/>
                      </a:lnTo>
                      <a:lnTo>
                        <a:pt x="436" y="257"/>
                      </a:lnTo>
                      <a:lnTo>
                        <a:pt x="436" y="257"/>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grpSp>
          <p:grpSp>
            <p:nvGrpSpPr>
              <p:cNvPr id="365" name="China">
                <a:extLst>
                  <a:ext uri="{FF2B5EF4-FFF2-40B4-BE49-F238E27FC236}">
                    <a16:creationId xmlns:a16="http://schemas.microsoft.com/office/drawing/2014/main" id="{523F191D-2344-BF4D-BB6F-E5157C222492}"/>
                  </a:ext>
                </a:extLst>
              </p:cNvPr>
              <p:cNvGrpSpPr/>
              <p:nvPr/>
            </p:nvGrpSpPr>
            <p:grpSpPr>
              <a:xfrm>
                <a:off x="8161439" y="2392993"/>
                <a:ext cx="1350061" cy="1049724"/>
                <a:chOff x="7015698" y="2576746"/>
                <a:chExt cx="1488811" cy="1157608"/>
              </a:xfrm>
              <a:grpFill/>
            </p:grpSpPr>
            <p:sp>
              <p:nvSpPr>
                <p:cNvPr id="366" name="Freeform 163">
                  <a:extLst>
                    <a:ext uri="{FF2B5EF4-FFF2-40B4-BE49-F238E27FC236}">
                      <a16:creationId xmlns:a16="http://schemas.microsoft.com/office/drawing/2014/main" id="{23D8AB07-C11E-6E44-95BD-B27090BBBF7A}"/>
                    </a:ext>
                  </a:extLst>
                </p:cNvPr>
                <p:cNvSpPr>
                  <a:spLocks/>
                </p:cNvSpPr>
                <p:nvPr/>
              </p:nvSpPr>
              <p:spPr bwMode="auto">
                <a:xfrm>
                  <a:off x="7015698" y="2576746"/>
                  <a:ext cx="1488811" cy="1086864"/>
                </a:xfrm>
                <a:custGeom>
                  <a:avLst/>
                  <a:gdLst>
                    <a:gd name="T0" fmla="*/ 94 w 926"/>
                    <a:gd name="T1" fmla="*/ 363 h 676"/>
                    <a:gd name="T2" fmla="*/ 138 w 926"/>
                    <a:gd name="T3" fmla="*/ 376 h 676"/>
                    <a:gd name="T4" fmla="*/ 133 w 926"/>
                    <a:gd name="T5" fmla="*/ 412 h 676"/>
                    <a:gd name="T6" fmla="*/ 138 w 926"/>
                    <a:gd name="T7" fmla="*/ 448 h 676"/>
                    <a:gd name="T8" fmla="*/ 179 w 926"/>
                    <a:gd name="T9" fmla="*/ 468 h 676"/>
                    <a:gd name="T10" fmla="*/ 233 w 926"/>
                    <a:gd name="T11" fmla="*/ 489 h 676"/>
                    <a:gd name="T12" fmla="*/ 279 w 926"/>
                    <a:gd name="T13" fmla="*/ 519 h 676"/>
                    <a:gd name="T14" fmla="*/ 324 w 926"/>
                    <a:gd name="T15" fmla="*/ 520 h 676"/>
                    <a:gd name="T16" fmla="*/ 409 w 926"/>
                    <a:gd name="T17" fmla="*/ 499 h 676"/>
                    <a:gd name="T18" fmla="*/ 449 w 926"/>
                    <a:gd name="T19" fmla="*/ 498 h 676"/>
                    <a:gd name="T20" fmla="*/ 473 w 926"/>
                    <a:gd name="T21" fmla="*/ 510 h 676"/>
                    <a:gd name="T22" fmla="*/ 500 w 926"/>
                    <a:gd name="T23" fmla="*/ 539 h 676"/>
                    <a:gd name="T24" fmla="*/ 493 w 926"/>
                    <a:gd name="T25" fmla="*/ 581 h 676"/>
                    <a:gd name="T26" fmla="*/ 515 w 926"/>
                    <a:gd name="T27" fmla="*/ 606 h 676"/>
                    <a:gd name="T28" fmla="*/ 539 w 926"/>
                    <a:gd name="T29" fmla="*/ 640 h 676"/>
                    <a:gd name="T30" fmla="*/ 576 w 926"/>
                    <a:gd name="T31" fmla="*/ 657 h 676"/>
                    <a:gd name="T32" fmla="*/ 613 w 926"/>
                    <a:gd name="T33" fmla="*/ 626 h 676"/>
                    <a:gd name="T34" fmla="*/ 662 w 926"/>
                    <a:gd name="T35" fmla="*/ 640 h 676"/>
                    <a:gd name="T36" fmla="*/ 696 w 926"/>
                    <a:gd name="T37" fmla="*/ 645 h 676"/>
                    <a:gd name="T38" fmla="*/ 716 w 926"/>
                    <a:gd name="T39" fmla="*/ 652 h 676"/>
                    <a:gd name="T40" fmla="*/ 728 w 926"/>
                    <a:gd name="T41" fmla="*/ 653 h 676"/>
                    <a:gd name="T42" fmla="*/ 749 w 926"/>
                    <a:gd name="T43" fmla="*/ 646 h 676"/>
                    <a:gd name="T44" fmla="*/ 771 w 926"/>
                    <a:gd name="T45" fmla="*/ 643 h 676"/>
                    <a:gd name="T46" fmla="*/ 775 w 926"/>
                    <a:gd name="T47" fmla="*/ 619 h 676"/>
                    <a:gd name="T48" fmla="*/ 796 w 926"/>
                    <a:gd name="T49" fmla="*/ 629 h 676"/>
                    <a:gd name="T50" fmla="*/ 819 w 926"/>
                    <a:gd name="T51" fmla="*/ 626 h 676"/>
                    <a:gd name="T52" fmla="*/ 834 w 926"/>
                    <a:gd name="T53" fmla="*/ 612 h 676"/>
                    <a:gd name="T54" fmla="*/ 854 w 926"/>
                    <a:gd name="T55" fmla="*/ 595 h 676"/>
                    <a:gd name="T56" fmla="*/ 866 w 926"/>
                    <a:gd name="T57" fmla="*/ 577 h 676"/>
                    <a:gd name="T58" fmla="*/ 878 w 926"/>
                    <a:gd name="T59" fmla="*/ 569 h 676"/>
                    <a:gd name="T60" fmla="*/ 873 w 926"/>
                    <a:gd name="T61" fmla="*/ 549 h 676"/>
                    <a:gd name="T62" fmla="*/ 879 w 926"/>
                    <a:gd name="T63" fmla="*/ 536 h 676"/>
                    <a:gd name="T64" fmla="*/ 887 w 926"/>
                    <a:gd name="T65" fmla="*/ 513 h 676"/>
                    <a:gd name="T66" fmla="*/ 892 w 926"/>
                    <a:gd name="T67" fmla="*/ 496 h 676"/>
                    <a:gd name="T68" fmla="*/ 888 w 926"/>
                    <a:gd name="T69" fmla="*/ 487 h 676"/>
                    <a:gd name="T70" fmla="*/ 858 w 926"/>
                    <a:gd name="T71" fmla="*/ 473 h 676"/>
                    <a:gd name="T72" fmla="*/ 847 w 926"/>
                    <a:gd name="T73" fmla="*/ 438 h 676"/>
                    <a:gd name="T74" fmla="*/ 866 w 926"/>
                    <a:gd name="T75" fmla="*/ 433 h 676"/>
                    <a:gd name="T76" fmla="*/ 803 w 926"/>
                    <a:gd name="T77" fmla="*/ 367 h 676"/>
                    <a:gd name="T78" fmla="*/ 821 w 926"/>
                    <a:gd name="T79" fmla="*/ 351 h 676"/>
                    <a:gd name="T80" fmla="*/ 827 w 926"/>
                    <a:gd name="T81" fmla="*/ 336 h 676"/>
                    <a:gd name="T82" fmla="*/ 839 w 926"/>
                    <a:gd name="T83" fmla="*/ 334 h 676"/>
                    <a:gd name="T84" fmla="*/ 842 w 926"/>
                    <a:gd name="T85" fmla="*/ 325 h 676"/>
                    <a:gd name="T86" fmla="*/ 799 w 926"/>
                    <a:gd name="T87" fmla="*/ 319 h 676"/>
                    <a:gd name="T88" fmla="*/ 759 w 926"/>
                    <a:gd name="T89" fmla="*/ 307 h 676"/>
                    <a:gd name="T90" fmla="*/ 779 w 926"/>
                    <a:gd name="T91" fmla="*/ 259 h 676"/>
                    <a:gd name="T92" fmla="*/ 803 w 926"/>
                    <a:gd name="T93" fmla="*/ 285 h 676"/>
                    <a:gd name="T94" fmla="*/ 819 w 926"/>
                    <a:gd name="T95" fmla="*/ 286 h 676"/>
                    <a:gd name="T96" fmla="*/ 860 w 926"/>
                    <a:gd name="T97" fmla="*/ 254 h 676"/>
                    <a:gd name="T98" fmla="*/ 903 w 926"/>
                    <a:gd name="T99" fmla="*/ 213 h 676"/>
                    <a:gd name="T100" fmla="*/ 749 w 926"/>
                    <a:gd name="T101" fmla="*/ 49 h 676"/>
                    <a:gd name="T102" fmla="*/ 647 w 926"/>
                    <a:gd name="T103" fmla="*/ 111 h 676"/>
                    <a:gd name="T104" fmla="*/ 667 w 926"/>
                    <a:gd name="T105" fmla="*/ 137 h 676"/>
                    <a:gd name="T106" fmla="*/ 625 w 926"/>
                    <a:gd name="T107" fmla="*/ 167 h 676"/>
                    <a:gd name="T108" fmla="*/ 575 w 926"/>
                    <a:gd name="T109" fmla="*/ 220 h 676"/>
                    <a:gd name="T110" fmla="*/ 476 w 926"/>
                    <a:gd name="T111" fmla="*/ 233 h 676"/>
                    <a:gd name="T112" fmla="*/ 309 w 926"/>
                    <a:gd name="T113" fmla="*/ 181 h 676"/>
                    <a:gd name="T114" fmla="*/ 205 w 926"/>
                    <a:gd name="T115" fmla="*/ 113 h 676"/>
                    <a:gd name="T116" fmla="*/ 141 w 926"/>
                    <a:gd name="T117" fmla="*/ 87 h 676"/>
                    <a:gd name="T118" fmla="*/ 82 w 926"/>
                    <a:gd name="T119" fmla="*/ 167 h 676"/>
                    <a:gd name="T120" fmla="*/ 40 w 926"/>
                    <a:gd name="T121" fmla="*/ 265 h 676"/>
                    <a:gd name="T122" fmla="*/ 33 w 926"/>
                    <a:gd name="T123" fmla="*/ 316 h 6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26" h="676">
                      <a:moveTo>
                        <a:pt x="37" y="328"/>
                      </a:moveTo>
                      <a:lnTo>
                        <a:pt x="40" y="332"/>
                      </a:lnTo>
                      <a:lnTo>
                        <a:pt x="45" y="335"/>
                      </a:lnTo>
                      <a:lnTo>
                        <a:pt x="46" y="338"/>
                      </a:lnTo>
                      <a:lnTo>
                        <a:pt x="48" y="338"/>
                      </a:lnTo>
                      <a:lnTo>
                        <a:pt x="53" y="338"/>
                      </a:lnTo>
                      <a:lnTo>
                        <a:pt x="54" y="340"/>
                      </a:lnTo>
                      <a:lnTo>
                        <a:pt x="55" y="341"/>
                      </a:lnTo>
                      <a:lnTo>
                        <a:pt x="57" y="342"/>
                      </a:lnTo>
                      <a:lnTo>
                        <a:pt x="60" y="348"/>
                      </a:lnTo>
                      <a:lnTo>
                        <a:pt x="59" y="351"/>
                      </a:lnTo>
                      <a:lnTo>
                        <a:pt x="64" y="356"/>
                      </a:lnTo>
                      <a:lnTo>
                        <a:pt x="66" y="356"/>
                      </a:lnTo>
                      <a:lnTo>
                        <a:pt x="67" y="356"/>
                      </a:lnTo>
                      <a:lnTo>
                        <a:pt x="68" y="354"/>
                      </a:lnTo>
                      <a:lnTo>
                        <a:pt x="72" y="359"/>
                      </a:lnTo>
                      <a:lnTo>
                        <a:pt x="75" y="359"/>
                      </a:lnTo>
                      <a:lnTo>
                        <a:pt x="75" y="361"/>
                      </a:lnTo>
                      <a:lnTo>
                        <a:pt x="78" y="362"/>
                      </a:lnTo>
                      <a:lnTo>
                        <a:pt x="80" y="362"/>
                      </a:lnTo>
                      <a:lnTo>
                        <a:pt x="86" y="363"/>
                      </a:lnTo>
                      <a:lnTo>
                        <a:pt x="87" y="365"/>
                      </a:lnTo>
                      <a:lnTo>
                        <a:pt x="88" y="363"/>
                      </a:lnTo>
                      <a:lnTo>
                        <a:pt x="94" y="363"/>
                      </a:lnTo>
                      <a:lnTo>
                        <a:pt x="97" y="365"/>
                      </a:lnTo>
                      <a:lnTo>
                        <a:pt x="97" y="363"/>
                      </a:lnTo>
                      <a:lnTo>
                        <a:pt x="97" y="363"/>
                      </a:lnTo>
                      <a:lnTo>
                        <a:pt x="98" y="362"/>
                      </a:lnTo>
                      <a:lnTo>
                        <a:pt x="99" y="363"/>
                      </a:lnTo>
                      <a:lnTo>
                        <a:pt x="101" y="360"/>
                      </a:lnTo>
                      <a:lnTo>
                        <a:pt x="101" y="360"/>
                      </a:lnTo>
                      <a:lnTo>
                        <a:pt x="102" y="359"/>
                      </a:lnTo>
                      <a:lnTo>
                        <a:pt x="104" y="359"/>
                      </a:lnTo>
                      <a:lnTo>
                        <a:pt x="105" y="359"/>
                      </a:lnTo>
                      <a:lnTo>
                        <a:pt x="108" y="355"/>
                      </a:lnTo>
                      <a:lnTo>
                        <a:pt x="118" y="354"/>
                      </a:lnTo>
                      <a:lnTo>
                        <a:pt x="118" y="355"/>
                      </a:lnTo>
                      <a:lnTo>
                        <a:pt x="124" y="358"/>
                      </a:lnTo>
                      <a:lnTo>
                        <a:pt x="124" y="359"/>
                      </a:lnTo>
                      <a:lnTo>
                        <a:pt x="125" y="361"/>
                      </a:lnTo>
                      <a:lnTo>
                        <a:pt x="127" y="361"/>
                      </a:lnTo>
                      <a:lnTo>
                        <a:pt x="127" y="362"/>
                      </a:lnTo>
                      <a:lnTo>
                        <a:pt x="131" y="362"/>
                      </a:lnTo>
                      <a:lnTo>
                        <a:pt x="132" y="367"/>
                      </a:lnTo>
                      <a:lnTo>
                        <a:pt x="132" y="366"/>
                      </a:lnTo>
                      <a:lnTo>
                        <a:pt x="134" y="362"/>
                      </a:lnTo>
                      <a:lnTo>
                        <a:pt x="139" y="363"/>
                      </a:lnTo>
                      <a:lnTo>
                        <a:pt x="138" y="376"/>
                      </a:lnTo>
                      <a:lnTo>
                        <a:pt x="138" y="378"/>
                      </a:lnTo>
                      <a:lnTo>
                        <a:pt x="138" y="379"/>
                      </a:lnTo>
                      <a:lnTo>
                        <a:pt x="138" y="381"/>
                      </a:lnTo>
                      <a:lnTo>
                        <a:pt x="134" y="381"/>
                      </a:lnTo>
                      <a:lnTo>
                        <a:pt x="134" y="382"/>
                      </a:lnTo>
                      <a:lnTo>
                        <a:pt x="132" y="385"/>
                      </a:lnTo>
                      <a:lnTo>
                        <a:pt x="135" y="386"/>
                      </a:lnTo>
                      <a:lnTo>
                        <a:pt x="134" y="386"/>
                      </a:lnTo>
                      <a:lnTo>
                        <a:pt x="128" y="386"/>
                      </a:lnTo>
                      <a:lnTo>
                        <a:pt x="132" y="391"/>
                      </a:lnTo>
                      <a:lnTo>
                        <a:pt x="131" y="391"/>
                      </a:lnTo>
                      <a:lnTo>
                        <a:pt x="131" y="393"/>
                      </a:lnTo>
                      <a:lnTo>
                        <a:pt x="129" y="394"/>
                      </a:lnTo>
                      <a:lnTo>
                        <a:pt x="125" y="394"/>
                      </a:lnTo>
                      <a:lnTo>
                        <a:pt x="124" y="395"/>
                      </a:lnTo>
                      <a:lnTo>
                        <a:pt x="122" y="394"/>
                      </a:lnTo>
                      <a:lnTo>
                        <a:pt x="121" y="395"/>
                      </a:lnTo>
                      <a:lnTo>
                        <a:pt x="126" y="402"/>
                      </a:lnTo>
                      <a:lnTo>
                        <a:pt x="124" y="402"/>
                      </a:lnTo>
                      <a:lnTo>
                        <a:pt x="125" y="407"/>
                      </a:lnTo>
                      <a:lnTo>
                        <a:pt x="127" y="411"/>
                      </a:lnTo>
                      <a:lnTo>
                        <a:pt x="129" y="411"/>
                      </a:lnTo>
                      <a:lnTo>
                        <a:pt x="131" y="412"/>
                      </a:lnTo>
                      <a:lnTo>
                        <a:pt x="133" y="412"/>
                      </a:lnTo>
                      <a:lnTo>
                        <a:pt x="134" y="415"/>
                      </a:lnTo>
                      <a:lnTo>
                        <a:pt x="138" y="419"/>
                      </a:lnTo>
                      <a:lnTo>
                        <a:pt x="138" y="420"/>
                      </a:lnTo>
                      <a:lnTo>
                        <a:pt x="138" y="421"/>
                      </a:lnTo>
                      <a:lnTo>
                        <a:pt x="135" y="425"/>
                      </a:lnTo>
                      <a:lnTo>
                        <a:pt x="137" y="426"/>
                      </a:lnTo>
                      <a:lnTo>
                        <a:pt x="134" y="426"/>
                      </a:lnTo>
                      <a:lnTo>
                        <a:pt x="131" y="428"/>
                      </a:lnTo>
                      <a:lnTo>
                        <a:pt x="127" y="426"/>
                      </a:lnTo>
                      <a:lnTo>
                        <a:pt x="126" y="422"/>
                      </a:lnTo>
                      <a:lnTo>
                        <a:pt x="121" y="423"/>
                      </a:lnTo>
                      <a:lnTo>
                        <a:pt x="120" y="423"/>
                      </a:lnTo>
                      <a:lnTo>
                        <a:pt x="121" y="428"/>
                      </a:lnTo>
                      <a:lnTo>
                        <a:pt x="121" y="430"/>
                      </a:lnTo>
                      <a:lnTo>
                        <a:pt x="128" y="436"/>
                      </a:lnTo>
                      <a:lnTo>
                        <a:pt x="128" y="441"/>
                      </a:lnTo>
                      <a:lnTo>
                        <a:pt x="131" y="441"/>
                      </a:lnTo>
                      <a:lnTo>
                        <a:pt x="132" y="443"/>
                      </a:lnTo>
                      <a:lnTo>
                        <a:pt x="131" y="446"/>
                      </a:lnTo>
                      <a:lnTo>
                        <a:pt x="131" y="447"/>
                      </a:lnTo>
                      <a:lnTo>
                        <a:pt x="132" y="450"/>
                      </a:lnTo>
                      <a:lnTo>
                        <a:pt x="137" y="449"/>
                      </a:lnTo>
                      <a:lnTo>
                        <a:pt x="137" y="447"/>
                      </a:lnTo>
                      <a:lnTo>
                        <a:pt x="138" y="448"/>
                      </a:lnTo>
                      <a:lnTo>
                        <a:pt x="140" y="450"/>
                      </a:lnTo>
                      <a:lnTo>
                        <a:pt x="141" y="452"/>
                      </a:lnTo>
                      <a:lnTo>
                        <a:pt x="141" y="453"/>
                      </a:lnTo>
                      <a:lnTo>
                        <a:pt x="144" y="455"/>
                      </a:lnTo>
                      <a:lnTo>
                        <a:pt x="146" y="456"/>
                      </a:lnTo>
                      <a:lnTo>
                        <a:pt x="148" y="456"/>
                      </a:lnTo>
                      <a:lnTo>
                        <a:pt x="151" y="456"/>
                      </a:lnTo>
                      <a:lnTo>
                        <a:pt x="153" y="456"/>
                      </a:lnTo>
                      <a:lnTo>
                        <a:pt x="154" y="458"/>
                      </a:lnTo>
                      <a:lnTo>
                        <a:pt x="154" y="458"/>
                      </a:lnTo>
                      <a:lnTo>
                        <a:pt x="157" y="460"/>
                      </a:lnTo>
                      <a:lnTo>
                        <a:pt x="159" y="460"/>
                      </a:lnTo>
                      <a:lnTo>
                        <a:pt x="160" y="462"/>
                      </a:lnTo>
                      <a:lnTo>
                        <a:pt x="159" y="462"/>
                      </a:lnTo>
                      <a:lnTo>
                        <a:pt x="160" y="465"/>
                      </a:lnTo>
                      <a:lnTo>
                        <a:pt x="160" y="466"/>
                      </a:lnTo>
                      <a:lnTo>
                        <a:pt x="167" y="467"/>
                      </a:lnTo>
                      <a:lnTo>
                        <a:pt x="171" y="468"/>
                      </a:lnTo>
                      <a:lnTo>
                        <a:pt x="177" y="472"/>
                      </a:lnTo>
                      <a:lnTo>
                        <a:pt x="178" y="470"/>
                      </a:lnTo>
                      <a:lnTo>
                        <a:pt x="179" y="470"/>
                      </a:lnTo>
                      <a:lnTo>
                        <a:pt x="179" y="469"/>
                      </a:lnTo>
                      <a:lnTo>
                        <a:pt x="179" y="468"/>
                      </a:lnTo>
                      <a:lnTo>
                        <a:pt x="179" y="468"/>
                      </a:lnTo>
                      <a:lnTo>
                        <a:pt x="180" y="468"/>
                      </a:lnTo>
                      <a:lnTo>
                        <a:pt x="181" y="468"/>
                      </a:lnTo>
                      <a:lnTo>
                        <a:pt x="184" y="472"/>
                      </a:lnTo>
                      <a:lnTo>
                        <a:pt x="185" y="473"/>
                      </a:lnTo>
                      <a:lnTo>
                        <a:pt x="187" y="470"/>
                      </a:lnTo>
                      <a:lnTo>
                        <a:pt x="186" y="469"/>
                      </a:lnTo>
                      <a:lnTo>
                        <a:pt x="188" y="469"/>
                      </a:lnTo>
                      <a:lnTo>
                        <a:pt x="188" y="466"/>
                      </a:lnTo>
                      <a:lnTo>
                        <a:pt x="189" y="465"/>
                      </a:lnTo>
                      <a:lnTo>
                        <a:pt x="192" y="466"/>
                      </a:lnTo>
                      <a:lnTo>
                        <a:pt x="193" y="463"/>
                      </a:lnTo>
                      <a:lnTo>
                        <a:pt x="202" y="465"/>
                      </a:lnTo>
                      <a:lnTo>
                        <a:pt x="204" y="470"/>
                      </a:lnTo>
                      <a:lnTo>
                        <a:pt x="211" y="474"/>
                      </a:lnTo>
                      <a:lnTo>
                        <a:pt x="217" y="480"/>
                      </a:lnTo>
                      <a:lnTo>
                        <a:pt x="219" y="480"/>
                      </a:lnTo>
                      <a:lnTo>
                        <a:pt x="221" y="482"/>
                      </a:lnTo>
                      <a:lnTo>
                        <a:pt x="222" y="481"/>
                      </a:lnTo>
                      <a:lnTo>
                        <a:pt x="225" y="482"/>
                      </a:lnTo>
                      <a:lnTo>
                        <a:pt x="225" y="485"/>
                      </a:lnTo>
                      <a:lnTo>
                        <a:pt x="226" y="483"/>
                      </a:lnTo>
                      <a:lnTo>
                        <a:pt x="231" y="492"/>
                      </a:lnTo>
                      <a:lnTo>
                        <a:pt x="232" y="492"/>
                      </a:lnTo>
                      <a:lnTo>
                        <a:pt x="233" y="489"/>
                      </a:lnTo>
                      <a:lnTo>
                        <a:pt x="239" y="488"/>
                      </a:lnTo>
                      <a:lnTo>
                        <a:pt x="242" y="490"/>
                      </a:lnTo>
                      <a:lnTo>
                        <a:pt x="242" y="494"/>
                      </a:lnTo>
                      <a:lnTo>
                        <a:pt x="244" y="494"/>
                      </a:lnTo>
                      <a:lnTo>
                        <a:pt x="242" y="496"/>
                      </a:lnTo>
                      <a:lnTo>
                        <a:pt x="254" y="505"/>
                      </a:lnTo>
                      <a:lnTo>
                        <a:pt x="257" y="506"/>
                      </a:lnTo>
                      <a:lnTo>
                        <a:pt x="259" y="503"/>
                      </a:lnTo>
                      <a:lnTo>
                        <a:pt x="261" y="503"/>
                      </a:lnTo>
                      <a:lnTo>
                        <a:pt x="261" y="506"/>
                      </a:lnTo>
                      <a:lnTo>
                        <a:pt x="259" y="507"/>
                      </a:lnTo>
                      <a:lnTo>
                        <a:pt x="259" y="510"/>
                      </a:lnTo>
                      <a:lnTo>
                        <a:pt x="262" y="512"/>
                      </a:lnTo>
                      <a:lnTo>
                        <a:pt x="268" y="510"/>
                      </a:lnTo>
                      <a:lnTo>
                        <a:pt x="269" y="512"/>
                      </a:lnTo>
                      <a:lnTo>
                        <a:pt x="271" y="509"/>
                      </a:lnTo>
                      <a:lnTo>
                        <a:pt x="272" y="513"/>
                      </a:lnTo>
                      <a:lnTo>
                        <a:pt x="275" y="515"/>
                      </a:lnTo>
                      <a:lnTo>
                        <a:pt x="275" y="516"/>
                      </a:lnTo>
                      <a:lnTo>
                        <a:pt x="277" y="518"/>
                      </a:lnTo>
                      <a:lnTo>
                        <a:pt x="277" y="519"/>
                      </a:lnTo>
                      <a:lnTo>
                        <a:pt x="277" y="520"/>
                      </a:lnTo>
                      <a:lnTo>
                        <a:pt x="278" y="520"/>
                      </a:lnTo>
                      <a:lnTo>
                        <a:pt x="279" y="519"/>
                      </a:lnTo>
                      <a:lnTo>
                        <a:pt x="279" y="515"/>
                      </a:lnTo>
                      <a:lnTo>
                        <a:pt x="280" y="514"/>
                      </a:lnTo>
                      <a:lnTo>
                        <a:pt x="281" y="515"/>
                      </a:lnTo>
                      <a:lnTo>
                        <a:pt x="281" y="518"/>
                      </a:lnTo>
                      <a:lnTo>
                        <a:pt x="285" y="520"/>
                      </a:lnTo>
                      <a:lnTo>
                        <a:pt x="287" y="519"/>
                      </a:lnTo>
                      <a:lnTo>
                        <a:pt x="287" y="515"/>
                      </a:lnTo>
                      <a:lnTo>
                        <a:pt x="291" y="515"/>
                      </a:lnTo>
                      <a:lnTo>
                        <a:pt x="291" y="515"/>
                      </a:lnTo>
                      <a:lnTo>
                        <a:pt x="292" y="516"/>
                      </a:lnTo>
                      <a:lnTo>
                        <a:pt x="293" y="518"/>
                      </a:lnTo>
                      <a:lnTo>
                        <a:pt x="294" y="519"/>
                      </a:lnTo>
                      <a:lnTo>
                        <a:pt x="297" y="518"/>
                      </a:lnTo>
                      <a:lnTo>
                        <a:pt x="299" y="521"/>
                      </a:lnTo>
                      <a:lnTo>
                        <a:pt x="304" y="520"/>
                      </a:lnTo>
                      <a:lnTo>
                        <a:pt x="304" y="521"/>
                      </a:lnTo>
                      <a:lnTo>
                        <a:pt x="306" y="521"/>
                      </a:lnTo>
                      <a:lnTo>
                        <a:pt x="309" y="521"/>
                      </a:lnTo>
                      <a:lnTo>
                        <a:pt x="311" y="521"/>
                      </a:lnTo>
                      <a:lnTo>
                        <a:pt x="312" y="519"/>
                      </a:lnTo>
                      <a:lnTo>
                        <a:pt x="319" y="520"/>
                      </a:lnTo>
                      <a:lnTo>
                        <a:pt x="319" y="521"/>
                      </a:lnTo>
                      <a:lnTo>
                        <a:pt x="321" y="520"/>
                      </a:lnTo>
                      <a:lnTo>
                        <a:pt x="324" y="520"/>
                      </a:lnTo>
                      <a:lnTo>
                        <a:pt x="325" y="521"/>
                      </a:lnTo>
                      <a:lnTo>
                        <a:pt x="326" y="523"/>
                      </a:lnTo>
                      <a:lnTo>
                        <a:pt x="327" y="528"/>
                      </a:lnTo>
                      <a:lnTo>
                        <a:pt x="329" y="526"/>
                      </a:lnTo>
                      <a:lnTo>
                        <a:pt x="332" y="521"/>
                      </a:lnTo>
                      <a:lnTo>
                        <a:pt x="334" y="520"/>
                      </a:lnTo>
                      <a:lnTo>
                        <a:pt x="338" y="514"/>
                      </a:lnTo>
                      <a:lnTo>
                        <a:pt x="345" y="510"/>
                      </a:lnTo>
                      <a:lnTo>
                        <a:pt x="352" y="512"/>
                      </a:lnTo>
                      <a:lnTo>
                        <a:pt x="353" y="513"/>
                      </a:lnTo>
                      <a:lnTo>
                        <a:pt x="352" y="515"/>
                      </a:lnTo>
                      <a:lnTo>
                        <a:pt x="361" y="516"/>
                      </a:lnTo>
                      <a:lnTo>
                        <a:pt x="364" y="518"/>
                      </a:lnTo>
                      <a:lnTo>
                        <a:pt x="365" y="518"/>
                      </a:lnTo>
                      <a:lnTo>
                        <a:pt x="369" y="515"/>
                      </a:lnTo>
                      <a:lnTo>
                        <a:pt x="369" y="516"/>
                      </a:lnTo>
                      <a:lnTo>
                        <a:pt x="374" y="519"/>
                      </a:lnTo>
                      <a:lnTo>
                        <a:pt x="385" y="518"/>
                      </a:lnTo>
                      <a:lnTo>
                        <a:pt x="392" y="509"/>
                      </a:lnTo>
                      <a:lnTo>
                        <a:pt x="396" y="505"/>
                      </a:lnTo>
                      <a:lnTo>
                        <a:pt x="406" y="502"/>
                      </a:lnTo>
                      <a:lnTo>
                        <a:pt x="408" y="501"/>
                      </a:lnTo>
                      <a:lnTo>
                        <a:pt x="409" y="500"/>
                      </a:lnTo>
                      <a:lnTo>
                        <a:pt x="409" y="499"/>
                      </a:lnTo>
                      <a:lnTo>
                        <a:pt x="411" y="495"/>
                      </a:lnTo>
                      <a:lnTo>
                        <a:pt x="413" y="494"/>
                      </a:lnTo>
                      <a:lnTo>
                        <a:pt x="413" y="493"/>
                      </a:lnTo>
                      <a:lnTo>
                        <a:pt x="416" y="492"/>
                      </a:lnTo>
                      <a:lnTo>
                        <a:pt x="418" y="489"/>
                      </a:lnTo>
                      <a:lnTo>
                        <a:pt x="421" y="492"/>
                      </a:lnTo>
                      <a:lnTo>
                        <a:pt x="421" y="493"/>
                      </a:lnTo>
                      <a:lnTo>
                        <a:pt x="425" y="494"/>
                      </a:lnTo>
                      <a:lnTo>
                        <a:pt x="429" y="495"/>
                      </a:lnTo>
                      <a:lnTo>
                        <a:pt x="433" y="496"/>
                      </a:lnTo>
                      <a:lnTo>
                        <a:pt x="435" y="494"/>
                      </a:lnTo>
                      <a:lnTo>
                        <a:pt x="434" y="492"/>
                      </a:lnTo>
                      <a:lnTo>
                        <a:pt x="438" y="492"/>
                      </a:lnTo>
                      <a:lnTo>
                        <a:pt x="441" y="489"/>
                      </a:lnTo>
                      <a:lnTo>
                        <a:pt x="442" y="487"/>
                      </a:lnTo>
                      <a:lnTo>
                        <a:pt x="442" y="489"/>
                      </a:lnTo>
                      <a:lnTo>
                        <a:pt x="445" y="493"/>
                      </a:lnTo>
                      <a:lnTo>
                        <a:pt x="448" y="492"/>
                      </a:lnTo>
                      <a:lnTo>
                        <a:pt x="448" y="492"/>
                      </a:lnTo>
                      <a:lnTo>
                        <a:pt x="449" y="494"/>
                      </a:lnTo>
                      <a:lnTo>
                        <a:pt x="446" y="494"/>
                      </a:lnTo>
                      <a:lnTo>
                        <a:pt x="446" y="496"/>
                      </a:lnTo>
                      <a:lnTo>
                        <a:pt x="448" y="500"/>
                      </a:lnTo>
                      <a:lnTo>
                        <a:pt x="449" y="498"/>
                      </a:lnTo>
                      <a:lnTo>
                        <a:pt x="451" y="496"/>
                      </a:lnTo>
                      <a:lnTo>
                        <a:pt x="452" y="495"/>
                      </a:lnTo>
                      <a:lnTo>
                        <a:pt x="451" y="498"/>
                      </a:lnTo>
                      <a:lnTo>
                        <a:pt x="455" y="501"/>
                      </a:lnTo>
                      <a:lnTo>
                        <a:pt x="453" y="505"/>
                      </a:lnTo>
                      <a:lnTo>
                        <a:pt x="452" y="506"/>
                      </a:lnTo>
                      <a:lnTo>
                        <a:pt x="452" y="506"/>
                      </a:lnTo>
                      <a:lnTo>
                        <a:pt x="452" y="507"/>
                      </a:lnTo>
                      <a:lnTo>
                        <a:pt x="449" y="508"/>
                      </a:lnTo>
                      <a:lnTo>
                        <a:pt x="453" y="510"/>
                      </a:lnTo>
                      <a:lnTo>
                        <a:pt x="453" y="510"/>
                      </a:lnTo>
                      <a:lnTo>
                        <a:pt x="454" y="508"/>
                      </a:lnTo>
                      <a:lnTo>
                        <a:pt x="458" y="508"/>
                      </a:lnTo>
                      <a:lnTo>
                        <a:pt x="459" y="508"/>
                      </a:lnTo>
                      <a:lnTo>
                        <a:pt x="461" y="510"/>
                      </a:lnTo>
                      <a:lnTo>
                        <a:pt x="462" y="510"/>
                      </a:lnTo>
                      <a:lnTo>
                        <a:pt x="464" y="510"/>
                      </a:lnTo>
                      <a:lnTo>
                        <a:pt x="466" y="512"/>
                      </a:lnTo>
                      <a:lnTo>
                        <a:pt x="467" y="510"/>
                      </a:lnTo>
                      <a:lnTo>
                        <a:pt x="469" y="512"/>
                      </a:lnTo>
                      <a:lnTo>
                        <a:pt x="472" y="513"/>
                      </a:lnTo>
                      <a:lnTo>
                        <a:pt x="472" y="512"/>
                      </a:lnTo>
                      <a:lnTo>
                        <a:pt x="472" y="510"/>
                      </a:lnTo>
                      <a:lnTo>
                        <a:pt x="473" y="510"/>
                      </a:lnTo>
                      <a:lnTo>
                        <a:pt x="473" y="507"/>
                      </a:lnTo>
                      <a:lnTo>
                        <a:pt x="473" y="507"/>
                      </a:lnTo>
                      <a:lnTo>
                        <a:pt x="473" y="507"/>
                      </a:lnTo>
                      <a:lnTo>
                        <a:pt x="474" y="508"/>
                      </a:lnTo>
                      <a:lnTo>
                        <a:pt x="475" y="507"/>
                      </a:lnTo>
                      <a:lnTo>
                        <a:pt x="476" y="508"/>
                      </a:lnTo>
                      <a:lnTo>
                        <a:pt x="478" y="509"/>
                      </a:lnTo>
                      <a:lnTo>
                        <a:pt x="478" y="512"/>
                      </a:lnTo>
                      <a:lnTo>
                        <a:pt x="480" y="510"/>
                      </a:lnTo>
                      <a:lnTo>
                        <a:pt x="482" y="512"/>
                      </a:lnTo>
                      <a:lnTo>
                        <a:pt x="484" y="513"/>
                      </a:lnTo>
                      <a:lnTo>
                        <a:pt x="485" y="514"/>
                      </a:lnTo>
                      <a:lnTo>
                        <a:pt x="486" y="515"/>
                      </a:lnTo>
                      <a:lnTo>
                        <a:pt x="487" y="516"/>
                      </a:lnTo>
                      <a:lnTo>
                        <a:pt x="487" y="519"/>
                      </a:lnTo>
                      <a:lnTo>
                        <a:pt x="487" y="520"/>
                      </a:lnTo>
                      <a:lnTo>
                        <a:pt x="485" y="520"/>
                      </a:lnTo>
                      <a:lnTo>
                        <a:pt x="488" y="523"/>
                      </a:lnTo>
                      <a:lnTo>
                        <a:pt x="492" y="529"/>
                      </a:lnTo>
                      <a:lnTo>
                        <a:pt x="493" y="527"/>
                      </a:lnTo>
                      <a:lnTo>
                        <a:pt x="499" y="529"/>
                      </a:lnTo>
                      <a:lnTo>
                        <a:pt x="500" y="534"/>
                      </a:lnTo>
                      <a:lnTo>
                        <a:pt x="502" y="534"/>
                      </a:lnTo>
                      <a:lnTo>
                        <a:pt x="500" y="539"/>
                      </a:lnTo>
                      <a:lnTo>
                        <a:pt x="502" y="540"/>
                      </a:lnTo>
                      <a:lnTo>
                        <a:pt x="502" y="542"/>
                      </a:lnTo>
                      <a:lnTo>
                        <a:pt x="505" y="545"/>
                      </a:lnTo>
                      <a:lnTo>
                        <a:pt x="505" y="547"/>
                      </a:lnTo>
                      <a:lnTo>
                        <a:pt x="506" y="548"/>
                      </a:lnTo>
                      <a:lnTo>
                        <a:pt x="505" y="548"/>
                      </a:lnTo>
                      <a:lnTo>
                        <a:pt x="506" y="553"/>
                      </a:lnTo>
                      <a:lnTo>
                        <a:pt x="505" y="555"/>
                      </a:lnTo>
                      <a:lnTo>
                        <a:pt x="506" y="559"/>
                      </a:lnTo>
                      <a:lnTo>
                        <a:pt x="504" y="558"/>
                      </a:lnTo>
                      <a:lnTo>
                        <a:pt x="505" y="560"/>
                      </a:lnTo>
                      <a:lnTo>
                        <a:pt x="506" y="561"/>
                      </a:lnTo>
                      <a:lnTo>
                        <a:pt x="507" y="563"/>
                      </a:lnTo>
                      <a:lnTo>
                        <a:pt x="506" y="565"/>
                      </a:lnTo>
                      <a:lnTo>
                        <a:pt x="502" y="565"/>
                      </a:lnTo>
                      <a:lnTo>
                        <a:pt x="502" y="566"/>
                      </a:lnTo>
                      <a:lnTo>
                        <a:pt x="501" y="568"/>
                      </a:lnTo>
                      <a:lnTo>
                        <a:pt x="500" y="568"/>
                      </a:lnTo>
                      <a:lnTo>
                        <a:pt x="496" y="567"/>
                      </a:lnTo>
                      <a:lnTo>
                        <a:pt x="498" y="570"/>
                      </a:lnTo>
                      <a:lnTo>
                        <a:pt x="496" y="573"/>
                      </a:lnTo>
                      <a:lnTo>
                        <a:pt x="494" y="575"/>
                      </a:lnTo>
                      <a:lnTo>
                        <a:pt x="493" y="574"/>
                      </a:lnTo>
                      <a:lnTo>
                        <a:pt x="493" y="581"/>
                      </a:lnTo>
                      <a:lnTo>
                        <a:pt x="494" y="582"/>
                      </a:lnTo>
                      <a:lnTo>
                        <a:pt x="491" y="583"/>
                      </a:lnTo>
                      <a:lnTo>
                        <a:pt x="489" y="585"/>
                      </a:lnTo>
                      <a:lnTo>
                        <a:pt x="491" y="592"/>
                      </a:lnTo>
                      <a:lnTo>
                        <a:pt x="493" y="592"/>
                      </a:lnTo>
                      <a:lnTo>
                        <a:pt x="494" y="593"/>
                      </a:lnTo>
                      <a:lnTo>
                        <a:pt x="495" y="599"/>
                      </a:lnTo>
                      <a:lnTo>
                        <a:pt x="493" y="601"/>
                      </a:lnTo>
                      <a:lnTo>
                        <a:pt x="494" y="602"/>
                      </a:lnTo>
                      <a:lnTo>
                        <a:pt x="495" y="603"/>
                      </a:lnTo>
                      <a:lnTo>
                        <a:pt x="498" y="601"/>
                      </a:lnTo>
                      <a:lnTo>
                        <a:pt x="499" y="600"/>
                      </a:lnTo>
                      <a:lnTo>
                        <a:pt x="500" y="599"/>
                      </a:lnTo>
                      <a:lnTo>
                        <a:pt x="502" y="599"/>
                      </a:lnTo>
                      <a:lnTo>
                        <a:pt x="505" y="597"/>
                      </a:lnTo>
                      <a:lnTo>
                        <a:pt x="508" y="599"/>
                      </a:lnTo>
                      <a:lnTo>
                        <a:pt x="511" y="599"/>
                      </a:lnTo>
                      <a:lnTo>
                        <a:pt x="513" y="599"/>
                      </a:lnTo>
                      <a:lnTo>
                        <a:pt x="515" y="597"/>
                      </a:lnTo>
                      <a:lnTo>
                        <a:pt x="516" y="597"/>
                      </a:lnTo>
                      <a:lnTo>
                        <a:pt x="514" y="600"/>
                      </a:lnTo>
                      <a:lnTo>
                        <a:pt x="512" y="601"/>
                      </a:lnTo>
                      <a:lnTo>
                        <a:pt x="515" y="605"/>
                      </a:lnTo>
                      <a:lnTo>
                        <a:pt x="515" y="606"/>
                      </a:lnTo>
                      <a:lnTo>
                        <a:pt x="515" y="608"/>
                      </a:lnTo>
                      <a:lnTo>
                        <a:pt x="516" y="612"/>
                      </a:lnTo>
                      <a:lnTo>
                        <a:pt x="518" y="612"/>
                      </a:lnTo>
                      <a:lnTo>
                        <a:pt x="519" y="614"/>
                      </a:lnTo>
                      <a:lnTo>
                        <a:pt x="519" y="617"/>
                      </a:lnTo>
                      <a:lnTo>
                        <a:pt x="522" y="617"/>
                      </a:lnTo>
                      <a:lnTo>
                        <a:pt x="524" y="620"/>
                      </a:lnTo>
                      <a:lnTo>
                        <a:pt x="526" y="620"/>
                      </a:lnTo>
                      <a:lnTo>
                        <a:pt x="526" y="619"/>
                      </a:lnTo>
                      <a:lnTo>
                        <a:pt x="531" y="619"/>
                      </a:lnTo>
                      <a:lnTo>
                        <a:pt x="531" y="621"/>
                      </a:lnTo>
                      <a:lnTo>
                        <a:pt x="532" y="622"/>
                      </a:lnTo>
                      <a:lnTo>
                        <a:pt x="528" y="621"/>
                      </a:lnTo>
                      <a:lnTo>
                        <a:pt x="528" y="625"/>
                      </a:lnTo>
                      <a:lnTo>
                        <a:pt x="529" y="632"/>
                      </a:lnTo>
                      <a:lnTo>
                        <a:pt x="528" y="633"/>
                      </a:lnTo>
                      <a:lnTo>
                        <a:pt x="529" y="635"/>
                      </a:lnTo>
                      <a:lnTo>
                        <a:pt x="528" y="636"/>
                      </a:lnTo>
                      <a:lnTo>
                        <a:pt x="526" y="637"/>
                      </a:lnTo>
                      <a:lnTo>
                        <a:pt x="533" y="639"/>
                      </a:lnTo>
                      <a:lnTo>
                        <a:pt x="534" y="639"/>
                      </a:lnTo>
                      <a:lnTo>
                        <a:pt x="535" y="639"/>
                      </a:lnTo>
                      <a:lnTo>
                        <a:pt x="538" y="639"/>
                      </a:lnTo>
                      <a:lnTo>
                        <a:pt x="539" y="640"/>
                      </a:lnTo>
                      <a:lnTo>
                        <a:pt x="540" y="640"/>
                      </a:lnTo>
                      <a:lnTo>
                        <a:pt x="540" y="639"/>
                      </a:lnTo>
                      <a:lnTo>
                        <a:pt x="541" y="640"/>
                      </a:lnTo>
                      <a:lnTo>
                        <a:pt x="542" y="640"/>
                      </a:lnTo>
                      <a:lnTo>
                        <a:pt x="541" y="645"/>
                      </a:lnTo>
                      <a:lnTo>
                        <a:pt x="545" y="648"/>
                      </a:lnTo>
                      <a:lnTo>
                        <a:pt x="546" y="649"/>
                      </a:lnTo>
                      <a:lnTo>
                        <a:pt x="545" y="649"/>
                      </a:lnTo>
                      <a:lnTo>
                        <a:pt x="545" y="652"/>
                      </a:lnTo>
                      <a:lnTo>
                        <a:pt x="546" y="652"/>
                      </a:lnTo>
                      <a:lnTo>
                        <a:pt x="546" y="653"/>
                      </a:lnTo>
                      <a:lnTo>
                        <a:pt x="548" y="653"/>
                      </a:lnTo>
                      <a:lnTo>
                        <a:pt x="549" y="650"/>
                      </a:lnTo>
                      <a:lnTo>
                        <a:pt x="551" y="650"/>
                      </a:lnTo>
                      <a:lnTo>
                        <a:pt x="553" y="652"/>
                      </a:lnTo>
                      <a:lnTo>
                        <a:pt x="554" y="653"/>
                      </a:lnTo>
                      <a:lnTo>
                        <a:pt x="555" y="652"/>
                      </a:lnTo>
                      <a:lnTo>
                        <a:pt x="556" y="650"/>
                      </a:lnTo>
                      <a:lnTo>
                        <a:pt x="559" y="648"/>
                      </a:lnTo>
                      <a:lnTo>
                        <a:pt x="563" y="646"/>
                      </a:lnTo>
                      <a:lnTo>
                        <a:pt x="565" y="649"/>
                      </a:lnTo>
                      <a:lnTo>
                        <a:pt x="567" y="657"/>
                      </a:lnTo>
                      <a:lnTo>
                        <a:pt x="572" y="656"/>
                      </a:lnTo>
                      <a:lnTo>
                        <a:pt x="576" y="657"/>
                      </a:lnTo>
                      <a:lnTo>
                        <a:pt x="575" y="649"/>
                      </a:lnTo>
                      <a:lnTo>
                        <a:pt x="569" y="636"/>
                      </a:lnTo>
                      <a:lnTo>
                        <a:pt x="571" y="635"/>
                      </a:lnTo>
                      <a:lnTo>
                        <a:pt x="572" y="630"/>
                      </a:lnTo>
                      <a:lnTo>
                        <a:pt x="574" y="633"/>
                      </a:lnTo>
                      <a:lnTo>
                        <a:pt x="576" y="632"/>
                      </a:lnTo>
                      <a:lnTo>
                        <a:pt x="580" y="632"/>
                      </a:lnTo>
                      <a:lnTo>
                        <a:pt x="581" y="628"/>
                      </a:lnTo>
                      <a:lnTo>
                        <a:pt x="583" y="626"/>
                      </a:lnTo>
                      <a:lnTo>
                        <a:pt x="585" y="627"/>
                      </a:lnTo>
                      <a:lnTo>
                        <a:pt x="587" y="627"/>
                      </a:lnTo>
                      <a:lnTo>
                        <a:pt x="588" y="629"/>
                      </a:lnTo>
                      <a:lnTo>
                        <a:pt x="591" y="629"/>
                      </a:lnTo>
                      <a:lnTo>
                        <a:pt x="592" y="630"/>
                      </a:lnTo>
                      <a:lnTo>
                        <a:pt x="595" y="634"/>
                      </a:lnTo>
                      <a:lnTo>
                        <a:pt x="595" y="629"/>
                      </a:lnTo>
                      <a:lnTo>
                        <a:pt x="596" y="628"/>
                      </a:lnTo>
                      <a:lnTo>
                        <a:pt x="598" y="627"/>
                      </a:lnTo>
                      <a:lnTo>
                        <a:pt x="599" y="626"/>
                      </a:lnTo>
                      <a:lnTo>
                        <a:pt x="603" y="630"/>
                      </a:lnTo>
                      <a:lnTo>
                        <a:pt x="605" y="626"/>
                      </a:lnTo>
                      <a:lnTo>
                        <a:pt x="609" y="630"/>
                      </a:lnTo>
                      <a:lnTo>
                        <a:pt x="609" y="626"/>
                      </a:lnTo>
                      <a:lnTo>
                        <a:pt x="613" y="626"/>
                      </a:lnTo>
                      <a:lnTo>
                        <a:pt x="616" y="627"/>
                      </a:lnTo>
                      <a:lnTo>
                        <a:pt x="619" y="626"/>
                      </a:lnTo>
                      <a:lnTo>
                        <a:pt x="620" y="623"/>
                      </a:lnTo>
                      <a:lnTo>
                        <a:pt x="622" y="625"/>
                      </a:lnTo>
                      <a:lnTo>
                        <a:pt x="625" y="621"/>
                      </a:lnTo>
                      <a:lnTo>
                        <a:pt x="623" y="619"/>
                      </a:lnTo>
                      <a:lnTo>
                        <a:pt x="626" y="619"/>
                      </a:lnTo>
                      <a:lnTo>
                        <a:pt x="626" y="616"/>
                      </a:lnTo>
                      <a:lnTo>
                        <a:pt x="631" y="616"/>
                      </a:lnTo>
                      <a:lnTo>
                        <a:pt x="632" y="613"/>
                      </a:lnTo>
                      <a:lnTo>
                        <a:pt x="635" y="616"/>
                      </a:lnTo>
                      <a:lnTo>
                        <a:pt x="636" y="619"/>
                      </a:lnTo>
                      <a:lnTo>
                        <a:pt x="642" y="622"/>
                      </a:lnTo>
                      <a:lnTo>
                        <a:pt x="647" y="620"/>
                      </a:lnTo>
                      <a:lnTo>
                        <a:pt x="651" y="622"/>
                      </a:lnTo>
                      <a:lnTo>
                        <a:pt x="651" y="625"/>
                      </a:lnTo>
                      <a:lnTo>
                        <a:pt x="655" y="621"/>
                      </a:lnTo>
                      <a:lnTo>
                        <a:pt x="660" y="625"/>
                      </a:lnTo>
                      <a:lnTo>
                        <a:pt x="659" y="629"/>
                      </a:lnTo>
                      <a:lnTo>
                        <a:pt x="655" y="629"/>
                      </a:lnTo>
                      <a:lnTo>
                        <a:pt x="658" y="633"/>
                      </a:lnTo>
                      <a:lnTo>
                        <a:pt x="660" y="636"/>
                      </a:lnTo>
                      <a:lnTo>
                        <a:pt x="660" y="641"/>
                      </a:lnTo>
                      <a:lnTo>
                        <a:pt x="662" y="640"/>
                      </a:lnTo>
                      <a:lnTo>
                        <a:pt x="667" y="642"/>
                      </a:lnTo>
                      <a:lnTo>
                        <a:pt x="667" y="645"/>
                      </a:lnTo>
                      <a:lnTo>
                        <a:pt x="669" y="646"/>
                      </a:lnTo>
                      <a:lnTo>
                        <a:pt x="672" y="647"/>
                      </a:lnTo>
                      <a:lnTo>
                        <a:pt x="673" y="646"/>
                      </a:lnTo>
                      <a:lnTo>
                        <a:pt x="674" y="649"/>
                      </a:lnTo>
                      <a:lnTo>
                        <a:pt x="681" y="648"/>
                      </a:lnTo>
                      <a:lnTo>
                        <a:pt x="683" y="649"/>
                      </a:lnTo>
                      <a:lnTo>
                        <a:pt x="685" y="650"/>
                      </a:lnTo>
                      <a:lnTo>
                        <a:pt x="686" y="649"/>
                      </a:lnTo>
                      <a:lnTo>
                        <a:pt x="687" y="648"/>
                      </a:lnTo>
                      <a:lnTo>
                        <a:pt x="689" y="649"/>
                      </a:lnTo>
                      <a:lnTo>
                        <a:pt x="689" y="652"/>
                      </a:lnTo>
                      <a:lnTo>
                        <a:pt x="691" y="652"/>
                      </a:lnTo>
                      <a:lnTo>
                        <a:pt x="691" y="650"/>
                      </a:lnTo>
                      <a:lnTo>
                        <a:pt x="691" y="647"/>
                      </a:lnTo>
                      <a:lnTo>
                        <a:pt x="693" y="648"/>
                      </a:lnTo>
                      <a:lnTo>
                        <a:pt x="693" y="650"/>
                      </a:lnTo>
                      <a:lnTo>
                        <a:pt x="694" y="649"/>
                      </a:lnTo>
                      <a:lnTo>
                        <a:pt x="692" y="645"/>
                      </a:lnTo>
                      <a:lnTo>
                        <a:pt x="693" y="642"/>
                      </a:lnTo>
                      <a:lnTo>
                        <a:pt x="695" y="642"/>
                      </a:lnTo>
                      <a:lnTo>
                        <a:pt x="695" y="645"/>
                      </a:lnTo>
                      <a:lnTo>
                        <a:pt x="696" y="645"/>
                      </a:lnTo>
                      <a:lnTo>
                        <a:pt x="696" y="647"/>
                      </a:lnTo>
                      <a:lnTo>
                        <a:pt x="698" y="647"/>
                      </a:lnTo>
                      <a:lnTo>
                        <a:pt x="699" y="649"/>
                      </a:lnTo>
                      <a:lnTo>
                        <a:pt x="700" y="648"/>
                      </a:lnTo>
                      <a:lnTo>
                        <a:pt x="699" y="647"/>
                      </a:lnTo>
                      <a:lnTo>
                        <a:pt x="699" y="646"/>
                      </a:lnTo>
                      <a:lnTo>
                        <a:pt x="699" y="645"/>
                      </a:lnTo>
                      <a:lnTo>
                        <a:pt x="700" y="645"/>
                      </a:lnTo>
                      <a:lnTo>
                        <a:pt x="702" y="646"/>
                      </a:lnTo>
                      <a:lnTo>
                        <a:pt x="703" y="649"/>
                      </a:lnTo>
                      <a:lnTo>
                        <a:pt x="706" y="649"/>
                      </a:lnTo>
                      <a:lnTo>
                        <a:pt x="703" y="650"/>
                      </a:lnTo>
                      <a:lnTo>
                        <a:pt x="705" y="653"/>
                      </a:lnTo>
                      <a:lnTo>
                        <a:pt x="707" y="653"/>
                      </a:lnTo>
                      <a:lnTo>
                        <a:pt x="708" y="652"/>
                      </a:lnTo>
                      <a:lnTo>
                        <a:pt x="708" y="653"/>
                      </a:lnTo>
                      <a:lnTo>
                        <a:pt x="713" y="652"/>
                      </a:lnTo>
                      <a:lnTo>
                        <a:pt x="713" y="649"/>
                      </a:lnTo>
                      <a:lnTo>
                        <a:pt x="712" y="649"/>
                      </a:lnTo>
                      <a:lnTo>
                        <a:pt x="712" y="647"/>
                      </a:lnTo>
                      <a:lnTo>
                        <a:pt x="714" y="648"/>
                      </a:lnTo>
                      <a:lnTo>
                        <a:pt x="714" y="649"/>
                      </a:lnTo>
                      <a:lnTo>
                        <a:pt x="715" y="652"/>
                      </a:lnTo>
                      <a:lnTo>
                        <a:pt x="716" y="652"/>
                      </a:lnTo>
                      <a:lnTo>
                        <a:pt x="716" y="649"/>
                      </a:lnTo>
                      <a:lnTo>
                        <a:pt x="718" y="652"/>
                      </a:lnTo>
                      <a:lnTo>
                        <a:pt x="720" y="652"/>
                      </a:lnTo>
                      <a:lnTo>
                        <a:pt x="721" y="654"/>
                      </a:lnTo>
                      <a:lnTo>
                        <a:pt x="718" y="655"/>
                      </a:lnTo>
                      <a:lnTo>
                        <a:pt x="718" y="657"/>
                      </a:lnTo>
                      <a:lnTo>
                        <a:pt x="716" y="659"/>
                      </a:lnTo>
                      <a:lnTo>
                        <a:pt x="718" y="665"/>
                      </a:lnTo>
                      <a:lnTo>
                        <a:pt x="721" y="668"/>
                      </a:lnTo>
                      <a:lnTo>
                        <a:pt x="720" y="669"/>
                      </a:lnTo>
                      <a:lnTo>
                        <a:pt x="726" y="674"/>
                      </a:lnTo>
                      <a:lnTo>
                        <a:pt x="725" y="675"/>
                      </a:lnTo>
                      <a:lnTo>
                        <a:pt x="723" y="674"/>
                      </a:lnTo>
                      <a:lnTo>
                        <a:pt x="726" y="676"/>
                      </a:lnTo>
                      <a:lnTo>
                        <a:pt x="731" y="676"/>
                      </a:lnTo>
                      <a:lnTo>
                        <a:pt x="733" y="673"/>
                      </a:lnTo>
                      <a:lnTo>
                        <a:pt x="731" y="669"/>
                      </a:lnTo>
                      <a:lnTo>
                        <a:pt x="729" y="666"/>
                      </a:lnTo>
                      <a:lnTo>
                        <a:pt x="726" y="665"/>
                      </a:lnTo>
                      <a:lnTo>
                        <a:pt x="727" y="660"/>
                      </a:lnTo>
                      <a:lnTo>
                        <a:pt x="729" y="657"/>
                      </a:lnTo>
                      <a:lnTo>
                        <a:pt x="728" y="654"/>
                      </a:lnTo>
                      <a:lnTo>
                        <a:pt x="729" y="655"/>
                      </a:lnTo>
                      <a:lnTo>
                        <a:pt x="728" y="653"/>
                      </a:lnTo>
                      <a:lnTo>
                        <a:pt x="731" y="654"/>
                      </a:lnTo>
                      <a:lnTo>
                        <a:pt x="732" y="656"/>
                      </a:lnTo>
                      <a:lnTo>
                        <a:pt x="733" y="656"/>
                      </a:lnTo>
                      <a:lnTo>
                        <a:pt x="733" y="654"/>
                      </a:lnTo>
                      <a:lnTo>
                        <a:pt x="734" y="653"/>
                      </a:lnTo>
                      <a:lnTo>
                        <a:pt x="734" y="655"/>
                      </a:lnTo>
                      <a:lnTo>
                        <a:pt x="735" y="653"/>
                      </a:lnTo>
                      <a:lnTo>
                        <a:pt x="739" y="652"/>
                      </a:lnTo>
                      <a:lnTo>
                        <a:pt x="740" y="653"/>
                      </a:lnTo>
                      <a:lnTo>
                        <a:pt x="740" y="650"/>
                      </a:lnTo>
                      <a:lnTo>
                        <a:pt x="741" y="652"/>
                      </a:lnTo>
                      <a:lnTo>
                        <a:pt x="742" y="650"/>
                      </a:lnTo>
                      <a:lnTo>
                        <a:pt x="743" y="652"/>
                      </a:lnTo>
                      <a:lnTo>
                        <a:pt x="743" y="653"/>
                      </a:lnTo>
                      <a:lnTo>
                        <a:pt x="746" y="652"/>
                      </a:lnTo>
                      <a:lnTo>
                        <a:pt x="746" y="649"/>
                      </a:lnTo>
                      <a:lnTo>
                        <a:pt x="746" y="650"/>
                      </a:lnTo>
                      <a:lnTo>
                        <a:pt x="747" y="650"/>
                      </a:lnTo>
                      <a:lnTo>
                        <a:pt x="749" y="649"/>
                      </a:lnTo>
                      <a:lnTo>
                        <a:pt x="749" y="650"/>
                      </a:lnTo>
                      <a:lnTo>
                        <a:pt x="752" y="649"/>
                      </a:lnTo>
                      <a:lnTo>
                        <a:pt x="753" y="649"/>
                      </a:lnTo>
                      <a:lnTo>
                        <a:pt x="751" y="647"/>
                      </a:lnTo>
                      <a:lnTo>
                        <a:pt x="749" y="646"/>
                      </a:lnTo>
                      <a:lnTo>
                        <a:pt x="751" y="646"/>
                      </a:lnTo>
                      <a:lnTo>
                        <a:pt x="753" y="646"/>
                      </a:lnTo>
                      <a:lnTo>
                        <a:pt x="753" y="648"/>
                      </a:lnTo>
                      <a:lnTo>
                        <a:pt x="754" y="647"/>
                      </a:lnTo>
                      <a:lnTo>
                        <a:pt x="755" y="646"/>
                      </a:lnTo>
                      <a:lnTo>
                        <a:pt x="754" y="645"/>
                      </a:lnTo>
                      <a:lnTo>
                        <a:pt x="754" y="642"/>
                      </a:lnTo>
                      <a:lnTo>
                        <a:pt x="755" y="642"/>
                      </a:lnTo>
                      <a:lnTo>
                        <a:pt x="756" y="645"/>
                      </a:lnTo>
                      <a:lnTo>
                        <a:pt x="759" y="645"/>
                      </a:lnTo>
                      <a:lnTo>
                        <a:pt x="760" y="647"/>
                      </a:lnTo>
                      <a:lnTo>
                        <a:pt x="761" y="647"/>
                      </a:lnTo>
                      <a:lnTo>
                        <a:pt x="761" y="646"/>
                      </a:lnTo>
                      <a:lnTo>
                        <a:pt x="760" y="643"/>
                      </a:lnTo>
                      <a:lnTo>
                        <a:pt x="760" y="641"/>
                      </a:lnTo>
                      <a:lnTo>
                        <a:pt x="762" y="639"/>
                      </a:lnTo>
                      <a:lnTo>
                        <a:pt x="761" y="641"/>
                      </a:lnTo>
                      <a:lnTo>
                        <a:pt x="761" y="643"/>
                      </a:lnTo>
                      <a:lnTo>
                        <a:pt x="763" y="645"/>
                      </a:lnTo>
                      <a:lnTo>
                        <a:pt x="766" y="645"/>
                      </a:lnTo>
                      <a:lnTo>
                        <a:pt x="767" y="643"/>
                      </a:lnTo>
                      <a:lnTo>
                        <a:pt x="768" y="642"/>
                      </a:lnTo>
                      <a:lnTo>
                        <a:pt x="769" y="641"/>
                      </a:lnTo>
                      <a:lnTo>
                        <a:pt x="771" y="643"/>
                      </a:lnTo>
                      <a:lnTo>
                        <a:pt x="771" y="643"/>
                      </a:lnTo>
                      <a:lnTo>
                        <a:pt x="773" y="643"/>
                      </a:lnTo>
                      <a:lnTo>
                        <a:pt x="773" y="643"/>
                      </a:lnTo>
                      <a:lnTo>
                        <a:pt x="773" y="641"/>
                      </a:lnTo>
                      <a:lnTo>
                        <a:pt x="773" y="639"/>
                      </a:lnTo>
                      <a:lnTo>
                        <a:pt x="774" y="639"/>
                      </a:lnTo>
                      <a:lnTo>
                        <a:pt x="775" y="639"/>
                      </a:lnTo>
                      <a:lnTo>
                        <a:pt x="776" y="640"/>
                      </a:lnTo>
                      <a:lnTo>
                        <a:pt x="778" y="640"/>
                      </a:lnTo>
                      <a:lnTo>
                        <a:pt x="779" y="640"/>
                      </a:lnTo>
                      <a:lnTo>
                        <a:pt x="779" y="637"/>
                      </a:lnTo>
                      <a:lnTo>
                        <a:pt x="779" y="636"/>
                      </a:lnTo>
                      <a:lnTo>
                        <a:pt x="779" y="637"/>
                      </a:lnTo>
                      <a:lnTo>
                        <a:pt x="781" y="637"/>
                      </a:lnTo>
                      <a:lnTo>
                        <a:pt x="782" y="635"/>
                      </a:lnTo>
                      <a:lnTo>
                        <a:pt x="781" y="632"/>
                      </a:lnTo>
                      <a:lnTo>
                        <a:pt x="780" y="630"/>
                      </a:lnTo>
                      <a:lnTo>
                        <a:pt x="778" y="628"/>
                      </a:lnTo>
                      <a:lnTo>
                        <a:pt x="776" y="626"/>
                      </a:lnTo>
                      <a:lnTo>
                        <a:pt x="778" y="625"/>
                      </a:lnTo>
                      <a:lnTo>
                        <a:pt x="776" y="622"/>
                      </a:lnTo>
                      <a:lnTo>
                        <a:pt x="775" y="621"/>
                      </a:lnTo>
                      <a:lnTo>
                        <a:pt x="778" y="622"/>
                      </a:lnTo>
                      <a:lnTo>
                        <a:pt x="775" y="619"/>
                      </a:lnTo>
                      <a:lnTo>
                        <a:pt x="779" y="620"/>
                      </a:lnTo>
                      <a:lnTo>
                        <a:pt x="779" y="617"/>
                      </a:lnTo>
                      <a:lnTo>
                        <a:pt x="781" y="619"/>
                      </a:lnTo>
                      <a:lnTo>
                        <a:pt x="780" y="620"/>
                      </a:lnTo>
                      <a:lnTo>
                        <a:pt x="780" y="622"/>
                      </a:lnTo>
                      <a:lnTo>
                        <a:pt x="781" y="620"/>
                      </a:lnTo>
                      <a:lnTo>
                        <a:pt x="781" y="622"/>
                      </a:lnTo>
                      <a:lnTo>
                        <a:pt x="780" y="622"/>
                      </a:lnTo>
                      <a:lnTo>
                        <a:pt x="782" y="626"/>
                      </a:lnTo>
                      <a:lnTo>
                        <a:pt x="783" y="626"/>
                      </a:lnTo>
                      <a:lnTo>
                        <a:pt x="783" y="628"/>
                      </a:lnTo>
                      <a:lnTo>
                        <a:pt x="786" y="628"/>
                      </a:lnTo>
                      <a:lnTo>
                        <a:pt x="788" y="632"/>
                      </a:lnTo>
                      <a:lnTo>
                        <a:pt x="788" y="632"/>
                      </a:lnTo>
                      <a:lnTo>
                        <a:pt x="788" y="630"/>
                      </a:lnTo>
                      <a:lnTo>
                        <a:pt x="788" y="630"/>
                      </a:lnTo>
                      <a:lnTo>
                        <a:pt x="789" y="630"/>
                      </a:lnTo>
                      <a:lnTo>
                        <a:pt x="790" y="630"/>
                      </a:lnTo>
                      <a:lnTo>
                        <a:pt x="792" y="630"/>
                      </a:lnTo>
                      <a:lnTo>
                        <a:pt x="792" y="629"/>
                      </a:lnTo>
                      <a:lnTo>
                        <a:pt x="793" y="629"/>
                      </a:lnTo>
                      <a:lnTo>
                        <a:pt x="793" y="629"/>
                      </a:lnTo>
                      <a:lnTo>
                        <a:pt x="795" y="629"/>
                      </a:lnTo>
                      <a:lnTo>
                        <a:pt x="796" y="629"/>
                      </a:lnTo>
                      <a:lnTo>
                        <a:pt x="798" y="629"/>
                      </a:lnTo>
                      <a:lnTo>
                        <a:pt x="799" y="627"/>
                      </a:lnTo>
                      <a:lnTo>
                        <a:pt x="796" y="626"/>
                      </a:lnTo>
                      <a:lnTo>
                        <a:pt x="798" y="625"/>
                      </a:lnTo>
                      <a:lnTo>
                        <a:pt x="801" y="625"/>
                      </a:lnTo>
                      <a:lnTo>
                        <a:pt x="803" y="625"/>
                      </a:lnTo>
                      <a:lnTo>
                        <a:pt x="802" y="629"/>
                      </a:lnTo>
                      <a:lnTo>
                        <a:pt x="803" y="629"/>
                      </a:lnTo>
                      <a:lnTo>
                        <a:pt x="805" y="627"/>
                      </a:lnTo>
                      <a:lnTo>
                        <a:pt x="803" y="626"/>
                      </a:lnTo>
                      <a:lnTo>
                        <a:pt x="805" y="626"/>
                      </a:lnTo>
                      <a:lnTo>
                        <a:pt x="809" y="623"/>
                      </a:lnTo>
                      <a:lnTo>
                        <a:pt x="809" y="625"/>
                      </a:lnTo>
                      <a:lnTo>
                        <a:pt x="812" y="625"/>
                      </a:lnTo>
                      <a:lnTo>
                        <a:pt x="812" y="626"/>
                      </a:lnTo>
                      <a:lnTo>
                        <a:pt x="814" y="628"/>
                      </a:lnTo>
                      <a:lnTo>
                        <a:pt x="815" y="627"/>
                      </a:lnTo>
                      <a:lnTo>
                        <a:pt x="815" y="623"/>
                      </a:lnTo>
                      <a:lnTo>
                        <a:pt x="813" y="623"/>
                      </a:lnTo>
                      <a:lnTo>
                        <a:pt x="813" y="621"/>
                      </a:lnTo>
                      <a:lnTo>
                        <a:pt x="814" y="622"/>
                      </a:lnTo>
                      <a:lnTo>
                        <a:pt x="819" y="621"/>
                      </a:lnTo>
                      <a:lnTo>
                        <a:pt x="818" y="622"/>
                      </a:lnTo>
                      <a:lnTo>
                        <a:pt x="819" y="626"/>
                      </a:lnTo>
                      <a:lnTo>
                        <a:pt x="820" y="626"/>
                      </a:lnTo>
                      <a:lnTo>
                        <a:pt x="822" y="626"/>
                      </a:lnTo>
                      <a:lnTo>
                        <a:pt x="823" y="623"/>
                      </a:lnTo>
                      <a:lnTo>
                        <a:pt x="822" y="621"/>
                      </a:lnTo>
                      <a:lnTo>
                        <a:pt x="826" y="623"/>
                      </a:lnTo>
                      <a:lnTo>
                        <a:pt x="827" y="621"/>
                      </a:lnTo>
                      <a:lnTo>
                        <a:pt x="826" y="620"/>
                      </a:lnTo>
                      <a:lnTo>
                        <a:pt x="828" y="621"/>
                      </a:lnTo>
                      <a:lnTo>
                        <a:pt x="832" y="621"/>
                      </a:lnTo>
                      <a:lnTo>
                        <a:pt x="833" y="621"/>
                      </a:lnTo>
                      <a:lnTo>
                        <a:pt x="833" y="620"/>
                      </a:lnTo>
                      <a:lnTo>
                        <a:pt x="832" y="616"/>
                      </a:lnTo>
                      <a:lnTo>
                        <a:pt x="830" y="616"/>
                      </a:lnTo>
                      <a:lnTo>
                        <a:pt x="832" y="615"/>
                      </a:lnTo>
                      <a:lnTo>
                        <a:pt x="833" y="616"/>
                      </a:lnTo>
                      <a:lnTo>
                        <a:pt x="833" y="615"/>
                      </a:lnTo>
                      <a:lnTo>
                        <a:pt x="833" y="614"/>
                      </a:lnTo>
                      <a:lnTo>
                        <a:pt x="832" y="613"/>
                      </a:lnTo>
                      <a:lnTo>
                        <a:pt x="830" y="614"/>
                      </a:lnTo>
                      <a:lnTo>
                        <a:pt x="829" y="612"/>
                      </a:lnTo>
                      <a:lnTo>
                        <a:pt x="830" y="610"/>
                      </a:lnTo>
                      <a:lnTo>
                        <a:pt x="830" y="610"/>
                      </a:lnTo>
                      <a:lnTo>
                        <a:pt x="833" y="610"/>
                      </a:lnTo>
                      <a:lnTo>
                        <a:pt x="834" y="612"/>
                      </a:lnTo>
                      <a:lnTo>
                        <a:pt x="835" y="610"/>
                      </a:lnTo>
                      <a:lnTo>
                        <a:pt x="835" y="609"/>
                      </a:lnTo>
                      <a:lnTo>
                        <a:pt x="836" y="606"/>
                      </a:lnTo>
                      <a:lnTo>
                        <a:pt x="838" y="606"/>
                      </a:lnTo>
                      <a:lnTo>
                        <a:pt x="839" y="607"/>
                      </a:lnTo>
                      <a:lnTo>
                        <a:pt x="840" y="609"/>
                      </a:lnTo>
                      <a:lnTo>
                        <a:pt x="841" y="608"/>
                      </a:lnTo>
                      <a:lnTo>
                        <a:pt x="841" y="607"/>
                      </a:lnTo>
                      <a:lnTo>
                        <a:pt x="842" y="606"/>
                      </a:lnTo>
                      <a:lnTo>
                        <a:pt x="841" y="605"/>
                      </a:lnTo>
                      <a:lnTo>
                        <a:pt x="843" y="605"/>
                      </a:lnTo>
                      <a:lnTo>
                        <a:pt x="843" y="603"/>
                      </a:lnTo>
                      <a:lnTo>
                        <a:pt x="846" y="603"/>
                      </a:lnTo>
                      <a:lnTo>
                        <a:pt x="846" y="602"/>
                      </a:lnTo>
                      <a:lnTo>
                        <a:pt x="847" y="602"/>
                      </a:lnTo>
                      <a:lnTo>
                        <a:pt x="848" y="603"/>
                      </a:lnTo>
                      <a:lnTo>
                        <a:pt x="848" y="602"/>
                      </a:lnTo>
                      <a:lnTo>
                        <a:pt x="848" y="601"/>
                      </a:lnTo>
                      <a:lnTo>
                        <a:pt x="848" y="599"/>
                      </a:lnTo>
                      <a:lnTo>
                        <a:pt x="850" y="600"/>
                      </a:lnTo>
                      <a:lnTo>
                        <a:pt x="852" y="599"/>
                      </a:lnTo>
                      <a:lnTo>
                        <a:pt x="852" y="596"/>
                      </a:lnTo>
                      <a:lnTo>
                        <a:pt x="853" y="597"/>
                      </a:lnTo>
                      <a:lnTo>
                        <a:pt x="854" y="595"/>
                      </a:lnTo>
                      <a:lnTo>
                        <a:pt x="852" y="592"/>
                      </a:lnTo>
                      <a:lnTo>
                        <a:pt x="850" y="592"/>
                      </a:lnTo>
                      <a:lnTo>
                        <a:pt x="852" y="592"/>
                      </a:lnTo>
                      <a:lnTo>
                        <a:pt x="852" y="588"/>
                      </a:lnTo>
                      <a:lnTo>
                        <a:pt x="853" y="588"/>
                      </a:lnTo>
                      <a:lnTo>
                        <a:pt x="854" y="586"/>
                      </a:lnTo>
                      <a:lnTo>
                        <a:pt x="855" y="588"/>
                      </a:lnTo>
                      <a:lnTo>
                        <a:pt x="859" y="587"/>
                      </a:lnTo>
                      <a:lnTo>
                        <a:pt x="858" y="586"/>
                      </a:lnTo>
                      <a:lnTo>
                        <a:pt x="861" y="588"/>
                      </a:lnTo>
                      <a:lnTo>
                        <a:pt x="862" y="586"/>
                      </a:lnTo>
                      <a:lnTo>
                        <a:pt x="863" y="586"/>
                      </a:lnTo>
                      <a:lnTo>
                        <a:pt x="865" y="585"/>
                      </a:lnTo>
                      <a:lnTo>
                        <a:pt x="861" y="585"/>
                      </a:lnTo>
                      <a:lnTo>
                        <a:pt x="861" y="582"/>
                      </a:lnTo>
                      <a:lnTo>
                        <a:pt x="862" y="583"/>
                      </a:lnTo>
                      <a:lnTo>
                        <a:pt x="862" y="582"/>
                      </a:lnTo>
                      <a:lnTo>
                        <a:pt x="863" y="583"/>
                      </a:lnTo>
                      <a:lnTo>
                        <a:pt x="866" y="583"/>
                      </a:lnTo>
                      <a:lnTo>
                        <a:pt x="867" y="582"/>
                      </a:lnTo>
                      <a:lnTo>
                        <a:pt x="866" y="581"/>
                      </a:lnTo>
                      <a:lnTo>
                        <a:pt x="867" y="581"/>
                      </a:lnTo>
                      <a:lnTo>
                        <a:pt x="867" y="579"/>
                      </a:lnTo>
                      <a:lnTo>
                        <a:pt x="866" y="577"/>
                      </a:lnTo>
                      <a:lnTo>
                        <a:pt x="865" y="577"/>
                      </a:lnTo>
                      <a:lnTo>
                        <a:pt x="866" y="576"/>
                      </a:lnTo>
                      <a:lnTo>
                        <a:pt x="865" y="574"/>
                      </a:lnTo>
                      <a:lnTo>
                        <a:pt x="866" y="575"/>
                      </a:lnTo>
                      <a:lnTo>
                        <a:pt x="867" y="576"/>
                      </a:lnTo>
                      <a:lnTo>
                        <a:pt x="867" y="576"/>
                      </a:lnTo>
                      <a:lnTo>
                        <a:pt x="868" y="576"/>
                      </a:lnTo>
                      <a:lnTo>
                        <a:pt x="868" y="574"/>
                      </a:lnTo>
                      <a:lnTo>
                        <a:pt x="870" y="575"/>
                      </a:lnTo>
                      <a:lnTo>
                        <a:pt x="872" y="574"/>
                      </a:lnTo>
                      <a:lnTo>
                        <a:pt x="869" y="573"/>
                      </a:lnTo>
                      <a:lnTo>
                        <a:pt x="869" y="574"/>
                      </a:lnTo>
                      <a:lnTo>
                        <a:pt x="869" y="572"/>
                      </a:lnTo>
                      <a:lnTo>
                        <a:pt x="868" y="572"/>
                      </a:lnTo>
                      <a:lnTo>
                        <a:pt x="868" y="567"/>
                      </a:lnTo>
                      <a:lnTo>
                        <a:pt x="870" y="568"/>
                      </a:lnTo>
                      <a:lnTo>
                        <a:pt x="870" y="569"/>
                      </a:lnTo>
                      <a:lnTo>
                        <a:pt x="873" y="570"/>
                      </a:lnTo>
                      <a:lnTo>
                        <a:pt x="874" y="572"/>
                      </a:lnTo>
                      <a:lnTo>
                        <a:pt x="875" y="570"/>
                      </a:lnTo>
                      <a:lnTo>
                        <a:pt x="875" y="573"/>
                      </a:lnTo>
                      <a:lnTo>
                        <a:pt x="876" y="572"/>
                      </a:lnTo>
                      <a:lnTo>
                        <a:pt x="878" y="572"/>
                      </a:lnTo>
                      <a:lnTo>
                        <a:pt x="878" y="569"/>
                      </a:lnTo>
                      <a:lnTo>
                        <a:pt x="876" y="567"/>
                      </a:lnTo>
                      <a:lnTo>
                        <a:pt x="875" y="566"/>
                      </a:lnTo>
                      <a:lnTo>
                        <a:pt x="872" y="566"/>
                      </a:lnTo>
                      <a:lnTo>
                        <a:pt x="873" y="563"/>
                      </a:lnTo>
                      <a:lnTo>
                        <a:pt x="873" y="562"/>
                      </a:lnTo>
                      <a:lnTo>
                        <a:pt x="874" y="562"/>
                      </a:lnTo>
                      <a:lnTo>
                        <a:pt x="875" y="559"/>
                      </a:lnTo>
                      <a:lnTo>
                        <a:pt x="872" y="558"/>
                      </a:lnTo>
                      <a:lnTo>
                        <a:pt x="870" y="561"/>
                      </a:lnTo>
                      <a:lnTo>
                        <a:pt x="868" y="560"/>
                      </a:lnTo>
                      <a:lnTo>
                        <a:pt x="868" y="559"/>
                      </a:lnTo>
                      <a:lnTo>
                        <a:pt x="870" y="560"/>
                      </a:lnTo>
                      <a:lnTo>
                        <a:pt x="872" y="554"/>
                      </a:lnTo>
                      <a:lnTo>
                        <a:pt x="874" y="554"/>
                      </a:lnTo>
                      <a:lnTo>
                        <a:pt x="876" y="554"/>
                      </a:lnTo>
                      <a:lnTo>
                        <a:pt x="876" y="552"/>
                      </a:lnTo>
                      <a:lnTo>
                        <a:pt x="875" y="550"/>
                      </a:lnTo>
                      <a:lnTo>
                        <a:pt x="874" y="550"/>
                      </a:lnTo>
                      <a:lnTo>
                        <a:pt x="873" y="552"/>
                      </a:lnTo>
                      <a:lnTo>
                        <a:pt x="870" y="552"/>
                      </a:lnTo>
                      <a:lnTo>
                        <a:pt x="872" y="549"/>
                      </a:lnTo>
                      <a:lnTo>
                        <a:pt x="870" y="548"/>
                      </a:lnTo>
                      <a:lnTo>
                        <a:pt x="870" y="549"/>
                      </a:lnTo>
                      <a:lnTo>
                        <a:pt x="873" y="549"/>
                      </a:lnTo>
                      <a:lnTo>
                        <a:pt x="872" y="547"/>
                      </a:lnTo>
                      <a:lnTo>
                        <a:pt x="869" y="546"/>
                      </a:lnTo>
                      <a:lnTo>
                        <a:pt x="868" y="543"/>
                      </a:lnTo>
                      <a:lnTo>
                        <a:pt x="869" y="542"/>
                      </a:lnTo>
                      <a:lnTo>
                        <a:pt x="870" y="543"/>
                      </a:lnTo>
                      <a:lnTo>
                        <a:pt x="870" y="542"/>
                      </a:lnTo>
                      <a:lnTo>
                        <a:pt x="872" y="543"/>
                      </a:lnTo>
                      <a:lnTo>
                        <a:pt x="873" y="541"/>
                      </a:lnTo>
                      <a:lnTo>
                        <a:pt x="873" y="545"/>
                      </a:lnTo>
                      <a:lnTo>
                        <a:pt x="874" y="546"/>
                      </a:lnTo>
                      <a:lnTo>
                        <a:pt x="874" y="542"/>
                      </a:lnTo>
                      <a:lnTo>
                        <a:pt x="875" y="545"/>
                      </a:lnTo>
                      <a:lnTo>
                        <a:pt x="875" y="546"/>
                      </a:lnTo>
                      <a:lnTo>
                        <a:pt x="876" y="547"/>
                      </a:lnTo>
                      <a:lnTo>
                        <a:pt x="878" y="547"/>
                      </a:lnTo>
                      <a:lnTo>
                        <a:pt x="878" y="545"/>
                      </a:lnTo>
                      <a:lnTo>
                        <a:pt x="878" y="542"/>
                      </a:lnTo>
                      <a:lnTo>
                        <a:pt x="875" y="540"/>
                      </a:lnTo>
                      <a:lnTo>
                        <a:pt x="879" y="540"/>
                      </a:lnTo>
                      <a:lnTo>
                        <a:pt x="878" y="539"/>
                      </a:lnTo>
                      <a:lnTo>
                        <a:pt x="879" y="539"/>
                      </a:lnTo>
                      <a:lnTo>
                        <a:pt x="878" y="538"/>
                      </a:lnTo>
                      <a:lnTo>
                        <a:pt x="879" y="538"/>
                      </a:lnTo>
                      <a:lnTo>
                        <a:pt x="879" y="536"/>
                      </a:lnTo>
                      <a:lnTo>
                        <a:pt x="881" y="535"/>
                      </a:lnTo>
                      <a:lnTo>
                        <a:pt x="880" y="534"/>
                      </a:lnTo>
                      <a:lnTo>
                        <a:pt x="879" y="533"/>
                      </a:lnTo>
                      <a:lnTo>
                        <a:pt x="880" y="533"/>
                      </a:lnTo>
                      <a:lnTo>
                        <a:pt x="880" y="535"/>
                      </a:lnTo>
                      <a:lnTo>
                        <a:pt x="882" y="534"/>
                      </a:lnTo>
                      <a:lnTo>
                        <a:pt x="882" y="532"/>
                      </a:lnTo>
                      <a:lnTo>
                        <a:pt x="885" y="530"/>
                      </a:lnTo>
                      <a:lnTo>
                        <a:pt x="883" y="529"/>
                      </a:lnTo>
                      <a:lnTo>
                        <a:pt x="882" y="528"/>
                      </a:lnTo>
                      <a:lnTo>
                        <a:pt x="881" y="527"/>
                      </a:lnTo>
                      <a:lnTo>
                        <a:pt x="882" y="525"/>
                      </a:lnTo>
                      <a:lnTo>
                        <a:pt x="883" y="523"/>
                      </a:lnTo>
                      <a:lnTo>
                        <a:pt x="885" y="522"/>
                      </a:lnTo>
                      <a:lnTo>
                        <a:pt x="883" y="520"/>
                      </a:lnTo>
                      <a:lnTo>
                        <a:pt x="883" y="519"/>
                      </a:lnTo>
                      <a:lnTo>
                        <a:pt x="881" y="519"/>
                      </a:lnTo>
                      <a:lnTo>
                        <a:pt x="879" y="518"/>
                      </a:lnTo>
                      <a:lnTo>
                        <a:pt x="879" y="516"/>
                      </a:lnTo>
                      <a:lnTo>
                        <a:pt x="879" y="518"/>
                      </a:lnTo>
                      <a:lnTo>
                        <a:pt x="881" y="516"/>
                      </a:lnTo>
                      <a:lnTo>
                        <a:pt x="885" y="516"/>
                      </a:lnTo>
                      <a:lnTo>
                        <a:pt x="883" y="515"/>
                      </a:lnTo>
                      <a:lnTo>
                        <a:pt x="887" y="513"/>
                      </a:lnTo>
                      <a:lnTo>
                        <a:pt x="886" y="512"/>
                      </a:lnTo>
                      <a:lnTo>
                        <a:pt x="886" y="510"/>
                      </a:lnTo>
                      <a:lnTo>
                        <a:pt x="888" y="510"/>
                      </a:lnTo>
                      <a:lnTo>
                        <a:pt x="890" y="514"/>
                      </a:lnTo>
                      <a:lnTo>
                        <a:pt x="892" y="515"/>
                      </a:lnTo>
                      <a:lnTo>
                        <a:pt x="893" y="514"/>
                      </a:lnTo>
                      <a:lnTo>
                        <a:pt x="892" y="512"/>
                      </a:lnTo>
                      <a:lnTo>
                        <a:pt x="894" y="513"/>
                      </a:lnTo>
                      <a:lnTo>
                        <a:pt x="896" y="512"/>
                      </a:lnTo>
                      <a:lnTo>
                        <a:pt x="895" y="509"/>
                      </a:lnTo>
                      <a:lnTo>
                        <a:pt x="892" y="508"/>
                      </a:lnTo>
                      <a:lnTo>
                        <a:pt x="893" y="508"/>
                      </a:lnTo>
                      <a:lnTo>
                        <a:pt x="890" y="503"/>
                      </a:lnTo>
                      <a:lnTo>
                        <a:pt x="886" y="503"/>
                      </a:lnTo>
                      <a:lnTo>
                        <a:pt x="885" y="502"/>
                      </a:lnTo>
                      <a:lnTo>
                        <a:pt x="883" y="500"/>
                      </a:lnTo>
                      <a:lnTo>
                        <a:pt x="886" y="499"/>
                      </a:lnTo>
                      <a:lnTo>
                        <a:pt x="888" y="503"/>
                      </a:lnTo>
                      <a:lnTo>
                        <a:pt x="893" y="503"/>
                      </a:lnTo>
                      <a:lnTo>
                        <a:pt x="893" y="501"/>
                      </a:lnTo>
                      <a:lnTo>
                        <a:pt x="892" y="500"/>
                      </a:lnTo>
                      <a:lnTo>
                        <a:pt x="892" y="499"/>
                      </a:lnTo>
                      <a:lnTo>
                        <a:pt x="893" y="499"/>
                      </a:lnTo>
                      <a:lnTo>
                        <a:pt x="892" y="496"/>
                      </a:lnTo>
                      <a:lnTo>
                        <a:pt x="889" y="498"/>
                      </a:lnTo>
                      <a:lnTo>
                        <a:pt x="890" y="495"/>
                      </a:lnTo>
                      <a:lnTo>
                        <a:pt x="888" y="495"/>
                      </a:lnTo>
                      <a:lnTo>
                        <a:pt x="887" y="495"/>
                      </a:lnTo>
                      <a:lnTo>
                        <a:pt x="887" y="493"/>
                      </a:lnTo>
                      <a:lnTo>
                        <a:pt x="888" y="492"/>
                      </a:lnTo>
                      <a:lnTo>
                        <a:pt x="889" y="492"/>
                      </a:lnTo>
                      <a:lnTo>
                        <a:pt x="892" y="492"/>
                      </a:lnTo>
                      <a:lnTo>
                        <a:pt x="893" y="493"/>
                      </a:lnTo>
                      <a:lnTo>
                        <a:pt x="893" y="492"/>
                      </a:lnTo>
                      <a:lnTo>
                        <a:pt x="894" y="494"/>
                      </a:lnTo>
                      <a:lnTo>
                        <a:pt x="896" y="494"/>
                      </a:lnTo>
                      <a:lnTo>
                        <a:pt x="896" y="492"/>
                      </a:lnTo>
                      <a:lnTo>
                        <a:pt x="895" y="489"/>
                      </a:lnTo>
                      <a:lnTo>
                        <a:pt x="893" y="489"/>
                      </a:lnTo>
                      <a:lnTo>
                        <a:pt x="893" y="487"/>
                      </a:lnTo>
                      <a:lnTo>
                        <a:pt x="892" y="485"/>
                      </a:lnTo>
                      <a:lnTo>
                        <a:pt x="892" y="486"/>
                      </a:lnTo>
                      <a:lnTo>
                        <a:pt x="890" y="487"/>
                      </a:lnTo>
                      <a:lnTo>
                        <a:pt x="889" y="486"/>
                      </a:lnTo>
                      <a:lnTo>
                        <a:pt x="887" y="489"/>
                      </a:lnTo>
                      <a:lnTo>
                        <a:pt x="885" y="488"/>
                      </a:lnTo>
                      <a:lnTo>
                        <a:pt x="885" y="487"/>
                      </a:lnTo>
                      <a:lnTo>
                        <a:pt x="888" y="487"/>
                      </a:lnTo>
                      <a:lnTo>
                        <a:pt x="889" y="485"/>
                      </a:lnTo>
                      <a:lnTo>
                        <a:pt x="890" y="481"/>
                      </a:lnTo>
                      <a:lnTo>
                        <a:pt x="892" y="481"/>
                      </a:lnTo>
                      <a:lnTo>
                        <a:pt x="894" y="481"/>
                      </a:lnTo>
                      <a:lnTo>
                        <a:pt x="895" y="479"/>
                      </a:lnTo>
                      <a:lnTo>
                        <a:pt x="894" y="478"/>
                      </a:lnTo>
                      <a:lnTo>
                        <a:pt x="893" y="476"/>
                      </a:lnTo>
                      <a:lnTo>
                        <a:pt x="895" y="474"/>
                      </a:lnTo>
                      <a:lnTo>
                        <a:pt x="893" y="472"/>
                      </a:lnTo>
                      <a:lnTo>
                        <a:pt x="892" y="469"/>
                      </a:lnTo>
                      <a:lnTo>
                        <a:pt x="889" y="468"/>
                      </a:lnTo>
                      <a:lnTo>
                        <a:pt x="889" y="469"/>
                      </a:lnTo>
                      <a:lnTo>
                        <a:pt x="890" y="472"/>
                      </a:lnTo>
                      <a:lnTo>
                        <a:pt x="889" y="475"/>
                      </a:lnTo>
                      <a:lnTo>
                        <a:pt x="886" y="478"/>
                      </a:lnTo>
                      <a:lnTo>
                        <a:pt x="879" y="470"/>
                      </a:lnTo>
                      <a:lnTo>
                        <a:pt x="876" y="470"/>
                      </a:lnTo>
                      <a:lnTo>
                        <a:pt x="869" y="474"/>
                      </a:lnTo>
                      <a:lnTo>
                        <a:pt x="867" y="473"/>
                      </a:lnTo>
                      <a:lnTo>
                        <a:pt x="868" y="475"/>
                      </a:lnTo>
                      <a:lnTo>
                        <a:pt x="866" y="473"/>
                      </a:lnTo>
                      <a:lnTo>
                        <a:pt x="863" y="469"/>
                      </a:lnTo>
                      <a:lnTo>
                        <a:pt x="861" y="474"/>
                      </a:lnTo>
                      <a:lnTo>
                        <a:pt x="858" y="473"/>
                      </a:lnTo>
                      <a:lnTo>
                        <a:pt x="858" y="469"/>
                      </a:lnTo>
                      <a:lnTo>
                        <a:pt x="860" y="468"/>
                      </a:lnTo>
                      <a:lnTo>
                        <a:pt x="862" y="468"/>
                      </a:lnTo>
                      <a:lnTo>
                        <a:pt x="865" y="469"/>
                      </a:lnTo>
                      <a:lnTo>
                        <a:pt x="867" y="469"/>
                      </a:lnTo>
                      <a:lnTo>
                        <a:pt x="868" y="469"/>
                      </a:lnTo>
                      <a:lnTo>
                        <a:pt x="869" y="468"/>
                      </a:lnTo>
                      <a:lnTo>
                        <a:pt x="868" y="467"/>
                      </a:lnTo>
                      <a:lnTo>
                        <a:pt x="869" y="466"/>
                      </a:lnTo>
                      <a:lnTo>
                        <a:pt x="873" y="465"/>
                      </a:lnTo>
                      <a:lnTo>
                        <a:pt x="875" y="462"/>
                      </a:lnTo>
                      <a:lnTo>
                        <a:pt x="876" y="460"/>
                      </a:lnTo>
                      <a:lnTo>
                        <a:pt x="882" y="460"/>
                      </a:lnTo>
                      <a:lnTo>
                        <a:pt x="883" y="460"/>
                      </a:lnTo>
                      <a:lnTo>
                        <a:pt x="883" y="458"/>
                      </a:lnTo>
                      <a:lnTo>
                        <a:pt x="880" y="455"/>
                      </a:lnTo>
                      <a:lnTo>
                        <a:pt x="876" y="449"/>
                      </a:lnTo>
                      <a:lnTo>
                        <a:pt x="866" y="445"/>
                      </a:lnTo>
                      <a:lnTo>
                        <a:pt x="863" y="441"/>
                      </a:lnTo>
                      <a:lnTo>
                        <a:pt x="855" y="440"/>
                      </a:lnTo>
                      <a:lnTo>
                        <a:pt x="856" y="439"/>
                      </a:lnTo>
                      <a:lnTo>
                        <a:pt x="854" y="435"/>
                      </a:lnTo>
                      <a:lnTo>
                        <a:pt x="850" y="435"/>
                      </a:lnTo>
                      <a:lnTo>
                        <a:pt x="847" y="438"/>
                      </a:lnTo>
                      <a:lnTo>
                        <a:pt x="842" y="438"/>
                      </a:lnTo>
                      <a:lnTo>
                        <a:pt x="840" y="435"/>
                      </a:lnTo>
                      <a:lnTo>
                        <a:pt x="838" y="432"/>
                      </a:lnTo>
                      <a:lnTo>
                        <a:pt x="835" y="432"/>
                      </a:lnTo>
                      <a:lnTo>
                        <a:pt x="833" y="429"/>
                      </a:lnTo>
                      <a:lnTo>
                        <a:pt x="834" y="428"/>
                      </a:lnTo>
                      <a:lnTo>
                        <a:pt x="835" y="428"/>
                      </a:lnTo>
                      <a:lnTo>
                        <a:pt x="836" y="427"/>
                      </a:lnTo>
                      <a:lnTo>
                        <a:pt x="838" y="428"/>
                      </a:lnTo>
                      <a:lnTo>
                        <a:pt x="838" y="429"/>
                      </a:lnTo>
                      <a:lnTo>
                        <a:pt x="843" y="436"/>
                      </a:lnTo>
                      <a:lnTo>
                        <a:pt x="846" y="435"/>
                      </a:lnTo>
                      <a:lnTo>
                        <a:pt x="848" y="435"/>
                      </a:lnTo>
                      <a:lnTo>
                        <a:pt x="850" y="434"/>
                      </a:lnTo>
                      <a:lnTo>
                        <a:pt x="853" y="434"/>
                      </a:lnTo>
                      <a:lnTo>
                        <a:pt x="860" y="439"/>
                      </a:lnTo>
                      <a:lnTo>
                        <a:pt x="865" y="439"/>
                      </a:lnTo>
                      <a:lnTo>
                        <a:pt x="874" y="441"/>
                      </a:lnTo>
                      <a:lnTo>
                        <a:pt x="876" y="441"/>
                      </a:lnTo>
                      <a:lnTo>
                        <a:pt x="878" y="441"/>
                      </a:lnTo>
                      <a:lnTo>
                        <a:pt x="878" y="438"/>
                      </a:lnTo>
                      <a:lnTo>
                        <a:pt x="876" y="435"/>
                      </a:lnTo>
                      <a:lnTo>
                        <a:pt x="873" y="435"/>
                      </a:lnTo>
                      <a:lnTo>
                        <a:pt x="866" y="433"/>
                      </a:lnTo>
                      <a:lnTo>
                        <a:pt x="865" y="428"/>
                      </a:lnTo>
                      <a:lnTo>
                        <a:pt x="860" y="428"/>
                      </a:lnTo>
                      <a:lnTo>
                        <a:pt x="856" y="426"/>
                      </a:lnTo>
                      <a:lnTo>
                        <a:pt x="852" y="422"/>
                      </a:lnTo>
                      <a:lnTo>
                        <a:pt x="850" y="414"/>
                      </a:lnTo>
                      <a:lnTo>
                        <a:pt x="848" y="414"/>
                      </a:lnTo>
                      <a:lnTo>
                        <a:pt x="846" y="409"/>
                      </a:lnTo>
                      <a:lnTo>
                        <a:pt x="842" y="408"/>
                      </a:lnTo>
                      <a:lnTo>
                        <a:pt x="842" y="403"/>
                      </a:lnTo>
                      <a:lnTo>
                        <a:pt x="838" y="402"/>
                      </a:lnTo>
                      <a:lnTo>
                        <a:pt x="834" y="395"/>
                      </a:lnTo>
                      <a:lnTo>
                        <a:pt x="832" y="389"/>
                      </a:lnTo>
                      <a:lnTo>
                        <a:pt x="828" y="388"/>
                      </a:lnTo>
                      <a:lnTo>
                        <a:pt x="827" y="385"/>
                      </a:lnTo>
                      <a:lnTo>
                        <a:pt x="816" y="383"/>
                      </a:lnTo>
                      <a:lnTo>
                        <a:pt x="814" y="380"/>
                      </a:lnTo>
                      <a:lnTo>
                        <a:pt x="810" y="379"/>
                      </a:lnTo>
                      <a:lnTo>
                        <a:pt x="807" y="380"/>
                      </a:lnTo>
                      <a:lnTo>
                        <a:pt x="805" y="379"/>
                      </a:lnTo>
                      <a:lnTo>
                        <a:pt x="803" y="376"/>
                      </a:lnTo>
                      <a:lnTo>
                        <a:pt x="805" y="374"/>
                      </a:lnTo>
                      <a:lnTo>
                        <a:pt x="803" y="372"/>
                      </a:lnTo>
                      <a:lnTo>
                        <a:pt x="805" y="369"/>
                      </a:lnTo>
                      <a:lnTo>
                        <a:pt x="803" y="367"/>
                      </a:lnTo>
                      <a:lnTo>
                        <a:pt x="805" y="367"/>
                      </a:lnTo>
                      <a:lnTo>
                        <a:pt x="806" y="368"/>
                      </a:lnTo>
                      <a:lnTo>
                        <a:pt x="807" y="367"/>
                      </a:lnTo>
                      <a:lnTo>
                        <a:pt x="808" y="366"/>
                      </a:lnTo>
                      <a:lnTo>
                        <a:pt x="808" y="362"/>
                      </a:lnTo>
                      <a:lnTo>
                        <a:pt x="809" y="361"/>
                      </a:lnTo>
                      <a:lnTo>
                        <a:pt x="810" y="361"/>
                      </a:lnTo>
                      <a:lnTo>
                        <a:pt x="810" y="359"/>
                      </a:lnTo>
                      <a:lnTo>
                        <a:pt x="813" y="359"/>
                      </a:lnTo>
                      <a:lnTo>
                        <a:pt x="813" y="356"/>
                      </a:lnTo>
                      <a:lnTo>
                        <a:pt x="815" y="354"/>
                      </a:lnTo>
                      <a:lnTo>
                        <a:pt x="813" y="354"/>
                      </a:lnTo>
                      <a:lnTo>
                        <a:pt x="810" y="353"/>
                      </a:lnTo>
                      <a:lnTo>
                        <a:pt x="809" y="352"/>
                      </a:lnTo>
                      <a:lnTo>
                        <a:pt x="809" y="349"/>
                      </a:lnTo>
                      <a:lnTo>
                        <a:pt x="810" y="348"/>
                      </a:lnTo>
                      <a:lnTo>
                        <a:pt x="814" y="349"/>
                      </a:lnTo>
                      <a:lnTo>
                        <a:pt x="813" y="348"/>
                      </a:lnTo>
                      <a:lnTo>
                        <a:pt x="813" y="347"/>
                      </a:lnTo>
                      <a:lnTo>
                        <a:pt x="814" y="348"/>
                      </a:lnTo>
                      <a:lnTo>
                        <a:pt x="816" y="353"/>
                      </a:lnTo>
                      <a:lnTo>
                        <a:pt x="818" y="353"/>
                      </a:lnTo>
                      <a:lnTo>
                        <a:pt x="820" y="352"/>
                      </a:lnTo>
                      <a:lnTo>
                        <a:pt x="821" y="351"/>
                      </a:lnTo>
                      <a:lnTo>
                        <a:pt x="819" y="348"/>
                      </a:lnTo>
                      <a:lnTo>
                        <a:pt x="818" y="345"/>
                      </a:lnTo>
                      <a:lnTo>
                        <a:pt x="819" y="345"/>
                      </a:lnTo>
                      <a:lnTo>
                        <a:pt x="820" y="345"/>
                      </a:lnTo>
                      <a:lnTo>
                        <a:pt x="821" y="346"/>
                      </a:lnTo>
                      <a:lnTo>
                        <a:pt x="821" y="347"/>
                      </a:lnTo>
                      <a:lnTo>
                        <a:pt x="822" y="346"/>
                      </a:lnTo>
                      <a:lnTo>
                        <a:pt x="822" y="345"/>
                      </a:lnTo>
                      <a:lnTo>
                        <a:pt x="822" y="346"/>
                      </a:lnTo>
                      <a:lnTo>
                        <a:pt x="822" y="345"/>
                      </a:lnTo>
                      <a:lnTo>
                        <a:pt x="822" y="342"/>
                      </a:lnTo>
                      <a:lnTo>
                        <a:pt x="819" y="341"/>
                      </a:lnTo>
                      <a:lnTo>
                        <a:pt x="819" y="342"/>
                      </a:lnTo>
                      <a:lnTo>
                        <a:pt x="818" y="342"/>
                      </a:lnTo>
                      <a:lnTo>
                        <a:pt x="818" y="341"/>
                      </a:lnTo>
                      <a:lnTo>
                        <a:pt x="818" y="340"/>
                      </a:lnTo>
                      <a:lnTo>
                        <a:pt x="820" y="340"/>
                      </a:lnTo>
                      <a:lnTo>
                        <a:pt x="821" y="339"/>
                      </a:lnTo>
                      <a:lnTo>
                        <a:pt x="821" y="341"/>
                      </a:lnTo>
                      <a:lnTo>
                        <a:pt x="822" y="342"/>
                      </a:lnTo>
                      <a:lnTo>
                        <a:pt x="825" y="341"/>
                      </a:lnTo>
                      <a:lnTo>
                        <a:pt x="828" y="339"/>
                      </a:lnTo>
                      <a:lnTo>
                        <a:pt x="826" y="338"/>
                      </a:lnTo>
                      <a:lnTo>
                        <a:pt x="827" y="336"/>
                      </a:lnTo>
                      <a:lnTo>
                        <a:pt x="828" y="335"/>
                      </a:lnTo>
                      <a:lnTo>
                        <a:pt x="829" y="334"/>
                      </a:lnTo>
                      <a:lnTo>
                        <a:pt x="830" y="334"/>
                      </a:lnTo>
                      <a:lnTo>
                        <a:pt x="829" y="335"/>
                      </a:lnTo>
                      <a:lnTo>
                        <a:pt x="829" y="335"/>
                      </a:lnTo>
                      <a:lnTo>
                        <a:pt x="830" y="336"/>
                      </a:lnTo>
                      <a:lnTo>
                        <a:pt x="829" y="338"/>
                      </a:lnTo>
                      <a:lnTo>
                        <a:pt x="829" y="339"/>
                      </a:lnTo>
                      <a:lnTo>
                        <a:pt x="830" y="339"/>
                      </a:lnTo>
                      <a:lnTo>
                        <a:pt x="830" y="339"/>
                      </a:lnTo>
                      <a:lnTo>
                        <a:pt x="832" y="338"/>
                      </a:lnTo>
                      <a:lnTo>
                        <a:pt x="830" y="336"/>
                      </a:lnTo>
                      <a:lnTo>
                        <a:pt x="833" y="335"/>
                      </a:lnTo>
                      <a:lnTo>
                        <a:pt x="834" y="335"/>
                      </a:lnTo>
                      <a:lnTo>
                        <a:pt x="834" y="334"/>
                      </a:lnTo>
                      <a:lnTo>
                        <a:pt x="834" y="333"/>
                      </a:lnTo>
                      <a:lnTo>
                        <a:pt x="832" y="333"/>
                      </a:lnTo>
                      <a:lnTo>
                        <a:pt x="833" y="332"/>
                      </a:lnTo>
                      <a:lnTo>
                        <a:pt x="834" y="333"/>
                      </a:lnTo>
                      <a:lnTo>
                        <a:pt x="835" y="333"/>
                      </a:lnTo>
                      <a:lnTo>
                        <a:pt x="836" y="335"/>
                      </a:lnTo>
                      <a:lnTo>
                        <a:pt x="836" y="335"/>
                      </a:lnTo>
                      <a:lnTo>
                        <a:pt x="838" y="333"/>
                      </a:lnTo>
                      <a:lnTo>
                        <a:pt x="839" y="334"/>
                      </a:lnTo>
                      <a:lnTo>
                        <a:pt x="840" y="334"/>
                      </a:lnTo>
                      <a:lnTo>
                        <a:pt x="840" y="336"/>
                      </a:lnTo>
                      <a:lnTo>
                        <a:pt x="841" y="338"/>
                      </a:lnTo>
                      <a:lnTo>
                        <a:pt x="842" y="338"/>
                      </a:lnTo>
                      <a:lnTo>
                        <a:pt x="842" y="336"/>
                      </a:lnTo>
                      <a:lnTo>
                        <a:pt x="845" y="336"/>
                      </a:lnTo>
                      <a:lnTo>
                        <a:pt x="842" y="334"/>
                      </a:lnTo>
                      <a:lnTo>
                        <a:pt x="843" y="334"/>
                      </a:lnTo>
                      <a:lnTo>
                        <a:pt x="845" y="334"/>
                      </a:lnTo>
                      <a:lnTo>
                        <a:pt x="845" y="334"/>
                      </a:lnTo>
                      <a:lnTo>
                        <a:pt x="843" y="333"/>
                      </a:lnTo>
                      <a:lnTo>
                        <a:pt x="842" y="333"/>
                      </a:lnTo>
                      <a:lnTo>
                        <a:pt x="842" y="333"/>
                      </a:lnTo>
                      <a:lnTo>
                        <a:pt x="841" y="332"/>
                      </a:lnTo>
                      <a:lnTo>
                        <a:pt x="841" y="331"/>
                      </a:lnTo>
                      <a:lnTo>
                        <a:pt x="842" y="329"/>
                      </a:lnTo>
                      <a:lnTo>
                        <a:pt x="843" y="329"/>
                      </a:lnTo>
                      <a:lnTo>
                        <a:pt x="843" y="328"/>
                      </a:lnTo>
                      <a:lnTo>
                        <a:pt x="841" y="328"/>
                      </a:lnTo>
                      <a:lnTo>
                        <a:pt x="843" y="327"/>
                      </a:lnTo>
                      <a:lnTo>
                        <a:pt x="842" y="327"/>
                      </a:lnTo>
                      <a:lnTo>
                        <a:pt x="841" y="327"/>
                      </a:lnTo>
                      <a:lnTo>
                        <a:pt x="842" y="325"/>
                      </a:lnTo>
                      <a:lnTo>
                        <a:pt x="842" y="325"/>
                      </a:lnTo>
                      <a:lnTo>
                        <a:pt x="842" y="323"/>
                      </a:lnTo>
                      <a:lnTo>
                        <a:pt x="841" y="325"/>
                      </a:lnTo>
                      <a:lnTo>
                        <a:pt x="840" y="323"/>
                      </a:lnTo>
                      <a:lnTo>
                        <a:pt x="840" y="323"/>
                      </a:lnTo>
                      <a:lnTo>
                        <a:pt x="839" y="325"/>
                      </a:lnTo>
                      <a:lnTo>
                        <a:pt x="836" y="326"/>
                      </a:lnTo>
                      <a:lnTo>
                        <a:pt x="834" y="325"/>
                      </a:lnTo>
                      <a:lnTo>
                        <a:pt x="834" y="323"/>
                      </a:lnTo>
                      <a:lnTo>
                        <a:pt x="833" y="321"/>
                      </a:lnTo>
                      <a:lnTo>
                        <a:pt x="833" y="321"/>
                      </a:lnTo>
                      <a:lnTo>
                        <a:pt x="829" y="322"/>
                      </a:lnTo>
                      <a:lnTo>
                        <a:pt x="827" y="321"/>
                      </a:lnTo>
                      <a:lnTo>
                        <a:pt x="825" y="321"/>
                      </a:lnTo>
                      <a:lnTo>
                        <a:pt x="822" y="321"/>
                      </a:lnTo>
                      <a:lnTo>
                        <a:pt x="820" y="319"/>
                      </a:lnTo>
                      <a:lnTo>
                        <a:pt x="820" y="319"/>
                      </a:lnTo>
                      <a:lnTo>
                        <a:pt x="818" y="320"/>
                      </a:lnTo>
                      <a:lnTo>
                        <a:pt x="815" y="319"/>
                      </a:lnTo>
                      <a:lnTo>
                        <a:pt x="814" y="316"/>
                      </a:lnTo>
                      <a:lnTo>
                        <a:pt x="809" y="316"/>
                      </a:lnTo>
                      <a:lnTo>
                        <a:pt x="805" y="315"/>
                      </a:lnTo>
                      <a:lnTo>
                        <a:pt x="801" y="318"/>
                      </a:lnTo>
                      <a:lnTo>
                        <a:pt x="800" y="319"/>
                      </a:lnTo>
                      <a:lnTo>
                        <a:pt x="799" y="319"/>
                      </a:lnTo>
                      <a:lnTo>
                        <a:pt x="799" y="320"/>
                      </a:lnTo>
                      <a:lnTo>
                        <a:pt x="801" y="320"/>
                      </a:lnTo>
                      <a:lnTo>
                        <a:pt x="798" y="323"/>
                      </a:lnTo>
                      <a:lnTo>
                        <a:pt x="798" y="326"/>
                      </a:lnTo>
                      <a:lnTo>
                        <a:pt x="798" y="326"/>
                      </a:lnTo>
                      <a:lnTo>
                        <a:pt x="796" y="327"/>
                      </a:lnTo>
                      <a:lnTo>
                        <a:pt x="794" y="327"/>
                      </a:lnTo>
                      <a:lnTo>
                        <a:pt x="793" y="327"/>
                      </a:lnTo>
                      <a:lnTo>
                        <a:pt x="790" y="327"/>
                      </a:lnTo>
                      <a:lnTo>
                        <a:pt x="789" y="326"/>
                      </a:lnTo>
                      <a:lnTo>
                        <a:pt x="788" y="327"/>
                      </a:lnTo>
                      <a:lnTo>
                        <a:pt x="787" y="327"/>
                      </a:lnTo>
                      <a:lnTo>
                        <a:pt x="786" y="326"/>
                      </a:lnTo>
                      <a:lnTo>
                        <a:pt x="785" y="326"/>
                      </a:lnTo>
                      <a:lnTo>
                        <a:pt x="782" y="325"/>
                      </a:lnTo>
                      <a:lnTo>
                        <a:pt x="781" y="322"/>
                      </a:lnTo>
                      <a:lnTo>
                        <a:pt x="778" y="320"/>
                      </a:lnTo>
                      <a:lnTo>
                        <a:pt x="780" y="319"/>
                      </a:lnTo>
                      <a:lnTo>
                        <a:pt x="776" y="314"/>
                      </a:lnTo>
                      <a:lnTo>
                        <a:pt x="771" y="309"/>
                      </a:lnTo>
                      <a:lnTo>
                        <a:pt x="766" y="309"/>
                      </a:lnTo>
                      <a:lnTo>
                        <a:pt x="766" y="308"/>
                      </a:lnTo>
                      <a:lnTo>
                        <a:pt x="763" y="308"/>
                      </a:lnTo>
                      <a:lnTo>
                        <a:pt x="759" y="307"/>
                      </a:lnTo>
                      <a:lnTo>
                        <a:pt x="749" y="305"/>
                      </a:lnTo>
                      <a:lnTo>
                        <a:pt x="745" y="299"/>
                      </a:lnTo>
                      <a:lnTo>
                        <a:pt x="743" y="295"/>
                      </a:lnTo>
                      <a:lnTo>
                        <a:pt x="746" y="293"/>
                      </a:lnTo>
                      <a:lnTo>
                        <a:pt x="745" y="291"/>
                      </a:lnTo>
                      <a:lnTo>
                        <a:pt x="742" y="289"/>
                      </a:lnTo>
                      <a:lnTo>
                        <a:pt x="745" y="287"/>
                      </a:lnTo>
                      <a:lnTo>
                        <a:pt x="747" y="287"/>
                      </a:lnTo>
                      <a:lnTo>
                        <a:pt x="749" y="291"/>
                      </a:lnTo>
                      <a:lnTo>
                        <a:pt x="754" y="292"/>
                      </a:lnTo>
                      <a:lnTo>
                        <a:pt x="756" y="292"/>
                      </a:lnTo>
                      <a:lnTo>
                        <a:pt x="758" y="288"/>
                      </a:lnTo>
                      <a:lnTo>
                        <a:pt x="762" y="287"/>
                      </a:lnTo>
                      <a:lnTo>
                        <a:pt x="763" y="288"/>
                      </a:lnTo>
                      <a:lnTo>
                        <a:pt x="763" y="289"/>
                      </a:lnTo>
                      <a:lnTo>
                        <a:pt x="766" y="283"/>
                      </a:lnTo>
                      <a:lnTo>
                        <a:pt x="763" y="281"/>
                      </a:lnTo>
                      <a:lnTo>
                        <a:pt x="765" y="278"/>
                      </a:lnTo>
                      <a:lnTo>
                        <a:pt x="765" y="274"/>
                      </a:lnTo>
                      <a:lnTo>
                        <a:pt x="769" y="269"/>
                      </a:lnTo>
                      <a:lnTo>
                        <a:pt x="774" y="271"/>
                      </a:lnTo>
                      <a:lnTo>
                        <a:pt x="779" y="267"/>
                      </a:lnTo>
                      <a:lnTo>
                        <a:pt x="779" y="262"/>
                      </a:lnTo>
                      <a:lnTo>
                        <a:pt x="779" y="259"/>
                      </a:lnTo>
                      <a:lnTo>
                        <a:pt x="782" y="258"/>
                      </a:lnTo>
                      <a:lnTo>
                        <a:pt x="781" y="256"/>
                      </a:lnTo>
                      <a:lnTo>
                        <a:pt x="780" y="254"/>
                      </a:lnTo>
                      <a:lnTo>
                        <a:pt x="782" y="255"/>
                      </a:lnTo>
                      <a:lnTo>
                        <a:pt x="782" y="252"/>
                      </a:lnTo>
                      <a:lnTo>
                        <a:pt x="793" y="254"/>
                      </a:lnTo>
                      <a:lnTo>
                        <a:pt x="793" y="252"/>
                      </a:lnTo>
                      <a:lnTo>
                        <a:pt x="794" y="252"/>
                      </a:lnTo>
                      <a:lnTo>
                        <a:pt x="795" y="255"/>
                      </a:lnTo>
                      <a:lnTo>
                        <a:pt x="799" y="258"/>
                      </a:lnTo>
                      <a:lnTo>
                        <a:pt x="802" y="258"/>
                      </a:lnTo>
                      <a:lnTo>
                        <a:pt x="802" y="260"/>
                      </a:lnTo>
                      <a:lnTo>
                        <a:pt x="806" y="261"/>
                      </a:lnTo>
                      <a:lnTo>
                        <a:pt x="808" y="268"/>
                      </a:lnTo>
                      <a:lnTo>
                        <a:pt x="805" y="268"/>
                      </a:lnTo>
                      <a:lnTo>
                        <a:pt x="803" y="273"/>
                      </a:lnTo>
                      <a:lnTo>
                        <a:pt x="802" y="275"/>
                      </a:lnTo>
                      <a:lnTo>
                        <a:pt x="800" y="275"/>
                      </a:lnTo>
                      <a:lnTo>
                        <a:pt x="802" y="280"/>
                      </a:lnTo>
                      <a:lnTo>
                        <a:pt x="800" y="278"/>
                      </a:lnTo>
                      <a:lnTo>
                        <a:pt x="798" y="279"/>
                      </a:lnTo>
                      <a:lnTo>
                        <a:pt x="798" y="281"/>
                      </a:lnTo>
                      <a:lnTo>
                        <a:pt x="800" y="285"/>
                      </a:lnTo>
                      <a:lnTo>
                        <a:pt x="803" y="285"/>
                      </a:lnTo>
                      <a:lnTo>
                        <a:pt x="805" y="285"/>
                      </a:lnTo>
                      <a:lnTo>
                        <a:pt x="807" y="283"/>
                      </a:lnTo>
                      <a:lnTo>
                        <a:pt x="807" y="285"/>
                      </a:lnTo>
                      <a:lnTo>
                        <a:pt x="807" y="286"/>
                      </a:lnTo>
                      <a:lnTo>
                        <a:pt x="806" y="287"/>
                      </a:lnTo>
                      <a:lnTo>
                        <a:pt x="809" y="291"/>
                      </a:lnTo>
                      <a:lnTo>
                        <a:pt x="806" y="292"/>
                      </a:lnTo>
                      <a:lnTo>
                        <a:pt x="803" y="292"/>
                      </a:lnTo>
                      <a:lnTo>
                        <a:pt x="802" y="294"/>
                      </a:lnTo>
                      <a:lnTo>
                        <a:pt x="802" y="296"/>
                      </a:lnTo>
                      <a:lnTo>
                        <a:pt x="805" y="298"/>
                      </a:lnTo>
                      <a:lnTo>
                        <a:pt x="805" y="296"/>
                      </a:lnTo>
                      <a:lnTo>
                        <a:pt x="808" y="298"/>
                      </a:lnTo>
                      <a:lnTo>
                        <a:pt x="810" y="298"/>
                      </a:lnTo>
                      <a:lnTo>
                        <a:pt x="809" y="295"/>
                      </a:lnTo>
                      <a:lnTo>
                        <a:pt x="809" y="294"/>
                      </a:lnTo>
                      <a:lnTo>
                        <a:pt x="810" y="292"/>
                      </a:lnTo>
                      <a:lnTo>
                        <a:pt x="812" y="294"/>
                      </a:lnTo>
                      <a:lnTo>
                        <a:pt x="814" y="293"/>
                      </a:lnTo>
                      <a:lnTo>
                        <a:pt x="813" y="292"/>
                      </a:lnTo>
                      <a:lnTo>
                        <a:pt x="816" y="291"/>
                      </a:lnTo>
                      <a:lnTo>
                        <a:pt x="818" y="288"/>
                      </a:lnTo>
                      <a:lnTo>
                        <a:pt x="818" y="288"/>
                      </a:lnTo>
                      <a:lnTo>
                        <a:pt x="819" y="286"/>
                      </a:lnTo>
                      <a:lnTo>
                        <a:pt x="819" y="283"/>
                      </a:lnTo>
                      <a:lnTo>
                        <a:pt x="820" y="280"/>
                      </a:lnTo>
                      <a:lnTo>
                        <a:pt x="822" y="279"/>
                      </a:lnTo>
                      <a:lnTo>
                        <a:pt x="826" y="279"/>
                      </a:lnTo>
                      <a:lnTo>
                        <a:pt x="830" y="278"/>
                      </a:lnTo>
                      <a:lnTo>
                        <a:pt x="828" y="275"/>
                      </a:lnTo>
                      <a:lnTo>
                        <a:pt x="830" y="274"/>
                      </a:lnTo>
                      <a:lnTo>
                        <a:pt x="832" y="275"/>
                      </a:lnTo>
                      <a:lnTo>
                        <a:pt x="833" y="276"/>
                      </a:lnTo>
                      <a:lnTo>
                        <a:pt x="836" y="276"/>
                      </a:lnTo>
                      <a:lnTo>
                        <a:pt x="835" y="274"/>
                      </a:lnTo>
                      <a:lnTo>
                        <a:pt x="834" y="273"/>
                      </a:lnTo>
                      <a:lnTo>
                        <a:pt x="836" y="273"/>
                      </a:lnTo>
                      <a:lnTo>
                        <a:pt x="836" y="275"/>
                      </a:lnTo>
                      <a:lnTo>
                        <a:pt x="840" y="278"/>
                      </a:lnTo>
                      <a:lnTo>
                        <a:pt x="846" y="275"/>
                      </a:lnTo>
                      <a:lnTo>
                        <a:pt x="850" y="262"/>
                      </a:lnTo>
                      <a:lnTo>
                        <a:pt x="854" y="264"/>
                      </a:lnTo>
                      <a:lnTo>
                        <a:pt x="852" y="261"/>
                      </a:lnTo>
                      <a:lnTo>
                        <a:pt x="855" y="259"/>
                      </a:lnTo>
                      <a:lnTo>
                        <a:pt x="856" y="260"/>
                      </a:lnTo>
                      <a:lnTo>
                        <a:pt x="858" y="256"/>
                      </a:lnTo>
                      <a:lnTo>
                        <a:pt x="860" y="256"/>
                      </a:lnTo>
                      <a:lnTo>
                        <a:pt x="860" y="254"/>
                      </a:lnTo>
                      <a:lnTo>
                        <a:pt x="863" y="253"/>
                      </a:lnTo>
                      <a:lnTo>
                        <a:pt x="863" y="249"/>
                      </a:lnTo>
                      <a:lnTo>
                        <a:pt x="867" y="244"/>
                      </a:lnTo>
                      <a:lnTo>
                        <a:pt x="865" y="238"/>
                      </a:lnTo>
                      <a:lnTo>
                        <a:pt x="865" y="235"/>
                      </a:lnTo>
                      <a:lnTo>
                        <a:pt x="868" y="235"/>
                      </a:lnTo>
                      <a:lnTo>
                        <a:pt x="875" y="239"/>
                      </a:lnTo>
                      <a:lnTo>
                        <a:pt x="876" y="242"/>
                      </a:lnTo>
                      <a:lnTo>
                        <a:pt x="883" y="242"/>
                      </a:lnTo>
                      <a:lnTo>
                        <a:pt x="885" y="244"/>
                      </a:lnTo>
                      <a:lnTo>
                        <a:pt x="889" y="242"/>
                      </a:lnTo>
                      <a:lnTo>
                        <a:pt x="894" y="244"/>
                      </a:lnTo>
                      <a:lnTo>
                        <a:pt x="894" y="239"/>
                      </a:lnTo>
                      <a:lnTo>
                        <a:pt x="888" y="235"/>
                      </a:lnTo>
                      <a:lnTo>
                        <a:pt x="886" y="232"/>
                      </a:lnTo>
                      <a:lnTo>
                        <a:pt x="899" y="231"/>
                      </a:lnTo>
                      <a:lnTo>
                        <a:pt x="902" y="228"/>
                      </a:lnTo>
                      <a:lnTo>
                        <a:pt x="901" y="226"/>
                      </a:lnTo>
                      <a:lnTo>
                        <a:pt x="901" y="222"/>
                      </a:lnTo>
                      <a:lnTo>
                        <a:pt x="906" y="225"/>
                      </a:lnTo>
                      <a:lnTo>
                        <a:pt x="907" y="222"/>
                      </a:lnTo>
                      <a:lnTo>
                        <a:pt x="905" y="218"/>
                      </a:lnTo>
                      <a:lnTo>
                        <a:pt x="902" y="215"/>
                      </a:lnTo>
                      <a:lnTo>
                        <a:pt x="903" y="213"/>
                      </a:lnTo>
                      <a:lnTo>
                        <a:pt x="905" y="212"/>
                      </a:lnTo>
                      <a:lnTo>
                        <a:pt x="907" y="213"/>
                      </a:lnTo>
                      <a:lnTo>
                        <a:pt x="913" y="215"/>
                      </a:lnTo>
                      <a:lnTo>
                        <a:pt x="915" y="204"/>
                      </a:lnTo>
                      <a:lnTo>
                        <a:pt x="909" y="187"/>
                      </a:lnTo>
                      <a:lnTo>
                        <a:pt x="912" y="176"/>
                      </a:lnTo>
                      <a:lnTo>
                        <a:pt x="909" y="167"/>
                      </a:lnTo>
                      <a:lnTo>
                        <a:pt x="918" y="164"/>
                      </a:lnTo>
                      <a:lnTo>
                        <a:pt x="926" y="162"/>
                      </a:lnTo>
                      <a:lnTo>
                        <a:pt x="923" y="154"/>
                      </a:lnTo>
                      <a:lnTo>
                        <a:pt x="918" y="147"/>
                      </a:lnTo>
                      <a:lnTo>
                        <a:pt x="915" y="137"/>
                      </a:lnTo>
                      <a:lnTo>
                        <a:pt x="910" y="128"/>
                      </a:lnTo>
                      <a:lnTo>
                        <a:pt x="913" y="115"/>
                      </a:lnTo>
                      <a:lnTo>
                        <a:pt x="913" y="104"/>
                      </a:lnTo>
                      <a:lnTo>
                        <a:pt x="903" y="106"/>
                      </a:lnTo>
                      <a:lnTo>
                        <a:pt x="887" y="111"/>
                      </a:lnTo>
                      <a:lnTo>
                        <a:pt x="879" y="118"/>
                      </a:lnTo>
                      <a:lnTo>
                        <a:pt x="853" y="109"/>
                      </a:lnTo>
                      <a:lnTo>
                        <a:pt x="841" y="95"/>
                      </a:lnTo>
                      <a:lnTo>
                        <a:pt x="820" y="87"/>
                      </a:lnTo>
                      <a:lnTo>
                        <a:pt x="790" y="82"/>
                      </a:lnTo>
                      <a:lnTo>
                        <a:pt x="771" y="67"/>
                      </a:lnTo>
                      <a:lnTo>
                        <a:pt x="749" y="49"/>
                      </a:lnTo>
                      <a:lnTo>
                        <a:pt x="736" y="39"/>
                      </a:lnTo>
                      <a:lnTo>
                        <a:pt x="726" y="28"/>
                      </a:lnTo>
                      <a:lnTo>
                        <a:pt x="696" y="11"/>
                      </a:lnTo>
                      <a:lnTo>
                        <a:pt x="665" y="7"/>
                      </a:lnTo>
                      <a:lnTo>
                        <a:pt x="635" y="0"/>
                      </a:lnTo>
                      <a:lnTo>
                        <a:pt x="623" y="22"/>
                      </a:lnTo>
                      <a:lnTo>
                        <a:pt x="635" y="28"/>
                      </a:lnTo>
                      <a:lnTo>
                        <a:pt x="635" y="44"/>
                      </a:lnTo>
                      <a:lnTo>
                        <a:pt x="649" y="55"/>
                      </a:lnTo>
                      <a:lnTo>
                        <a:pt x="631" y="80"/>
                      </a:lnTo>
                      <a:lnTo>
                        <a:pt x="607" y="74"/>
                      </a:lnTo>
                      <a:lnTo>
                        <a:pt x="607" y="92"/>
                      </a:lnTo>
                      <a:lnTo>
                        <a:pt x="609" y="94"/>
                      </a:lnTo>
                      <a:lnTo>
                        <a:pt x="608" y="99"/>
                      </a:lnTo>
                      <a:lnTo>
                        <a:pt x="612" y="105"/>
                      </a:lnTo>
                      <a:lnTo>
                        <a:pt x="606" y="106"/>
                      </a:lnTo>
                      <a:lnTo>
                        <a:pt x="611" y="112"/>
                      </a:lnTo>
                      <a:lnTo>
                        <a:pt x="621" y="117"/>
                      </a:lnTo>
                      <a:lnTo>
                        <a:pt x="621" y="114"/>
                      </a:lnTo>
                      <a:lnTo>
                        <a:pt x="623" y="113"/>
                      </a:lnTo>
                      <a:lnTo>
                        <a:pt x="632" y="112"/>
                      </a:lnTo>
                      <a:lnTo>
                        <a:pt x="643" y="117"/>
                      </a:lnTo>
                      <a:lnTo>
                        <a:pt x="646" y="109"/>
                      </a:lnTo>
                      <a:lnTo>
                        <a:pt x="647" y="111"/>
                      </a:lnTo>
                      <a:lnTo>
                        <a:pt x="649" y="111"/>
                      </a:lnTo>
                      <a:lnTo>
                        <a:pt x="654" y="111"/>
                      </a:lnTo>
                      <a:lnTo>
                        <a:pt x="655" y="109"/>
                      </a:lnTo>
                      <a:lnTo>
                        <a:pt x="656" y="111"/>
                      </a:lnTo>
                      <a:lnTo>
                        <a:pt x="663" y="113"/>
                      </a:lnTo>
                      <a:lnTo>
                        <a:pt x="669" y="115"/>
                      </a:lnTo>
                      <a:lnTo>
                        <a:pt x="673" y="119"/>
                      </a:lnTo>
                      <a:lnTo>
                        <a:pt x="676" y="120"/>
                      </a:lnTo>
                      <a:lnTo>
                        <a:pt x="678" y="121"/>
                      </a:lnTo>
                      <a:lnTo>
                        <a:pt x="681" y="125"/>
                      </a:lnTo>
                      <a:lnTo>
                        <a:pt x="683" y="125"/>
                      </a:lnTo>
                      <a:lnTo>
                        <a:pt x="688" y="127"/>
                      </a:lnTo>
                      <a:lnTo>
                        <a:pt x="689" y="129"/>
                      </a:lnTo>
                      <a:lnTo>
                        <a:pt x="693" y="132"/>
                      </a:lnTo>
                      <a:lnTo>
                        <a:pt x="694" y="134"/>
                      </a:lnTo>
                      <a:lnTo>
                        <a:pt x="695" y="137"/>
                      </a:lnTo>
                      <a:lnTo>
                        <a:pt x="691" y="138"/>
                      </a:lnTo>
                      <a:lnTo>
                        <a:pt x="687" y="138"/>
                      </a:lnTo>
                      <a:lnTo>
                        <a:pt x="685" y="137"/>
                      </a:lnTo>
                      <a:lnTo>
                        <a:pt x="679" y="134"/>
                      </a:lnTo>
                      <a:lnTo>
                        <a:pt x="675" y="135"/>
                      </a:lnTo>
                      <a:lnTo>
                        <a:pt x="672" y="135"/>
                      </a:lnTo>
                      <a:lnTo>
                        <a:pt x="668" y="134"/>
                      </a:lnTo>
                      <a:lnTo>
                        <a:pt x="667" y="137"/>
                      </a:lnTo>
                      <a:lnTo>
                        <a:pt x="666" y="137"/>
                      </a:lnTo>
                      <a:lnTo>
                        <a:pt x="665" y="139"/>
                      </a:lnTo>
                      <a:lnTo>
                        <a:pt x="663" y="139"/>
                      </a:lnTo>
                      <a:lnTo>
                        <a:pt x="661" y="140"/>
                      </a:lnTo>
                      <a:lnTo>
                        <a:pt x="660" y="138"/>
                      </a:lnTo>
                      <a:lnTo>
                        <a:pt x="656" y="138"/>
                      </a:lnTo>
                      <a:lnTo>
                        <a:pt x="656" y="140"/>
                      </a:lnTo>
                      <a:lnTo>
                        <a:pt x="654" y="142"/>
                      </a:lnTo>
                      <a:lnTo>
                        <a:pt x="649" y="142"/>
                      </a:lnTo>
                      <a:lnTo>
                        <a:pt x="649" y="144"/>
                      </a:lnTo>
                      <a:lnTo>
                        <a:pt x="647" y="146"/>
                      </a:lnTo>
                      <a:lnTo>
                        <a:pt x="646" y="148"/>
                      </a:lnTo>
                      <a:lnTo>
                        <a:pt x="646" y="151"/>
                      </a:lnTo>
                      <a:lnTo>
                        <a:pt x="645" y="152"/>
                      </a:lnTo>
                      <a:lnTo>
                        <a:pt x="648" y="154"/>
                      </a:lnTo>
                      <a:lnTo>
                        <a:pt x="647" y="156"/>
                      </a:lnTo>
                      <a:lnTo>
                        <a:pt x="645" y="156"/>
                      </a:lnTo>
                      <a:lnTo>
                        <a:pt x="643" y="159"/>
                      </a:lnTo>
                      <a:lnTo>
                        <a:pt x="642" y="161"/>
                      </a:lnTo>
                      <a:lnTo>
                        <a:pt x="634" y="162"/>
                      </a:lnTo>
                      <a:lnTo>
                        <a:pt x="631" y="162"/>
                      </a:lnTo>
                      <a:lnTo>
                        <a:pt x="627" y="161"/>
                      </a:lnTo>
                      <a:lnTo>
                        <a:pt x="625" y="162"/>
                      </a:lnTo>
                      <a:lnTo>
                        <a:pt x="625" y="167"/>
                      </a:lnTo>
                      <a:lnTo>
                        <a:pt x="623" y="168"/>
                      </a:lnTo>
                      <a:lnTo>
                        <a:pt x="621" y="172"/>
                      </a:lnTo>
                      <a:lnTo>
                        <a:pt x="619" y="172"/>
                      </a:lnTo>
                      <a:lnTo>
                        <a:pt x="618" y="172"/>
                      </a:lnTo>
                      <a:lnTo>
                        <a:pt x="616" y="175"/>
                      </a:lnTo>
                      <a:lnTo>
                        <a:pt x="613" y="174"/>
                      </a:lnTo>
                      <a:lnTo>
                        <a:pt x="609" y="174"/>
                      </a:lnTo>
                      <a:lnTo>
                        <a:pt x="607" y="174"/>
                      </a:lnTo>
                      <a:lnTo>
                        <a:pt x="605" y="174"/>
                      </a:lnTo>
                      <a:lnTo>
                        <a:pt x="603" y="174"/>
                      </a:lnTo>
                      <a:lnTo>
                        <a:pt x="593" y="168"/>
                      </a:lnTo>
                      <a:lnTo>
                        <a:pt x="586" y="168"/>
                      </a:lnTo>
                      <a:lnTo>
                        <a:pt x="583" y="171"/>
                      </a:lnTo>
                      <a:lnTo>
                        <a:pt x="582" y="180"/>
                      </a:lnTo>
                      <a:lnTo>
                        <a:pt x="582" y="182"/>
                      </a:lnTo>
                      <a:lnTo>
                        <a:pt x="598" y="192"/>
                      </a:lnTo>
                      <a:lnTo>
                        <a:pt x="599" y="194"/>
                      </a:lnTo>
                      <a:lnTo>
                        <a:pt x="589" y="201"/>
                      </a:lnTo>
                      <a:lnTo>
                        <a:pt x="586" y="212"/>
                      </a:lnTo>
                      <a:lnTo>
                        <a:pt x="585" y="214"/>
                      </a:lnTo>
                      <a:lnTo>
                        <a:pt x="585" y="215"/>
                      </a:lnTo>
                      <a:lnTo>
                        <a:pt x="582" y="218"/>
                      </a:lnTo>
                      <a:lnTo>
                        <a:pt x="579" y="218"/>
                      </a:lnTo>
                      <a:lnTo>
                        <a:pt x="575" y="220"/>
                      </a:lnTo>
                      <a:lnTo>
                        <a:pt x="573" y="221"/>
                      </a:lnTo>
                      <a:lnTo>
                        <a:pt x="574" y="222"/>
                      </a:lnTo>
                      <a:lnTo>
                        <a:pt x="571" y="222"/>
                      </a:lnTo>
                      <a:lnTo>
                        <a:pt x="565" y="222"/>
                      </a:lnTo>
                      <a:lnTo>
                        <a:pt x="563" y="222"/>
                      </a:lnTo>
                      <a:lnTo>
                        <a:pt x="559" y="222"/>
                      </a:lnTo>
                      <a:lnTo>
                        <a:pt x="554" y="222"/>
                      </a:lnTo>
                      <a:lnTo>
                        <a:pt x="553" y="221"/>
                      </a:lnTo>
                      <a:lnTo>
                        <a:pt x="545" y="222"/>
                      </a:lnTo>
                      <a:lnTo>
                        <a:pt x="540" y="222"/>
                      </a:lnTo>
                      <a:lnTo>
                        <a:pt x="540" y="221"/>
                      </a:lnTo>
                      <a:lnTo>
                        <a:pt x="538" y="222"/>
                      </a:lnTo>
                      <a:lnTo>
                        <a:pt x="538" y="224"/>
                      </a:lnTo>
                      <a:lnTo>
                        <a:pt x="531" y="226"/>
                      </a:lnTo>
                      <a:lnTo>
                        <a:pt x="522" y="229"/>
                      </a:lnTo>
                      <a:lnTo>
                        <a:pt x="518" y="231"/>
                      </a:lnTo>
                      <a:lnTo>
                        <a:pt x="515" y="233"/>
                      </a:lnTo>
                      <a:lnTo>
                        <a:pt x="509" y="236"/>
                      </a:lnTo>
                      <a:lnTo>
                        <a:pt x="506" y="241"/>
                      </a:lnTo>
                      <a:lnTo>
                        <a:pt x="499" y="238"/>
                      </a:lnTo>
                      <a:lnTo>
                        <a:pt x="498" y="234"/>
                      </a:lnTo>
                      <a:lnTo>
                        <a:pt x="489" y="235"/>
                      </a:lnTo>
                      <a:lnTo>
                        <a:pt x="486" y="235"/>
                      </a:lnTo>
                      <a:lnTo>
                        <a:pt x="476" y="233"/>
                      </a:lnTo>
                      <a:lnTo>
                        <a:pt x="469" y="231"/>
                      </a:lnTo>
                      <a:lnTo>
                        <a:pt x="462" y="229"/>
                      </a:lnTo>
                      <a:lnTo>
                        <a:pt x="452" y="227"/>
                      </a:lnTo>
                      <a:lnTo>
                        <a:pt x="446" y="221"/>
                      </a:lnTo>
                      <a:lnTo>
                        <a:pt x="414" y="218"/>
                      </a:lnTo>
                      <a:lnTo>
                        <a:pt x="405" y="220"/>
                      </a:lnTo>
                      <a:lnTo>
                        <a:pt x="382" y="218"/>
                      </a:lnTo>
                      <a:lnTo>
                        <a:pt x="373" y="216"/>
                      </a:lnTo>
                      <a:lnTo>
                        <a:pt x="373" y="218"/>
                      </a:lnTo>
                      <a:lnTo>
                        <a:pt x="369" y="218"/>
                      </a:lnTo>
                      <a:lnTo>
                        <a:pt x="359" y="218"/>
                      </a:lnTo>
                      <a:lnTo>
                        <a:pt x="358" y="215"/>
                      </a:lnTo>
                      <a:lnTo>
                        <a:pt x="353" y="214"/>
                      </a:lnTo>
                      <a:lnTo>
                        <a:pt x="344" y="207"/>
                      </a:lnTo>
                      <a:lnTo>
                        <a:pt x="341" y="205"/>
                      </a:lnTo>
                      <a:lnTo>
                        <a:pt x="329" y="192"/>
                      </a:lnTo>
                      <a:lnTo>
                        <a:pt x="326" y="191"/>
                      </a:lnTo>
                      <a:lnTo>
                        <a:pt x="324" y="187"/>
                      </a:lnTo>
                      <a:lnTo>
                        <a:pt x="325" y="185"/>
                      </a:lnTo>
                      <a:lnTo>
                        <a:pt x="319" y="185"/>
                      </a:lnTo>
                      <a:lnTo>
                        <a:pt x="314" y="184"/>
                      </a:lnTo>
                      <a:lnTo>
                        <a:pt x="313" y="184"/>
                      </a:lnTo>
                      <a:lnTo>
                        <a:pt x="312" y="184"/>
                      </a:lnTo>
                      <a:lnTo>
                        <a:pt x="309" y="181"/>
                      </a:lnTo>
                      <a:lnTo>
                        <a:pt x="300" y="176"/>
                      </a:lnTo>
                      <a:lnTo>
                        <a:pt x="295" y="176"/>
                      </a:lnTo>
                      <a:lnTo>
                        <a:pt x="292" y="173"/>
                      </a:lnTo>
                      <a:lnTo>
                        <a:pt x="288" y="172"/>
                      </a:lnTo>
                      <a:lnTo>
                        <a:pt x="284" y="171"/>
                      </a:lnTo>
                      <a:lnTo>
                        <a:pt x="282" y="171"/>
                      </a:lnTo>
                      <a:lnTo>
                        <a:pt x="281" y="171"/>
                      </a:lnTo>
                      <a:lnTo>
                        <a:pt x="255" y="168"/>
                      </a:lnTo>
                      <a:lnTo>
                        <a:pt x="252" y="168"/>
                      </a:lnTo>
                      <a:lnTo>
                        <a:pt x="246" y="166"/>
                      </a:lnTo>
                      <a:lnTo>
                        <a:pt x="241" y="166"/>
                      </a:lnTo>
                      <a:lnTo>
                        <a:pt x="239" y="164"/>
                      </a:lnTo>
                      <a:lnTo>
                        <a:pt x="234" y="159"/>
                      </a:lnTo>
                      <a:lnTo>
                        <a:pt x="237" y="151"/>
                      </a:lnTo>
                      <a:lnTo>
                        <a:pt x="232" y="144"/>
                      </a:lnTo>
                      <a:lnTo>
                        <a:pt x="232" y="141"/>
                      </a:lnTo>
                      <a:lnTo>
                        <a:pt x="232" y="138"/>
                      </a:lnTo>
                      <a:lnTo>
                        <a:pt x="231" y="135"/>
                      </a:lnTo>
                      <a:lnTo>
                        <a:pt x="228" y="134"/>
                      </a:lnTo>
                      <a:lnTo>
                        <a:pt x="218" y="126"/>
                      </a:lnTo>
                      <a:lnTo>
                        <a:pt x="215" y="121"/>
                      </a:lnTo>
                      <a:lnTo>
                        <a:pt x="214" y="121"/>
                      </a:lnTo>
                      <a:lnTo>
                        <a:pt x="212" y="118"/>
                      </a:lnTo>
                      <a:lnTo>
                        <a:pt x="205" y="113"/>
                      </a:lnTo>
                      <a:lnTo>
                        <a:pt x="200" y="113"/>
                      </a:lnTo>
                      <a:lnTo>
                        <a:pt x="197" y="112"/>
                      </a:lnTo>
                      <a:lnTo>
                        <a:pt x="195" y="109"/>
                      </a:lnTo>
                      <a:lnTo>
                        <a:pt x="192" y="109"/>
                      </a:lnTo>
                      <a:lnTo>
                        <a:pt x="191" y="109"/>
                      </a:lnTo>
                      <a:lnTo>
                        <a:pt x="191" y="111"/>
                      </a:lnTo>
                      <a:lnTo>
                        <a:pt x="186" y="112"/>
                      </a:lnTo>
                      <a:lnTo>
                        <a:pt x="182" y="108"/>
                      </a:lnTo>
                      <a:lnTo>
                        <a:pt x="181" y="107"/>
                      </a:lnTo>
                      <a:lnTo>
                        <a:pt x="177" y="105"/>
                      </a:lnTo>
                      <a:lnTo>
                        <a:pt x="178" y="104"/>
                      </a:lnTo>
                      <a:lnTo>
                        <a:pt x="174" y="102"/>
                      </a:lnTo>
                      <a:lnTo>
                        <a:pt x="174" y="104"/>
                      </a:lnTo>
                      <a:lnTo>
                        <a:pt x="172" y="102"/>
                      </a:lnTo>
                      <a:lnTo>
                        <a:pt x="172" y="100"/>
                      </a:lnTo>
                      <a:lnTo>
                        <a:pt x="169" y="101"/>
                      </a:lnTo>
                      <a:lnTo>
                        <a:pt x="167" y="100"/>
                      </a:lnTo>
                      <a:lnTo>
                        <a:pt x="165" y="100"/>
                      </a:lnTo>
                      <a:lnTo>
                        <a:pt x="166" y="97"/>
                      </a:lnTo>
                      <a:lnTo>
                        <a:pt x="162" y="95"/>
                      </a:lnTo>
                      <a:lnTo>
                        <a:pt x="161" y="94"/>
                      </a:lnTo>
                      <a:lnTo>
                        <a:pt x="157" y="88"/>
                      </a:lnTo>
                      <a:lnTo>
                        <a:pt x="149" y="87"/>
                      </a:lnTo>
                      <a:lnTo>
                        <a:pt x="141" y="87"/>
                      </a:lnTo>
                      <a:lnTo>
                        <a:pt x="141" y="91"/>
                      </a:lnTo>
                      <a:lnTo>
                        <a:pt x="144" y="95"/>
                      </a:lnTo>
                      <a:lnTo>
                        <a:pt x="142" y="99"/>
                      </a:lnTo>
                      <a:lnTo>
                        <a:pt x="139" y="101"/>
                      </a:lnTo>
                      <a:lnTo>
                        <a:pt x="132" y="101"/>
                      </a:lnTo>
                      <a:lnTo>
                        <a:pt x="132" y="111"/>
                      </a:lnTo>
                      <a:lnTo>
                        <a:pt x="140" y="127"/>
                      </a:lnTo>
                      <a:lnTo>
                        <a:pt x="139" y="127"/>
                      </a:lnTo>
                      <a:lnTo>
                        <a:pt x="139" y="128"/>
                      </a:lnTo>
                      <a:lnTo>
                        <a:pt x="134" y="128"/>
                      </a:lnTo>
                      <a:lnTo>
                        <a:pt x="131" y="132"/>
                      </a:lnTo>
                      <a:lnTo>
                        <a:pt x="128" y="133"/>
                      </a:lnTo>
                      <a:lnTo>
                        <a:pt x="128" y="132"/>
                      </a:lnTo>
                      <a:lnTo>
                        <a:pt x="125" y="129"/>
                      </a:lnTo>
                      <a:lnTo>
                        <a:pt x="114" y="131"/>
                      </a:lnTo>
                      <a:lnTo>
                        <a:pt x="98" y="126"/>
                      </a:lnTo>
                      <a:lnTo>
                        <a:pt x="99" y="131"/>
                      </a:lnTo>
                      <a:lnTo>
                        <a:pt x="100" y="159"/>
                      </a:lnTo>
                      <a:lnTo>
                        <a:pt x="106" y="161"/>
                      </a:lnTo>
                      <a:lnTo>
                        <a:pt x="107" y="168"/>
                      </a:lnTo>
                      <a:lnTo>
                        <a:pt x="102" y="165"/>
                      </a:lnTo>
                      <a:lnTo>
                        <a:pt x="98" y="167"/>
                      </a:lnTo>
                      <a:lnTo>
                        <a:pt x="92" y="164"/>
                      </a:lnTo>
                      <a:lnTo>
                        <a:pt x="82" y="167"/>
                      </a:lnTo>
                      <a:lnTo>
                        <a:pt x="68" y="169"/>
                      </a:lnTo>
                      <a:lnTo>
                        <a:pt x="65" y="172"/>
                      </a:lnTo>
                      <a:lnTo>
                        <a:pt x="68" y="174"/>
                      </a:lnTo>
                      <a:lnTo>
                        <a:pt x="72" y="174"/>
                      </a:lnTo>
                      <a:lnTo>
                        <a:pt x="78" y="176"/>
                      </a:lnTo>
                      <a:lnTo>
                        <a:pt x="77" y="178"/>
                      </a:lnTo>
                      <a:lnTo>
                        <a:pt x="77" y="181"/>
                      </a:lnTo>
                      <a:lnTo>
                        <a:pt x="80" y="187"/>
                      </a:lnTo>
                      <a:lnTo>
                        <a:pt x="91" y="201"/>
                      </a:lnTo>
                      <a:lnTo>
                        <a:pt x="91" y="204"/>
                      </a:lnTo>
                      <a:lnTo>
                        <a:pt x="92" y="204"/>
                      </a:lnTo>
                      <a:lnTo>
                        <a:pt x="94" y="207"/>
                      </a:lnTo>
                      <a:lnTo>
                        <a:pt x="90" y="211"/>
                      </a:lnTo>
                      <a:lnTo>
                        <a:pt x="93" y="213"/>
                      </a:lnTo>
                      <a:lnTo>
                        <a:pt x="87" y="214"/>
                      </a:lnTo>
                      <a:lnTo>
                        <a:pt x="87" y="219"/>
                      </a:lnTo>
                      <a:lnTo>
                        <a:pt x="93" y="229"/>
                      </a:lnTo>
                      <a:lnTo>
                        <a:pt x="87" y="231"/>
                      </a:lnTo>
                      <a:lnTo>
                        <a:pt x="87" y="233"/>
                      </a:lnTo>
                      <a:lnTo>
                        <a:pt x="70" y="241"/>
                      </a:lnTo>
                      <a:lnTo>
                        <a:pt x="65" y="251"/>
                      </a:lnTo>
                      <a:lnTo>
                        <a:pt x="44" y="251"/>
                      </a:lnTo>
                      <a:lnTo>
                        <a:pt x="42" y="260"/>
                      </a:lnTo>
                      <a:lnTo>
                        <a:pt x="40" y="265"/>
                      </a:lnTo>
                      <a:lnTo>
                        <a:pt x="38" y="262"/>
                      </a:lnTo>
                      <a:lnTo>
                        <a:pt x="34" y="266"/>
                      </a:lnTo>
                      <a:lnTo>
                        <a:pt x="28" y="266"/>
                      </a:lnTo>
                      <a:lnTo>
                        <a:pt x="25" y="259"/>
                      </a:lnTo>
                      <a:lnTo>
                        <a:pt x="20" y="262"/>
                      </a:lnTo>
                      <a:lnTo>
                        <a:pt x="15" y="261"/>
                      </a:lnTo>
                      <a:lnTo>
                        <a:pt x="17" y="265"/>
                      </a:lnTo>
                      <a:lnTo>
                        <a:pt x="13" y="265"/>
                      </a:lnTo>
                      <a:lnTo>
                        <a:pt x="10" y="268"/>
                      </a:lnTo>
                      <a:lnTo>
                        <a:pt x="2" y="271"/>
                      </a:lnTo>
                      <a:lnTo>
                        <a:pt x="2" y="275"/>
                      </a:lnTo>
                      <a:lnTo>
                        <a:pt x="5" y="280"/>
                      </a:lnTo>
                      <a:lnTo>
                        <a:pt x="5" y="282"/>
                      </a:lnTo>
                      <a:lnTo>
                        <a:pt x="0" y="282"/>
                      </a:lnTo>
                      <a:lnTo>
                        <a:pt x="1" y="286"/>
                      </a:lnTo>
                      <a:lnTo>
                        <a:pt x="7" y="293"/>
                      </a:lnTo>
                      <a:lnTo>
                        <a:pt x="5" y="295"/>
                      </a:lnTo>
                      <a:lnTo>
                        <a:pt x="11" y="301"/>
                      </a:lnTo>
                      <a:lnTo>
                        <a:pt x="13" y="301"/>
                      </a:lnTo>
                      <a:lnTo>
                        <a:pt x="13" y="299"/>
                      </a:lnTo>
                      <a:lnTo>
                        <a:pt x="18" y="299"/>
                      </a:lnTo>
                      <a:lnTo>
                        <a:pt x="27" y="302"/>
                      </a:lnTo>
                      <a:lnTo>
                        <a:pt x="28" y="309"/>
                      </a:lnTo>
                      <a:lnTo>
                        <a:pt x="33" y="316"/>
                      </a:lnTo>
                      <a:lnTo>
                        <a:pt x="33" y="321"/>
                      </a:lnTo>
                      <a:lnTo>
                        <a:pt x="39" y="325"/>
                      </a:lnTo>
                      <a:lnTo>
                        <a:pt x="37" y="328"/>
                      </a:lnTo>
                      <a:lnTo>
                        <a:pt x="37" y="328"/>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sp>
              <p:nvSpPr>
                <p:cNvPr id="367" name="Freeform 297">
                  <a:extLst>
                    <a:ext uri="{FF2B5EF4-FFF2-40B4-BE49-F238E27FC236}">
                      <a16:creationId xmlns:a16="http://schemas.microsoft.com/office/drawing/2014/main" id="{632D70AF-7189-F34D-9509-EC191A9789D5}"/>
                    </a:ext>
                  </a:extLst>
                </p:cNvPr>
                <p:cNvSpPr>
                  <a:spLocks/>
                </p:cNvSpPr>
                <p:nvPr>
                  <p:custDataLst>
                    <p:tags r:id="rId7"/>
                  </p:custDataLst>
                </p:nvPr>
              </p:nvSpPr>
              <p:spPr bwMode="auto">
                <a:xfrm>
                  <a:off x="8149189" y="3670042"/>
                  <a:ext cx="65919" cy="64312"/>
                </a:xfrm>
                <a:custGeom>
                  <a:avLst/>
                  <a:gdLst>
                    <a:gd name="T0" fmla="*/ 13 w 41"/>
                    <a:gd name="T1" fmla="*/ 2 h 40"/>
                    <a:gd name="T2" fmla="*/ 15 w 41"/>
                    <a:gd name="T3" fmla="*/ 2 h 40"/>
                    <a:gd name="T4" fmla="*/ 17 w 41"/>
                    <a:gd name="T5" fmla="*/ 2 h 40"/>
                    <a:gd name="T6" fmla="*/ 18 w 41"/>
                    <a:gd name="T7" fmla="*/ 3 h 40"/>
                    <a:gd name="T8" fmla="*/ 21 w 41"/>
                    <a:gd name="T9" fmla="*/ 2 h 40"/>
                    <a:gd name="T10" fmla="*/ 22 w 41"/>
                    <a:gd name="T11" fmla="*/ 5 h 40"/>
                    <a:gd name="T12" fmla="*/ 23 w 41"/>
                    <a:gd name="T13" fmla="*/ 1 h 40"/>
                    <a:gd name="T14" fmla="*/ 28 w 41"/>
                    <a:gd name="T15" fmla="*/ 1 h 40"/>
                    <a:gd name="T16" fmla="*/ 29 w 41"/>
                    <a:gd name="T17" fmla="*/ 5 h 40"/>
                    <a:gd name="T18" fmla="*/ 29 w 41"/>
                    <a:gd name="T19" fmla="*/ 0 h 40"/>
                    <a:gd name="T20" fmla="*/ 33 w 41"/>
                    <a:gd name="T21" fmla="*/ 5 h 40"/>
                    <a:gd name="T22" fmla="*/ 31 w 41"/>
                    <a:gd name="T23" fmla="*/ 0 h 40"/>
                    <a:gd name="T24" fmla="*/ 34 w 41"/>
                    <a:gd name="T25" fmla="*/ 0 h 40"/>
                    <a:gd name="T26" fmla="*/ 35 w 41"/>
                    <a:gd name="T27" fmla="*/ 2 h 40"/>
                    <a:gd name="T28" fmla="*/ 38 w 41"/>
                    <a:gd name="T29" fmla="*/ 2 h 40"/>
                    <a:gd name="T30" fmla="*/ 41 w 41"/>
                    <a:gd name="T31" fmla="*/ 9 h 40"/>
                    <a:gd name="T32" fmla="*/ 38 w 41"/>
                    <a:gd name="T33" fmla="*/ 12 h 40"/>
                    <a:gd name="T34" fmla="*/ 37 w 41"/>
                    <a:gd name="T35" fmla="*/ 9 h 40"/>
                    <a:gd name="T36" fmla="*/ 35 w 41"/>
                    <a:gd name="T37" fmla="*/ 20 h 40"/>
                    <a:gd name="T38" fmla="*/ 34 w 41"/>
                    <a:gd name="T39" fmla="*/ 19 h 40"/>
                    <a:gd name="T40" fmla="*/ 34 w 41"/>
                    <a:gd name="T41" fmla="*/ 21 h 40"/>
                    <a:gd name="T42" fmla="*/ 35 w 41"/>
                    <a:gd name="T43" fmla="*/ 20 h 40"/>
                    <a:gd name="T44" fmla="*/ 34 w 41"/>
                    <a:gd name="T45" fmla="*/ 26 h 40"/>
                    <a:gd name="T46" fmla="*/ 34 w 41"/>
                    <a:gd name="T47" fmla="*/ 26 h 40"/>
                    <a:gd name="T48" fmla="*/ 35 w 41"/>
                    <a:gd name="T49" fmla="*/ 27 h 40"/>
                    <a:gd name="T50" fmla="*/ 34 w 41"/>
                    <a:gd name="T51" fmla="*/ 29 h 40"/>
                    <a:gd name="T52" fmla="*/ 30 w 41"/>
                    <a:gd name="T53" fmla="*/ 29 h 40"/>
                    <a:gd name="T54" fmla="*/ 28 w 41"/>
                    <a:gd name="T55" fmla="*/ 33 h 40"/>
                    <a:gd name="T56" fmla="*/ 28 w 41"/>
                    <a:gd name="T57" fmla="*/ 36 h 40"/>
                    <a:gd name="T58" fmla="*/ 27 w 41"/>
                    <a:gd name="T59" fmla="*/ 35 h 40"/>
                    <a:gd name="T60" fmla="*/ 22 w 41"/>
                    <a:gd name="T61" fmla="*/ 35 h 40"/>
                    <a:gd name="T62" fmla="*/ 22 w 41"/>
                    <a:gd name="T63" fmla="*/ 39 h 40"/>
                    <a:gd name="T64" fmla="*/ 21 w 41"/>
                    <a:gd name="T65" fmla="*/ 40 h 40"/>
                    <a:gd name="T66" fmla="*/ 18 w 41"/>
                    <a:gd name="T67" fmla="*/ 37 h 40"/>
                    <a:gd name="T68" fmla="*/ 18 w 41"/>
                    <a:gd name="T69" fmla="*/ 40 h 40"/>
                    <a:gd name="T70" fmla="*/ 17 w 41"/>
                    <a:gd name="T71" fmla="*/ 37 h 40"/>
                    <a:gd name="T72" fmla="*/ 13 w 41"/>
                    <a:gd name="T73" fmla="*/ 37 h 40"/>
                    <a:gd name="T74" fmla="*/ 11 w 41"/>
                    <a:gd name="T75" fmla="*/ 35 h 40"/>
                    <a:gd name="T76" fmla="*/ 4 w 41"/>
                    <a:gd name="T77" fmla="*/ 34 h 40"/>
                    <a:gd name="T78" fmla="*/ 4 w 41"/>
                    <a:gd name="T79" fmla="*/ 33 h 40"/>
                    <a:gd name="T80" fmla="*/ 3 w 41"/>
                    <a:gd name="T81" fmla="*/ 28 h 40"/>
                    <a:gd name="T82" fmla="*/ 1 w 41"/>
                    <a:gd name="T83" fmla="*/ 26 h 40"/>
                    <a:gd name="T84" fmla="*/ 3 w 41"/>
                    <a:gd name="T85" fmla="*/ 23 h 40"/>
                    <a:gd name="T86" fmla="*/ 1 w 41"/>
                    <a:gd name="T87" fmla="*/ 21 h 40"/>
                    <a:gd name="T88" fmla="*/ 0 w 41"/>
                    <a:gd name="T89" fmla="*/ 16 h 40"/>
                    <a:gd name="T90" fmla="*/ 2 w 41"/>
                    <a:gd name="T91" fmla="*/ 12 h 40"/>
                    <a:gd name="T92" fmla="*/ 10 w 41"/>
                    <a:gd name="T93" fmla="*/ 8 h 40"/>
                    <a:gd name="T94" fmla="*/ 10 w 41"/>
                    <a:gd name="T95" fmla="*/ 7 h 40"/>
                    <a:gd name="T96" fmla="*/ 8 w 41"/>
                    <a:gd name="T97" fmla="*/ 8 h 40"/>
                    <a:gd name="T98" fmla="*/ 9 w 41"/>
                    <a:gd name="T99" fmla="*/ 5 h 40"/>
                    <a:gd name="T100" fmla="*/ 15 w 41"/>
                    <a:gd name="T101" fmla="*/ 5 h 40"/>
                    <a:gd name="T102" fmla="*/ 13 w 41"/>
                    <a:gd name="T103" fmla="*/ 2 h 40"/>
                    <a:gd name="T104" fmla="*/ 13 w 41"/>
                    <a:gd name="T105" fmla="*/ 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1" h="40">
                      <a:moveTo>
                        <a:pt x="13" y="2"/>
                      </a:moveTo>
                      <a:lnTo>
                        <a:pt x="15" y="2"/>
                      </a:lnTo>
                      <a:lnTo>
                        <a:pt x="17" y="2"/>
                      </a:lnTo>
                      <a:lnTo>
                        <a:pt x="18" y="3"/>
                      </a:lnTo>
                      <a:lnTo>
                        <a:pt x="21" y="2"/>
                      </a:lnTo>
                      <a:lnTo>
                        <a:pt x="22" y="5"/>
                      </a:lnTo>
                      <a:lnTo>
                        <a:pt x="23" y="1"/>
                      </a:lnTo>
                      <a:lnTo>
                        <a:pt x="28" y="1"/>
                      </a:lnTo>
                      <a:lnTo>
                        <a:pt x="29" y="5"/>
                      </a:lnTo>
                      <a:lnTo>
                        <a:pt x="29" y="0"/>
                      </a:lnTo>
                      <a:lnTo>
                        <a:pt x="33" y="5"/>
                      </a:lnTo>
                      <a:lnTo>
                        <a:pt x="31" y="0"/>
                      </a:lnTo>
                      <a:lnTo>
                        <a:pt x="34" y="0"/>
                      </a:lnTo>
                      <a:lnTo>
                        <a:pt x="35" y="2"/>
                      </a:lnTo>
                      <a:lnTo>
                        <a:pt x="38" y="2"/>
                      </a:lnTo>
                      <a:lnTo>
                        <a:pt x="41" y="9"/>
                      </a:lnTo>
                      <a:lnTo>
                        <a:pt x="38" y="12"/>
                      </a:lnTo>
                      <a:lnTo>
                        <a:pt x="37" y="9"/>
                      </a:lnTo>
                      <a:lnTo>
                        <a:pt x="35" y="20"/>
                      </a:lnTo>
                      <a:lnTo>
                        <a:pt x="34" y="19"/>
                      </a:lnTo>
                      <a:lnTo>
                        <a:pt x="34" y="21"/>
                      </a:lnTo>
                      <a:lnTo>
                        <a:pt x="35" y="20"/>
                      </a:lnTo>
                      <a:lnTo>
                        <a:pt x="34" y="26"/>
                      </a:lnTo>
                      <a:lnTo>
                        <a:pt x="34" y="26"/>
                      </a:lnTo>
                      <a:lnTo>
                        <a:pt x="35" y="27"/>
                      </a:lnTo>
                      <a:lnTo>
                        <a:pt x="34" y="29"/>
                      </a:lnTo>
                      <a:lnTo>
                        <a:pt x="30" y="29"/>
                      </a:lnTo>
                      <a:lnTo>
                        <a:pt x="28" y="33"/>
                      </a:lnTo>
                      <a:lnTo>
                        <a:pt x="28" y="36"/>
                      </a:lnTo>
                      <a:lnTo>
                        <a:pt x="27" y="35"/>
                      </a:lnTo>
                      <a:lnTo>
                        <a:pt x="22" y="35"/>
                      </a:lnTo>
                      <a:lnTo>
                        <a:pt x="22" y="39"/>
                      </a:lnTo>
                      <a:lnTo>
                        <a:pt x="21" y="40"/>
                      </a:lnTo>
                      <a:lnTo>
                        <a:pt x="18" y="37"/>
                      </a:lnTo>
                      <a:lnTo>
                        <a:pt x="18" y="40"/>
                      </a:lnTo>
                      <a:lnTo>
                        <a:pt x="17" y="37"/>
                      </a:lnTo>
                      <a:lnTo>
                        <a:pt x="13" y="37"/>
                      </a:lnTo>
                      <a:lnTo>
                        <a:pt x="11" y="35"/>
                      </a:lnTo>
                      <a:lnTo>
                        <a:pt x="4" y="34"/>
                      </a:lnTo>
                      <a:lnTo>
                        <a:pt x="4" y="33"/>
                      </a:lnTo>
                      <a:lnTo>
                        <a:pt x="3" y="28"/>
                      </a:lnTo>
                      <a:lnTo>
                        <a:pt x="1" y="26"/>
                      </a:lnTo>
                      <a:lnTo>
                        <a:pt x="3" y="23"/>
                      </a:lnTo>
                      <a:lnTo>
                        <a:pt x="1" y="21"/>
                      </a:lnTo>
                      <a:lnTo>
                        <a:pt x="0" y="16"/>
                      </a:lnTo>
                      <a:lnTo>
                        <a:pt x="2" y="12"/>
                      </a:lnTo>
                      <a:lnTo>
                        <a:pt x="10" y="8"/>
                      </a:lnTo>
                      <a:lnTo>
                        <a:pt x="10" y="7"/>
                      </a:lnTo>
                      <a:lnTo>
                        <a:pt x="8" y="8"/>
                      </a:lnTo>
                      <a:lnTo>
                        <a:pt x="9" y="5"/>
                      </a:lnTo>
                      <a:lnTo>
                        <a:pt x="15" y="5"/>
                      </a:lnTo>
                      <a:lnTo>
                        <a:pt x="13" y="2"/>
                      </a:lnTo>
                      <a:lnTo>
                        <a:pt x="13" y="2"/>
                      </a:lnTo>
                      <a:close/>
                    </a:path>
                  </a:pathLst>
                </a:custGeom>
                <a:grpFill/>
                <a:ln w="1588">
                  <a:solidFill>
                    <a:schemeClr val="accent3"/>
                  </a:solid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de-DE" sz="1800" b="0" i="0" u="none" strike="noStrike" kern="0" cap="none" spc="0" normalizeH="0" baseline="0" noProof="0" dirty="0">
                    <a:ln>
                      <a:noFill/>
                    </a:ln>
                    <a:solidFill>
                      <a:prstClr val="black"/>
                    </a:solidFill>
                    <a:effectLst/>
                    <a:uLnTx/>
                    <a:uFillTx/>
                  </a:endParaRPr>
                </a:p>
              </p:txBody>
            </p:sp>
          </p:grpSp>
        </p:grpSp>
      </p:grpSp>
      <p:sp>
        <p:nvSpPr>
          <p:cNvPr id="574" name="Freeform 8">
            <a:extLst>
              <a:ext uri="{FF2B5EF4-FFF2-40B4-BE49-F238E27FC236}">
                <a16:creationId xmlns:a16="http://schemas.microsoft.com/office/drawing/2014/main" id="{80DF7FD8-D2A6-5C4F-90A9-6744880EF943}"/>
              </a:ext>
            </a:extLst>
          </p:cNvPr>
          <p:cNvSpPr>
            <a:spLocks/>
          </p:cNvSpPr>
          <p:nvPr/>
        </p:nvSpPr>
        <p:spPr bwMode="auto">
          <a:xfrm rot="215089">
            <a:off x="7295365" y="405899"/>
            <a:ext cx="2663083" cy="1636850"/>
          </a:xfrm>
          <a:custGeom>
            <a:avLst/>
            <a:gdLst>
              <a:gd name="T0" fmla="*/ 2665 w 3041"/>
              <a:gd name="T1" fmla="*/ 358 h 2202"/>
              <a:gd name="T2" fmla="*/ 2533 w 3041"/>
              <a:gd name="T3" fmla="*/ 384 h 2202"/>
              <a:gd name="T4" fmla="*/ 2383 w 3041"/>
              <a:gd name="T5" fmla="*/ 429 h 2202"/>
              <a:gd name="T6" fmla="*/ 2211 w 3041"/>
              <a:gd name="T7" fmla="*/ 499 h 2202"/>
              <a:gd name="T8" fmla="*/ 2071 w 3041"/>
              <a:gd name="T9" fmla="*/ 569 h 2202"/>
              <a:gd name="T10" fmla="*/ 2021 w 3041"/>
              <a:gd name="T11" fmla="*/ 597 h 2202"/>
              <a:gd name="T12" fmla="*/ 1789 w 3041"/>
              <a:gd name="T13" fmla="*/ 741 h 2202"/>
              <a:gd name="T14" fmla="*/ 1597 w 3041"/>
              <a:gd name="T15" fmla="*/ 879 h 2202"/>
              <a:gd name="T16" fmla="*/ 1443 w 3041"/>
              <a:gd name="T17" fmla="*/ 1005 h 2202"/>
              <a:gd name="T18" fmla="*/ 1323 w 3041"/>
              <a:gd name="T19" fmla="*/ 1117 h 2202"/>
              <a:gd name="T20" fmla="*/ 1233 w 3041"/>
              <a:gd name="T21" fmla="*/ 1213 h 2202"/>
              <a:gd name="T22" fmla="*/ 1173 w 3041"/>
              <a:gd name="T23" fmla="*/ 1285 h 2202"/>
              <a:gd name="T24" fmla="*/ 1127 w 3041"/>
              <a:gd name="T25" fmla="*/ 1347 h 2202"/>
              <a:gd name="T26" fmla="*/ 0 w 3041"/>
              <a:gd name="T27" fmla="*/ 2202 h 2202"/>
              <a:gd name="T28" fmla="*/ 690 w 3041"/>
              <a:gd name="T29" fmla="*/ 911 h 2202"/>
              <a:gd name="T30" fmla="*/ 714 w 3041"/>
              <a:gd name="T31" fmla="*/ 885 h 2202"/>
              <a:gd name="T32" fmla="*/ 834 w 3041"/>
              <a:gd name="T33" fmla="*/ 757 h 2202"/>
              <a:gd name="T34" fmla="*/ 961 w 3041"/>
              <a:gd name="T35" fmla="*/ 635 h 2202"/>
              <a:gd name="T36" fmla="*/ 1117 w 3041"/>
              <a:gd name="T37" fmla="*/ 495 h 2202"/>
              <a:gd name="T38" fmla="*/ 1297 w 3041"/>
              <a:gd name="T39" fmla="*/ 352 h 2202"/>
              <a:gd name="T40" fmla="*/ 1445 w 3041"/>
              <a:gd name="T41" fmla="*/ 250 h 2202"/>
              <a:gd name="T42" fmla="*/ 1547 w 3041"/>
              <a:gd name="T43" fmla="*/ 184 h 2202"/>
              <a:gd name="T44" fmla="*/ 1653 w 3041"/>
              <a:gd name="T45" fmla="*/ 126 h 2202"/>
              <a:gd name="T46" fmla="*/ 1761 w 3041"/>
              <a:gd name="T47" fmla="*/ 76 h 2202"/>
              <a:gd name="T48" fmla="*/ 1815 w 3041"/>
              <a:gd name="T49" fmla="*/ 54 h 2202"/>
              <a:gd name="T50" fmla="*/ 1887 w 3041"/>
              <a:gd name="T51" fmla="*/ 30 h 2202"/>
              <a:gd name="T52" fmla="*/ 1959 w 3041"/>
              <a:gd name="T53" fmla="*/ 14 h 2202"/>
              <a:gd name="T54" fmla="*/ 2031 w 3041"/>
              <a:gd name="T55" fmla="*/ 4 h 2202"/>
              <a:gd name="T56" fmla="*/ 2103 w 3041"/>
              <a:gd name="T57" fmla="*/ 0 h 2202"/>
              <a:gd name="T58" fmla="*/ 2173 w 3041"/>
              <a:gd name="T59" fmla="*/ 2 h 2202"/>
              <a:gd name="T60" fmla="*/ 2245 w 3041"/>
              <a:gd name="T61" fmla="*/ 10 h 2202"/>
              <a:gd name="T62" fmla="*/ 2383 w 3041"/>
              <a:gd name="T63" fmla="*/ 38 h 2202"/>
              <a:gd name="T64" fmla="*/ 2513 w 3041"/>
              <a:gd name="T65" fmla="*/ 82 h 2202"/>
              <a:gd name="T66" fmla="*/ 2635 w 3041"/>
              <a:gd name="T67" fmla="*/ 134 h 2202"/>
              <a:gd name="T68" fmla="*/ 2745 w 3041"/>
              <a:gd name="T69" fmla="*/ 190 h 2202"/>
              <a:gd name="T70" fmla="*/ 2841 w 3041"/>
              <a:gd name="T71" fmla="*/ 248 h 2202"/>
              <a:gd name="T72" fmla="*/ 2885 w 3041"/>
              <a:gd name="T73" fmla="*/ 276 h 2202"/>
              <a:gd name="T74" fmla="*/ 2987 w 3041"/>
              <a:gd name="T75" fmla="*/ 348 h 2202"/>
              <a:gd name="T76" fmla="*/ 3041 w 3041"/>
              <a:gd name="T77" fmla="*/ 392 h 2202"/>
              <a:gd name="T78" fmla="*/ 3017 w 3041"/>
              <a:gd name="T79" fmla="*/ 382 h 2202"/>
              <a:gd name="T80" fmla="*/ 2947 w 3041"/>
              <a:gd name="T81" fmla="*/ 362 h 2202"/>
              <a:gd name="T82" fmla="*/ 2863 w 3041"/>
              <a:gd name="T83" fmla="*/ 352 h 2202"/>
              <a:gd name="T84" fmla="*/ 2793 w 3041"/>
              <a:gd name="T85" fmla="*/ 350 h 2202"/>
              <a:gd name="T86" fmla="*/ 2711 w 3041"/>
              <a:gd name="T87" fmla="*/ 354 h 2202"/>
              <a:gd name="T88" fmla="*/ 2665 w 3041"/>
              <a:gd name="T89" fmla="*/ 358 h 22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3041" h="2202">
                <a:moveTo>
                  <a:pt x="2665" y="358"/>
                </a:moveTo>
                <a:lnTo>
                  <a:pt x="2665" y="358"/>
                </a:lnTo>
                <a:lnTo>
                  <a:pt x="2603" y="370"/>
                </a:lnTo>
                <a:lnTo>
                  <a:pt x="2533" y="384"/>
                </a:lnTo>
                <a:lnTo>
                  <a:pt x="2461" y="403"/>
                </a:lnTo>
                <a:lnTo>
                  <a:pt x="2383" y="429"/>
                </a:lnTo>
                <a:lnTo>
                  <a:pt x="2299" y="459"/>
                </a:lnTo>
                <a:lnTo>
                  <a:pt x="2211" y="499"/>
                </a:lnTo>
                <a:lnTo>
                  <a:pt x="2119" y="543"/>
                </a:lnTo>
                <a:lnTo>
                  <a:pt x="2071" y="569"/>
                </a:lnTo>
                <a:lnTo>
                  <a:pt x="2021" y="597"/>
                </a:lnTo>
                <a:lnTo>
                  <a:pt x="2021" y="597"/>
                </a:lnTo>
                <a:lnTo>
                  <a:pt x="1899" y="669"/>
                </a:lnTo>
                <a:lnTo>
                  <a:pt x="1789" y="741"/>
                </a:lnTo>
                <a:lnTo>
                  <a:pt x="1689" y="811"/>
                </a:lnTo>
                <a:lnTo>
                  <a:pt x="1597" y="879"/>
                </a:lnTo>
                <a:lnTo>
                  <a:pt x="1515" y="943"/>
                </a:lnTo>
                <a:lnTo>
                  <a:pt x="1443" y="1005"/>
                </a:lnTo>
                <a:lnTo>
                  <a:pt x="1379" y="1063"/>
                </a:lnTo>
                <a:lnTo>
                  <a:pt x="1323" y="1117"/>
                </a:lnTo>
                <a:lnTo>
                  <a:pt x="1273" y="1167"/>
                </a:lnTo>
                <a:lnTo>
                  <a:pt x="1233" y="1213"/>
                </a:lnTo>
                <a:lnTo>
                  <a:pt x="1199" y="1251"/>
                </a:lnTo>
                <a:lnTo>
                  <a:pt x="1173" y="1285"/>
                </a:lnTo>
                <a:lnTo>
                  <a:pt x="1139" y="1331"/>
                </a:lnTo>
                <a:lnTo>
                  <a:pt x="1127" y="1347"/>
                </a:lnTo>
                <a:lnTo>
                  <a:pt x="1433" y="1457"/>
                </a:lnTo>
                <a:lnTo>
                  <a:pt x="0" y="2202"/>
                </a:lnTo>
                <a:lnTo>
                  <a:pt x="542" y="667"/>
                </a:lnTo>
                <a:lnTo>
                  <a:pt x="690" y="911"/>
                </a:lnTo>
                <a:lnTo>
                  <a:pt x="690" y="911"/>
                </a:lnTo>
                <a:lnTo>
                  <a:pt x="714" y="885"/>
                </a:lnTo>
                <a:lnTo>
                  <a:pt x="784" y="809"/>
                </a:lnTo>
                <a:lnTo>
                  <a:pt x="834" y="757"/>
                </a:lnTo>
                <a:lnTo>
                  <a:pt x="892" y="699"/>
                </a:lnTo>
                <a:lnTo>
                  <a:pt x="961" y="635"/>
                </a:lnTo>
                <a:lnTo>
                  <a:pt x="1035" y="567"/>
                </a:lnTo>
                <a:lnTo>
                  <a:pt x="1117" y="495"/>
                </a:lnTo>
                <a:lnTo>
                  <a:pt x="1205" y="423"/>
                </a:lnTo>
                <a:lnTo>
                  <a:pt x="1297" y="352"/>
                </a:lnTo>
                <a:lnTo>
                  <a:pt x="1395" y="282"/>
                </a:lnTo>
                <a:lnTo>
                  <a:pt x="1445" y="250"/>
                </a:lnTo>
                <a:lnTo>
                  <a:pt x="1495" y="216"/>
                </a:lnTo>
                <a:lnTo>
                  <a:pt x="1547" y="184"/>
                </a:lnTo>
                <a:lnTo>
                  <a:pt x="1599" y="154"/>
                </a:lnTo>
                <a:lnTo>
                  <a:pt x="1653" y="126"/>
                </a:lnTo>
                <a:lnTo>
                  <a:pt x="1707" y="100"/>
                </a:lnTo>
                <a:lnTo>
                  <a:pt x="1761" y="76"/>
                </a:lnTo>
                <a:lnTo>
                  <a:pt x="1815" y="54"/>
                </a:lnTo>
                <a:lnTo>
                  <a:pt x="1815" y="54"/>
                </a:lnTo>
                <a:lnTo>
                  <a:pt x="1851" y="40"/>
                </a:lnTo>
                <a:lnTo>
                  <a:pt x="1887" y="30"/>
                </a:lnTo>
                <a:lnTo>
                  <a:pt x="1923" y="20"/>
                </a:lnTo>
                <a:lnTo>
                  <a:pt x="1959" y="14"/>
                </a:lnTo>
                <a:lnTo>
                  <a:pt x="1995" y="8"/>
                </a:lnTo>
                <a:lnTo>
                  <a:pt x="2031" y="4"/>
                </a:lnTo>
                <a:lnTo>
                  <a:pt x="2067" y="2"/>
                </a:lnTo>
                <a:lnTo>
                  <a:pt x="2103" y="0"/>
                </a:lnTo>
                <a:lnTo>
                  <a:pt x="2139" y="0"/>
                </a:lnTo>
                <a:lnTo>
                  <a:pt x="2173" y="2"/>
                </a:lnTo>
                <a:lnTo>
                  <a:pt x="2209" y="6"/>
                </a:lnTo>
                <a:lnTo>
                  <a:pt x="2245" y="10"/>
                </a:lnTo>
                <a:lnTo>
                  <a:pt x="2315" y="22"/>
                </a:lnTo>
                <a:lnTo>
                  <a:pt x="2383" y="38"/>
                </a:lnTo>
                <a:lnTo>
                  <a:pt x="2449" y="58"/>
                </a:lnTo>
                <a:lnTo>
                  <a:pt x="2513" y="82"/>
                </a:lnTo>
                <a:lnTo>
                  <a:pt x="2575" y="106"/>
                </a:lnTo>
                <a:lnTo>
                  <a:pt x="2635" y="134"/>
                </a:lnTo>
                <a:lnTo>
                  <a:pt x="2691" y="162"/>
                </a:lnTo>
                <a:lnTo>
                  <a:pt x="2745" y="190"/>
                </a:lnTo>
                <a:lnTo>
                  <a:pt x="2795" y="220"/>
                </a:lnTo>
                <a:lnTo>
                  <a:pt x="2841" y="248"/>
                </a:lnTo>
                <a:lnTo>
                  <a:pt x="2841" y="248"/>
                </a:lnTo>
                <a:lnTo>
                  <a:pt x="2885" y="276"/>
                </a:lnTo>
                <a:lnTo>
                  <a:pt x="2925" y="302"/>
                </a:lnTo>
                <a:lnTo>
                  <a:pt x="2987" y="348"/>
                </a:lnTo>
                <a:lnTo>
                  <a:pt x="3027" y="380"/>
                </a:lnTo>
                <a:lnTo>
                  <a:pt x="3041" y="392"/>
                </a:lnTo>
                <a:lnTo>
                  <a:pt x="3041" y="392"/>
                </a:lnTo>
                <a:lnTo>
                  <a:pt x="3017" y="382"/>
                </a:lnTo>
                <a:lnTo>
                  <a:pt x="2987" y="372"/>
                </a:lnTo>
                <a:lnTo>
                  <a:pt x="2947" y="362"/>
                </a:lnTo>
                <a:lnTo>
                  <a:pt x="2893" y="354"/>
                </a:lnTo>
                <a:lnTo>
                  <a:pt x="2863" y="352"/>
                </a:lnTo>
                <a:lnTo>
                  <a:pt x="2829" y="350"/>
                </a:lnTo>
                <a:lnTo>
                  <a:pt x="2793" y="350"/>
                </a:lnTo>
                <a:lnTo>
                  <a:pt x="2753" y="350"/>
                </a:lnTo>
                <a:lnTo>
                  <a:pt x="2711" y="354"/>
                </a:lnTo>
                <a:lnTo>
                  <a:pt x="2665" y="358"/>
                </a:lnTo>
                <a:lnTo>
                  <a:pt x="2665" y="358"/>
                </a:lnTo>
                <a:close/>
              </a:path>
            </a:pathLst>
          </a:custGeom>
          <a:solidFill>
            <a:srgbClr val="D4E458"/>
          </a:solidFill>
          <a:ln>
            <a:solidFill>
              <a:srgbClr val="D4E458"/>
            </a:solidFill>
          </a:ln>
        </p:spPr>
        <p:txBody>
          <a:bodyPr vert="horz" wrap="square" lIns="91440" tIns="45720" rIns="91440" bIns="45720" numCol="1" anchor="t" anchorCtr="0" compatLnSpc="1">
            <a:prstTxWarp prst="textNoShape">
              <a:avLst/>
            </a:prstTxWarp>
          </a:bodyPr>
          <a:lstStyle/>
          <a:p>
            <a:endParaRPr lang="de-DE" dirty="0">
              <a:latin typeface="Arial" panose="020B0604020202020204" pitchFamily="34" charset="0"/>
              <a:cs typeface="Arial" panose="020B0604020202020204" pitchFamily="34" charset="0"/>
            </a:endParaRPr>
          </a:p>
        </p:txBody>
      </p:sp>
      <p:sp>
        <p:nvSpPr>
          <p:cNvPr id="573" name="Freeform 6">
            <a:extLst>
              <a:ext uri="{FF2B5EF4-FFF2-40B4-BE49-F238E27FC236}">
                <a16:creationId xmlns:a16="http://schemas.microsoft.com/office/drawing/2014/main" id="{A82FBFFA-FFB5-6948-B009-E1EA6A21A4BE}"/>
              </a:ext>
            </a:extLst>
          </p:cNvPr>
          <p:cNvSpPr>
            <a:spLocks/>
          </p:cNvSpPr>
          <p:nvPr/>
        </p:nvSpPr>
        <p:spPr bwMode="auto">
          <a:xfrm rot="264716">
            <a:off x="5154080" y="1012748"/>
            <a:ext cx="1953972" cy="2621403"/>
          </a:xfrm>
          <a:custGeom>
            <a:avLst/>
            <a:gdLst>
              <a:gd name="T0" fmla="*/ 364 w 2232"/>
              <a:gd name="T1" fmla="*/ 2628 h 2997"/>
              <a:gd name="T2" fmla="*/ 388 w 2232"/>
              <a:gd name="T3" fmla="*/ 2498 h 2997"/>
              <a:gd name="T4" fmla="*/ 434 w 2232"/>
              <a:gd name="T5" fmla="*/ 2348 h 2997"/>
              <a:gd name="T6" fmla="*/ 506 w 2232"/>
              <a:gd name="T7" fmla="*/ 2180 h 2997"/>
              <a:gd name="T8" fmla="*/ 578 w 2232"/>
              <a:gd name="T9" fmla="*/ 2040 h 2997"/>
              <a:gd name="T10" fmla="*/ 606 w 2232"/>
              <a:gd name="T11" fmla="*/ 1992 h 2997"/>
              <a:gd name="T12" fmla="*/ 752 w 2232"/>
              <a:gd name="T13" fmla="*/ 1764 h 2997"/>
              <a:gd name="T14" fmla="*/ 890 w 2232"/>
              <a:gd name="T15" fmla="*/ 1575 h 2997"/>
              <a:gd name="T16" fmla="*/ 1018 w 2232"/>
              <a:gd name="T17" fmla="*/ 1423 h 2997"/>
              <a:gd name="T18" fmla="*/ 1132 w 2232"/>
              <a:gd name="T19" fmla="*/ 1303 h 2997"/>
              <a:gd name="T20" fmla="*/ 1228 w 2232"/>
              <a:gd name="T21" fmla="*/ 1215 h 2997"/>
              <a:gd name="T22" fmla="*/ 1302 w 2232"/>
              <a:gd name="T23" fmla="*/ 1155 h 2997"/>
              <a:gd name="T24" fmla="*/ 1366 w 2232"/>
              <a:gd name="T25" fmla="*/ 1111 h 2997"/>
              <a:gd name="T26" fmla="*/ 2232 w 2232"/>
              <a:gd name="T27" fmla="*/ 0 h 2997"/>
              <a:gd name="T28" fmla="*/ 924 w 2232"/>
              <a:gd name="T29" fmla="*/ 679 h 2997"/>
              <a:gd name="T30" fmla="*/ 896 w 2232"/>
              <a:gd name="T31" fmla="*/ 703 h 2997"/>
              <a:gd name="T32" fmla="*/ 768 w 2232"/>
              <a:gd name="T33" fmla="*/ 821 h 2997"/>
              <a:gd name="T34" fmla="*/ 644 w 2232"/>
              <a:gd name="T35" fmla="*/ 947 h 2997"/>
              <a:gd name="T36" fmla="*/ 502 w 2232"/>
              <a:gd name="T37" fmla="*/ 1101 h 2997"/>
              <a:gd name="T38" fmla="*/ 356 w 2232"/>
              <a:gd name="T39" fmla="*/ 1279 h 2997"/>
              <a:gd name="T40" fmla="*/ 252 w 2232"/>
              <a:gd name="T41" fmla="*/ 1425 h 2997"/>
              <a:gd name="T42" fmla="*/ 186 w 2232"/>
              <a:gd name="T43" fmla="*/ 1525 h 2997"/>
              <a:gd name="T44" fmla="*/ 128 w 2232"/>
              <a:gd name="T45" fmla="*/ 1629 h 2997"/>
              <a:gd name="T46" fmla="*/ 76 w 2232"/>
              <a:gd name="T47" fmla="*/ 1734 h 2997"/>
              <a:gd name="T48" fmla="*/ 54 w 2232"/>
              <a:gd name="T49" fmla="*/ 1788 h 2997"/>
              <a:gd name="T50" fmla="*/ 30 w 2232"/>
              <a:gd name="T51" fmla="*/ 1858 h 2997"/>
              <a:gd name="T52" fmla="*/ 12 w 2232"/>
              <a:gd name="T53" fmla="*/ 1930 h 2997"/>
              <a:gd name="T54" fmla="*/ 4 w 2232"/>
              <a:gd name="T55" fmla="*/ 2002 h 2997"/>
              <a:gd name="T56" fmla="*/ 0 w 2232"/>
              <a:gd name="T57" fmla="*/ 2072 h 2997"/>
              <a:gd name="T58" fmla="*/ 2 w 2232"/>
              <a:gd name="T59" fmla="*/ 2144 h 2997"/>
              <a:gd name="T60" fmla="*/ 10 w 2232"/>
              <a:gd name="T61" fmla="*/ 2212 h 2997"/>
              <a:gd name="T62" fmla="*/ 38 w 2232"/>
              <a:gd name="T63" fmla="*/ 2348 h 2997"/>
              <a:gd name="T64" fmla="*/ 82 w 2232"/>
              <a:gd name="T65" fmla="*/ 2478 h 2997"/>
              <a:gd name="T66" fmla="*/ 134 w 2232"/>
              <a:gd name="T67" fmla="*/ 2598 h 2997"/>
              <a:gd name="T68" fmla="*/ 192 w 2232"/>
              <a:gd name="T69" fmla="*/ 2708 h 2997"/>
              <a:gd name="T70" fmla="*/ 250 w 2232"/>
              <a:gd name="T71" fmla="*/ 2802 h 2997"/>
              <a:gd name="T72" fmla="*/ 280 w 2232"/>
              <a:gd name="T73" fmla="*/ 2845 h 2997"/>
              <a:gd name="T74" fmla="*/ 352 w 2232"/>
              <a:gd name="T75" fmla="*/ 2945 h 2997"/>
              <a:gd name="T76" fmla="*/ 396 w 2232"/>
              <a:gd name="T77" fmla="*/ 2997 h 2997"/>
              <a:gd name="T78" fmla="*/ 386 w 2232"/>
              <a:gd name="T79" fmla="*/ 2975 h 2997"/>
              <a:gd name="T80" fmla="*/ 368 w 2232"/>
              <a:gd name="T81" fmla="*/ 2905 h 2997"/>
              <a:gd name="T82" fmla="*/ 356 w 2232"/>
              <a:gd name="T83" fmla="*/ 2822 h 2997"/>
              <a:gd name="T84" fmla="*/ 354 w 2232"/>
              <a:gd name="T85" fmla="*/ 2754 h 2997"/>
              <a:gd name="T86" fmla="*/ 358 w 2232"/>
              <a:gd name="T87" fmla="*/ 2672 h 2997"/>
              <a:gd name="T88" fmla="*/ 364 w 2232"/>
              <a:gd name="T89" fmla="*/ 2628 h 29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32" h="2997">
                <a:moveTo>
                  <a:pt x="364" y="2628"/>
                </a:moveTo>
                <a:lnTo>
                  <a:pt x="364" y="2628"/>
                </a:lnTo>
                <a:lnTo>
                  <a:pt x="374" y="2566"/>
                </a:lnTo>
                <a:lnTo>
                  <a:pt x="388" y="2498"/>
                </a:lnTo>
                <a:lnTo>
                  <a:pt x="408" y="2426"/>
                </a:lnTo>
                <a:lnTo>
                  <a:pt x="434" y="2348"/>
                </a:lnTo>
                <a:lnTo>
                  <a:pt x="466" y="2266"/>
                </a:lnTo>
                <a:lnTo>
                  <a:pt x="506" y="2180"/>
                </a:lnTo>
                <a:lnTo>
                  <a:pt x="552" y="2088"/>
                </a:lnTo>
                <a:lnTo>
                  <a:pt x="578" y="2040"/>
                </a:lnTo>
                <a:lnTo>
                  <a:pt x="606" y="1992"/>
                </a:lnTo>
                <a:lnTo>
                  <a:pt x="606" y="1992"/>
                </a:lnTo>
                <a:lnTo>
                  <a:pt x="680" y="1872"/>
                </a:lnTo>
                <a:lnTo>
                  <a:pt x="752" y="1764"/>
                </a:lnTo>
                <a:lnTo>
                  <a:pt x="822" y="1665"/>
                </a:lnTo>
                <a:lnTo>
                  <a:pt x="890" y="1575"/>
                </a:lnTo>
                <a:lnTo>
                  <a:pt x="956" y="1495"/>
                </a:lnTo>
                <a:lnTo>
                  <a:pt x="1018" y="1423"/>
                </a:lnTo>
                <a:lnTo>
                  <a:pt x="1078" y="1359"/>
                </a:lnTo>
                <a:lnTo>
                  <a:pt x="1132" y="1303"/>
                </a:lnTo>
                <a:lnTo>
                  <a:pt x="1184" y="1255"/>
                </a:lnTo>
                <a:lnTo>
                  <a:pt x="1228" y="1215"/>
                </a:lnTo>
                <a:lnTo>
                  <a:pt x="1268" y="1183"/>
                </a:lnTo>
                <a:lnTo>
                  <a:pt x="1302" y="1155"/>
                </a:lnTo>
                <a:lnTo>
                  <a:pt x="1350" y="1123"/>
                </a:lnTo>
                <a:lnTo>
                  <a:pt x="1366" y="1111"/>
                </a:lnTo>
                <a:lnTo>
                  <a:pt x="1476" y="1413"/>
                </a:lnTo>
                <a:lnTo>
                  <a:pt x="2232" y="0"/>
                </a:lnTo>
                <a:lnTo>
                  <a:pt x="676" y="536"/>
                </a:lnTo>
                <a:lnTo>
                  <a:pt x="924" y="679"/>
                </a:lnTo>
                <a:lnTo>
                  <a:pt x="924" y="679"/>
                </a:lnTo>
                <a:lnTo>
                  <a:pt x="896" y="703"/>
                </a:lnTo>
                <a:lnTo>
                  <a:pt x="820" y="773"/>
                </a:lnTo>
                <a:lnTo>
                  <a:pt x="768" y="821"/>
                </a:lnTo>
                <a:lnTo>
                  <a:pt x="710" y="879"/>
                </a:lnTo>
                <a:lnTo>
                  <a:pt x="644" y="947"/>
                </a:lnTo>
                <a:lnTo>
                  <a:pt x="574" y="1019"/>
                </a:lnTo>
                <a:lnTo>
                  <a:pt x="502" y="1101"/>
                </a:lnTo>
                <a:lnTo>
                  <a:pt x="430" y="1187"/>
                </a:lnTo>
                <a:lnTo>
                  <a:pt x="356" y="1279"/>
                </a:lnTo>
                <a:lnTo>
                  <a:pt x="286" y="1375"/>
                </a:lnTo>
                <a:lnTo>
                  <a:pt x="252" y="1425"/>
                </a:lnTo>
                <a:lnTo>
                  <a:pt x="218" y="1475"/>
                </a:lnTo>
                <a:lnTo>
                  <a:pt x="186" y="1525"/>
                </a:lnTo>
                <a:lnTo>
                  <a:pt x="156" y="1577"/>
                </a:lnTo>
                <a:lnTo>
                  <a:pt x="128" y="1629"/>
                </a:lnTo>
                <a:lnTo>
                  <a:pt x="100" y="1683"/>
                </a:lnTo>
                <a:lnTo>
                  <a:pt x="76" y="1734"/>
                </a:lnTo>
                <a:lnTo>
                  <a:pt x="54" y="1788"/>
                </a:lnTo>
                <a:lnTo>
                  <a:pt x="54" y="1788"/>
                </a:lnTo>
                <a:lnTo>
                  <a:pt x="40" y="1824"/>
                </a:lnTo>
                <a:lnTo>
                  <a:pt x="30" y="1858"/>
                </a:lnTo>
                <a:lnTo>
                  <a:pt x="20" y="1894"/>
                </a:lnTo>
                <a:lnTo>
                  <a:pt x="12" y="1930"/>
                </a:lnTo>
                <a:lnTo>
                  <a:pt x="8" y="1966"/>
                </a:lnTo>
                <a:lnTo>
                  <a:pt x="4" y="2002"/>
                </a:lnTo>
                <a:lnTo>
                  <a:pt x="0" y="2038"/>
                </a:lnTo>
                <a:lnTo>
                  <a:pt x="0" y="2072"/>
                </a:lnTo>
                <a:lnTo>
                  <a:pt x="0" y="2108"/>
                </a:lnTo>
                <a:lnTo>
                  <a:pt x="2" y="2144"/>
                </a:lnTo>
                <a:lnTo>
                  <a:pt x="6" y="2178"/>
                </a:lnTo>
                <a:lnTo>
                  <a:pt x="10" y="2212"/>
                </a:lnTo>
                <a:lnTo>
                  <a:pt x="22" y="2282"/>
                </a:lnTo>
                <a:lnTo>
                  <a:pt x="38" y="2348"/>
                </a:lnTo>
                <a:lnTo>
                  <a:pt x="58" y="2414"/>
                </a:lnTo>
                <a:lnTo>
                  <a:pt x="82" y="2478"/>
                </a:lnTo>
                <a:lnTo>
                  <a:pt x="108" y="2540"/>
                </a:lnTo>
                <a:lnTo>
                  <a:pt x="134" y="2598"/>
                </a:lnTo>
                <a:lnTo>
                  <a:pt x="164" y="2654"/>
                </a:lnTo>
                <a:lnTo>
                  <a:pt x="192" y="2708"/>
                </a:lnTo>
                <a:lnTo>
                  <a:pt x="222" y="2756"/>
                </a:lnTo>
                <a:lnTo>
                  <a:pt x="250" y="2802"/>
                </a:lnTo>
                <a:lnTo>
                  <a:pt x="250" y="2802"/>
                </a:lnTo>
                <a:lnTo>
                  <a:pt x="280" y="2845"/>
                </a:lnTo>
                <a:lnTo>
                  <a:pt x="306" y="2883"/>
                </a:lnTo>
                <a:lnTo>
                  <a:pt x="352" y="2945"/>
                </a:lnTo>
                <a:lnTo>
                  <a:pt x="384" y="2983"/>
                </a:lnTo>
                <a:lnTo>
                  <a:pt x="396" y="2997"/>
                </a:lnTo>
                <a:lnTo>
                  <a:pt x="396" y="2997"/>
                </a:lnTo>
                <a:lnTo>
                  <a:pt x="386" y="2975"/>
                </a:lnTo>
                <a:lnTo>
                  <a:pt x="376" y="2945"/>
                </a:lnTo>
                <a:lnTo>
                  <a:pt x="368" y="2905"/>
                </a:lnTo>
                <a:lnTo>
                  <a:pt x="358" y="2853"/>
                </a:lnTo>
                <a:lnTo>
                  <a:pt x="356" y="2822"/>
                </a:lnTo>
                <a:lnTo>
                  <a:pt x="354" y="2790"/>
                </a:lnTo>
                <a:lnTo>
                  <a:pt x="354" y="2754"/>
                </a:lnTo>
                <a:lnTo>
                  <a:pt x="354" y="2714"/>
                </a:lnTo>
                <a:lnTo>
                  <a:pt x="358" y="2672"/>
                </a:lnTo>
                <a:lnTo>
                  <a:pt x="364" y="2628"/>
                </a:lnTo>
                <a:lnTo>
                  <a:pt x="364" y="2628"/>
                </a:lnTo>
                <a:close/>
              </a:path>
            </a:pathLst>
          </a:custGeom>
          <a:solidFill>
            <a:srgbClr val="D4E458"/>
          </a:solidFill>
          <a:ln>
            <a:noFill/>
          </a:ln>
        </p:spPr>
        <p:txBody>
          <a:bodyPr vert="horz" wrap="square" lIns="91440" tIns="45720" rIns="91440" bIns="45720" numCol="1" anchor="t" anchorCtr="0" compatLnSpc="1">
            <a:prstTxWarp prst="textNoShape">
              <a:avLst/>
            </a:prstTxWarp>
          </a:bodyPr>
          <a:lstStyle/>
          <a:p>
            <a:endParaRPr lang="de-DE" dirty="0">
              <a:latin typeface="Arial" panose="020B0604020202020204" pitchFamily="34" charset="0"/>
              <a:cs typeface="Arial" panose="020B0604020202020204" pitchFamily="34" charset="0"/>
            </a:endParaRPr>
          </a:p>
        </p:txBody>
      </p:sp>
      <p:sp>
        <p:nvSpPr>
          <p:cNvPr id="570" name="Rechteck 569">
            <a:hlinkClick r:id="rId22" action="ppaction://hlinksldjump"/>
            <a:extLst>
              <a:ext uri="{FF2B5EF4-FFF2-40B4-BE49-F238E27FC236}">
                <a16:creationId xmlns:a16="http://schemas.microsoft.com/office/drawing/2014/main" id="{8C59A74F-2750-1A4A-8148-A665E298B2EF}"/>
              </a:ext>
            </a:extLst>
          </p:cNvPr>
          <p:cNvSpPr/>
          <p:nvPr/>
        </p:nvSpPr>
        <p:spPr>
          <a:xfrm>
            <a:off x="11928646" y="0"/>
            <a:ext cx="263352" cy="104910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endParaRPr lang="de-DE" sz="1600" dirty="0">
              <a:solidFill>
                <a:schemeClr val="bg1"/>
              </a:solidFill>
            </a:endParaRPr>
          </a:p>
        </p:txBody>
      </p:sp>
    </p:spTree>
    <p:extLst>
      <p:ext uri="{BB962C8B-B14F-4D97-AF65-F5344CB8AC3E}">
        <p14:creationId xmlns:p14="http://schemas.microsoft.com/office/powerpoint/2010/main" val="137762700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84AD806E-1676-6D74-8CB1-4B2F5FEFEFA9}"/>
            </a:ext>
          </a:extLst>
        </p:cNvPr>
        <p:cNvGrpSpPr/>
        <p:nvPr/>
      </p:nvGrpSpPr>
      <p:grpSpPr>
        <a:xfrm>
          <a:off x="0" y="0"/>
          <a:ext cx="0" cy="0"/>
          <a:chOff x="0" y="0"/>
          <a:chExt cx="0" cy="0"/>
        </a:xfrm>
      </p:grpSpPr>
      <p:sp>
        <p:nvSpPr>
          <p:cNvPr id="2" name="Titolo 1">
            <a:extLst>
              <a:ext uri="{FF2B5EF4-FFF2-40B4-BE49-F238E27FC236}">
                <a16:creationId xmlns:a16="http://schemas.microsoft.com/office/drawing/2014/main" id="{ED969B7C-F142-EAD7-C0E2-0C24AF432E72}"/>
              </a:ext>
            </a:extLst>
          </p:cNvPr>
          <p:cNvSpPr>
            <a:spLocks noGrp="1"/>
          </p:cNvSpPr>
          <p:nvPr>
            <p:ph type="title"/>
          </p:nvPr>
        </p:nvSpPr>
        <p:spPr/>
        <p:txBody>
          <a:bodyPr/>
          <a:lstStyle/>
          <a:p>
            <a:r>
              <a:rPr lang="it-IT" dirty="0"/>
              <a:t>CONTESTO NORMATIVO</a:t>
            </a:r>
          </a:p>
        </p:txBody>
      </p:sp>
      <p:sp>
        <p:nvSpPr>
          <p:cNvPr id="3" name="Segnaposto numero diapositiva 2">
            <a:extLst>
              <a:ext uri="{FF2B5EF4-FFF2-40B4-BE49-F238E27FC236}">
                <a16:creationId xmlns:a16="http://schemas.microsoft.com/office/drawing/2014/main" id="{7C45D7C4-8CEE-1CBE-80D4-A885D5F7FBC6}"/>
              </a:ext>
            </a:extLst>
          </p:cNvPr>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4CFEB0D3-1EB3-4F08-8062-95FFB9749870}" type="slidenum">
              <a:rPr kumimoji="0" lang="de-DE" sz="1100" b="0" i="0" u="none" strike="noStrike" kern="1200" cap="none" spc="0" normalizeH="0" baseline="0" noProof="0" smtClean="0">
                <a:ln>
                  <a:noFill/>
                </a:ln>
                <a:solidFill>
                  <a:prstClr val="black"/>
                </a:solidFill>
                <a:effectLst/>
                <a:uLnTx/>
                <a:uFillTx/>
                <a:latin typeface="GT America" panose="00000500000000000000" pitchFamily="2" charset="0"/>
                <a:ea typeface="+mn-ea"/>
                <a:sym typeface="GT America" panose="00000500000000000000"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4</a:t>
            </a:fld>
            <a:endParaRPr kumimoji="0" lang="de-DE" sz="1100" b="0" i="0" u="none" strike="noStrike" kern="1200" cap="none" spc="0" normalizeH="0" baseline="0" noProof="0" dirty="0">
              <a:ln>
                <a:noFill/>
              </a:ln>
              <a:solidFill>
                <a:prstClr val="black"/>
              </a:solidFill>
              <a:effectLst/>
              <a:uLnTx/>
              <a:uFillTx/>
              <a:latin typeface="GT America" panose="00000500000000000000" pitchFamily="2" charset="0"/>
              <a:ea typeface="+mn-ea"/>
              <a:sym typeface="GT America" panose="00000500000000000000" pitchFamily="2" charset="0"/>
            </a:endParaRPr>
          </a:p>
        </p:txBody>
      </p:sp>
      <p:graphicFrame>
        <p:nvGraphicFramePr>
          <p:cNvPr id="4" name="Diagramma 3">
            <a:extLst>
              <a:ext uri="{FF2B5EF4-FFF2-40B4-BE49-F238E27FC236}">
                <a16:creationId xmlns:a16="http://schemas.microsoft.com/office/drawing/2014/main" id="{E884E949-F93F-557B-0C47-B7F684DA1B4B}"/>
              </a:ext>
            </a:extLst>
          </p:cNvPr>
          <p:cNvGraphicFramePr/>
          <p:nvPr>
            <p:extLst>
              <p:ext uri="{D42A27DB-BD31-4B8C-83A1-F6EECF244321}">
                <p14:modId xmlns:p14="http://schemas.microsoft.com/office/powerpoint/2010/main" val="2246354894"/>
              </p:ext>
            </p:extLst>
          </p:nvPr>
        </p:nvGraphicFramePr>
        <p:xfrm>
          <a:off x="753898" y="1323974"/>
          <a:ext cx="10684205" cy="5381625"/>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42087553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B491A02-3D2D-9622-F196-35472BD615C5}"/>
              </a:ext>
            </a:extLst>
          </p:cNvPr>
          <p:cNvSpPr>
            <a:spLocks noGrp="1"/>
          </p:cNvSpPr>
          <p:nvPr>
            <p:ph type="title"/>
          </p:nvPr>
        </p:nvSpPr>
        <p:spPr/>
        <p:txBody>
          <a:bodyPr/>
          <a:lstStyle/>
          <a:p>
            <a:r>
              <a:rPr lang="it-IT" dirty="0"/>
              <a:t>OBIETTIVI</a:t>
            </a:r>
          </a:p>
        </p:txBody>
      </p:sp>
      <p:sp>
        <p:nvSpPr>
          <p:cNvPr id="3" name="Segnaposto numero diapositiva 2">
            <a:extLst>
              <a:ext uri="{FF2B5EF4-FFF2-40B4-BE49-F238E27FC236}">
                <a16:creationId xmlns:a16="http://schemas.microsoft.com/office/drawing/2014/main" id="{CD2618E4-D850-3581-9040-04AACC4EC554}"/>
              </a:ext>
            </a:extLst>
          </p:cNvPr>
          <p:cNvSpPr>
            <a:spLocks noGrp="1"/>
          </p:cNvSpPr>
          <p:nvPr>
            <p:ph type="sldNum" sz="quarter" idx="10"/>
          </p:nvPr>
        </p:nvSpPr>
        <p:spPr/>
        <p:txBody>
          <a:bodyPr/>
          <a:lstStyle/>
          <a:p>
            <a:pPr algn="ctr"/>
            <a:fld id="{4CFEB0D3-1EB3-4F08-8062-95FFB9749870}" type="slidenum">
              <a:rPr lang="de-DE" smtClean="0"/>
              <a:pPr algn="ctr"/>
              <a:t>5</a:t>
            </a:fld>
            <a:endParaRPr lang="de-DE" dirty="0"/>
          </a:p>
        </p:txBody>
      </p:sp>
      <p:pic>
        <p:nvPicPr>
          <p:cNvPr id="5" name="Immagine 4" descr="Immagine che contiene Arte bambini, clipart, disegno, illustrazione&#10;&#10;Descrizione generata automaticamente">
            <a:extLst>
              <a:ext uri="{FF2B5EF4-FFF2-40B4-BE49-F238E27FC236}">
                <a16:creationId xmlns:a16="http://schemas.microsoft.com/office/drawing/2014/main" id="{2CF4E792-BDDA-051B-57ED-7A984273D622}"/>
              </a:ext>
            </a:extLst>
          </p:cNvPr>
          <p:cNvPicPr>
            <a:picLocks noChangeAspect="1"/>
          </p:cNvPicPr>
          <p:nvPr/>
        </p:nvPicPr>
        <p:blipFill>
          <a:blip r:embed="rId2"/>
          <a:stretch>
            <a:fillRect/>
          </a:stretch>
        </p:blipFill>
        <p:spPr>
          <a:xfrm>
            <a:off x="7392404" y="2937039"/>
            <a:ext cx="1445792" cy="2149311"/>
          </a:xfrm>
          <a:prstGeom prst="rect">
            <a:avLst/>
          </a:prstGeom>
        </p:spPr>
      </p:pic>
      <p:graphicFrame>
        <p:nvGraphicFramePr>
          <p:cNvPr id="7" name="Diagramma 6">
            <a:extLst>
              <a:ext uri="{FF2B5EF4-FFF2-40B4-BE49-F238E27FC236}">
                <a16:creationId xmlns:a16="http://schemas.microsoft.com/office/drawing/2014/main" id="{63E540EE-8511-959F-F550-208CB847D9D8}"/>
              </a:ext>
            </a:extLst>
          </p:cNvPr>
          <p:cNvGraphicFramePr/>
          <p:nvPr>
            <p:extLst>
              <p:ext uri="{D42A27DB-BD31-4B8C-83A1-F6EECF244321}">
                <p14:modId xmlns:p14="http://schemas.microsoft.com/office/powerpoint/2010/main" val="429842543"/>
              </p:ext>
            </p:extLst>
          </p:nvPr>
        </p:nvGraphicFramePr>
        <p:xfrm>
          <a:off x="2579688" y="1246880"/>
          <a:ext cx="11071225" cy="5334761"/>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8" name="CasellaDiTesto 7">
            <a:extLst>
              <a:ext uri="{FF2B5EF4-FFF2-40B4-BE49-F238E27FC236}">
                <a16:creationId xmlns:a16="http://schemas.microsoft.com/office/drawing/2014/main" id="{BA79C90D-37E2-6AE1-389D-655DCBFFDDA1}"/>
              </a:ext>
            </a:extLst>
          </p:cNvPr>
          <p:cNvSpPr txBox="1"/>
          <p:nvPr/>
        </p:nvSpPr>
        <p:spPr>
          <a:xfrm>
            <a:off x="603250" y="1509755"/>
            <a:ext cx="3952875" cy="4437112"/>
          </a:xfrm>
          <a:prstGeom prst="rect">
            <a:avLst/>
          </a:prstGeom>
          <a:noFill/>
        </p:spPr>
        <p:txBody>
          <a:bodyPr wrap="square" lIns="0" tIns="0" rIns="0" bIns="0" rtlCol="0">
            <a:spAutoFit/>
          </a:bodyPr>
          <a:lstStyle/>
          <a:p>
            <a:pPr defTabSz="914400" rtl="0" eaLnBrk="1" latinLnBrk="0" hangingPunct="1">
              <a:spcBef>
                <a:spcPts val="500"/>
              </a:spcBef>
            </a:pPr>
            <a:r>
              <a:rPr lang="it-IT" sz="2000" dirty="0"/>
              <a:t>Il Regolamento ESPR introduce il principio secondo il quale i prodotti dovranno essere progettati in modo tale da garantire il rispetto dei requisiti di «</a:t>
            </a:r>
            <a:r>
              <a:rPr lang="it-IT" sz="2000" b="1" dirty="0"/>
              <a:t>sostenibilità</a:t>
            </a:r>
            <a:r>
              <a:rPr lang="it-IT" sz="2000" dirty="0"/>
              <a:t>», per ridurre l'impronta di carbonio e l'impronta ambientale complessive nel corso del loro ciclo di vita.</a:t>
            </a:r>
          </a:p>
          <a:p>
            <a:pPr marL="342900" indent="-342900" defTabSz="914400" rtl="0" eaLnBrk="1" latinLnBrk="0" hangingPunct="1">
              <a:spcBef>
                <a:spcPts val="500"/>
              </a:spcBef>
              <a:buFont typeface="Wingdings" panose="05000000000000000000" pitchFamily="2" charset="2"/>
              <a:buChar char="à"/>
            </a:pPr>
            <a:r>
              <a:rPr lang="it-IT" sz="2000" b="1" dirty="0">
                <a:sym typeface="Wingdings" panose="05000000000000000000" pitchFamily="2" charset="2"/>
              </a:rPr>
              <a:t>D</a:t>
            </a:r>
            <a:r>
              <a:rPr lang="it-IT" sz="2000" b="1" kern="1200" dirty="0">
                <a:latin typeface="+mn-lt"/>
                <a:ea typeface="+mn-ea"/>
                <a:cs typeface="+mn-cs"/>
              </a:rPr>
              <a:t>urabilità</a:t>
            </a:r>
            <a:r>
              <a:rPr lang="it-IT" sz="2000" kern="1200" dirty="0">
                <a:latin typeface="+mn-lt"/>
                <a:ea typeface="+mn-ea"/>
                <a:cs typeface="+mn-cs"/>
              </a:rPr>
              <a:t>,</a:t>
            </a:r>
            <a:r>
              <a:rPr lang="it-IT" sz="2000" b="1" kern="1200" dirty="0">
                <a:latin typeface="+mn-lt"/>
                <a:ea typeface="+mn-ea"/>
                <a:cs typeface="+mn-cs"/>
              </a:rPr>
              <a:t> riparabilità </a:t>
            </a:r>
            <a:r>
              <a:rPr lang="it-IT" sz="2000" kern="1200" dirty="0">
                <a:latin typeface="+mn-lt"/>
                <a:ea typeface="+mn-ea"/>
                <a:cs typeface="+mn-cs"/>
              </a:rPr>
              <a:t>e </a:t>
            </a:r>
            <a:r>
              <a:rPr lang="it-IT" sz="2000" b="1" kern="1200" dirty="0">
                <a:latin typeface="+mn-lt"/>
                <a:ea typeface="+mn-ea"/>
                <a:cs typeface="+mn-cs"/>
              </a:rPr>
              <a:t>riciclabilità </a:t>
            </a:r>
            <a:r>
              <a:rPr lang="it-IT" sz="2000" kern="1200" dirty="0">
                <a:latin typeface="+mn-lt"/>
                <a:ea typeface="+mn-ea"/>
                <a:cs typeface="+mn-cs"/>
              </a:rPr>
              <a:t>dei prodotti</a:t>
            </a:r>
            <a:endParaRPr lang="it-IT" sz="2000" b="1" kern="1200" dirty="0">
              <a:latin typeface="+mn-lt"/>
              <a:ea typeface="+mn-ea"/>
              <a:cs typeface="+mn-cs"/>
            </a:endParaRPr>
          </a:p>
          <a:p>
            <a:pPr marL="342900" indent="-342900" defTabSz="914400" rtl="0" eaLnBrk="1" latinLnBrk="0" hangingPunct="1">
              <a:spcBef>
                <a:spcPts val="500"/>
              </a:spcBef>
              <a:buFont typeface="Wingdings" panose="05000000000000000000" pitchFamily="2" charset="2"/>
              <a:buChar char="à"/>
            </a:pPr>
            <a:r>
              <a:rPr lang="it-IT" sz="2000" b="1" kern="1200" dirty="0">
                <a:latin typeface="+mn-lt"/>
                <a:ea typeface="+mn-ea"/>
                <a:cs typeface="+mn-cs"/>
              </a:rPr>
              <a:t>Trasparenza</a:t>
            </a:r>
            <a:r>
              <a:rPr lang="it-IT" sz="2000" kern="1200" dirty="0">
                <a:latin typeface="+mn-lt"/>
                <a:ea typeface="+mn-ea"/>
                <a:cs typeface="+mn-cs"/>
              </a:rPr>
              <a:t>, </a:t>
            </a:r>
            <a:r>
              <a:rPr lang="it-IT" sz="2000" b="1" kern="1200" dirty="0">
                <a:latin typeface="+mn-lt"/>
                <a:ea typeface="+mn-ea"/>
                <a:cs typeface="+mn-cs"/>
              </a:rPr>
              <a:t>tracciabilità</a:t>
            </a:r>
            <a:r>
              <a:rPr lang="it-IT" sz="2000" kern="1200" dirty="0">
                <a:latin typeface="+mn-lt"/>
                <a:ea typeface="+mn-ea"/>
                <a:cs typeface="+mn-cs"/>
              </a:rPr>
              <a:t> e </a:t>
            </a:r>
            <a:r>
              <a:rPr lang="it-IT" sz="2000" b="1" kern="1200" dirty="0">
                <a:latin typeface="+mn-lt"/>
                <a:ea typeface="+mn-ea"/>
                <a:cs typeface="+mn-cs"/>
              </a:rPr>
              <a:t>accessibilità</a:t>
            </a:r>
            <a:r>
              <a:rPr lang="it-IT" sz="2000" kern="1200" dirty="0">
                <a:latin typeface="+mn-lt"/>
                <a:ea typeface="+mn-ea"/>
                <a:cs typeface="+mn-cs"/>
              </a:rPr>
              <a:t>, lungo l’intera catena del valore</a:t>
            </a:r>
          </a:p>
        </p:txBody>
      </p:sp>
    </p:spTree>
    <p:extLst>
      <p:ext uri="{BB962C8B-B14F-4D97-AF65-F5344CB8AC3E}">
        <p14:creationId xmlns:p14="http://schemas.microsoft.com/office/powerpoint/2010/main" val="193467595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7E2FBF67-023F-F3BF-0ACA-8D02CE716ED9}"/>
            </a:ext>
          </a:extLst>
        </p:cNvPr>
        <p:cNvGrpSpPr/>
        <p:nvPr/>
      </p:nvGrpSpPr>
      <p:grpSpPr>
        <a:xfrm>
          <a:off x="0" y="0"/>
          <a:ext cx="0" cy="0"/>
          <a:chOff x="0" y="0"/>
          <a:chExt cx="0" cy="0"/>
        </a:xfrm>
      </p:grpSpPr>
      <p:sp>
        <p:nvSpPr>
          <p:cNvPr id="2" name="Titolo 1">
            <a:extLst>
              <a:ext uri="{FF2B5EF4-FFF2-40B4-BE49-F238E27FC236}">
                <a16:creationId xmlns:a16="http://schemas.microsoft.com/office/drawing/2014/main" id="{82016045-7D14-49BF-737D-700E6353CD7E}"/>
              </a:ext>
            </a:extLst>
          </p:cNvPr>
          <p:cNvSpPr>
            <a:spLocks noGrp="1"/>
          </p:cNvSpPr>
          <p:nvPr>
            <p:ph type="title"/>
          </p:nvPr>
        </p:nvSpPr>
        <p:spPr/>
        <p:txBody>
          <a:bodyPr/>
          <a:lstStyle/>
          <a:p>
            <a:r>
              <a:rPr lang="it-IT" dirty="0"/>
              <a:t>TIMELINE </a:t>
            </a:r>
          </a:p>
        </p:txBody>
      </p:sp>
      <p:sp>
        <p:nvSpPr>
          <p:cNvPr id="3" name="Segnaposto numero diapositiva 2">
            <a:extLst>
              <a:ext uri="{FF2B5EF4-FFF2-40B4-BE49-F238E27FC236}">
                <a16:creationId xmlns:a16="http://schemas.microsoft.com/office/drawing/2014/main" id="{2FC5DDDA-3384-54B9-F84E-876A2B7652E2}"/>
              </a:ext>
            </a:extLst>
          </p:cNvPr>
          <p:cNvSpPr>
            <a:spLocks noGrp="1"/>
          </p:cNvSpPr>
          <p:nvPr>
            <p:ph type="sldNum" sz="quarter" idx="10"/>
          </p:nvPr>
        </p:nvSpPr>
        <p:spPr/>
        <p:txBody>
          <a:bodyPr/>
          <a:lstStyle/>
          <a:p>
            <a:pPr algn="ctr"/>
            <a:fld id="{4CFEB0D3-1EB3-4F08-8062-95FFB9749870}" type="slidenum">
              <a:rPr lang="de-DE" smtClean="0"/>
              <a:pPr algn="ctr"/>
              <a:t>6</a:t>
            </a:fld>
            <a:endParaRPr lang="de-DE" dirty="0"/>
          </a:p>
        </p:txBody>
      </p:sp>
      <p:graphicFrame>
        <p:nvGraphicFramePr>
          <p:cNvPr id="4" name="Diagramma 3">
            <a:extLst>
              <a:ext uri="{FF2B5EF4-FFF2-40B4-BE49-F238E27FC236}">
                <a16:creationId xmlns:a16="http://schemas.microsoft.com/office/drawing/2014/main" id="{C5D9B4C8-7447-CE71-DBF7-E7B0CBC0B5FF}"/>
              </a:ext>
            </a:extLst>
          </p:cNvPr>
          <p:cNvGraphicFramePr/>
          <p:nvPr>
            <p:extLst>
              <p:ext uri="{D42A27DB-BD31-4B8C-83A1-F6EECF244321}">
                <p14:modId xmlns:p14="http://schemas.microsoft.com/office/powerpoint/2010/main" val="2328422315"/>
              </p:ext>
            </p:extLst>
          </p:nvPr>
        </p:nvGraphicFramePr>
        <p:xfrm>
          <a:off x="828675" y="860601"/>
          <a:ext cx="10534650" cy="530013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cxnSp>
        <p:nvCxnSpPr>
          <p:cNvPr id="6" name="Connettore 2 5">
            <a:extLst>
              <a:ext uri="{FF2B5EF4-FFF2-40B4-BE49-F238E27FC236}">
                <a16:creationId xmlns:a16="http://schemas.microsoft.com/office/drawing/2014/main" id="{3807275C-2D39-5FDB-78C8-07B0C0617568}"/>
              </a:ext>
            </a:extLst>
          </p:cNvPr>
          <p:cNvCxnSpPr/>
          <p:nvPr/>
        </p:nvCxnSpPr>
        <p:spPr>
          <a:xfrm flipH="1">
            <a:off x="2679701" y="4943475"/>
            <a:ext cx="790575" cy="22860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8" name="Connettore 2 7">
            <a:extLst>
              <a:ext uri="{FF2B5EF4-FFF2-40B4-BE49-F238E27FC236}">
                <a16:creationId xmlns:a16="http://schemas.microsoft.com/office/drawing/2014/main" id="{65A25A20-8F13-9880-33AD-140E400A1378}"/>
              </a:ext>
            </a:extLst>
          </p:cNvPr>
          <p:cNvCxnSpPr/>
          <p:nvPr/>
        </p:nvCxnSpPr>
        <p:spPr>
          <a:xfrm>
            <a:off x="3819525" y="4943475"/>
            <a:ext cx="742950" cy="228600"/>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3" name="CasellaDiTesto 12">
            <a:extLst>
              <a:ext uri="{FF2B5EF4-FFF2-40B4-BE49-F238E27FC236}">
                <a16:creationId xmlns:a16="http://schemas.microsoft.com/office/drawing/2014/main" id="{271E4955-B22D-EABE-954C-5C500D78323C}"/>
              </a:ext>
            </a:extLst>
          </p:cNvPr>
          <p:cNvSpPr txBox="1"/>
          <p:nvPr/>
        </p:nvSpPr>
        <p:spPr>
          <a:xfrm>
            <a:off x="2019300" y="5364249"/>
            <a:ext cx="1695450" cy="646331"/>
          </a:xfrm>
          <a:prstGeom prst="rect">
            <a:avLst/>
          </a:prstGeom>
          <a:noFill/>
        </p:spPr>
        <p:txBody>
          <a:bodyPr wrap="square" lIns="0" tIns="0" rIns="0" bIns="0" rtlCol="0">
            <a:spAutoFit/>
          </a:bodyPr>
          <a:lstStyle/>
          <a:p>
            <a:pPr algn="l" defTabSz="914400" rtl="0" eaLnBrk="1" latinLnBrk="0" hangingPunct="1">
              <a:spcBef>
                <a:spcPts val="500"/>
              </a:spcBef>
            </a:pPr>
            <a:r>
              <a:rPr lang="it-IT" sz="1400" kern="1200" dirty="0">
                <a:solidFill>
                  <a:schemeClr val="tx2"/>
                </a:solidFill>
                <a:latin typeface="+mn-lt"/>
                <a:ea typeface="+mn-ea"/>
                <a:cs typeface="+mn-cs"/>
              </a:rPr>
              <a:t>Definizione requisiti di </a:t>
            </a:r>
            <a:r>
              <a:rPr lang="it-IT" sz="1400" b="1" kern="1200" dirty="0">
                <a:solidFill>
                  <a:schemeClr val="tx2"/>
                </a:solidFill>
                <a:latin typeface="+mn-lt"/>
                <a:ea typeface="+mn-ea"/>
                <a:cs typeface="+mn-cs"/>
              </a:rPr>
              <a:t>progettazione ecocompatibile</a:t>
            </a:r>
          </a:p>
        </p:txBody>
      </p:sp>
      <p:sp>
        <p:nvSpPr>
          <p:cNvPr id="14" name="CasellaDiTesto 13">
            <a:extLst>
              <a:ext uri="{FF2B5EF4-FFF2-40B4-BE49-F238E27FC236}">
                <a16:creationId xmlns:a16="http://schemas.microsoft.com/office/drawing/2014/main" id="{31FAF9E1-ACF9-C64F-A2C9-823473AF297D}"/>
              </a:ext>
            </a:extLst>
          </p:cNvPr>
          <p:cNvSpPr txBox="1"/>
          <p:nvPr/>
        </p:nvSpPr>
        <p:spPr>
          <a:xfrm>
            <a:off x="4057650" y="5364249"/>
            <a:ext cx="1695450" cy="1292662"/>
          </a:xfrm>
          <a:prstGeom prst="rect">
            <a:avLst/>
          </a:prstGeom>
          <a:noFill/>
        </p:spPr>
        <p:txBody>
          <a:bodyPr wrap="square" lIns="0" tIns="0" rIns="0" bIns="0" rtlCol="0">
            <a:spAutoFit/>
          </a:bodyPr>
          <a:lstStyle/>
          <a:p>
            <a:pPr algn="l" defTabSz="914400" rtl="0" eaLnBrk="1" latinLnBrk="0" hangingPunct="1">
              <a:spcBef>
                <a:spcPts val="500"/>
              </a:spcBef>
            </a:pPr>
            <a:r>
              <a:rPr lang="it-IT" sz="1400" kern="1200" dirty="0">
                <a:solidFill>
                  <a:schemeClr val="tx2"/>
                </a:solidFill>
                <a:latin typeface="+mn-lt"/>
                <a:ea typeface="+mn-ea"/>
                <a:cs typeface="+mn-cs"/>
              </a:rPr>
              <a:t>Definizione </a:t>
            </a:r>
            <a:r>
              <a:rPr lang="it-IT" sz="1400" b="1" kern="1200" dirty="0">
                <a:solidFill>
                  <a:schemeClr val="tx2"/>
                </a:solidFill>
                <a:latin typeface="+mn-lt"/>
                <a:ea typeface="+mn-ea"/>
                <a:cs typeface="+mn-cs"/>
              </a:rPr>
              <a:t>dettagli e formato</a:t>
            </a:r>
            <a:r>
              <a:rPr lang="it-IT" sz="1400" kern="1200" dirty="0">
                <a:solidFill>
                  <a:schemeClr val="tx2"/>
                </a:solidFill>
                <a:latin typeface="+mn-lt"/>
                <a:ea typeface="+mn-ea"/>
                <a:cs typeface="+mn-cs"/>
              </a:rPr>
              <a:t> per la divulgazione delle informazioni sui prodotti di consumo invenduti</a:t>
            </a:r>
            <a:endParaRPr lang="it-IT" sz="1400" b="1" kern="1200" dirty="0">
              <a:solidFill>
                <a:schemeClr val="tx2"/>
              </a:solidFill>
              <a:latin typeface="+mn-lt"/>
              <a:ea typeface="+mn-ea"/>
              <a:cs typeface="+mn-cs"/>
            </a:endParaRPr>
          </a:p>
        </p:txBody>
      </p:sp>
    </p:spTree>
    <p:extLst>
      <p:ext uri="{BB962C8B-B14F-4D97-AF65-F5344CB8AC3E}">
        <p14:creationId xmlns:p14="http://schemas.microsoft.com/office/powerpoint/2010/main" val="411499148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B491A02-3D2D-9622-F196-35472BD615C5}"/>
              </a:ext>
            </a:extLst>
          </p:cNvPr>
          <p:cNvSpPr>
            <a:spLocks noGrp="1"/>
          </p:cNvSpPr>
          <p:nvPr>
            <p:ph type="title"/>
          </p:nvPr>
        </p:nvSpPr>
        <p:spPr/>
        <p:txBody>
          <a:bodyPr/>
          <a:lstStyle/>
          <a:p>
            <a:r>
              <a:rPr lang="it-IT" dirty="0"/>
              <a:t>principali </a:t>
            </a:r>
            <a:r>
              <a:rPr lang="it-IT" dirty="0" err="1"/>
              <a:t>NOVITà</a:t>
            </a:r>
            <a:endParaRPr lang="it-IT" dirty="0"/>
          </a:p>
        </p:txBody>
      </p:sp>
      <p:sp>
        <p:nvSpPr>
          <p:cNvPr id="3" name="Segnaposto numero diapositiva 2">
            <a:extLst>
              <a:ext uri="{FF2B5EF4-FFF2-40B4-BE49-F238E27FC236}">
                <a16:creationId xmlns:a16="http://schemas.microsoft.com/office/drawing/2014/main" id="{CD2618E4-D850-3581-9040-04AACC4EC554}"/>
              </a:ext>
            </a:extLst>
          </p:cNvPr>
          <p:cNvSpPr>
            <a:spLocks noGrp="1"/>
          </p:cNvSpPr>
          <p:nvPr>
            <p:ph type="sldNum" sz="quarter" idx="10"/>
          </p:nvPr>
        </p:nvSpPr>
        <p:spPr/>
        <p:txBody>
          <a:bodyPr/>
          <a:lstStyle/>
          <a:p>
            <a:pPr algn="ctr"/>
            <a:fld id="{4CFEB0D3-1EB3-4F08-8062-95FFB9749870}" type="slidenum">
              <a:rPr lang="de-DE" smtClean="0"/>
              <a:pPr algn="ctr"/>
              <a:t>7</a:t>
            </a:fld>
            <a:endParaRPr lang="de-DE" dirty="0"/>
          </a:p>
        </p:txBody>
      </p:sp>
      <p:graphicFrame>
        <p:nvGraphicFramePr>
          <p:cNvPr id="8" name="Diagramma 7">
            <a:extLst>
              <a:ext uri="{FF2B5EF4-FFF2-40B4-BE49-F238E27FC236}">
                <a16:creationId xmlns:a16="http://schemas.microsoft.com/office/drawing/2014/main" id="{C746DEDC-181A-291F-72A3-FCE4C77F1584}"/>
              </a:ext>
            </a:extLst>
          </p:cNvPr>
          <p:cNvGraphicFramePr/>
          <p:nvPr>
            <p:extLst>
              <p:ext uri="{D42A27DB-BD31-4B8C-83A1-F6EECF244321}">
                <p14:modId xmlns:p14="http://schemas.microsoft.com/office/powerpoint/2010/main" val="1358367278"/>
              </p:ext>
            </p:extLst>
          </p:nvPr>
        </p:nvGraphicFramePr>
        <p:xfrm>
          <a:off x="1156758" y="1228726"/>
          <a:ext cx="9878484" cy="522446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2397520446"/>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B491A02-3D2D-9622-F196-35472BD615C5}"/>
              </a:ext>
            </a:extLst>
          </p:cNvPr>
          <p:cNvSpPr>
            <a:spLocks noGrp="1"/>
          </p:cNvSpPr>
          <p:nvPr>
            <p:ph type="title"/>
          </p:nvPr>
        </p:nvSpPr>
        <p:spPr/>
        <p:txBody>
          <a:bodyPr/>
          <a:lstStyle/>
          <a:p>
            <a:r>
              <a:rPr lang="it-IT" dirty="0"/>
              <a:t>ambito DI </a:t>
            </a:r>
            <a:r>
              <a:rPr lang="it-IT" dirty="0" err="1"/>
              <a:t>applicaZIONE</a:t>
            </a:r>
            <a:endParaRPr lang="it-IT" dirty="0"/>
          </a:p>
        </p:txBody>
      </p:sp>
      <p:sp>
        <p:nvSpPr>
          <p:cNvPr id="3" name="Segnaposto numero diapositiva 2">
            <a:extLst>
              <a:ext uri="{FF2B5EF4-FFF2-40B4-BE49-F238E27FC236}">
                <a16:creationId xmlns:a16="http://schemas.microsoft.com/office/drawing/2014/main" id="{CD2618E4-D850-3581-9040-04AACC4EC554}"/>
              </a:ext>
            </a:extLst>
          </p:cNvPr>
          <p:cNvSpPr>
            <a:spLocks noGrp="1"/>
          </p:cNvSpPr>
          <p:nvPr>
            <p:ph type="sldNum" sz="quarter" idx="10"/>
          </p:nvPr>
        </p:nvSpPr>
        <p:spPr/>
        <p:txBody>
          <a:bodyPr/>
          <a:lstStyle/>
          <a:p>
            <a:pPr algn="ctr"/>
            <a:fld id="{4CFEB0D3-1EB3-4F08-8062-95FFB9749870}" type="slidenum">
              <a:rPr lang="de-DE" smtClean="0"/>
              <a:pPr algn="ctr"/>
              <a:t>8</a:t>
            </a:fld>
            <a:endParaRPr lang="de-DE" dirty="0"/>
          </a:p>
        </p:txBody>
      </p:sp>
      <p:sp>
        <p:nvSpPr>
          <p:cNvPr id="17" name="Rettangolo con angoli arrotondati 16">
            <a:extLst>
              <a:ext uri="{FF2B5EF4-FFF2-40B4-BE49-F238E27FC236}">
                <a16:creationId xmlns:a16="http://schemas.microsoft.com/office/drawing/2014/main" id="{F6CAF96D-8746-B130-341F-CB7AE92F5651}"/>
              </a:ext>
            </a:extLst>
          </p:cNvPr>
          <p:cNvSpPr/>
          <p:nvPr/>
        </p:nvSpPr>
        <p:spPr>
          <a:xfrm>
            <a:off x="3279530" y="4191922"/>
            <a:ext cx="8245791" cy="1898025"/>
          </a:xfrm>
          <a:prstGeom prst="roundRect">
            <a:avLst/>
          </a:prstGeom>
          <a:solidFill>
            <a:srgbClr val="DDEE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endParaRPr lang="it-IT" sz="1600" dirty="0"/>
          </a:p>
          <a:p>
            <a:pPr lvl="0"/>
            <a:r>
              <a:rPr lang="it-IT" sz="2000" dirty="0">
                <a:solidFill>
                  <a:schemeClr val="tx1"/>
                </a:solidFill>
              </a:rPr>
              <a:t>Alimenti, mangime, medicinali (per uso umano o veterinario), piante, animali e microrganismi vivi, prodotti di origine umana, prodotti di piante e animali collegati direttamente alla loro futura riproduzione, alcune tipologie di veicoli individuate dal Regolamento ESPR.</a:t>
            </a:r>
          </a:p>
        </p:txBody>
      </p:sp>
      <p:sp>
        <p:nvSpPr>
          <p:cNvPr id="18" name="Rettangolo con angoli arrotondati 17">
            <a:extLst>
              <a:ext uri="{FF2B5EF4-FFF2-40B4-BE49-F238E27FC236}">
                <a16:creationId xmlns:a16="http://schemas.microsoft.com/office/drawing/2014/main" id="{16579708-8EDD-826C-A137-098732DFE6D1}"/>
              </a:ext>
            </a:extLst>
          </p:cNvPr>
          <p:cNvSpPr/>
          <p:nvPr/>
        </p:nvSpPr>
        <p:spPr>
          <a:xfrm>
            <a:off x="3464171" y="3977411"/>
            <a:ext cx="2751992" cy="396000"/>
          </a:xfrm>
          <a:prstGeom prst="roundRect">
            <a:avLst/>
          </a:prstGeom>
          <a:solidFill>
            <a:srgbClr val="5A6AA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r>
              <a:rPr lang="it-IT" sz="2000" dirty="0"/>
              <a:t>Esclusioni</a:t>
            </a:r>
            <a:endParaRPr lang="it-IT" sz="2000" dirty="0">
              <a:solidFill>
                <a:schemeClr val="tx1"/>
              </a:solidFill>
            </a:endParaRPr>
          </a:p>
        </p:txBody>
      </p:sp>
      <p:sp>
        <p:nvSpPr>
          <p:cNvPr id="4" name="Rettangolo con angoli arrotondati 3">
            <a:extLst>
              <a:ext uri="{FF2B5EF4-FFF2-40B4-BE49-F238E27FC236}">
                <a16:creationId xmlns:a16="http://schemas.microsoft.com/office/drawing/2014/main" id="{4E63761F-6FD9-8FBB-6B86-59B92AEB46E3}"/>
              </a:ext>
            </a:extLst>
          </p:cNvPr>
          <p:cNvSpPr/>
          <p:nvPr/>
        </p:nvSpPr>
        <p:spPr>
          <a:xfrm>
            <a:off x="3285393" y="1717065"/>
            <a:ext cx="8245791" cy="1898025"/>
          </a:xfrm>
          <a:prstGeom prst="roundRect">
            <a:avLst/>
          </a:prstGeom>
          <a:solidFill>
            <a:srgbClr val="DDEEF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lvl="0" algn="just"/>
            <a:endParaRPr lang="it-IT" sz="1600" dirty="0">
              <a:solidFill>
                <a:schemeClr val="tx1"/>
              </a:solidFill>
            </a:endParaRPr>
          </a:p>
          <a:p>
            <a:pPr lvl="0" algn="just"/>
            <a:r>
              <a:rPr lang="it-IT" sz="2000" dirty="0">
                <a:solidFill>
                  <a:schemeClr val="tx1"/>
                </a:solidFill>
              </a:rPr>
              <a:t>Qualsiasi </a:t>
            </a:r>
            <a:r>
              <a:rPr lang="it-IT" sz="2000" b="1" dirty="0">
                <a:solidFill>
                  <a:schemeClr val="tx1"/>
                </a:solidFill>
              </a:rPr>
              <a:t>bene fisico </a:t>
            </a:r>
            <a:r>
              <a:rPr lang="it-IT" sz="2000" dirty="0">
                <a:solidFill>
                  <a:schemeClr val="tx1"/>
                </a:solidFill>
              </a:rPr>
              <a:t>immesso sul mercato o messo in servizio nel mercato dell’UE, inclusi i componenti (ad es., pneumatici) e i prodotti intermedi. </a:t>
            </a:r>
          </a:p>
          <a:p>
            <a:pPr lvl="0"/>
            <a:endParaRPr lang="it-IT" sz="1600" dirty="0"/>
          </a:p>
        </p:txBody>
      </p:sp>
      <p:sp>
        <p:nvSpPr>
          <p:cNvPr id="16" name="Rettangolo con angoli arrotondati 15">
            <a:extLst>
              <a:ext uri="{FF2B5EF4-FFF2-40B4-BE49-F238E27FC236}">
                <a16:creationId xmlns:a16="http://schemas.microsoft.com/office/drawing/2014/main" id="{BBCFE399-E5C0-A38B-C649-F2CA367ABE3F}"/>
              </a:ext>
            </a:extLst>
          </p:cNvPr>
          <p:cNvSpPr/>
          <p:nvPr/>
        </p:nvSpPr>
        <p:spPr>
          <a:xfrm>
            <a:off x="3464171" y="1519065"/>
            <a:ext cx="2751993" cy="396000"/>
          </a:xfrm>
          <a:prstGeom prst="roundRect">
            <a:avLst/>
          </a:prstGeom>
          <a:solidFill>
            <a:srgbClr val="5A6AA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spcAft>
                <a:spcPts val="600"/>
              </a:spcAft>
            </a:pPr>
            <a:r>
              <a:rPr lang="it-IT" sz="2000" dirty="0"/>
              <a:t>Ambito applicativo </a:t>
            </a:r>
            <a:endParaRPr lang="it-IT" sz="2000" dirty="0">
              <a:solidFill>
                <a:schemeClr val="tx1"/>
              </a:solidFill>
            </a:endParaRPr>
          </a:p>
        </p:txBody>
      </p:sp>
      <p:pic>
        <p:nvPicPr>
          <p:cNvPr id="5" name="Immagine 4">
            <a:extLst>
              <a:ext uri="{FF2B5EF4-FFF2-40B4-BE49-F238E27FC236}">
                <a16:creationId xmlns:a16="http://schemas.microsoft.com/office/drawing/2014/main" id="{B2E4BF3F-42DC-61A2-F9E5-B290690D3241}"/>
              </a:ext>
            </a:extLst>
          </p:cNvPr>
          <p:cNvPicPr>
            <a:picLocks noChangeAspect="1"/>
          </p:cNvPicPr>
          <p:nvPr/>
        </p:nvPicPr>
        <p:blipFill>
          <a:blip r:embed="rId2"/>
          <a:stretch>
            <a:fillRect/>
          </a:stretch>
        </p:blipFill>
        <p:spPr>
          <a:xfrm>
            <a:off x="421650" y="1393953"/>
            <a:ext cx="2564939" cy="5059234"/>
          </a:xfrm>
          <a:prstGeom prst="rect">
            <a:avLst/>
          </a:prstGeom>
        </p:spPr>
      </p:pic>
    </p:spTree>
    <p:extLst>
      <p:ext uri="{BB962C8B-B14F-4D97-AF65-F5344CB8AC3E}">
        <p14:creationId xmlns:p14="http://schemas.microsoft.com/office/powerpoint/2010/main" val="272465275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B491A02-3D2D-9622-F196-35472BD615C5}"/>
              </a:ext>
            </a:extLst>
          </p:cNvPr>
          <p:cNvSpPr>
            <a:spLocks noGrp="1"/>
          </p:cNvSpPr>
          <p:nvPr>
            <p:ph type="title"/>
          </p:nvPr>
        </p:nvSpPr>
        <p:spPr/>
        <p:txBody>
          <a:bodyPr/>
          <a:lstStyle/>
          <a:p>
            <a:r>
              <a:rPr lang="it-IT" dirty="0"/>
              <a:t>PRODOTTI PRIORITARI</a:t>
            </a:r>
          </a:p>
        </p:txBody>
      </p:sp>
      <p:sp>
        <p:nvSpPr>
          <p:cNvPr id="3" name="Segnaposto numero diapositiva 2">
            <a:extLst>
              <a:ext uri="{FF2B5EF4-FFF2-40B4-BE49-F238E27FC236}">
                <a16:creationId xmlns:a16="http://schemas.microsoft.com/office/drawing/2014/main" id="{CD2618E4-D850-3581-9040-04AACC4EC554}"/>
              </a:ext>
            </a:extLst>
          </p:cNvPr>
          <p:cNvSpPr>
            <a:spLocks noGrp="1"/>
          </p:cNvSpPr>
          <p:nvPr>
            <p:ph type="sldNum" sz="quarter" idx="10"/>
          </p:nvPr>
        </p:nvSpPr>
        <p:spPr/>
        <p: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fld id="{4CFEB0D3-1EB3-4F08-8062-95FFB9749870}" type="slidenum">
              <a:rPr kumimoji="0" lang="de-DE" sz="1100" b="0" i="0" u="none" strike="noStrike" kern="1200" cap="none" spc="0" normalizeH="0" baseline="0" noProof="0" smtClean="0">
                <a:ln>
                  <a:noFill/>
                </a:ln>
                <a:solidFill>
                  <a:prstClr val="black"/>
                </a:solidFill>
                <a:effectLst/>
                <a:uLnTx/>
                <a:uFillTx/>
                <a:latin typeface="GT America" panose="00000500000000000000" pitchFamily="2" charset="0"/>
                <a:ea typeface="+mn-ea"/>
                <a:sym typeface="GT America" panose="00000500000000000000" pitchFamily="2" charset="0"/>
              </a:rPr>
              <a:pPr marL="0" marR="0" lvl="0" indent="0" algn="ctr" defTabSz="914400" rtl="0" eaLnBrk="1" fontAlgn="auto" latinLnBrk="0" hangingPunct="1">
                <a:lnSpc>
                  <a:spcPct val="100000"/>
                </a:lnSpc>
                <a:spcBef>
                  <a:spcPts val="0"/>
                </a:spcBef>
                <a:spcAft>
                  <a:spcPts val="0"/>
                </a:spcAft>
                <a:buClrTx/>
                <a:buSzTx/>
                <a:buFontTx/>
                <a:buNone/>
                <a:tabLst/>
                <a:defRPr/>
              </a:pPr>
              <a:t>9</a:t>
            </a:fld>
            <a:endParaRPr kumimoji="0" lang="de-DE" sz="1100" b="0" i="0" u="none" strike="noStrike" kern="1200" cap="none" spc="0" normalizeH="0" baseline="0" noProof="0" dirty="0">
              <a:ln>
                <a:noFill/>
              </a:ln>
              <a:solidFill>
                <a:prstClr val="black"/>
              </a:solidFill>
              <a:effectLst/>
              <a:uLnTx/>
              <a:uFillTx/>
              <a:latin typeface="GT America" panose="00000500000000000000" pitchFamily="2" charset="0"/>
              <a:ea typeface="+mn-ea"/>
              <a:sym typeface="GT America" panose="00000500000000000000" pitchFamily="2" charset="0"/>
            </a:endParaRPr>
          </a:p>
        </p:txBody>
      </p:sp>
      <p:sp>
        <p:nvSpPr>
          <p:cNvPr id="5" name="Segnaposto testo 2">
            <a:extLst>
              <a:ext uri="{FF2B5EF4-FFF2-40B4-BE49-F238E27FC236}">
                <a16:creationId xmlns:a16="http://schemas.microsoft.com/office/drawing/2014/main" id="{03DD842F-7773-6781-8EFA-3DFFA8E126A1}"/>
              </a:ext>
            </a:extLst>
          </p:cNvPr>
          <p:cNvSpPr txBox="1">
            <a:spLocks/>
          </p:cNvSpPr>
          <p:nvPr/>
        </p:nvSpPr>
        <p:spPr>
          <a:xfrm>
            <a:off x="375596" y="1030942"/>
            <a:ext cx="11336978" cy="1703294"/>
          </a:xfrm>
          <a:prstGeom prst="rect">
            <a:avLst/>
          </a:prstGeom>
        </p:spPr>
        <p:txBody>
          <a:bodyPr vert="horz" lIns="0" tIns="0" rIns="0" bIns="0" rtlCol="0">
            <a:normAutofit/>
          </a:bodyPr>
          <a:lstStyle>
            <a:lvl1pPr marL="0" indent="0" algn="l" defTabSz="914400" rtl="0" eaLnBrk="1" latinLnBrk="0" hangingPunct="1">
              <a:lnSpc>
                <a:spcPct val="100000"/>
              </a:lnSpc>
              <a:spcBef>
                <a:spcPts val="1000"/>
              </a:spcBef>
              <a:buFont typeface="GT America" panose="020B0604020202020204" pitchFamily="34" charset="0"/>
              <a:buNone/>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1pPr>
            <a:lvl2pPr marL="216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2pPr>
            <a:lvl3pPr marL="432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3pPr>
            <a:lvl4pPr marL="648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4pPr>
            <a:lvl5pPr marL="864000" indent="-216000" algn="l" defTabSz="914400" rtl="0" eaLnBrk="1" latinLnBrk="0" hangingPunct="1">
              <a:lnSpc>
                <a:spcPct val="100000"/>
              </a:lnSpc>
              <a:spcBef>
                <a:spcPts val="500"/>
              </a:spcBef>
              <a:buFontTx/>
              <a:buChar char="–"/>
              <a:defRPr sz="1800" kern="1200">
                <a:solidFill>
                  <a:schemeClr val="tx1"/>
                </a:solidFill>
                <a:latin typeface="GT America" panose="00000500000000000000" pitchFamily="2" charset="0"/>
                <a:ea typeface="+mn-ea"/>
                <a:cs typeface="GT America" panose="020B0604020202020204" pitchFamily="34" charset="0"/>
                <a:sym typeface="GT America" panose="00000500000000000000" pitchFamily="2" charset="0"/>
              </a:defRPr>
            </a:lvl5pPr>
            <a:lvl6pPr marL="25146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GT America" panose="020B0604020202020204" pitchFamily="34" charset="0"/>
              <a:buChar char="•"/>
              <a:defRPr sz="1800" kern="1200">
                <a:solidFill>
                  <a:schemeClr val="tx1"/>
                </a:solidFill>
                <a:latin typeface="+mn-lt"/>
                <a:ea typeface="+mn-ea"/>
                <a:cs typeface="+mn-cs"/>
              </a:defRPr>
            </a:lvl9pPr>
          </a:lstStyle>
          <a:p>
            <a:pPr marL="0" marR="0" lvl="0" indent="0" algn="just" defTabSz="914400" rtl="0" eaLnBrk="1" fontAlgn="auto" latinLnBrk="0" hangingPunct="1">
              <a:lnSpc>
                <a:spcPct val="100000"/>
              </a:lnSpc>
              <a:spcBef>
                <a:spcPts val="1000"/>
              </a:spcBef>
              <a:spcAft>
                <a:spcPts val="0"/>
              </a:spcAft>
              <a:buClr>
                <a:srgbClr val="002060"/>
              </a:buClr>
              <a:buSzTx/>
              <a:buFont typeface="GT America" panose="020B0604020202020204" pitchFamily="34" charset="0"/>
              <a:buNone/>
              <a:tabLst/>
              <a:defRPr/>
            </a:pPr>
            <a:endParaRPr kumimoji="0" lang="it-IT" sz="2200" b="0" i="0" u="none" strike="noStrike" kern="1200" cap="none" spc="0" normalizeH="0" baseline="0" noProof="0" dirty="0">
              <a:ln>
                <a:noFill/>
              </a:ln>
              <a:solidFill>
                <a:prstClr val="black"/>
              </a:solidFill>
              <a:effectLst/>
              <a:uLnTx/>
              <a:uFillTx/>
              <a:latin typeface="GT America" panose="00000500000000000000" pitchFamily="2" charset="0"/>
              <a:ea typeface="+mn-ea"/>
              <a:sym typeface="GT America" panose="00000500000000000000" pitchFamily="2" charset="0"/>
            </a:endParaRPr>
          </a:p>
        </p:txBody>
      </p:sp>
      <p:graphicFrame>
        <p:nvGraphicFramePr>
          <p:cNvPr id="6" name="Diagramma 5">
            <a:extLst>
              <a:ext uri="{FF2B5EF4-FFF2-40B4-BE49-F238E27FC236}">
                <a16:creationId xmlns:a16="http://schemas.microsoft.com/office/drawing/2014/main" id="{8F793E62-0FB5-3847-768D-A168E85994B5}"/>
              </a:ext>
            </a:extLst>
          </p:cNvPr>
          <p:cNvGraphicFramePr/>
          <p:nvPr>
            <p:extLst>
              <p:ext uri="{D42A27DB-BD31-4B8C-83A1-F6EECF244321}">
                <p14:modId xmlns:p14="http://schemas.microsoft.com/office/powerpoint/2010/main" val="2166723353"/>
              </p:ext>
            </p:extLst>
          </p:nvPr>
        </p:nvGraphicFramePr>
        <p:xfrm>
          <a:off x="375597" y="1257300"/>
          <a:ext cx="11388892" cy="5288356"/>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16" name="Ovale 15">
            <a:extLst>
              <a:ext uri="{FF2B5EF4-FFF2-40B4-BE49-F238E27FC236}">
                <a16:creationId xmlns:a16="http://schemas.microsoft.com/office/drawing/2014/main" id="{C1931EC0-5919-AD41-3387-D9EDD5688DD2}"/>
              </a:ext>
            </a:extLst>
          </p:cNvPr>
          <p:cNvSpPr/>
          <p:nvPr/>
        </p:nvSpPr>
        <p:spPr>
          <a:xfrm>
            <a:off x="450024" y="1587894"/>
            <a:ext cx="2247900" cy="1536405"/>
          </a:xfrm>
          <a:prstGeom prst="ellips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it-IT" sz="1600" dirty="0">
              <a:solidFill>
                <a:schemeClr val="tx1"/>
              </a:solidFill>
            </a:endParaRPr>
          </a:p>
          <a:p>
            <a:pPr algn="ctr"/>
            <a:r>
              <a:rPr lang="it-IT" sz="2000" dirty="0">
                <a:solidFill>
                  <a:schemeClr val="tx1"/>
                </a:solidFill>
              </a:rPr>
              <a:t>Ferro e acciaio </a:t>
            </a:r>
          </a:p>
        </p:txBody>
      </p:sp>
      <p:sp>
        <p:nvSpPr>
          <p:cNvPr id="17" name="Ovale 16">
            <a:extLst>
              <a:ext uri="{FF2B5EF4-FFF2-40B4-BE49-F238E27FC236}">
                <a16:creationId xmlns:a16="http://schemas.microsoft.com/office/drawing/2014/main" id="{FFEA5015-1D19-8DBC-FCC8-9D0611C3E983}"/>
              </a:ext>
            </a:extLst>
          </p:cNvPr>
          <p:cNvSpPr/>
          <p:nvPr/>
        </p:nvSpPr>
        <p:spPr>
          <a:xfrm>
            <a:off x="3227208" y="1587394"/>
            <a:ext cx="2247900" cy="1536405"/>
          </a:xfrm>
          <a:prstGeom prst="ellips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it-IT" sz="2000" dirty="0">
              <a:solidFill>
                <a:schemeClr val="tx1"/>
              </a:solidFill>
            </a:endParaRPr>
          </a:p>
          <a:p>
            <a:pPr algn="ctr"/>
            <a:r>
              <a:rPr lang="it-IT" sz="2000" dirty="0">
                <a:solidFill>
                  <a:schemeClr val="tx1"/>
                </a:solidFill>
              </a:rPr>
              <a:t>Alluminio</a:t>
            </a:r>
          </a:p>
        </p:txBody>
      </p:sp>
      <p:sp>
        <p:nvSpPr>
          <p:cNvPr id="18" name="Ovale 17">
            <a:extLst>
              <a:ext uri="{FF2B5EF4-FFF2-40B4-BE49-F238E27FC236}">
                <a16:creationId xmlns:a16="http://schemas.microsoft.com/office/drawing/2014/main" id="{521DD708-47CF-03C3-1B3E-B003CAF555D0}"/>
              </a:ext>
            </a:extLst>
          </p:cNvPr>
          <p:cNvSpPr/>
          <p:nvPr/>
        </p:nvSpPr>
        <p:spPr>
          <a:xfrm>
            <a:off x="6004392" y="1572125"/>
            <a:ext cx="2247900" cy="1536405"/>
          </a:xfrm>
          <a:prstGeom prst="ellips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it-IT" sz="2000" dirty="0">
                <a:solidFill>
                  <a:schemeClr val="tx1"/>
                </a:solidFill>
              </a:rPr>
              <a:t>Prodotti tessili</a:t>
            </a:r>
          </a:p>
        </p:txBody>
      </p:sp>
      <p:sp>
        <p:nvSpPr>
          <p:cNvPr id="19" name="Ovale 18">
            <a:extLst>
              <a:ext uri="{FF2B5EF4-FFF2-40B4-BE49-F238E27FC236}">
                <a16:creationId xmlns:a16="http://schemas.microsoft.com/office/drawing/2014/main" id="{A053546B-3364-63CF-95B0-008987A44308}"/>
              </a:ext>
            </a:extLst>
          </p:cNvPr>
          <p:cNvSpPr/>
          <p:nvPr/>
        </p:nvSpPr>
        <p:spPr>
          <a:xfrm>
            <a:off x="8781576" y="1582614"/>
            <a:ext cx="2247900" cy="1536405"/>
          </a:xfrm>
          <a:prstGeom prst="ellips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it-IT" sz="2000" dirty="0">
                <a:solidFill>
                  <a:schemeClr val="tx1"/>
                </a:solidFill>
              </a:rPr>
              <a:t>Mobilio (inclusi i materassi)</a:t>
            </a:r>
          </a:p>
        </p:txBody>
      </p:sp>
      <p:sp>
        <p:nvSpPr>
          <p:cNvPr id="22" name="Ovale 21">
            <a:extLst>
              <a:ext uri="{FF2B5EF4-FFF2-40B4-BE49-F238E27FC236}">
                <a16:creationId xmlns:a16="http://schemas.microsoft.com/office/drawing/2014/main" id="{63C368A0-9FDD-A75F-0DD6-87ED5EC63E17}"/>
              </a:ext>
            </a:extLst>
          </p:cNvPr>
          <p:cNvSpPr/>
          <p:nvPr/>
        </p:nvSpPr>
        <p:spPr>
          <a:xfrm>
            <a:off x="1907349" y="3290688"/>
            <a:ext cx="2247900" cy="1536405"/>
          </a:xfrm>
          <a:prstGeom prst="ellips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lang="it-IT" sz="1600" dirty="0">
              <a:solidFill>
                <a:schemeClr val="tx1"/>
              </a:solidFill>
            </a:endParaRPr>
          </a:p>
          <a:p>
            <a:pPr algn="ctr"/>
            <a:r>
              <a:rPr lang="it-IT" sz="2000" dirty="0">
                <a:solidFill>
                  <a:schemeClr val="tx1"/>
                </a:solidFill>
              </a:rPr>
              <a:t>Pneumatici </a:t>
            </a:r>
          </a:p>
        </p:txBody>
      </p:sp>
      <p:sp>
        <p:nvSpPr>
          <p:cNvPr id="23" name="Ovale 22">
            <a:extLst>
              <a:ext uri="{FF2B5EF4-FFF2-40B4-BE49-F238E27FC236}">
                <a16:creationId xmlns:a16="http://schemas.microsoft.com/office/drawing/2014/main" id="{7104055D-8C09-9292-967A-033A8BE9099A}"/>
              </a:ext>
            </a:extLst>
          </p:cNvPr>
          <p:cNvSpPr/>
          <p:nvPr/>
        </p:nvSpPr>
        <p:spPr>
          <a:xfrm>
            <a:off x="4588019" y="3290688"/>
            <a:ext cx="2247900" cy="1536405"/>
          </a:xfrm>
          <a:prstGeom prst="ellips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it-IT" sz="2000" dirty="0">
                <a:solidFill>
                  <a:schemeClr val="tx1"/>
                </a:solidFill>
              </a:rPr>
              <a:t>Detergenti, vernici e lubrificanti </a:t>
            </a:r>
          </a:p>
        </p:txBody>
      </p:sp>
      <p:sp>
        <p:nvSpPr>
          <p:cNvPr id="24" name="Ovale 23">
            <a:extLst>
              <a:ext uri="{FF2B5EF4-FFF2-40B4-BE49-F238E27FC236}">
                <a16:creationId xmlns:a16="http://schemas.microsoft.com/office/drawing/2014/main" id="{691EFC45-CF0B-F22C-67B9-853BF870CFCB}"/>
              </a:ext>
            </a:extLst>
          </p:cNvPr>
          <p:cNvSpPr/>
          <p:nvPr/>
        </p:nvSpPr>
        <p:spPr>
          <a:xfrm>
            <a:off x="7268689" y="3290688"/>
            <a:ext cx="2247900" cy="1536405"/>
          </a:xfrm>
          <a:prstGeom prst="ellips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it-IT" sz="2000" dirty="0">
                <a:solidFill>
                  <a:schemeClr val="tx1"/>
                </a:solidFill>
              </a:rPr>
              <a:t>Sostanze chimiche </a:t>
            </a:r>
          </a:p>
        </p:txBody>
      </p:sp>
      <p:sp>
        <p:nvSpPr>
          <p:cNvPr id="25" name="Ovale 24">
            <a:extLst>
              <a:ext uri="{FF2B5EF4-FFF2-40B4-BE49-F238E27FC236}">
                <a16:creationId xmlns:a16="http://schemas.microsoft.com/office/drawing/2014/main" id="{60696EB6-C55A-00CD-FBB3-ED57E38D2417}"/>
              </a:ext>
            </a:extLst>
          </p:cNvPr>
          <p:cNvSpPr/>
          <p:nvPr/>
        </p:nvSpPr>
        <p:spPr>
          <a:xfrm>
            <a:off x="3227208" y="4993482"/>
            <a:ext cx="2247900" cy="1536405"/>
          </a:xfrm>
          <a:prstGeom prst="ellips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it-IT" sz="2000" dirty="0">
                <a:solidFill>
                  <a:schemeClr val="tx1"/>
                </a:solidFill>
              </a:rPr>
              <a:t>Prodotti connessi all’energia </a:t>
            </a:r>
          </a:p>
        </p:txBody>
      </p:sp>
      <p:sp>
        <p:nvSpPr>
          <p:cNvPr id="26" name="Ovale 25">
            <a:extLst>
              <a:ext uri="{FF2B5EF4-FFF2-40B4-BE49-F238E27FC236}">
                <a16:creationId xmlns:a16="http://schemas.microsoft.com/office/drawing/2014/main" id="{94768FDB-15D9-F8B0-6DCA-13F1C7AA3B88}"/>
              </a:ext>
            </a:extLst>
          </p:cNvPr>
          <p:cNvSpPr/>
          <p:nvPr/>
        </p:nvSpPr>
        <p:spPr>
          <a:xfrm>
            <a:off x="6096000" y="5009251"/>
            <a:ext cx="2247900" cy="1536405"/>
          </a:xfrm>
          <a:prstGeom prst="ellipse">
            <a:avLst/>
          </a:prstGeom>
          <a:solidFill>
            <a:schemeClr val="accent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r>
              <a:rPr lang="it-IT" sz="2000" dirty="0">
                <a:solidFill>
                  <a:schemeClr val="tx1"/>
                </a:solidFill>
              </a:rPr>
              <a:t>Prodotti ICT e prodotti elettronici</a:t>
            </a:r>
          </a:p>
        </p:txBody>
      </p:sp>
    </p:spTree>
    <p:extLst>
      <p:ext uri="{BB962C8B-B14F-4D97-AF65-F5344CB8AC3E}">
        <p14:creationId xmlns:p14="http://schemas.microsoft.com/office/powerpoint/2010/main" val="17240270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zy_vv0AgR5abZwvhAyhhE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FjJxKSx.Trmra1Nl2wcGM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LqP5YBuRo2ElLdKOGowz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kj0.IVH2Tcmg3oAwbavAq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ASSIGNEDEDITOR" val="#Red"/>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ASSIGNEDEDITOR" val="#Red"/>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2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3.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4.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5.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6.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7.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8.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39.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1.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42.xml><?xml version="1.0" encoding="utf-8"?>
<p:tagLst xmlns:a="http://schemas.openxmlformats.org/drawingml/2006/main" xmlns:r="http://schemas.openxmlformats.org/officeDocument/2006/relationships" xmlns:p="http://schemas.openxmlformats.org/presentationml/2006/main">
  <p:tag name="VCTCREATESHAPEHANDLED" val="0"/>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6oAsQpQTmq1L3sglMixH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oKaHiY5ZSj2vrO1u.4O.P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3kvZeKafTYOAFVbcVC9q1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Unternehmenspraesentation_EN_GT America._ohne Animation">
  <a:themeElements>
    <a:clrScheme name="Benutzerdefiniert 5">
      <a:dk1>
        <a:sysClr val="windowText" lastClr="000000"/>
      </a:dk1>
      <a:lt1>
        <a:sysClr val="window" lastClr="FFFFFF"/>
      </a:lt1>
      <a:dk2>
        <a:srgbClr val="00A990"/>
      </a:dk2>
      <a:lt2>
        <a:srgbClr val="DEE1E0"/>
      </a:lt2>
      <a:accent1>
        <a:srgbClr val="FF644B"/>
      </a:accent1>
      <a:accent2>
        <a:srgbClr val="5479BD"/>
      </a:accent2>
      <a:accent3>
        <a:srgbClr val="00A990"/>
      </a:accent3>
      <a:accent4>
        <a:srgbClr val="EAA21C"/>
      </a:accent4>
      <a:accent5>
        <a:srgbClr val="50695F"/>
      </a:accent5>
      <a:accent6>
        <a:srgbClr val="D4E458"/>
      </a:accent6>
      <a:hlink>
        <a:srgbClr val="000000"/>
      </a:hlink>
      <a:folHlink>
        <a:srgbClr val="50695F"/>
      </a:folHlink>
    </a:clrScheme>
    <a:fontScheme name="Roedl&amp;Partners 2018">
      <a:majorFont>
        <a:latin typeface="GT America"/>
        <a:ea typeface=""/>
        <a:cs typeface=""/>
      </a:majorFont>
      <a:minorFont>
        <a:latin typeface="GT America"/>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Unternehmenspraesentation_EN_GT America.potx" id="{C31D5839-060A-47F3-947E-6157F3B7D28E}" vid="{5FA1915A-B618-44CA-B34C-E79B4C43120A}"/>
    </a:ext>
  </a:extLst>
</a:theme>
</file>

<file path=ppt/theme/theme10.xml><?xml version="1.0" encoding="utf-8"?>
<a:theme xmlns:a="http://schemas.openxmlformats.org/drawingml/2006/main" name="Donau blue ">
  <a:themeElements>
    <a:clrScheme name="Benutzerdefiniert 12">
      <a:dk1>
        <a:sysClr val="windowText" lastClr="000000"/>
      </a:dk1>
      <a:lt1>
        <a:sysClr val="window" lastClr="FFFFFF"/>
      </a:lt1>
      <a:dk2>
        <a:srgbClr val="5A6AA8"/>
      </a:dk2>
      <a:lt2>
        <a:srgbClr val="DEE1E0"/>
      </a:lt2>
      <a:accent1>
        <a:srgbClr val="FF644B"/>
      </a:accent1>
      <a:accent2>
        <a:srgbClr val="5479BD"/>
      </a:accent2>
      <a:accent3>
        <a:srgbClr val="00A990"/>
      </a:accent3>
      <a:accent4>
        <a:srgbClr val="EAA21C"/>
      </a:accent4>
      <a:accent5>
        <a:srgbClr val="50695F"/>
      </a:accent5>
      <a:accent6>
        <a:srgbClr val="D4E458"/>
      </a:accent6>
      <a:hlink>
        <a:srgbClr val="000000"/>
      </a:hlink>
      <a:folHlink>
        <a:srgbClr val="50695F"/>
      </a:folHlink>
    </a:clrScheme>
    <a:fontScheme name="Roedl&amp;Partners 2018">
      <a:majorFont>
        <a:latin typeface="GT America"/>
        <a:ea typeface=""/>
        <a:cs typeface=""/>
      </a:majorFont>
      <a:minorFont>
        <a:latin typeface="GT America"/>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Unternehmenspraesentation_EN_GT America.potx" id="{C31D5839-060A-47F3-947E-6157F3B7D28E}" vid="{D1491C9C-BE31-42A9-8DA4-A66254DA114D}"/>
    </a:ext>
  </a:extLst>
</a:theme>
</file>

<file path=ppt/theme/theme11.xml><?xml version="1.0" encoding="utf-8"?>
<a:theme xmlns:a="http://schemas.openxmlformats.org/drawingml/2006/main" name="Naha Rose Highlightfolien">
  <a:themeElements>
    <a:clrScheme name="Benutzerdefiniert 13">
      <a:dk1>
        <a:sysClr val="windowText" lastClr="000000"/>
      </a:dk1>
      <a:lt1>
        <a:sysClr val="window" lastClr="FFFFFF"/>
      </a:lt1>
      <a:dk2>
        <a:srgbClr val="F29C9C"/>
      </a:dk2>
      <a:lt2>
        <a:srgbClr val="DEE1E0"/>
      </a:lt2>
      <a:accent1>
        <a:srgbClr val="FF644B"/>
      </a:accent1>
      <a:accent2>
        <a:srgbClr val="5479BD"/>
      </a:accent2>
      <a:accent3>
        <a:srgbClr val="00A990"/>
      </a:accent3>
      <a:accent4>
        <a:srgbClr val="EAA21C"/>
      </a:accent4>
      <a:accent5>
        <a:srgbClr val="50695F"/>
      </a:accent5>
      <a:accent6>
        <a:srgbClr val="D4E458"/>
      </a:accent6>
      <a:hlink>
        <a:srgbClr val="000000"/>
      </a:hlink>
      <a:folHlink>
        <a:srgbClr val="50695F"/>
      </a:folHlink>
    </a:clrScheme>
    <a:fontScheme name="Roedl&amp;Partners 2018">
      <a:majorFont>
        <a:latin typeface="GT America"/>
        <a:ea typeface=""/>
        <a:cs typeface=""/>
      </a:majorFont>
      <a:minorFont>
        <a:latin typeface="GT America"/>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Unternehmenspraesentation_EN_GT America.potx" id="{C31D5839-060A-47F3-947E-6157F3B7D28E}" vid="{F62D5C02-E3E9-4467-8DD4-58BBA6C1A278}"/>
    </a:ext>
  </a:extLst>
</a:theme>
</file>

<file path=ppt/theme/theme12.xml><?xml version="1.0" encoding="utf-8"?>
<a:theme xmlns:a="http://schemas.openxmlformats.org/drawingml/2006/main" name="Danakil Yellow Highlightfolien">
  <a:themeElements>
    <a:clrScheme name="Benutzerdefiniert 14">
      <a:dk1>
        <a:sysClr val="windowText" lastClr="000000"/>
      </a:dk1>
      <a:lt1>
        <a:sysClr val="window" lastClr="FFFFFF"/>
      </a:lt1>
      <a:dk2>
        <a:srgbClr val="FFFC00"/>
      </a:dk2>
      <a:lt2>
        <a:srgbClr val="DEE1E0"/>
      </a:lt2>
      <a:accent1>
        <a:srgbClr val="FF644B"/>
      </a:accent1>
      <a:accent2>
        <a:srgbClr val="5479BD"/>
      </a:accent2>
      <a:accent3>
        <a:srgbClr val="00A990"/>
      </a:accent3>
      <a:accent4>
        <a:srgbClr val="EAA21C"/>
      </a:accent4>
      <a:accent5>
        <a:srgbClr val="50695F"/>
      </a:accent5>
      <a:accent6>
        <a:srgbClr val="D4E458"/>
      </a:accent6>
      <a:hlink>
        <a:srgbClr val="000000"/>
      </a:hlink>
      <a:folHlink>
        <a:srgbClr val="50695F"/>
      </a:folHlink>
    </a:clrScheme>
    <a:fontScheme name="Roedl&amp;Partners 2018">
      <a:majorFont>
        <a:latin typeface="GT America"/>
        <a:ea typeface=""/>
        <a:cs typeface=""/>
      </a:majorFont>
      <a:minorFont>
        <a:latin typeface="GT America"/>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1"/>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Unternehmenspraesentation_EN_GT America.potx" id="{C31D5839-060A-47F3-947E-6157F3B7D28E}" vid="{6EA60035-0817-4868-840E-468FC7927B89}"/>
    </a:ext>
  </a:extLst>
</a:theme>
</file>

<file path=ppt/theme/theme13.xml><?xml version="1.0" encoding="utf-8"?>
<a:theme xmlns:a="http://schemas.openxmlformats.org/drawingml/2006/main" name="1_Highland green ">
  <a:themeElements>
    <a:clrScheme name="Benutzerdefiniert 40">
      <a:dk1>
        <a:sysClr val="windowText" lastClr="000000"/>
      </a:dk1>
      <a:lt1>
        <a:sysClr val="window" lastClr="FFFFFF"/>
      </a:lt1>
      <a:dk2>
        <a:srgbClr val="D4E458"/>
      </a:dk2>
      <a:lt2>
        <a:srgbClr val="DEE1E0"/>
      </a:lt2>
      <a:accent1>
        <a:srgbClr val="FF644B"/>
      </a:accent1>
      <a:accent2>
        <a:srgbClr val="5479BD"/>
      </a:accent2>
      <a:accent3>
        <a:srgbClr val="00A990"/>
      </a:accent3>
      <a:accent4>
        <a:srgbClr val="EAA21C"/>
      </a:accent4>
      <a:accent5>
        <a:srgbClr val="50695F"/>
      </a:accent5>
      <a:accent6>
        <a:srgbClr val="D4E458"/>
      </a:accent6>
      <a:hlink>
        <a:srgbClr val="000000"/>
      </a:hlink>
      <a:folHlink>
        <a:srgbClr val="00A990"/>
      </a:folHlink>
    </a:clrScheme>
    <a:fontScheme name="Roedl&amp;Partners 2018">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1"/>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Präsentation2" id="{1A8DBFE6-28FB-47D8-970B-E888AF0F80B5}" vid="{1E8EEC64-B91A-40F0-A53C-D3550F4967FB}"/>
    </a:ext>
  </a:extLst>
</a:theme>
</file>

<file path=ppt/theme/theme14.xml><?xml version="1.0" encoding="utf-8"?>
<a:theme xmlns:a="http://schemas.openxmlformats.org/drawingml/2006/main" name="1_Daintree green ">
  <a:themeElements>
    <a:clrScheme name="Benutzerdefiniert 45">
      <a:dk1>
        <a:sysClr val="windowText" lastClr="000000"/>
      </a:dk1>
      <a:lt1>
        <a:sysClr val="window" lastClr="FFFFFF"/>
      </a:lt1>
      <a:dk2>
        <a:srgbClr val="00838A"/>
      </a:dk2>
      <a:lt2>
        <a:srgbClr val="DEE1E0"/>
      </a:lt2>
      <a:accent1>
        <a:srgbClr val="FF644B"/>
      </a:accent1>
      <a:accent2>
        <a:srgbClr val="5479BD"/>
      </a:accent2>
      <a:accent3>
        <a:srgbClr val="00A990"/>
      </a:accent3>
      <a:accent4>
        <a:srgbClr val="EAA21C"/>
      </a:accent4>
      <a:accent5>
        <a:srgbClr val="50695F"/>
      </a:accent5>
      <a:accent6>
        <a:srgbClr val="D4E458"/>
      </a:accent6>
      <a:hlink>
        <a:srgbClr val="FFFFFF"/>
      </a:hlink>
      <a:folHlink>
        <a:srgbClr val="D4E458"/>
      </a:folHlink>
    </a:clrScheme>
    <a:fontScheme name="Roedl&amp;Partners 2018">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Präsentation2" id="{1A8DBFE6-28FB-47D8-970B-E888AF0F80B5}" vid="{6F07B062-74F2-4E93-947A-3BD8223586AC}"/>
    </a:ext>
  </a:extLst>
</a:theme>
</file>

<file path=ppt/theme/theme15.xml><?xml version="1.0" encoding="utf-8"?>
<a:theme xmlns:a="http://schemas.openxmlformats.org/drawingml/2006/main" name="1_Rödl &amp; Partner Green">
  <a:themeElements>
    <a:clrScheme name="Benutzerdefiniert 43">
      <a:dk1>
        <a:sysClr val="windowText" lastClr="000000"/>
      </a:dk1>
      <a:lt1>
        <a:sysClr val="window" lastClr="FFFFFF"/>
      </a:lt1>
      <a:dk2>
        <a:srgbClr val="00A990"/>
      </a:dk2>
      <a:lt2>
        <a:srgbClr val="DEE1E0"/>
      </a:lt2>
      <a:accent1>
        <a:srgbClr val="FF644B"/>
      </a:accent1>
      <a:accent2>
        <a:srgbClr val="5479BD"/>
      </a:accent2>
      <a:accent3>
        <a:srgbClr val="00A990"/>
      </a:accent3>
      <a:accent4>
        <a:srgbClr val="EAA21C"/>
      </a:accent4>
      <a:accent5>
        <a:srgbClr val="50695F"/>
      </a:accent5>
      <a:accent6>
        <a:srgbClr val="D4E458"/>
      </a:accent6>
      <a:hlink>
        <a:srgbClr val="000000"/>
      </a:hlink>
      <a:folHlink>
        <a:srgbClr val="FFFFFF"/>
      </a:folHlink>
    </a:clrScheme>
    <a:fontScheme name="Roedl&amp;Partners 2018">
      <a:majorFont>
        <a:latin typeface="Arial"/>
        <a:ea typeface=""/>
        <a:cs typeface=""/>
      </a:majorFont>
      <a:minorFont>
        <a:latin typeface="Arial"/>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Präsentation2" id="{1A8DBFE6-28FB-47D8-970B-E888AF0F80B5}" vid="{AA9B13A3-709A-45E4-BAA8-8B861311DC28}"/>
    </a:ext>
  </a:extLst>
</a:theme>
</file>

<file path=ppt/theme/theme16.xml><?xml version="1.0" encoding="utf-8"?>
<a:theme xmlns:a="http://schemas.openxmlformats.org/drawingml/2006/main" name="Larissa">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GT America"/>
        <a:font script="Hebr" typeface="GT America"/>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GT America"/>
        <a:font script="Uigh" typeface="Microsoft Uighur"/>
        <a:font script="Geor" typeface="Sylfaen"/>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7.xml><?xml version="1.0" encoding="utf-8"?>
<a:theme xmlns:a="http://schemas.openxmlformats.org/drawingml/2006/main" name="Office-Design">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GT America"/>
        <a:font script="Hebr" typeface="GT America"/>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GT Americ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Rödl &amp; Partner Green">
  <a:themeElements>
    <a:clrScheme name="Benutzerdefiniert 5">
      <a:dk1>
        <a:sysClr val="windowText" lastClr="000000"/>
      </a:dk1>
      <a:lt1>
        <a:sysClr val="window" lastClr="FFFFFF"/>
      </a:lt1>
      <a:dk2>
        <a:srgbClr val="00A990"/>
      </a:dk2>
      <a:lt2>
        <a:srgbClr val="DEE1E0"/>
      </a:lt2>
      <a:accent1>
        <a:srgbClr val="FF644B"/>
      </a:accent1>
      <a:accent2>
        <a:srgbClr val="5479BD"/>
      </a:accent2>
      <a:accent3>
        <a:srgbClr val="00A990"/>
      </a:accent3>
      <a:accent4>
        <a:srgbClr val="EAA21C"/>
      </a:accent4>
      <a:accent5>
        <a:srgbClr val="50695F"/>
      </a:accent5>
      <a:accent6>
        <a:srgbClr val="D4E458"/>
      </a:accent6>
      <a:hlink>
        <a:srgbClr val="000000"/>
      </a:hlink>
      <a:folHlink>
        <a:srgbClr val="50695F"/>
      </a:folHlink>
    </a:clrScheme>
    <a:fontScheme name="Roedl&amp;Partners 2018">
      <a:majorFont>
        <a:latin typeface="GT America"/>
        <a:ea typeface=""/>
        <a:cs typeface=""/>
      </a:majorFont>
      <a:minorFont>
        <a:latin typeface="GT America"/>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Unternehmenspraesentation_EN_GT America.potx" id="{C31D5839-060A-47F3-947E-6157F3B7D28E}" vid="{57ABF7E4-7D07-4121-9B32-3461AAE98727}"/>
    </a:ext>
  </a:extLst>
</a:theme>
</file>

<file path=ppt/theme/theme3.xml><?xml version="1.0" encoding="utf-8"?>
<a:theme xmlns:a="http://schemas.openxmlformats.org/drawingml/2006/main" name="Daintree green ">
  <a:themeElements>
    <a:clrScheme name="Benutzerdefiniert 8">
      <a:dk1>
        <a:sysClr val="windowText" lastClr="000000"/>
      </a:dk1>
      <a:lt1>
        <a:sysClr val="window" lastClr="FFFFFF"/>
      </a:lt1>
      <a:dk2>
        <a:srgbClr val="00838A"/>
      </a:dk2>
      <a:lt2>
        <a:srgbClr val="DEE1E0"/>
      </a:lt2>
      <a:accent1>
        <a:srgbClr val="FF644B"/>
      </a:accent1>
      <a:accent2>
        <a:srgbClr val="5479BD"/>
      </a:accent2>
      <a:accent3>
        <a:srgbClr val="00A990"/>
      </a:accent3>
      <a:accent4>
        <a:srgbClr val="EAA21C"/>
      </a:accent4>
      <a:accent5>
        <a:srgbClr val="50695F"/>
      </a:accent5>
      <a:accent6>
        <a:srgbClr val="D4E458"/>
      </a:accent6>
      <a:hlink>
        <a:srgbClr val="000000"/>
      </a:hlink>
      <a:folHlink>
        <a:srgbClr val="50695F"/>
      </a:folHlink>
    </a:clrScheme>
    <a:fontScheme name="Roedl&amp;Partners 2018">
      <a:majorFont>
        <a:latin typeface="GT America"/>
        <a:ea typeface=""/>
        <a:cs typeface=""/>
      </a:majorFont>
      <a:minorFont>
        <a:latin typeface="GT America"/>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Unternehmenspraesentation_EN_GT America.potx" id="{C31D5839-060A-47F3-947E-6157F3B7D28E}" vid="{39DFDFD3-E556-45B4-A1A0-705E4A9EB1B1}"/>
    </a:ext>
  </a:extLst>
</a:theme>
</file>

<file path=ppt/theme/theme4.xml><?xml version="1.0" encoding="utf-8"?>
<a:theme xmlns:a="http://schemas.openxmlformats.org/drawingml/2006/main" name="Highland green ">
  <a:themeElements>
    <a:clrScheme name="Benutzerdefiniert 6">
      <a:dk1>
        <a:sysClr val="windowText" lastClr="000000"/>
      </a:dk1>
      <a:lt1>
        <a:sysClr val="window" lastClr="FFFFFF"/>
      </a:lt1>
      <a:dk2>
        <a:srgbClr val="D4E458"/>
      </a:dk2>
      <a:lt2>
        <a:srgbClr val="DEE1E0"/>
      </a:lt2>
      <a:accent1>
        <a:srgbClr val="FF644B"/>
      </a:accent1>
      <a:accent2>
        <a:srgbClr val="5479BD"/>
      </a:accent2>
      <a:accent3>
        <a:srgbClr val="00A990"/>
      </a:accent3>
      <a:accent4>
        <a:srgbClr val="EAA21C"/>
      </a:accent4>
      <a:accent5>
        <a:srgbClr val="50695F"/>
      </a:accent5>
      <a:accent6>
        <a:srgbClr val="D4E458"/>
      </a:accent6>
      <a:hlink>
        <a:srgbClr val="000000"/>
      </a:hlink>
      <a:folHlink>
        <a:srgbClr val="50695F"/>
      </a:folHlink>
    </a:clrScheme>
    <a:fontScheme name="Roedl&amp;Partners 2018">
      <a:majorFont>
        <a:latin typeface="GT America"/>
        <a:ea typeface=""/>
        <a:cs typeface=""/>
      </a:majorFont>
      <a:minorFont>
        <a:latin typeface="GT America"/>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1"/>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Unternehmenspraesentation_EN_GT America.potx" id="{C31D5839-060A-47F3-947E-6157F3B7D28E}" vid="{0066FD74-2909-4716-99E8-714346380820}"/>
    </a:ext>
  </a:extLst>
</a:theme>
</file>

<file path=ppt/theme/theme5.xml><?xml version="1.0" encoding="utf-8"?>
<a:theme xmlns:a="http://schemas.openxmlformats.org/drawingml/2006/main" name="Rödl &amp; Partner (Schwarz Weiß)">
  <a:themeElements>
    <a:clrScheme name="Benutzerdefiniert 3">
      <a:dk1>
        <a:sysClr val="windowText" lastClr="000000"/>
      </a:dk1>
      <a:lt1>
        <a:sysClr val="window" lastClr="FFFFFF"/>
      </a:lt1>
      <a:dk2>
        <a:srgbClr val="50695F"/>
      </a:dk2>
      <a:lt2>
        <a:srgbClr val="DEE1E0"/>
      </a:lt2>
      <a:accent1>
        <a:srgbClr val="5479BD"/>
      </a:accent1>
      <a:accent2>
        <a:srgbClr val="FF644B"/>
      </a:accent2>
      <a:accent3>
        <a:srgbClr val="00A990"/>
      </a:accent3>
      <a:accent4>
        <a:srgbClr val="EAA21C"/>
      </a:accent4>
      <a:accent5>
        <a:srgbClr val="50695F"/>
      </a:accent5>
      <a:accent6>
        <a:srgbClr val="D4E458"/>
      </a:accent6>
      <a:hlink>
        <a:srgbClr val="000000"/>
      </a:hlink>
      <a:folHlink>
        <a:srgbClr val="50695F"/>
      </a:folHlink>
    </a:clrScheme>
    <a:fontScheme name="Roedl&amp;Partners 2018">
      <a:majorFont>
        <a:latin typeface="GT America"/>
        <a:ea typeface=""/>
        <a:cs typeface=""/>
      </a:majorFont>
      <a:minorFont>
        <a:latin typeface="GT America"/>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Unternehmenspraesentation_EN_GT America.potx" id="{C31D5839-060A-47F3-947E-6157F3B7D28E}" vid="{E1D1DB07-D484-4C59-80BD-DBFBEE9A8FEA}"/>
    </a:ext>
  </a:extLst>
</a:theme>
</file>

<file path=ppt/theme/theme6.xml><?xml version="1.0" encoding="utf-8"?>
<a:theme xmlns:a="http://schemas.openxmlformats.org/drawingml/2006/main" name="Canyon Red">
  <a:themeElements>
    <a:clrScheme name="Benutzerdefiniert 9">
      <a:dk1>
        <a:sysClr val="windowText" lastClr="000000"/>
      </a:dk1>
      <a:lt1>
        <a:sysClr val="window" lastClr="FFFFFF"/>
      </a:lt1>
      <a:dk2>
        <a:srgbClr val="FF644B"/>
      </a:dk2>
      <a:lt2>
        <a:srgbClr val="DEE1E0"/>
      </a:lt2>
      <a:accent1>
        <a:srgbClr val="FF644B"/>
      </a:accent1>
      <a:accent2>
        <a:srgbClr val="5479BD"/>
      </a:accent2>
      <a:accent3>
        <a:srgbClr val="00A990"/>
      </a:accent3>
      <a:accent4>
        <a:srgbClr val="EAA21C"/>
      </a:accent4>
      <a:accent5>
        <a:srgbClr val="50695F"/>
      </a:accent5>
      <a:accent6>
        <a:srgbClr val="D4E458"/>
      </a:accent6>
      <a:hlink>
        <a:srgbClr val="000000"/>
      </a:hlink>
      <a:folHlink>
        <a:srgbClr val="50695F"/>
      </a:folHlink>
    </a:clrScheme>
    <a:fontScheme name="Roedl&amp;Partners 2018">
      <a:majorFont>
        <a:latin typeface="GT America"/>
        <a:ea typeface=""/>
        <a:cs typeface=""/>
      </a:majorFont>
      <a:minorFont>
        <a:latin typeface="GT America"/>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Unternehmenspraesentation_EN_GT America.potx" id="{C31D5839-060A-47F3-947E-6157F3B7D28E}" vid="{CC446F9D-1110-4AF3-894B-54BF3512F91B}"/>
    </a:ext>
  </a:extLst>
</a:theme>
</file>

<file path=ppt/theme/theme7.xml><?xml version="1.0" encoding="utf-8"?>
<a:theme xmlns:a="http://schemas.openxmlformats.org/drawingml/2006/main" name="Gobi Orange ">
  <a:themeElements>
    <a:clrScheme name="Benutzerdefiniert 10">
      <a:dk1>
        <a:sysClr val="windowText" lastClr="000000"/>
      </a:dk1>
      <a:lt1>
        <a:sysClr val="window" lastClr="FFFFFF"/>
      </a:lt1>
      <a:dk2>
        <a:srgbClr val="EAA21C"/>
      </a:dk2>
      <a:lt2>
        <a:srgbClr val="DEE1E0"/>
      </a:lt2>
      <a:accent1>
        <a:srgbClr val="FF644B"/>
      </a:accent1>
      <a:accent2>
        <a:srgbClr val="5479BD"/>
      </a:accent2>
      <a:accent3>
        <a:srgbClr val="00A990"/>
      </a:accent3>
      <a:accent4>
        <a:srgbClr val="EAA21C"/>
      </a:accent4>
      <a:accent5>
        <a:srgbClr val="50695F"/>
      </a:accent5>
      <a:accent6>
        <a:srgbClr val="D4E458"/>
      </a:accent6>
      <a:hlink>
        <a:srgbClr val="000000"/>
      </a:hlink>
      <a:folHlink>
        <a:srgbClr val="50695F"/>
      </a:folHlink>
    </a:clrScheme>
    <a:fontScheme name="Roedl&amp;Partners 2018">
      <a:majorFont>
        <a:latin typeface="GT America"/>
        <a:ea typeface=""/>
        <a:cs typeface=""/>
      </a:majorFont>
      <a:minorFont>
        <a:latin typeface="GT America"/>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Unternehmenspraesentation_EN_GT America.potx" id="{C31D5839-060A-47F3-947E-6157F3B7D28E}" vid="{C256C9FF-809D-4144-8AEA-EC7E52B387DC}"/>
    </a:ext>
  </a:extLst>
</a:theme>
</file>

<file path=ppt/theme/theme8.xml><?xml version="1.0" encoding="utf-8"?>
<a:theme xmlns:a="http://schemas.openxmlformats.org/drawingml/2006/main" name="Bajkal blue ">
  <a:themeElements>
    <a:clrScheme name="Benutzerdefiniert 11">
      <a:dk1>
        <a:sysClr val="windowText" lastClr="000000"/>
      </a:dk1>
      <a:lt1>
        <a:sysClr val="window" lastClr="FFFFFF"/>
      </a:lt1>
      <a:dk2>
        <a:srgbClr val="5479BD"/>
      </a:dk2>
      <a:lt2>
        <a:srgbClr val="DEE1E0"/>
      </a:lt2>
      <a:accent1>
        <a:srgbClr val="FF644B"/>
      </a:accent1>
      <a:accent2>
        <a:srgbClr val="5479BD"/>
      </a:accent2>
      <a:accent3>
        <a:srgbClr val="00A990"/>
      </a:accent3>
      <a:accent4>
        <a:srgbClr val="EAA21C"/>
      </a:accent4>
      <a:accent5>
        <a:srgbClr val="50695F"/>
      </a:accent5>
      <a:accent6>
        <a:srgbClr val="D4E458"/>
      </a:accent6>
      <a:hlink>
        <a:srgbClr val="000000"/>
      </a:hlink>
      <a:folHlink>
        <a:srgbClr val="50695F"/>
      </a:folHlink>
    </a:clrScheme>
    <a:fontScheme name="Roedl&amp;Partners 2018">
      <a:majorFont>
        <a:latin typeface="GT America"/>
        <a:ea typeface=""/>
        <a:cs typeface=""/>
      </a:majorFont>
      <a:minorFont>
        <a:latin typeface="GT America"/>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Unternehmenspraesentation_EN_GT America.potx" id="{C31D5839-060A-47F3-947E-6157F3B7D28E}" vid="{134B4241-3DA3-434C-8267-22DF966BA6A3}"/>
    </a:ext>
  </a:extLst>
</a:theme>
</file>

<file path=ppt/theme/theme9.xml><?xml version="1.0" encoding="utf-8"?>
<a:theme xmlns:a="http://schemas.openxmlformats.org/drawingml/2006/main" name="Dolomite Gray ">
  <a:themeElements>
    <a:clrScheme name="Benutzerdefiniert 15">
      <a:dk1>
        <a:sysClr val="windowText" lastClr="000000"/>
      </a:dk1>
      <a:lt1>
        <a:sysClr val="window" lastClr="FFFFFF"/>
      </a:lt1>
      <a:dk2>
        <a:srgbClr val="50695F"/>
      </a:dk2>
      <a:lt2>
        <a:srgbClr val="DEE1E0"/>
      </a:lt2>
      <a:accent1>
        <a:srgbClr val="FF644B"/>
      </a:accent1>
      <a:accent2>
        <a:srgbClr val="5479BD"/>
      </a:accent2>
      <a:accent3>
        <a:srgbClr val="00A990"/>
      </a:accent3>
      <a:accent4>
        <a:srgbClr val="EAA21C"/>
      </a:accent4>
      <a:accent5>
        <a:srgbClr val="50695F"/>
      </a:accent5>
      <a:accent6>
        <a:srgbClr val="D4E458"/>
      </a:accent6>
      <a:hlink>
        <a:srgbClr val="000000"/>
      </a:hlink>
      <a:folHlink>
        <a:srgbClr val="50695F"/>
      </a:folHlink>
    </a:clrScheme>
    <a:fontScheme name="Roedl&amp;Partners 2018">
      <a:majorFont>
        <a:latin typeface="GT America"/>
        <a:ea typeface=""/>
        <a:cs typeface=""/>
      </a:majorFont>
      <a:minorFont>
        <a:latin typeface="GT America"/>
        <a:ea typeface=""/>
        <a:cs typeface=""/>
      </a:minorFont>
    </a:fontScheme>
    <a:fmtScheme name="Larissa">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marL="216000" indent="-216000" algn="l">
          <a:buFontTx/>
          <a:buChar char="–"/>
          <a:defRPr sz="16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28575">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16000" indent="-216000" algn="l" defTabSz="914400" rtl="0" eaLnBrk="1" latinLnBrk="0" hangingPunct="1">
          <a:spcBef>
            <a:spcPts val="500"/>
          </a:spcBef>
          <a:buFontTx/>
          <a:buChar char="–"/>
          <a:defRPr sz="1600" kern="1200" dirty="0" err="1" smtClean="0">
            <a:solidFill>
              <a:schemeClr val="tx2"/>
            </a:solidFill>
            <a:latin typeface="+mn-lt"/>
            <a:ea typeface="+mn-ea"/>
            <a:cs typeface="+mn-cs"/>
          </a:defRPr>
        </a:defPPr>
      </a:lstStyle>
    </a:txDef>
  </a:objectDefaults>
  <a:extraClrSchemeLst/>
  <a:custClrLst>
    <a:custClr>
      <a:srgbClr val="5A6AA8"/>
    </a:custClr>
    <a:custClr>
      <a:srgbClr val="F29C9C"/>
    </a:custClr>
    <a:custClr>
      <a:srgbClr val="FFFC00"/>
    </a:custClr>
    <a:custClr>
      <a:srgbClr val="00838A"/>
    </a:custClr>
    <a:custClr>
      <a:srgbClr val="DDEEF2"/>
    </a:custClr>
    <a:custClr>
      <a:srgbClr val="FFE0DB"/>
    </a:custClr>
    <a:custClr>
      <a:srgbClr val="CCEEE9"/>
    </a:custClr>
  </a:custClrLst>
  <a:extLst>
    <a:ext uri="{05A4C25C-085E-4340-85A3-A5531E510DB2}">
      <thm15:themeFamily xmlns:thm15="http://schemas.microsoft.com/office/thememl/2012/main" name="Unternehmenspraesentation_EN_GT America.potx" id="{C31D5839-060A-47F3-947E-6157F3B7D28E}" vid="{D75A077B-8E44-4F3F-8A75-FD7C8BF8BDB1}"/>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kument" ma:contentTypeID="0x010100C489AB4302653E4593B45DBE41EC96CE" ma:contentTypeVersion="1" ma:contentTypeDescription="Ein neues Dokument erstellen." ma:contentTypeScope="" ma:versionID="b0a0f30926756bee26d580e28d1dea9f">
  <xsd:schema xmlns:xsd="http://www.w3.org/2001/XMLSchema" xmlns:xs="http://www.w3.org/2001/XMLSchema" xmlns:p="http://schemas.microsoft.com/office/2006/metadata/properties" xmlns:ns1="http://schemas.microsoft.com/sharepoint/v3" targetNamespace="http://schemas.microsoft.com/office/2006/metadata/properties" ma:root="true" ma:fieldsID="527feafd7c2aaee042aea6d2d3f7a934"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Geplantes Startdatum" ma:description="Geplantes Startdatum ist eine Websitespalte, die über das Feature zum Veröffentlichen erstellt wird. Es wird zur Angabe des Datums und der Uhrzeit verwendet, wann diese Seite Besuchern zum ersten Mal angezeigt wird." ma:hidden="true" ma:internalName="PublishingStartDate">
      <xsd:simpleType>
        <xsd:restriction base="dms:Unknown"/>
      </xsd:simpleType>
    </xsd:element>
    <xsd:element name="PublishingExpirationDate" ma:index="9" nillable="true" ma:displayName="Geplantes Enddatum" ma:description="Geplantes Enddatum ist eine Websitespalte, die über das Feature zum Veröffentlichen erstellt wird. Es wird zur Angabe des Datums und der Uhrzeit verwendet, wann diese Seite Besuchern nicht mehr angezeigt wird."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Props1.xml><?xml version="1.0" encoding="utf-8"?>
<ds:datastoreItem xmlns:ds="http://schemas.openxmlformats.org/officeDocument/2006/customXml" ds:itemID="{06D15BA4-EEB3-483F-A964-312F7C660111}">
  <ds:schemaRefs>
    <ds:schemaRef ds:uri="http://schemas.microsoft.com/sharepoint/v3/contenttype/forms"/>
  </ds:schemaRefs>
</ds:datastoreItem>
</file>

<file path=customXml/itemProps2.xml><?xml version="1.0" encoding="utf-8"?>
<ds:datastoreItem xmlns:ds="http://schemas.openxmlformats.org/officeDocument/2006/customXml" ds:itemID="{E212C0B3-13A1-4D6C-B5F5-6FD84F55009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CD21D508-DFF4-4A37-B564-848AAF91C44A}">
  <ds:schemaRefs>
    <ds:schemaRef ds:uri="http://schemas.microsoft.com/office/2006/documentManagement/types"/>
    <ds:schemaRef ds:uri="http://schemas.microsoft.com/sharepoint/v3"/>
    <ds:schemaRef ds:uri="http://purl.org/dc/elements/1.1/"/>
    <ds:schemaRef ds:uri="http://purl.org/dc/terms/"/>
    <ds:schemaRef ds:uri="http://schemas.openxmlformats.org/package/2006/metadata/core-properties"/>
    <ds:schemaRef ds:uri="http://purl.org/dc/dcmitype/"/>
    <ds:schemaRef ds:uri="http://schemas.microsoft.com/office/infopath/2007/PartnerControl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Unternehmenspraesentation_EN_GT America (1)</Template>
  <TotalTime>0</TotalTime>
  <Words>2810</Words>
  <Application>Microsoft Office PowerPoint</Application>
  <PresentationFormat>Widescreen</PresentationFormat>
  <Paragraphs>361</Paragraphs>
  <Slides>35</Slides>
  <Notes>4</Notes>
  <HiddenSlides>0</HiddenSlides>
  <MMClips>0</MMClips>
  <ScaleCrop>false</ScaleCrop>
  <HeadingPairs>
    <vt:vector size="8" baseType="variant">
      <vt:variant>
        <vt:lpstr>Caratteri utilizzati</vt:lpstr>
      </vt:variant>
      <vt:variant>
        <vt:i4>6</vt:i4>
      </vt:variant>
      <vt:variant>
        <vt:lpstr>Tema</vt:lpstr>
      </vt:variant>
      <vt:variant>
        <vt:i4>15</vt:i4>
      </vt:variant>
      <vt:variant>
        <vt:lpstr>Server OLE incorporati</vt:lpstr>
      </vt:variant>
      <vt:variant>
        <vt:i4>1</vt:i4>
      </vt:variant>
      <vt:variant>
        <vt:lpstr>Titoli diapositive</vt:lpstr>
      </vt:variant>
      <vt:variant>
        <vt:i4>35</vt:i4>
      </vt:variant>
    </vt:vector>
  </HeadingPairs>
  <TitlesOfParts>
    <vt:vector size="57" baseType="lpstr">
      <vt:lpstr>Aptos</vt:lpstr>
      <vt:lpstr>Arial</vt:lpstr>
      <vt:lpstr>Courier New</vt:lpstr>
      <vt:lpstr>GT America</vt:lpstr>
      <vt:lpstr>Segoe UI</vt:lpstr>
      <vt:lpstr>Wingdings</vt:lpstr>
      <vt:lpstr>Unternehmenspraesentation_EN_GT America._ohne Animation</vt:lpstr>
      <vt:lpstr>Rödl &amp; Partner Green</vt:lpstr>
      <vt:lpstr>Daintree green </vt:lpstr>
      <vt:lpstr>Highland green </vt:lpstr>
      <vt:lpstr>Rödl &amp; Partner (Schwarz Weiß)</vt:lpstr>
      <vt:lpstr>Canyon Red</vt:lpstr>
      <vt:lpstr>Gobi Orange </vt:lpstr>
      <vt:lpstr>Bajkal blue </vt:lpstr>
      <vt:lpstr>Dolomite Gray </vt:lpstr>
      <vt:lpstr>Donau blue </vt:lpstr>
      <vt:lpstr>Naha Rose Highlightfolien</vt:lpstr>
      <vt:lpstr>Danakil Yellow Highlightfolien</vt:lpstr>
      <vt:lpstr>1_Highland green </vt:lpstr>
      <vt:lpstr>1_Daintree green </vt:lpstr>
      <vt:lpstr>1_Rödl &amp; Partner Green</vt:lpstr>
      <vt:lpstr>think-cell Folie</vt:lpstr>
      <vt:lpstr>Presentazione standard di PowerPoint</vt:lpstr>
      <vt:lpstr>AGENDA</vt:lpstr>
      <vt:lpstr>Presentazione standard di PowerPoint</vt:lpstr>
      <vt:lpstr>CONTESTO NORMATIVO</vt:lpstr>
      <vt:lpstr>OBIETTIVI</vt:lpstr>
      <vt:lpstr>TIMELINE </vt:lpstr>
      <vt:lpstr>principali NOVITà</vt:lpstr>
      <vt:lpstr>ambito DI applicaZIONE</vt:lpstr>
      <vt:lpstr>PRODOTTI PRIORITARI</vt:lpstr>
      <vt:lpstr>REQUISITI DI PROGETTAZIONE ECOCOMPATIBILE</vt:lpstr>
      <vt:lpstr>SOGGETTI INTERESSATI</vt:lpstr>
      <vt:lpstr>SANZIONI</vt:lpstr>
      <vt:lpstr>IMPATTI E IMPLICAZIONI PRATICHE PER LE IMPRESE</vt:lpstr>
      <vt:lpstr>Quali azioni intraprendere in concreto?</vt:lpstr>
      <vt:lpstr>Presentazione standard di PowerPoint</vt:lpstr>
      <vt:lpstr>DEFINIZIONE DI PASSAPORTO DIGITALE DEL PRODOTTO</vt:lpstr>
      <vt:lpstr>QUALI ATTI DELEGATI?</vt:lpstr>
      <vt:lpstr>IL SUPPORTO DATI</vt:lpstr>
      <vt:lpstr>CONTENUTO DEL PASSAPORTO DIGITALE DEL PRODOTTO</vt:lpstr>
      <vt:lpstr>Presentazione standard di PowerPoint</vt:lpstr>
      <vt:lpstr>IL PASSAPORTO DIGITALE DEL PRODOTTO NEL SETTORE TESSILE</vt:lpstr>
      <vt:lpstr>IL PASSAPORTO DIGITALE DEL PRODOTTO NEL SETTORE TESSILE</vt:lpstr>
      <vt:lpstr>IL PASSAPORTO DIGITALE DEL PRODOTTO NEL SETTORE TESSILE</vt:lpstr>
      <vt:lpstr>IL PASSAPORTO DIGITALE DEL PRODOTTO NEL SETTORE TESSILE</vt:lpstr>
      <vt:lpstr>IL PASSAPORTO DIGITALE DEL PRODOTTO NEL SETTORE TESSILE</vt:lpstr>
      <vt:lpstr>Presentazione standard di PowerPoint</vt:lpstr>
      <vt:lpstr>IL pdp nel NUOVO «rEGOLAMENTO BATTERIE» (2023/1542)</vt:lpstr>
      <vt:lpstr>IL pdp nel NUOVO «rEGOLAMENTO BATTERIE» (2023/1542)</vt:lpstr>
      <vt:lpstr>Presentazione standard di PowerPoint</vt:lpstr>
      <vt:lpstr>Il passaporto digitale prima del passaporto digitale: l’art. 13 AGEC</vt:lpstr>
      <vt:lpstr>IL PASSAPORTO DIGITALE DEL PRODOTTO</vt:lpstr>
      <vt:lpstr>Presentazione standard di PowerPoint</vt:lpstr>
      <vt:lpstr>3.1 contatti</vt:lpstr>
      <vt:lpstr>Presentazione standard di PowerPoint</vt:lpstr>
      <vt:lpstr>Presentazione standard di PowerPoint</vt:lpstr>
    </vt:vector>
  </TitlesOfParts>
  <Company>Rödl &amp; Partne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Rachele Bortoletto</dc:creator>
  <cp:lastModifiedBy>Roedl &amp; Partner</cp:lastModifiedBy>
  <cp:revision>155</cp:revision>
  <cp:lastPrinted>2025-02-11T17:08:02Z</cp:lastPrinted>
  <dcterms:created xsi:type="dcterms:W3CDTF">2019-02-19T09:47:06Z</dcterms:created>
  <dcterms:modified xsi:type="dcterms:W3CDTF">2025-02-12T09:35:0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C489AB4302653E4593B45DBE41EC96CE</vt:lpwstr>
  </property>
</Properties>
</file>